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heme/themeOverride3.xml" ContentType="application/vnd.openxmlformats-officedocument.themeOverride+xml"/>
  <Override PartName="/ppt/tags/tag3.xml" ContentType="application/vnd.openxmlformats-officedocument.presentationml.tags+xml"/>
  <Override PartName="/ppt/theme/themeOverride4.xml" ContentType="application/vnd.openxmlformats-officedocument.themeOverride+xml"/>
  <Override PartName="/ppt/tags/tag4.xml" ContentType="application/vnd.openxmlformats-officedocument.presentationml.tags+xml"/>
  <Override PartName="/ppt/theme/themeOverride5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6.xml" ContentType="application/vnd.openxmlformats-officedocument.themeOverride+xml"/>
  <Override PartName="/ppt/tags/tag8.xml" ContentType="application/vnd.openxmlformats-officedocument.presentationml.tags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charts/chart1.xml" ContentType="application/vnd.openxmlformats-officedocument.drawingml.chart+xml"/>
  <Override PartName="/ppt/theme/themeOverride15.xml" ContentType="application/vnd.openxmlformats-officedocument.themeOverride+xml"/>
  <Override PartName="/ppt/charts/chart2.xml" ContentType="application/vnd.openxmlformats-officedocument.drawingml.chart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358" r:id="rId2"/>
    <p:sldId id="399" r:id="rId3"/>
    <p:sldId id="363" r:id="rId4"/>
    <p:sldId id="364" r:id="rId5"/>
    <p:sldId id="365" r:id="rId6"/>
    <p:sldId id="296" r:id="rId7"/>
    <p:sldId id="297" r:id="rId8"/>
    <p:sldId id="397" r:id="rId9"/>
    <p:sldId id="401" r:id="rId10"/>
    <p:sldId id="402" r:id="rId11"/>
    <p:sldId id="354" r:id="rId12"/>
    <p:sldId id="357" r:id="rId13"/>
    <p:sldId id="303" r:id="rId14"/>
    <p:sldId id="304" r:id="rId15"/>
    <p:sldId id="398" r:id="rId16"/>
    <p:sldId id="308" r:id="rId17"/>
    <p:sldId id="367" r:id="rId18"/>
    <p:sldId id="368" r:id="rId19"/>
    <p:sldId id="369" r:id="rId20"/>
    <p:sldId id="373" r:id="rId21"/>
    <p:sldId id="374" r:id="rId22"/>
    <p:sldId id="370" r:id="rId23"/>
    <p:sldId id="381" r:id="rId24"/>
    <p:sldId id="383" r:id="rId25"/>
    <p:sldId id="384" r:id="rId26"/>
    <p:sldId id="388" r:id="rId27"/>
    <p:sldId id="389" r:id="rId28"/>
    <p:sldId id="391" r:id="rId29"/>
  </p:sldIdLst>
  <p:sldSz cx="9144000" cy="6858000" type="screen4x3"/>
  <p:notesSz cx="7315200" cy="96012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422" y="-2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uilhermepsl\Documents\BANCO%20DE%20DADOS%20INFRAESTRUTURA\N&#250;mero%20de%20passageiros-ano%20anac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CASTELO.IN.PLANALTO.GOV.BR\SAC_PR\3-SPR\DEOUT\CGOUT\Concess&#245;es%20Federais%20-%201&#186;%20Lote\Capex%20-%2020%20aeroportos.xls" TargetMode="External"/><Relationship Id="rId1" Type="http://schemas.openxmlformats.org/officeDocument/2006/relationships/themeOverride" Target="../theme/themeOverride1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spPr>
            <a:ln>
              <a:solidFill>
                <a:schemeClr val="tx2">
                  <a:lumMod val="75000"/>
                </a:schemeClr>
              </a:solidFill>
            </a:ln>
          </c:spPr>
          <c:marker>
            <c:symbol val="square"/>
            <c:size val="4"/>
            <c:spPr>
              <a:solidFill>
                <a:schemeClr val="tx2">
                  <a:lumMod val="75000"/>
                </a:schemeClr>
              </a:solidFill>
              <a:ln>
                <a:noFill/>
              </a:ln>
            </c:spPr>
          </c:marker>
          <c:cat>
            <c:numRef>
              <c:f>Plan1!$A$3:$A$14</c:f>
              <c:numCache>
                <c:formatCode>General</c:formatCod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numCache>
            </c:numRef>
          </c:cat>
          <c:val>
            <c:numRef>
              <c:f>Plan1!$D$3:$D$14</c:f>
              <c:numCache>
                <c:formatCode>#,##0</c:formatCode>
                <c:ptCount val="12"/>
                <c:pt idx="0">
                  <c:v>37709922</c:v>
                </c:pt>
                <c:pt idx="1">
                  <c:v>38737211</c:v>
                </c:pt>
                <c:pt idx="2">
                  <c:v>38317128</c:v>
                </c:pt>
                <c:pt idx="3">
                  <c:v>37202749</c:v>
                </c:pt>
                <c:pt idx="4">
                  <c:v>41213400</c:v>
                </c:pt>
                <c:pt idx="5">
                  <c:v>49113706</c:v>
                </c:pt>
                <c:pt idx="6">
                  <c:v>54011568</c:v>
                </c:pt>
                <c:pt idx="7">
                  <c:v>59675248</c:v>
                </c:pt>
                <c:pt idx="8">
                  <c:v>63521828</c:v>
                </c:pt>
                <c:pt idx="9">
                  <c:v>69725525</c:v>
                </c:pt>
                <c:pt idx="10">
                  <c:v>85519484</c:v>
                </c:pt>
                <c:pt idx="11">
                  <c:v>999414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0099584"/>
        <c:axId val="140101120"/>
      </c:lineChart>
      <c:catAx>
        <c:axId val="1400995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0101120"/>
        <c:crosses val="autoZero"/>
        <c:auto val="1"/>
        <c:lblAlgn val="ctr"/>
        <c:lblOffset val="100"/>
        <c:noMultiLvlLbl val="0"/>
      </c:catAx>
      <c:valAx>
        <c:axId val="14010112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65000"/>
                </a:schemeClr>
              </a:solidFill>
              <a:prstDash val="sysDash"/>
            </a:ln>
          </c:spPr>
        </c:majorGridlines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14009958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400"/>
            </a:pPr>
            <a:r>
              <a:rPr lang="pt-BR" sz="1400" b="1" i="0" u="none" strike="noStrike" baseline="0" dirty="0"/>
              <a:t>Necessidade de investimento até 2030 </a:t>
            </a:r>
            <a:r>
              <a:rPr lang="pt-BR" sz="1400" b="1" i="0" u="none" strike="noStrike" baseline="0" dirty="0" smtClean="0"/>
              <a:t/>
            </a:r>
            <a:br>
              <a:rPr lang="pt-BR" sz="1400" b="1" i="0" u="none" strike="noStrike" baseline="0" dirty="0" smtClean="0"/>
            </a:br>
            <a:r>
              <a:rPr lang="pt-BR" sz="1400" b="1" i="0" u="none" strike="noStrike" baseline="0" dirty="0" smtClean="0"/>
              <a:t>para </a:t>
            </a:r>
            <a:r>
              <a:rPr lang="pt-BR" sz="1400" b="1" i="0" u="none" strike="noStrike" baseline="0" dirty="0"/>
              <a:t>os 20 maiores aeroportos brasileiros </a:t>
            </a:r>
            <a:endParaRPr lang="pt-BR" sz="1400" dirty="0"/>
          </a:p>
        </c:rich>
      </c:tx>
      <c:layout>
        <c:manualLayout>
          <c:xMode val="edge"/>
          <c:yMode val="edge"/>
          <c:x val="0.16885998839186223"/>
          <c:y val="6.9572673622063114E-4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5750478643684704E-2"/>
          <c:y val="0.22231537384357569"/>
          <c:w val="0.87925793978470723"/>
          <c:h val="0.69732803807687482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4BACC6"/>
              </a:solidFill>
            </c:spPr>
          </c:dPt>
          <c:dPt>
            <c:idx val="1"/>
            <c:bubble3D val="0"/>
            <c:spPr>
              <a:solidFill>
                <a:srgbClr val="F79646">
                  <a:lumMod val="75000"/>
                </a:srgbClr>
              </a:solidFill>
            </c:spPr>
          </c:dPt>
          <c:dPt>
            <c:idx val="2"/>
            <c:bubble3D val="0"/>
            <c:spPr>
              <a:solidFill>
                <a:srgbClr val="4BACC6">
                  <a:lumMod val="20000"/>
                  <a:lumOff val="80000"/>
                </a:srgbClr>
              </a:solidFill>
            </c:spPr>
          </c:dPt>
          <c:dLbls>
            <c:dLbl>
              <c:idx val="0"/>
              <c:layout>
                <c:manualLayout>
                  <c:x val="-0.23440241202726417"/>
                  <c:y val="-0.12598815482637196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</a:defRPr>
                    </a:pPr>
                    <a:r>
                      <a:rPr lang="en-US" dirty="0" err="1">
                        <a:solidFill>
                          <a:schemeClr val="bg1"/>
                        </a:solidFill>
                      </a:rPr>
                      <a:t>Viracopos</a:t>
                    </a:r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/</a:t>
                    </a:r>
                    <a:br>
                      <a:rPr lang="en-US" dirty="0" smtClean="0">
                        <a:solidFill>
                          <a:schemeClr val="bg1"/>
                        </a:solidFill>
                      </a:rPr>
                    </a:br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Guarulhos/Brasília</a:t>
                    </a:r>
                    <a:r>
                      <a:rPr lang="en-US" dirty="0">
                        <a:solidFill>
                          <a:schemeClr val="bg1"/>
                        </a:solidFill>
                      </a:rPr>
                      <a:t>
56%</a:t>
                    </a:r>
                  </a:p>
                </c:rich>
              </c:tx>
              <c:spPr/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tx>
                <c:rich>
                  <a:bodyPr/>
                  <a:lstStyle/>
                  <a:p>
                    <a:r>
                      <a:rPr lang="en-US" err="1"/>
                      <a:t>Galeão</a:t>
                    </a:r>
                    <a:r>
                      <a:rPr lang="en-US" smtClean="0"/>
                      <a:t>/</a:t>
                    </a:r>
                    <a:br>
                      <a:rPr lang="en-US" smtClean="0"/>
                    </a:br>
                    <a:r>
                      <a:rPr lang="en-US" smtClean="0"/>
                      <a:t>Confins</a:t>
                    </a:r>
                    <a:r>
                      <a:rPr lang="en-US" dirty="0"/>
                      <a:t>
12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pt-BR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Capex - 20 aeroportos.xls]Plan1'!$I$3:$I$5</c:f>
              <c:strCache>
                <c:ptCount val="3"/>
                <c:pt idx="0">
                  <c:v>Viracopos/Guarulhos/Brasília</c:v>
                </c:pt>
                <c:pt idx="1">
                  <c:v>Galeão/Confins</c:v>
                </c:pt>
                <c:pt idx="2">
                  <c:v>Demais 15 Aeroportos</c:v>
                </c:pt>
              </c:strCache>
            </c:strRef>
          </c:cat>
          <c:val>
            <c:numRef>
              <c:f>'[Capex - 20 aeroportos.xls]Plan1'!$J$3:$J$5</c:f>
              <c:numCache>
                <c:formatCode>"R$ "#,##0_);[Red]\("R$ "#,##0\)</c:formatCode>
                <c:ptCount val="3"/>
                <c:pt idx="0">
                  <c:v>16370</c:v>
                </c:pt>
                <c:pt idx="1">
                  <c:v>3360</c:v>
                </c:pt>
                <c:pt idx="2">
                  <c:v>9354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zero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DA600BA-4587-4BC2-A9EB-4A41A632DCB5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EA6683E7-E825-4EF2-AB5C-61BAE6A5C766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5528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670513-78C0-4C07-A7EF-E53192E20B1E}" type="slidenum">
              <a:rPr lang="pt-BR" smtClean="0"/>
              <a:pPr/>
              <a:t>20</a:t>
            </a:fld>
            <a:endParaRPr 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03FA40F-F0B6-46CB-ABC8-EA02F40FB2CF}" type="slidenum">
              <a:rPr lang="pt-BR" smtClean="0"/>
              <a:pPr>
                <a:defRPr/>
              </a:pPr>
              <a:t>28</a:t>
            </a:fld>
            <a:endParaRPr lang="pt-B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22771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30417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70596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10"/>
          <p:cNvCxnSpPr/>
          <p:nvPr userDrawn="1"/>
        </p:nvCxnSpPr>
        <p:spPr>
          <a:xfrm>
            <a:off x="457200" y="1081088"/>
            <a:ext cx="8686800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3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2409372A-9836-495E-8D44-D7FFA6BE00DF}" type="datetimeFigureOut">
              <a:rPr lang="pt-BR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6D2739A-DFC1-4D00-8E7A-A3874FE9B4DD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4393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10"/>
          <p:cNvCxnSpPr/>
          <p:nvPr userDrawn="1"/>
        </p:nvCxnSpPr>
        <p:spPr>
          <a:xfrm>
            <a:off x="457200" y="1081088"/>
            <a:ext cx="8686800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27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457200" y="1081088"/>
            <a:ext cx="8686800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3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F13D90DB-90D3-4515-AA72-C8CBE6B60782}" type="datetimeFigureOut">
              <a:rPr lang="pt-BR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  <a:latin typeface="Calibri" pitchFamily="34" charset="0"/>
              </a:defRPr>
            </a:lvl1pPr>
          </a:lstStyle>
          <a:p>
            <a:fld id="{EDD1D5C2-825A-4A63-ACC9-F11175FDB41D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7159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10"/>
          <p:cNvCxnSpPr/>
          <p:nvPr userDrawn="1"/>
        </p:nvCxnSpPr>
        <p:spPr>
          <a:xfrm>
            <a:off x="457200" y="1081088"/>
            <a:ext cx="8686800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33200" cy="1018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2409372A-9836-495E-8D44-D7FFA6BE00DF}" type="datetimeFigureOut">
              <a:rPr lang="pt-BR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35" tIns="45718" rIns="91435" bIns="45718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6D2739A-DFC1-4D00-8E7A-A3874FE9B4DD}" type="slidenum">
              <a:rPr lang="pt-BR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43938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 userDrawn="1"/>
        </p:nvSpPr>
        <p:spPr>
          <a:xfrm>
            <a:off x="0" y="0"/>
            <a:ext cx="136525" cy="6858000"/>
          </a:xfrm>
          <a:prstGeom prst="rect">
            <a:avLst/>
          </a:prstGeom>
          <a:gradFill>
            <a:gsLst>
              <a:gs pos="0">
                <a:schemeClr val="tx2">
                  <a:lumMod val="75000"/>
                </a:schemeClr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424649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7095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81101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02852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8762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59627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589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20554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0100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538681-BE74-465A-91CF-21C83EC93E7C}" type="datetimeFigureOut">
              <a:rPr lang="pt-BR" smtClean="0"/>
              <a:pPr/>
              <a:t>23/10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658BFA-E247-441E-A89D-6B20BFE31651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8962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4" r:id="rId12"/>
    <p:sldLayoutId id="2147483667" r:id="rId13"/>
    <p:sldLayoutId id="2147483668" r:id="rId14"/>
    <p:sldLayoutId id="2147483671" r:id="rId15"/>
    <p:sldLayoutId id="2147483672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wmf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0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1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hemeOverride" Target="../theme/themeOverride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4.xml"/><Relationship Id="rId4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5.xml"/><Relationship Id="rId4" Type="http://schemas.openxmlformats.org/officeDocument/2006/relationships/chart" Target="../charts/char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w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microsoft.com/office/2007/relationships/hdphoto" Target="../media/hdphoto1.wdp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3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015262" y="1124744"/>
            <a:ext cx="835292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6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Concessões</a:t>
            </a:r>
            <a:r>
              <a:rPr lang="pt-BR" sz="4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 </a:t>
            </a:r>
          </a:p>
          <a:p>
            <a:pPr lvl="0"/>
            <a:endParaRPr lang="pt-BR" sz="4000" b="1" dirty="0" smtClean="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  <a:p>
            <a:pPr lvl="0"/>
            <a:r>
              <a:rPr lang="pt-BR" sz="32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RODOVIAS – FERROVIAS</a:t>
            </a:r>
          </a:p>
          <a:p>
            <a:pPr lvl="0"/>
            <a:r>
              <a:rPr lang="pt-BR" sz="32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PORTOS – AEROPORTOS</a:t>
            </a:r>
          </a:p>
        </p:txBody>
      </p:sp>
    </p:spTree>
    <p:extLst>
      <p:ext uri="{BB962C8B-B14F-4D97-AF65-F5344CB8AC3E}">
        <p14:creationId xmlns:p14="http://schemas.microsoft.com/office/powerpoint/2010/main" val="2884910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937833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Retângulo 4"/>
          <p:cNvSpPr>
            <a:spLocks noChangeArrowheads="1"/>
          </p:cNvSpPr>
          <p:nvPr/>
        </p:nvSpPr>
        <p:spPr bwMode="auto">
          <a:xfrm>
            <a:off x="1000101" y="1142984"/>
            <a:ext cx="7929618" cy="5155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pt-BR" sz="2400" b="1" dirty="0" smtClean="0">
                <a:latin typeface="+mj-lt"/>
                <a:ea typeface="MS PGothic" pitchFamily="34" charset="-128"/>
                <a:sym typeface="Helvetica" pitchFamily="34" charset="0"/>
              </a:rPr>
              <a:t>Resultados</a:t>
            </a: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: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 smtClean="0">
                <a:latin typeface="+mj-lt"/>
                <a:ea typeface="MS PGothic" pitchFamily="34" charset="-128"/>
                <a:sym typeface="Helvetica" pitchFamily="34" charset="0"/>
              </a:rPr>
              <a:t>BR-050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Licitada em 18/09.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Deságio de </a:t>
            </a:r>
            <a:r>
              <a:rPr lang="pt-BR" sz="2000" dirty="0" smtClean="0"/>
              <a:t>42,38% em relação à tarifa teto de pedágio.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/>
              <a:t>8 grupos participaram do leilão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 smtClean="0">
                <a:latin typeface="+mj-lt"/>
                <a:ea typeface="MS PGothic" pitchFamily="34" charset="-128"/>
                <a:sym typeface="Helvetica" pitchFamily="34" charset="0"/>
              </a:rPr>
              <a:t>Próximos leilões marcados 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 BR-163 MT – leilão em 27/11. Tarifa teto R$ 5,5 / 100 km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 BR-060 – leilão em 04/12</a:t>
            </a:r>
            <a:r>
              <a:rPr lang="pt-BR" sz="2000" dirty="0" smtClean="0">
                <a:ea typeface="MS PGothic" pitchFamily="34" charset="-128"/>
                <a:sym typeface="Helvetica" pitchFamily="34" charset="0"/>
              </a:rPr>
              <a:t>. Tarifa teto R$ 5,94 / 100 km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 smtClean="0">
                <a:latin typeface="+mj-lt"/>
                <a:ea typeface="MS PGothic" pitchFamily="34" charset="-128"/>
                <a:sym typeface="Helvetica" pitchFamily="34" charset="0"/>
              </a:rPr>
              <a:t>Leilões em perspectiva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 BR-163 MS – dezembro 2013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BR-040 – janeiro 2013</a:t>
            </a:r>
          </a:p>
        </p:txBody>
      </p:sp>
      <p:sp>
        <p:nvSpPr>
          <p:cNvPr id="489" name="CaixaDeTexto 488"/>
          <p:cNvSpPr txBox="1"/>
          <p:nvPr/>
        </p:nvSpPr>
        <p:spPr>
          <a:xfrm>
            <a:off x="714348" y="272457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bg2">
                    <a:lumMod val="25000"/>
                  </a:schemeClr>
                </a:solidFill>
                <a:latin typeface="Calibri" pitchFamily="34" charset="0"/>
                <a:ea typeface="ＭＳ Ｐゴシック" pitchFamily="34" charset="-128"/>
              </a:rPr>
              <a:t>Novo modelo de concessão - Rodovias</a:t>
            </a:r>
          </a:p>
        </p:txBody>
      </p:sp>
    </p:spTree>
    <p:extLst>
      <p:ext uri="{BB962C8B-B14F-4D97-AF65-F5344CB8AC3E}">
        <p14:creationId xmlns:p14="http://schemas.microsoft.com/office/powerpoint/2010/main" val="157622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15262" y="1124744"/>
            <a:ext cx="83529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6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Ferrovias</a:t>
            </a:r>
            <a:r>
              <a:rPr lang="pt-BR" sz="4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 </a:t>
            </a:r>
          </a:p>
          <a:p>
            <a:pPr lvl="0"/>
            <a:endParaRPr lang="pt-BR" sz="4000" b="1" dirty="0" smtClean="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149276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6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9" name="TextBox 228"/>
          <p:cNvSpPr txBox="1"/>
          <p:nvPr/>
        </p:nvSpPr>
        <p:spPr>
          <a:xfrm>
            <a:off x="731405" y="1268760"/>
            <a:ext cx="8166127" cy="460433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284163" indent="-28416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1363" indent="-28416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2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pt-BR" b="1" dirty="0" smtClean="0">
                <a:latin typeface="+mn-lt"/>
              </a:rPr>
              <a:t>A infraestrutura ferroviária moderna é restrita a poucos corredores dedicados ao transporte de minério de ferro</a:t>
            </a:r>
            <a:endParaRPr lang="pt-BR" dirty="0" smtClean="0">
              <a:latin typeface="+mn-lt"/>
            </a:endParaRPr>
          </a:p>
          <a:p>
            <a:pPr>
              <a:lnSpc>
                <a:spcPct val="12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pt-BR" b="1" dirty="0" smtClean="0">
                <a:latin typeface="+mn-lt"/>
              </a:rPr>
              <a:t>Dois terços da malha ferroviária não são explorados </a:t>
            </a:r>
            <a:r>
              <a:rPr lang="pt-BR" dirty="0" smtClean="0">
                <a:latin typeface="+mn-lt"/>
              </a:rPr>
              <a:t>(19 dos 30 mil km existentes)</a:t>
            </a:r>
          </a:p>
          <a:p>
            <a:pPr lvl="1"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Trechos construídos há mais de 100 anos </a:t>
            </a:r>
          </a:p>
          <a:p>
            <a:pPr lvl="1"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Não passaram por nenhum processo de modernização</a:t>
            </a:r>
            <a:endParaRPr lang="pt-BR" sz="2400" dirty="0" smtClean="0">
              <a:latin typeface="+mn-lt"/>
            </a:endParaRPr>
          </a:p>
          <a:p>
            <a:pPr>
              <a:lnSpc>
                <a:spcPct val="12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pt-BR" b="1" dirty="0" smtClean="0">
                <a:latin typeface="+mn-lt"/>
              </a:rPr>
              <a:t>Os serviços de transporte ferroviário, exceto o de minério de ferro, operam </a:t>
            </a:r>
            <a:endParaRPr lang="pt-BR" dirty="0" smtClean="0">
              <a:latin typeface="+mn-lt"/>
            </a:endParaRPr>
          </a:p>
          <a:p>
            <a:pPr lvl="1"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Com defasagem tecnológica</a:t>
            </a:r>
          </a:p>
          <a:p>
            <a:pPr lvl="1"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Com equipamentos envelhecidos </a:t>
            </a:r>
          </a:p>
          <a:p>
            <a:pPr lvl="1">
              <a:spcAft>
                <a:spcPts val="1200"/>
              </a:spcAft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Com baixo padrão de produtividade</a:t>
            </a:r>
          </a:p>
          <a:p>
            <a:pPr>
              <a:lnSpc>
                <a:spcPct val="120000"/>
              </a:lnSpc>
              <a:spcAft>
                <a:spcPts val="1200"/>
              </a:spcAft>
              <a:buFont typeface="Arial" pitchFamily="34" charset="0"/>
              <a:buChar char="•"/>
            </a:pPr>
            <a:r>
              <a:rPr lang="pt-BR" b="1" dirty="0" smtClean="0">
                <a:latin typeface="+mn-lt"/>
              </a:rPr>
              <a:t>Os preços são formados em ambiente monopolista, com pressão sobre a demanda e oferta limitada</a:t>
            </a:r>
            <a:endParaRPr lang="pt-BR" dirty="0">
              <a:latin typeface="+mn-lt"/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bg2">
                    <a:lumMod val="25000"/>
                  </a:schemeClr>
                </a:solidFill>
                <a:latin typeface="Calibri" pitchFamily="34" charset="0"/>
                <a:ea typeface="ＭＳ Ｐゴシック" pitchFamily="34" charset="-128"/>
              </a:rPr>
              <a:t>Problema Estrutural</a:t>
            </a:r>
            <a:endParaRPr lang="pt-BR" sz="3200" b="1" dirty="0" smtClean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225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3250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0" name="Imagem 1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88914"/>
            <a:ext cx="6392863" cy="662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3" name="Freeform 223"/>
          <p:cNvSpPr>
            <a:spLocks noChangeAspect="1"/>
          </p:cNvSpPr>
          <p:nvPr/>
        </p:nvSpPr>
        <p:spPr>
          <a:xfrm rot="21245836">
            <a:off x="6242781" y="1969473"/>
            <a:ext cx="374425" cy="923621"/>
          </a:xfrm>
          <a:custGeom>
            <a:avLst/>
            <a:gdLst>
              <a:gd name="connsiteX0" fmla="*/ 243080 w 319960"/>
              <a:gd name="connsiteY0" fmla="*/ 102 h 724002"/>
              <a:gd name="connsiteX1" fmla="*/ 262130 w 319960"/>
              <a:gd name="connsiteY1" fmla="*/ 23914 h 724002"/>
              <a:gd name="connsiteX2" fmla="*/ 271655 w 319960"/>
              <a:gd name="connsiteY2" fmla="*/ 38202 h 724002"/>
              <a:gd name="connsiteX3" fmla="*/ 285943 w 319960"/>
              <a:gd name="connsiteY3" fmla="*/ 42964 h 724002"/>
              <a:gd name="connsiteX4" fmla="*/ 300230 w 319960"/>
              <a:gd name="connsiteY4" fmla="*/ 85827 h 724002"/>
              <a:gd name="connsiteX5" fmla="*/ 309755 w 319960"/>
              <a:gd name="connsiteY5" fmla="*/ 123927 h 724002"/>
              <a:gd name="connsiteX6" fmla="*/ 314518 w 319960"/>
              <a:gd name="connsiteY6" fmla="*/ 138214 h 724002"/>
              <a:gd name="connsiteX7" fmla="*/ 314518 w 319960"/>
              <a:gd name="connsiteY7" fmla="*/ 347764 h 724002"/>
              <a:gd name="connsiteX8" fmla="*/ 304993 w 319960"/>
              <a:gd name="connsiteY8" fmla="*/ 376339 h 724002"/>
              <a:gd name="connsiteX9" fmla="*/ 295468 w 319960"/>
              <a:gd name="connsiteY9" fmla="*/ 404914 h 724002"/>
              <a:gd name="connsiteX10" fmla="*/ 290705 w 319960"/>
              <a:gd name="connsiteY10" fmla="*/ 428727 h 724002"/>
              <a:gd name="connsiteX11" fmla="*/ 271655 w 319960"/>
              <a:gd name="connsiteY11" fmla="*/ 471589 h 724002"/>
              <a:gd name="connsiteX12" fmla="*/ 257368 w 319960"/>
              <a:gd name="connsiteY12" fmla="*/ 500164 h 724002"/>
              <a:gd name="connsiteX13" fmla="*/ 243080 w 319960"/>
              <a:gd name="connsiteY13" fmla="*/ 509689 h 724002"/>
              <a:gd name="connsiteX14" fmla="*/ 209743 w 319960"/>
              <a:gd name="connsiteY14" fmla="*/ 552552 h 724002"/>
              <a:gd name="connsiteX15" fmla="*/ 181168 w 319960"/>
              <a:gd name="connsiteY15" fmla="*/ 571602 h 724002"/>
              <a:gd name="connsiteX16" fmla="*/ 162118 w 319960"/>
              <a:gd name="connsiteY16" fmla="*/ 590652 h 724002"/>
              <a:gd name="connsiteX17" fmla="*/ 152593 w 319960"/>
              <a:gd name="connsiteY17" fmla="*/ 604939 h 724002"/>
              <a:gd name="connsiteX18" fmla="*/ 138305 w 319960"/>
              <a:gd name="connsiteY18" fmla="*/ 619227 h 724002"/>
              <a:gd name="connsiteX19" fmla="*/ 114493 w 319960"/>
              <a:gd name="connsiteY19" fmla="*/ 643039 h 724002"/>
              <a:gd name="connsiteX20" fmla="*/ 104968 w 319960"/>
              <a:gd name="connsiteY20" fmla="*/ 657327 h 724002"/>
              <a:gd name="connsiteX21" fmla="*/ 76393 w 319960"/>
              <a:gd name="connsiteY21" fmla="*/ 676377 h 724002"/>
              <a:gd name="connsiteX22" fmla="*/ 66868 w 319960"/>
              <a:gd name="connsiteY22" fmla="*/ 690664 h 724002"/>
              <a:gd name="connsiteX23" fmla="*/ 38293 w 319960"/>
              <a:gd name="connsiteY23" fmla="*/ 709714 h 724002"/>
              <a:gd name="connsiteX24" fmla="*/ 9718 w 319960"/>
              <a:gd name="connsiteY24" fmla="*/ 724002 h 724002"/>
              <a:gd name="connsiteX25" fmla="*/ 193 w 319960"/>
              <a:gd name="connsiteY25" fmla="*/ 709714 h 724002"/>
              <a:gd name="connsiteX26" fmla="*/ 24005 w 319960"/>
              <a:gd name="connsiteY26" fmla="*/ 647802 h 724002"/>
              <a:gd name="connsiteX27" fmla="*/ 43055 w 319960"/>
              <a:gd name="connsiteY27" fmla="*/ 638277 h 724002"/>
              <a:gd name="connsiteX28" fmla="*/ 76393 w 319960"/>
              <a:gd name="connsiteY28" fmla="*/ 604939 h 724002"/>
              <a:gd name="connsiteX29" fmla="*/ 100205 w 319960"/>
              <a:gd name="connsiteY29" fmla="*/ 576364 h 724002"/>
              <a:gd name="connsiteX30" fmla="*/ 128780 w 319960"/>
              <a:gd name="connsiteY30" fmla="*/ 552552 h 724002"/>
              <a:gd name="connsiteX31" fmla="*/ 143068 w 319960"/>
              <a:gd name="connsiteY31" fmla="*/ 523977 h 724002"/>
              <a:gd name="connsiteX32" fmla="*/ 152593 w 319960"/>
              <a:gd name="connsiteY32" fmla="*/ 509689 h 724002"/>
              <a:gd name="connsiteX33" fmla="*/ 157355 w 319960"/>
              <a:gd name="connsiteY33" fmla="*/ 485877 h 724002"/>
              <a:gd name="connsiteX34" fmla="*/ 166880 w 319960"/>
              <a:gd name="connsiteY34" fmla="*/ 443014 h 724002"/>
              <a:gd name="connsiteX35" fmla="*/ 185930 w 319960"/>
              <a:gd name="connsiteY35" fmla="*/ 414439 h 724002"/>
              <a:gd name="connsiteX36" fmla="*/ 195455 w 319960"/>
              <a:gd name="connsiteY36" fmla="*/ 400152 h 724002"/>
              <a:gd name="connsiteX37" fmla="*/ 204980 w 319960"/>
              <a:gd name="connsiteY37" fmla="*/ 371577 h 724002"/>
              <a:gd name="connsiteX38" fmla="*/ 247843 w 319960"/>
              <a:gd name="connsiteY38" fmla="*/ 362052 h 724002"/>
              <a:gd name="connsiteX39" fmla="*/ 238318 w 319960"/>
              <a:gd name="connsiteY39" fmla="*/ 309664 h 724002"/>
              <a:gd name="connsiteX40" fmla="*/ 228793 w 319960"/>
              <a:gd name="connsiteY40" fmla="*/ 295377 h 724002"/>
              <a:gd name="connsiteX41" fmla="*/ 233555 w 319960"/>
              <a:gd name="connsiteY41" fmla="*/ 262039 h 724002"/>
              <a:gd name="connsiteX42" fmla="*/ 243080 w 319960"/>
              <a:gd name="connsiteY42" fmla="*/ 247752 h 724002"/>
              <a:gd name="connsiteX43" fmla="*/ 252605 w 319960"/>
              <a:gd name="connsiteY43" fmla="*/ 133452 h 724002"/>
              <a:gd name="connsiteX44" fmla="*/ 257368 w 319960"/>
              <a:gd name="connsiteY44" fmla="*/ 119164 h 724002"/>
              <a:gd name="connsiteX45" fmla="*/ 252605 w 319960"/>
              <a:gd name="connsiteY45" fmla="*/ 57252 h 724002"/>
              <a:gd name="connsiteX46" fmla="*/ 238318 w 319960"/>
              <a:gd name="connsiteY46" fmla="*/ 47727 h 724002"/>
              <a:gd name="connsiteX47" fmla="*/ 233555 w 319960"/>
              <a:gd name="connsiteY47" fmla="*/ 33439 h 724002"/>
              <a:gd name="connsiteX48" fmla="*/ 243080 w 319960"/>
              <a:gd name="connsiteY48" fmla="*/ 102 h 724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319960" h="724002">
                <a:moveTo>
                  <a:pt x="243080" y="102"/>
                </a:moveTo>
                <a:cubicBezTo>
                  <a:pt x="247842" y="-1485"/>
                  <a:pt x="256031" y="15782"/>
                  <a:pt x="262130" y="23914"/>
                </a:cubicBezTo>
                <a:cubicBezTo>
                  <a:pt x="265564" y="28493"/>
                  <a:pt x="267185" y="34626"/>
                  <a:pt x="271655" y="38202"/>
                </a:cubicBezTo>
                <a:cubicBezTo>
                  <a:pt x="275575" y="41338"/>
                  <a:pt x="281180" y="41377"/>
                  <a:pt x="285943" y="42964"/>
                </a:cubicBezTo>
                <a:lnTo>
                  <a:pt x="300230" y="85827"/>
                </a:lnTo>
                <a:cubicBezTo>
                  <a:pt x="304369" y="98246"/>
                  <a:pt x="306580" y="111227"/>
                  <a:pt x="309755" y="123927"/>
                </a:cubicBezTo>
                <a:cubicBezTo>
                  <a:pt x="310973" y="128797"/>
                  <a:pt x="312930" y="133452"/>
                  <a:pt x="314518" y="138214"/>
                </a:cubicBezTo>
                <a:cubicBezTo>
                  <a:pt x="319723" y="226706"/>
                  <a:pt x="323574" y="248150"/>
                  <a:pt x="314518" y="347764"/>
                </a:cubicBezTo>
                <a:cubicBezTo>
                  <a:pt x="313609" y="357763"/>
                  <a:pt x="308168" y="366814"/>
                  <a:pt x="304993" y="376339"/>
                </a:cubicBezTo>
                <a:lnTo>
                  <a:pt x="295468" y="404914"/>
                </a:lnTo>
                <a:cubicBezTo>
                  <a:pt x="292908" y="412594"/>
                  <a:pt x="292835" y="420917"/>
                  <a:pt x="290705" y="428727"/>
                </a:cubicBezTo>
                <a:cubicBezTo>
                  <a:pt x="282857" y="457501"/>
                  <a:pt x="284761" y="451930"/>
                  <a:pt x="271655" y="471589"/>
                </a:cubicBezTo>
                <a:cubicBezTo>
                  <a:pt x="267782" y="483210"/>
                  <a:pt x="266601" y="490931"/>
                  <a:pt x="257368" y="500164"/>
                </a:cubicBezTo>
                <a:cubicBezTo>
                  <a:pt x="253320" y="504211"/>
                  <a:pt x="247843" y="506514"/>
                  <a:pt x="243080" y="509689"/>
                </a:cubicBezTo>
                <a:cubicBezTo>
                  <a:pt x="234059" y="536756"/>
                  <a:pt x="241868" y="520427"/>
                  <a:pt x="209743" y="552552"/>
                </a:cubicBezTo>
                <a:cubicBezTo>
                  <a:pt x="201648" y="560647"/>
                  <a:pt x="181168" y="571602"/>
                  <a:pt x="181168" y="571602"/>
                </a:cubicBezTo>
                <a:cubicBezTo>
                  <a:pt x="170776" y="602774"/>
                  <a:pt x="185209" y="572179"/>
                  <a:pt x="162118" y="590652"/>
                </a:cubicBezTo>
                <a:cubicBezTo>
                  <a:pt x="157649" y="594228"/>
                  <a:pt x="156257" y="600542"/>
                  <a:pt x="152593" y="604939"/>
                </a:cubicBezTo>
                <a:cubicBezTo>
                  <a:pt x="148281" y="610113"/>
                  <a:pt x="142617" y="614053"/>
                  <a:pt x="138305" y="619227"/>
                </a:cubicBezTo>
                <a:cubicBezTo>
                  <a:pt x="118461" y="643039"/>
                  <a:pt x="140686" y="625576"/>
                  <a:pt x="114493" y="643039"/>
                </a:cubicBezTo>
                <a:cubicBezTo>
                  <a:pt x="111318" y="647802"/>
                  <a:pt x="109276" y="653558"/>
                  <a:pt x="104968" y="657327"/>
                </a:cubicBezTo>
                <a:cubicBezTo>
                  <a:pt x="96353" y="664865"/>
                  <a:pt x="76393" y="676377"/>
                  <a:pt x="76393" y="676377"/>
                </a:cubicBezTo>
                <a:cubicBezTo>
                  <a:pt x="73218" y="681139"/>
                  <a:pt x="71176" y="686895"/>
                  <a:pt x="66868" y="690664"/>
                </a:cubicBezTo>
                <a:cubicBezTo>
                  <a:pt x="58253" y="698202"/>
                  <a:pt x="47818" y="703364"/>
                  <a:pt x="38293" y="709714"/>
                </a:cubicBezTo>
                <a:cubicBezTo>
                  <a:pt x="19829" y="722023"/>
                  <a:pt x="29434" y="717429"/>
                  <a:pt x="9718" y="724002"/>
                </a:cubicBezTo>
                <a:cubicBezTo>
                  <a:pt x="6543" y="719239"/>
                  <a:pt x="763" y="715410"/>
                  <a:pt x="193" y="709714"/>
                </a:cubicBezTo>
                <a:cubicBezTo>
                  <a:pt x="-1397" y="693815"/>
                  <a:pt x="6857" y="656376"/>
                  <a:pt x="24005" y="647802"/>
                </a:cubicBezTo>
                <a:lnTo>
                  <a:pt x="43055" y="638277"/>
                </a:lnTo>
                <a:cubicBezTo>
                  <a:pt x="64890" y="605525"/>
                  <a:pt x="51245" y="613322"/>
                  <a:pt x="76393" y="604939"/>
                </a:cubicBezTo>
                <a:cubicBezTo>
                  <a:pt x="85757" y="590893"/>
                  <a:pt x="86456" y="587821"/>
                  <a:pt x="100205" y="576364"/>
                </a:cubicBezTo>
                <a:cubicBezTo>
                  <a:pt x="120640" y="559334"/>
                  <a:pt x="109806" y="575321"/>
                  <a:pt x="128780" y="552552"/>
                </a:cubicBezTo>
                <a:cubicBezTo>
                  <a:pt x="145839" y="532081"/>
                  <a:pt x="132329" y="545454"/>
                  <a:pt x="143068" y="523977"/>
                </a:cubicBezTo>
                <a:cubicBezTo>
                  <a:pt x="145628" y="518857"/>
                  <a:pt x="149418" y="514452"/>
                  <a:pt x="152593" y="509689"/>
                </a:cubicBezTo>
                <a:cubicBezTo>
                  <a:pt x="154180" y="501752"/>
                  <a:pt x="155907" y="493841"/>
                  <a:pt x="157355" y="485877"/>
                </a:cubicBezTo>
                <a:cubicBezTo>
                  <a:pt x="158821" y="477816"/>
                  <a:pt x="161208" y="453224"/>
                  <a:pt x="166880" y="443014"/>
                </a:cubicBezTo>
                <a:cubicBezTo>
                  <a:pt x="172439" y="433007"/>
                  <a:pt x="179580" y="423964"/>
                  <a:pt x="185930" y="414439"/>
                </a:cubicBezTo>
                <a:cubicBezTo>
                  <a:pt x="189105" y="409677"/>
                  <a:pt x="193645" y="405582"/>
                  <a:pt x="195455" y="400152"/>
                </a:cubicBezTo>
                <a:cubicBezTo>
                  <a:pt x="198630" y="390627"/>
                  <a:pt x="195076" y="373228"/>
                  <a:pt x="204980" y="371577"/>
                </a:cubicBezTo>
                <a:cubicBezTo>
                  <a:pt x="238507" y="365989"/>
                  <a:pt x="224394" y="369867"/>
                  <a:pt x="247843" y="362052"/>
                </a:cubicBezTo>
                <a:cubicBezTo>
                  <a:pt x="246202" y="348926"/>
                  <a:pt x="245658" y="324344"/>
                  <a:pt x="238318" y="309664"/>
                </a:cubicBezTo>
                <a:cubicBezTo>
                  <a:pt x="235758" y="304545"/>
                  <a:pt x="231968" y="300139"/>
                  <a:pt x="228793" y="295377"/>
                </a:cubicBezTo>
                <a:cubicBezTo>
                  <a:pt x="230380" y="284264"/>
                  <a:pt x="230329" y="272791"/>
                  <a:pt x="233555" y="262039"/>
                </a:cubicBezTo>
                <a:cubicBezTo>
                  <a:pt x="235200" y="256557"/>
                  <a:pt x="241881" y="253349"/>
                  <a:pt x="243080" y="247752"/>
                </a:cubicBezTo>
                <a:cubicBezTo>
                  <a:pt x="244871" y="239396"/>
                  <a:pt x="252219" y="136538"/>
                  <a:pt x="252605" y="133452"/>
                </a:cubicBezTo>
                <a:cubicBezTo>
                  <a:pt x="253228" y="128470"/>
                  <a:pt x="255780" y="123927"/>
                  <a:pt x="257368" y="119164"/>
                </a:cubicBezTo>
                <a:cubicBezTo>
                  <a:pt x="255780" y="98527"/>
                  <a:pt x="257938" y="77251"/>
                  <a:pt x="252605" y="57252"/>
                </a:cubicBezTo>
                <a:cubicBezTo>
                  <a:pt x="251130" y="51722"/>
                  <a:pt x="241894" y="52196"/>
                  <a:pt x="238318" y="47727"/>
                </a:cubicBezTo>
                <a:cubicBezTo>
                  <a:pt x="235182" y="43807"/>
                  <a:pt x="235143" y="38202"/>
                  <a:pt x="233555" y="33439"/>
                </a:cubicBezTo>
                <a:cubicBezTo>
                  <a:pt x="239441" y="15785"/>
                  <a:pt x="238318" y="1689"/>
                  <a:pt x="243080" y="102"/>
                </a:cubicBezTo>
                <a:close/>
              </a:path>
            </a:pathLst>
          </a:custGeom>
          <a:solidFill>
            <a:srgbClr val="666699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34" name="Grupo 1"/>
          <p:cNvGrpSpPr/>
          <p:nvPr/>
        </p:nvGrpSpPr>
        <p:grpSpPr>
          <a:xfrm>
            <a:off x="2534736" y="3196742"/>
            <a:ext cx="2220145" cy="1858587"/>
            <a:chOff x="2534735" y="3196742"/>
            <a:chExt cx="2220145" cy="1858587"/>
          </a:xfrm>
          <a:solidFill>
            <a:schemeClr val="bg1">
              <a:lumMod val="85000"/>
              <a:alpha val="50000"/>
            </a:schemeClr>
          </a:solidFill>
        </p:grpSpPr>
        <p:sp>
          <p:nvSpPr>
            <p:cNvPr id="235" name="Forma livre 350"/>
            <p:cNvSpPr/>
            <p:nvPr/>
          </p:nvSpPr>
          <p:spPr>
            <a:xfrm>
              <a:off x="3101645" y="3825850"/>
              <a:ext cx="1653235" cy="1229479"/>
            </a:xfrm>
            <a:custGeom>
              <a:avLst/>
              <a:gdLst>
                <a:gd name="connsiteX0" fmla="*/ 972921 w 1653235"/>
                <a:gd name="connsiteY0" fmla="*/ 1177747 h 1229479"/>
                <a:gd name="connsiteX1" fmla="*/ 907085 w 1653235"/>
                <a:gd name="connsiteY1" fmla="*/ 1155801 h 1229479"/>
                <a:gd name="connsiteX2" fmla="*/ 892454 w 1653235"/>
                <a:gd name="connsiteY2" fmla="*/ 1133856 h 1229479"/>
                <a:gd name="connsiteX3" fmla="*/ 885139 w 1653235"/>
                <a:gd name="connsiteY3" fmla="*/ 1111910 h 1229479"/>
                <a:gd name="connsiteX4" fmla="*/ 877824 w 1653235"/>
                <a:gd name="connsiteY4" fmla="*/ 1024128 h 1229479"/>
                <a:gd name="connsiteX5" fmla="*/ 863193 w 1653235"/>
                <a:gd name="connsiteY5" fmla="*/ 1009497 h 1229479"/>
                <a:gd name="connsiteX6" fmla="*/ 848563 w 1653235"/>
                <a:gd name="connsiteY6" fmla="*/ 987552 h 1229479"/>
                <a:gd name="connsiteX7" fmla="*/ 797357 w 1653235"/>
                <a:gd name="connsiteY7" fmla="*/ 994867 h 1229479"/>
                <a:gd name="connsiteX8" fmla="*/ 790041 w 1653235"/>
                <a:gd name="connsiteY8" fmla="*/ 1024128 h 1229479"/>
                <a:gd name="connsiteX9" fmla="*/ 782726 w 1653235"/>
                <a:gd name="connsiteY9" fmla="*/ 1075334 h 1229479"/>
                <a:gd name="connsiteX10" fmla="*/ 768096 w 1653235"/>
                <a:gd name="connsiteY10" fmla="*/ 1119225 h 1229479"/>
                <a:gd name="connsiteX11" fmla="*/ 760781 w 1653235"/>
                <a:gd name="connsiteY11" fmla="*/ 1185062 h 1229479"/>
                <a:gd name="connsiteX12" fmla="*/ 753465 w 1653235"/>
                <a:gd name="connsiteY12" fmla="*/ 1207008 h 1229479"/>
                <a:gd name="connsiteX13" fmla="*/ 731520 w 1653235"/>
                <a:gd name="connsiteY13" fmla="*/ 1221638 h 1229479"/>
                <a:gd name="connsiteX14" fmla="*/ 614477 w 1653235"/>
                <a:gd name="connsiteY14" fmla="*/ 1214323 h 1229479"/>
                <a:gd name="connsiteX15" fmla="*/ 592531 w 1653235"/>
                <a:gd name="connsiteY15" fmla="*/ 1207008 h 1229479"/>
                <a:gd name="connsiteX16" fmla="*/ 526694 w 1653235"/>
                <a:gd name="connsiteY16" fmla="*/ 1214323 h 1229479"/>
                <a:gd name="connsiteX17" fmla="*/ 416966 w 1653235"/>
                <a:gd name="connsiteY17" fmla="*/ 1221638 h 1229479"/>
                <a:gd name="connsiteX18" fmla="*/ 409651 w 1653235"/>
                <a:gd name="connsiteY18" fmla="*/ 1199692 h 1229479"/>
                <a:gd name="connsiteX19" fmla="*/ 402336 w 1653235"/>
                <a:gd name="connsiteY19" fmla="*/ 1111910 h 1229479"/>
                <a:gd name="connsiteX20" fmla="*/ 336499 w 1653235"/>
                <a:gd name="connsiteY20" fmla="*/ 1119225 h 1229479"/>
                <a:gd name="connsiteX21" fmla="*/ 314553 w 1653235"/>
                <a:gd name="connsiteY21" fmla="*/ 1126540 h 1229479"/>
                <a:gd name="connsiteX22" fmla="*/ 292608 w 1653235"/>
                <a:gd name="connsiteY22" fmla="*/ 1199692 h 1229479"/>
                <a:gd name="connsiteX23" fmla="*/ 277977 w 1653235"/>
                <a:gd name="connsiteY23" fmla="*/ 1214323 h 1229479"/>
                <a:gd name="connsiteX24" fmla="*/ 241401 w 1653235"/>
                <a:gd name="connsiteY24" fmla="*/ 1207008 h 1229479"/>
                <a:gd name="connsiteX25" fmla="*/ 212141 w 1653235"/>
                <a:gd name="connsiteY25" fmla="*/ 1170432 h 1229479"/>
                <a:gd name="connsiteX26" fmla="*/ 219456 w 1653235"/>
                <a:gd name="connsiteY26" fmla="*/ 1111910 h 1229479"/>
                <a:gd name="connsiteX27" fmla="*/ 234086 w 1653235"/>
                <a:gd name="connsiteY27" fmla="*/ 1089964 h 1229479"/>
                <a:gd name="connsiteX28" fmla="*/ 241401 w 1653235"/>
                <a:gd name="connsiteY28" fmla="*/ 1068019 h 1229479"/>
                <a:gd name="connsiteX29" fmla="*/ 234086 w 1653235"/>
                <a:gd name="connsiteY29" fmla="*/ 1002182 h 1229479"/>
                <a:gd name="connsiteX30" fmla="*/ 168249 w 1653235"/>
                <a:gd name="connsiteY30" fmla="*/ 1024128 h 1229479"/>
                <a:gd name="connsiteX31" fmla="*/ 109728 w 1653235"/>
                <a:gd name="connsiteY31" fmla="*/ 1002182 h 1229479"/>
                <a:gd name="connsiteX32" fmla="*/ 95097 w 1653235"/>
                <a:gd name="connsiteY32" fmla="*/ 980236 h 1229479"/>
                <a:gd name="connsiteX33" fmla="*/ 73152 w 1653235"/>
                <a:gd name="connsiteY33" fmla="*/ 965606 h 1229479"/>
                <a:gd name="connsiteX34" fmla="*/ 43891 w 1653235"/>
                <a:gd name="connsiteY34" fmla="*/ 936345 h 1229479"/>
                <a:gd name="connsiteX35" fmla="*/ 7315 w 1653235"/>
                <a:gd name="connsiteY35" fmla="*/ 907084 h 1229479"/>
                <a:gd name="connsiteX36" fmla="*/ 0 w 1653235"/>
                <a:gd name="connsiteY36" fmla="*/ 885139 h 1229479"/>
                <a:gd name="connsiteX37" fmla="*/ 43891 w 1653235"/>
                <a:gd name="connsiteY37" fmla="*/ 790041 h 1229479"/>
                <a:gd name="connsiteX38" fmla="*/ 87782 w 1653235"/>
                <a:gd name="connsiteY38" fmla="*/ 760780 h 1229479"/>
                <a:gd name="connsiteX39" fmla="*/ 117043 w 1653235"/>
                <a:gd name="connsiteY39" fmla="*/ 724204 h 1229479"/>
                <a:gd name="connsiteX40" fmla="*/ 131673 w 1653235"/>
                <a:gd name="connsiteY40" fmla="*/ 702259 h 1229479"/>
                <a:gd name="connsiteX41" fmla="*/ 168249 w 1653235"/>
                <a:gd name="connsiteY41" fmla="*/ 672998 h 1229479"/>
                <a:gd name="connsiteX42" fmla="*/ 212141 w 1653235"/>
                <a:gd name="connsiteY42" fmla="*/ 680313 h 1229479"/>
                <a:gd name="connsiteX43" fmla="*/ 248717 w 1653235"/>
                <a:gd name="connsiteY43" fmla="*/ 709574 h 1229479"/>
                <a:gd name="connsiteX44" fmla="*/ 292608 w 1653235"/>
                <a:gd name="connsiteY44" fmla="*/ 731520 h 1229479"/>
                <a:gd name="connsiteX45" fmla="*/ 336499 w 1653235"/>
                <a:gd name="connsiteY45" fmla="*/ 753465 h 1229479"/>
                <a:gd name="connsiteX46" fmla="*/ 387705 w 1653235"/>
                <a:gd name="connsiteY46" fmla="*/ 775411 h 1229479"/>
                <a:gd name="connsiteX47" fmla="*/ 402336 w 1653235"/>
                <a:gd name="connsiteY47" fmla="*/ 790041 h 1229479"/>
                <a:gd name="connsiteX48" fmla="*/ 453542 w 1653235"/>
                <a:gd name="connsiteY48" fmla="*/ 797356 h 1229479"/>
                <a:gd name="connsiteX49" fmla="*/ 475488 w 1653235"/>
                <a:gd name="connsiteY49" fmla="*/ 804672 h 1229479"/>
                <a:gd name="connsiteX50" fmla="*/ 577901 w 1653235"/>
                <a:gd name="connsiteY50" fmla="*/ 790041 h 1229479"/>
                <a:gd name="connsiteX51" fmla="*/ 621792 w 1653235"/>
                <a:gd name="connsiteY51" fmla="*/ 782726 h 1229479"/>
                <a:gd name="connsiteX52" fmla="*/ 643737 w 1653235"/>
                <a:gd name="connsiteY52" fmla="*/ 775411 h 1229479"/>
                <a:gd name="connsiteX53" fmla="*/ 658368 w 1653235"/>
                <a:gd name="connsiteY53" fmla="*/ 753465 h 1229479"/>
                <a:gd name="connsiteX54" fmla="*/ 680313 w 1653235"/>
                <a:gd name="connsiteY54" fmla="*/ 731520 h 1229479"/>
                <a:gd name="connsiteX55" fmla="*/ 702259 w 1653235"/>
                <a:gd name="connsiteY55" fmla="*/ 651052 h 1229479"/>
                <a:gd name="connsiteX56" fmla="*/ 746150 w 1653235"/>
                <a:gd name="connsiteY56" fmla="*/ 636422 h 1229479"/>
                <a:gd name="connsiteX57" fmla="*/ 753465 w 1653235"/>
                <a:gd name="connsiteY57" fmla="*/ 570585 h 1229479"/>
                <a:gd name="connsiteX58" fmla="*/ 738835 w 1653235"/>
                <a:gd name="connsiteY58" fmla="*/ 548640 h 1229479"/>
                <a:gd name="connsiteX59" fmla="*/ 716889 w 1653235"/>
                <a:gd name="connsiteY59" fmla="*/ 534009 h 1229479"/>
                <a:gd name="connsiteX60" fmla="*/ 702259 w 1653235"/>
                <a:gd name="connsiteY60" fmla="*/ 490118 h 1229479"/>
                <a:gd name="connsiteX61" fmla="*/ 716889 w 1653235"/>
                <a:gd name="connsiteY61" fmla="*/ 446227 h 1229479"/>
                <a:gd name="connsiteX62" fmla="*/ 724205 w 1653235"/>
                <a:gd name="connsiteY62" fmla="*/ 424281 h 1229479"/>
                <a:gd name="connsiteX63" fmla="*/ 621792 w 1653235"/>
                <a:gd name="connsiteY63" fmla="*/ 402336 h 1229479"/>
                <a:gd name="connsiteX64" fmla="*/ 614477 w 1653235"/>
                <a:gd name="connsiteY64" fmla="*/ 468172 h 1229479"/>
                <a:gd name="connsiteX65" fmla="*/ 577901 w 1653235"/>
                <a:gd name="connsiteY65" fmla="*/ 475488 h 1229479"/>
                <a:gd name="connsiteX66" fmla="*/ 534009 w 1653235"/>
                <a:gd name="connsiteY66" fmla="*/ 468172 h 1229479"/>
                <a:gd name="connsiteX67" fmla="*/ 512064 w 1653235"/>
                <a:gd name="connsiteY67" fmla="*/ 446227 h 1229479"/>
                <a:gd name="connsiteX68" fmla="*/ 490118 w 1653235"/>
                <a:gd name="connsiteY68" fmla="*/ 431596 h 1229479"/>
                <a:gd name="connsiteX69" fmla="*/ 475488 w 1653235"/>
                <a:gd name="connsiteY69" fmla="*/ 409651 h 1229479"/>
                <a:gd name="connsiteX70" fmla="*/ 460857 w 1653235"/>
                <a:gd name="connsiteY70" fmla="*/ 263347 h 1229479"/>
                <a:gd name="connsiteX71" fmla="*/ 453542 w 1653235"/>
                <a:gd name="connsiteY71" fmla="*/ 241401 h 1229479"/>
                <a:gd name="connsiteX72" fmla="*/ 395021 w 1653235"/>
                <a:gd name="connsiteY72" fmla="*/ 190195 h 1229479"/>
                <a:gd name="connsiteX73" fmla="*/ 351129 w 1653235"/>
                <a:gd name="connsiteY73" fmla="*/ 175564 h 1229479"/>
                <a:gd name="connsiteX74" fmla="*/ 277977 w 1653235"/>
                <a:gd name="connsiteY74" fmla="*/ 168249 h 1229479"/>
                <a:gd name="connsiteX75" fmla="*/ 256032 w 1653235"/>
                <a:gd name="connsiteY75" fmla="*/ 146304 h 1229479"/>
                <a:gd name="connsiteX76" fmla="*/ 234086 w 1653235"/>
                <a:gd name="connsiteY76" fmla="*/ 138988 h 1229479"/>
                <a:gd name="connsiteX77" fmla="*/ 219456 w 1653235"/>
                <a:gd name="connsiteY77" fmla="*/ 109728 h 1229479"/>
                <a:gd name="connsiteX78" fmla="*/ 256032 w 1653235"/>
                <a:gd name="connsiteY78" fmla="*/ 80467 h 1229479"/>
                <a:gd name="connsiteX79" fmla="*/ 270662 w 1653235"/>
                <a:gd name="connsiteY79" fmla="*/ 65836 h 1229479"/>
                <a:gd name="connsiteX80" fmla="*/ 307238 w 1653235"/>
                <a:gd name="connsiteY80" fmla="*/ 58521 h 1229479"/>
                <a:gd name="connsiteX81" fmla="*/ 446227 w 1653235"/>
                <a:gd name="connsiteY81" fmla="*/ 51206 h 1229479"/>
                <a:gd name="connsiteX82" fmla="*/ 563270 w 1653235"/>
                <a:gd name="connsiteY82" fmla="*/ 58521 h 1229479"/>
                <a:gd name="connsiteX83" fmla="*/ 607161 w 1653235"/>
                <a:gd name="connsiteY83" fmla="*/ 73152 h 1229479"/>
                <a:gd name="connsiteX84" fmla="*/ 651053 w 1653235"/>
                <a:gd name="connsiteY84" fmla="*/ 131673 h 1229479"/>
                <a:gd name="connsiteX85" fmla="*/ 702259 w 1653235"/>
                <a:gd name="connsiteY85" fmla="*/ 124358 h 1229479"/>
                <a:gd name="connsiteX86" fmla="*/ 760781 w 1653235"/>
                <a:gd name="connsiteY86" fmla="*/ 73152 h 1229479"/>
                <a:gd name="connsiteX87" fmla="*/ 775411 w 1653235"/>
                <a:gd name="connsiteY87" fmla="*/ 58521 h 1229479"/>
                <a:gd name="connsiteX88" fmla="*/ 790041 w 1653235"/>
                <a:gd name="connsiteY88" fmla="*/ 36576 h 1229479"/>
                <a:gd name="connsiteX89" fmla="*/ 811987 w 1653235"/>
                <a:gd name="connsiteY89" fmla="*/ 21945 h 1229479"/>
                <a:gd name="connsiteX90" fmla="*/ 833933 w 1653235"/>
                <a:gd name="connsiteY90" fmla="*/ 0 h 1229479"/>
                <a:gd name="connsiteX91" fmla="*/ 914400 w 1653235"/>
                <a:gd name="connsiteY91" fmla="*/ 7315 h 1229479"/>
                <a:gd name="connsiteX92" fmla="*/ 936345 w 1653235"/>
                <a:gd name="connsiteY92" fmla="*/ 14630 h 1229479"/>
                <a:gd name="connsiteX93" fmla="*/ 965606 w 1653235"/>
                <a:gd name="connsiteY93" fmla="*/ 21945 h 1229479"/>
                <a:gd name="connsiteX94" fmla="*/ 987552 w 1653235"/>
                <a:gd name="connsiteY94" fmla="*/ 36576 h 1229479"/>
                <a:gd name="connsiteX95" fmla="*/ 1009497 w 1653235"/>
                <a:gd name="connsiteY95" fmla="*/ 43891 h 1229479"/>
                <a:gd name="connsiteX96" fmla="*/ 1031443 w 1653235"/>
                <a:gd name="connsiteY96" fmla="*/ 65836 h 1229479"/>
                <a:gd name="connsiteX97" fmla="*/ 1053389 w 1653235"/>
                <a:gd name="connsiteY97" fmla="*/ 73152 h 1229479"/>
                <a:gd name="connsiteX98" fmla="*/ 1097280 w 1653235"/>
                <a:gd name="connsiteY98" fmla="*/ 95097 h 1229479"/>
                <a:gd name="connsiteX99" fmla="*/ 1133856 w 1653235"/>
                <a:gd name="connsiteY99" fmla="*/ 117043 h 1229479"/>
                <a:gd name="connsiteX100" fmla="*/ 1177747 w 1653235"/>
                <a:gd name="connsiteY100" fmla="*/ 138988 h 1229479"/>
                <a:gd name="connsiteX101" fmla="*/ 1207008 w 1653235"/>
                <a:gd name="connsiteY101" fmla="*/ 175564 h 1229479"/>
                <a:gd name="connsiteX102" fmla="*/ 1250899 w 1653235"/>
                <a:gd name="connsiteY102" fmla="*/ 190195 h 1229479"/>
                <a:gd name="connsiteX103" fmla="*/ 1316736 w 1653235"/>
                <a:gd name="connsiteY103" fmla="*/ 182880 h 1229479"/>
                <a:gd name="connsiteX104" fmla="*/ 1345997 w 1653235"/>
                <a:gd name="connsiteY104" fmla="*/ 160934 h 1229479"/>
                <a:gd name="connsiteX105" fmla="*/ 1360627 w 1653235"/>
                <a:gd name="connsiteY105" fmla="*/ 204825 h 1229479"/>
                <a:gd name="connsiteX106" fmla="*/ 1375257 w 1653235"/>
                <a:gd name="connsiteY106" fmla="*/ 299923 h 1229479"/>
                <a:gd name="connsiteX107" fmla="*/ 1382573 w 1653235"/>
                <a:gd name="connsiteY107" fmla="*/ 321868 h 1229479"/>
                <a:gd name="connsiteX108" fmla="*/ 1397203 w 1653235"/>
                <a:gd name="connsiteY108" fmla="*/ 336499 h 1229479"/>
                <a:gd name="connsiteX109" fmla="*/ 1411833 w 1653235"/>
                <a:gd name="connsiteY109" fmla="*/ 358444 h 1229479"/>
                <a:gd name="connsiteX110" fmla="*/ 1433779 w 1653235"/>
                <a:gd name="connsiteY110" fmla="*/ 365760 h 1229479"/>
                <a:gd name="connsiteX111" fmla="*/ 1477670 w 1653235"/>
                <a:gd name="connsiteY111" fmla="*/ 395020 h 1229479"/>
                <a:gd name="connsiteX112" fmla="*/ 1492301 w 1653235"/>
                <a:gd name="connsiteY112" fmla="*/ 409651 h 1229479"/>
                <a:gd name="connsiteX113" fmla="*/ 1521561 w 1653235"/>
                <a:gd name="connsiteY113" fmla="*/ 416966 h 1229479"/>
                <a:gd name="connsiteX114" fmla="*/ 1543507 w 1653235"/>
                <a:gd name="connsiteY114" fmla="*/ 424281 h 1229479"/>
                <a:gd name="connsiteX115" fmla="*/ 1587398 w 1653235"/>
                <a:gd name="connsiteY115" fmla="*/ 453542 h 1229479"/>
                <a:gd name="connsiteX116" fmla="*/ 1602029 w 1653235"/>
                <a:gd name="connsiteY116" fmla="*/ 468172 h 1229479"/>
                <a:gd name="connsiteX117" fmla="*/ 1623974 w 1653235"/>
                <a:gd name="connsiteY117" fmla="*/ 475488 h 1229479"/>
                <a:gd name="connsiteX118" fmla="*/ 1623974 w 1653235"/>
                <a:gd name="connsiteY118" fmla="*/ 534009 h 1229479"/>
                <a:gd name="connsiteX119" fmla="*/ 1580083 w 1653235"/>
                <a:gd name="connsiteY119" fmla="*/ 563270 h 1229479"/>
                <a:gd name="connsiteX120" fmla="*/ 1558137 w 1653235"/>
                <a:gd name="connsiteY120" fmla="*/ 577900 h 1229479"/>
                <a:gd name="connsiteX121" fmla="*/ 1558137 w 1653235"/>
                <a:gd name="connsiteY121" fmla="*/ 629107 h 1229479"/>
                <a:gd name="connsiteX122" fmla="*/ 1580083 w 1653235"/>
                <a:gd name="connsiteY122" fmla="*/ 636422 h 1229479"/>
                <a:gd name="connsiteX123" fmla="*/ 1602029 w 1653235"/>
                <a:gd name="connsiteY123" fmla="*/ 658368 h 1229479"/>
                <a:gd name="connsiteX124" fmla="*/ 1631289 w 1653235"/>
                <a:gd name="connsiteY124" fmla="*/ 672998 h 1229479"/>
                <a:gd name="connsiteX125" fmla="*/ 1638605 w 1653235"/>
                <a:gd name="connsiteY125" fmla="*/ 694944 h 1229479"/>
                <a:gd name="connsiteX126" fmla="*/ 1653235 w 1653235"/>
                <a:gd name="connsiteY126" fmla="*/ 716889 h 1229479"/>
                <a:gd name="connsiteX127" fmla="*/ 1623974 w 1653235"/>
                <a:gd name="connsiteY127" fmla="*/ 782726 h 1229479"/>
                <a:gd name="connsiteX128" fmla="*/ 1602029 w 1653235"/>
                <a:gd name="connsiteY128" fmla="*/ 790041 h 1229479"/>
                <a:gd name="connsiteX129" fmla="*/ 1587398 w 1653235"/>
                <a:gd name="connsiteY129" fmla="*/ 833932 h 1229479"/>
                <a:gd name="connsiteX130" fmla="*/ 1572768 w 1653235"/>
                <a:gd name="connsiteY130" fmla="*/ 929030 h 1229479"/>
                <a:gd name="connsiteX131" fmla="*/ 1558137 w 1653235"/>
                <a:gd name="connsiteY131" fmla="*/ 950976 h 1229479"/>
                <a:gd name="connsiteX132" fmla="*/ 1543507 w 1653235"/>
                <a:gd name="connsiteY132" fmla="*/ 1009497 h 1229479"/>
                <a:gd name="connsiteX133" fmla="*/ 1528877 w 1653235"/>
                <a:gd name="connsiteY133" fmla="*/ 1024128 h 1229479"/>
                <a:gd name="connsiteX134" fmla="*/ 1499616 w 1653235"/>
                <a:gd name="connsiteY134" fmla="*/ 1068019 h 1229479"/>
                <a:gd name="connsiteX135" fmla="*/ 1484985 w 1653235"/>
                <a:gd name="connsiteY135" fmla="*/ 1089964 h 1229479"/>
                <a:gd name="connsiteX136" fmla="*/ 1470355 w 1653235"/>
                <a:gd name="connsiteY136" fmla="*/ 1104595 h 1229479"/>
                <a:gd name="connsiteX137" fmla="*/ 1463040 w 1653235"/>
                <a:gd name="connsiteY137" fmla="*/ 1126540 h 1229479"/>
                <a:gd name="connsiteX138" fmla="*/ 1433779 w 1653235"/>
                <a:gd name="connsiteY138" fmla="*/ 1141171 h 1229479"/>
                <a:gd name="connsiteX139" fmla="*/ 1404518 w 1653235"/>
                <a:gd name="connsiteY139" fmla="*/ 1163116 h 1229479"/>
                <a:gd name="connsiteX140" fmla="*/ 1382573 w 1653235"/>
                <a:gd name="connsiteY140" fmla="*/ 1170432 h 1229479"/>
                <a:gd name="connsiteX141" fmla="*/ 1316736 w 1653235"/>
                <a:gd name="connsiteY141" fmla="*/ 1207008 h 1229479"/>
                <a:gd name="connsiteX142" fmla="*/ 1170432 w 1653235"/>
                <a:gd name="connsiteY142" fmla="*/ 1192377 h 1229479"/>
                <a:gd name="connsiteX143" fmla="*/ 1126541 w 1653235"/>
                <a:gd name="connsiteY143" fmla="*/ 1177747 h 1229479"/>
                <a:gd name="connsiteX144" fmla="*/ 1104595 w 1653235"/>
                <a:gd name="connsiteY144" fmla="*/ 1170432 h 1229479"/>
                <a:gd name="connsiteX145" fmla="*/ 1082649 w 1653235"/>
                <a:gd name="connsiteY145" fmla="*/ 1155801 h 1229479"/>
                <a:gd name="connsiteX146" fmla="*/ 1082649 w 1653235"/>
                <a:gd name="connsiteY146" fmla="*/ 1068019 h 1229479"/>
                <a:gd name="connsiteX147" fmla="*/ 1060704 w 1653235"/>
                <a:gd name="connsiteY147" fmla="*/ 1060704 h 1229479"/>
                <a:gd name="connsiteX148" fmla="*/ 1031443 w 1653235"/>
                <a:gd name="connsiteY148" fmla="*/ 1053388 h 1229479"/>
                <a:gd name="connsiteX149" fmla="*/ 1009497 w 1653235"/>
                <a:gd name="connsiteY149" fmla="*/ 1060704 h 1229479"/>
                <a:gd name="connsiteX150" fmla="*/ 1002182 w 1653235"/>
                <a:gd name="connsiteY150" fmla="*/ 1082649 h 1229479"/>
                <a:gd name="connsiteX151" fmla="*/ 1016813 w 1653235"/>
                <a:gd name="connsiteY151" fmla="*/ 1148486 h 1229479"/>
                <a:gd name="connsiteX152" fmla="*/ 1009497 w 1653235"/>
                <a:gd name="connsiteY152" fmla="*/ 1170432 h 1229479"/>
                <a:gd name="connsiteX153" fmla="*/ 972921 w 1653235"/>
                <a:gd name="connsiteY153" fmla="*/ 1177747 h 1229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1653235" h="1229479">
                  <a:moveTo>
                    <a:pt x="972921" y="1177747"/>
                  </a:moveTo>
                  <a:cubicBezTo>
                    <a:pt x="955852" y="1175309"/>
                    <a:pt x="927658" y="1176374"/>
                    <a:pt x="907085" y="1155801"/>
                  </a:cubicBezTo>
                  <a:cubicBezTo>
                    <a:pt x="900868" y="1149584"/>
                    <a:pt x="897331" y="1141171"/>
                    <a:pt x="892454" y="1133856"/>
                  </a:cubicBezTo>
                  <a:cubicBezTo>
                    <a:pt x="890016" y="1126541"/>
                    <a:pt x="886158" y="1119553"/>
                    <a:pt x="885139" y="1111910"/>
                  </a:cubicBezTo>
                  <a:cubicBezTo>
                    <a:pt x="881259" y="1082805"/>
                    <a:pt x="883976" y="1052838"/>
                    <a:pt x="877824" y="1024128"/>
                  </a:cubicBezTo>
                  <a:cubicBezTo>
                    <a:pt x="876379" y="1017384"/>
                    <a:pt x="867502" y="1014883"/>
                    <a:pt x="863193" y="1009497"/>
                  </a:cubicBezTo>
                  <a:cubicBezTo>
                    <a:pt x="857701" y="1002632"/>
                    <a:pt x="853440" y="994867"/>
                    <a:pt x="848563" y="987552"/>
                  </a:cubicBezTo>
                  <a:cubicBezTo>
                    <a:pt x="831494" y="989990"/>
                    <a:pt x="811978" y="985729"/>
                    <a:pt x="797357" y="994867"/>
                  </a:cubicBezTo>
                  <a:cubicBezTo>
                    <a:pt x="788831" y="1000196"/>
                    <a:pt x="791840" y="1014236"/>
                    <a:pt x="790041" y="1024128"/>
                  </a:cubicBezTo>
                  <a:cubicBezTo>
                    <a:pt x="786957" y="1041092"/>
                    <a:pt x="786603" y="1058534"/>
                    <a:pt x="782726" y="1075334"/>
                  </a:cubicBezTo>
                  <a:cubicBezTo>
                    <a:pt x="779258" y="1090361"/>
                    <a:pt x="768096" y="1119225"/>
                    <a:pt x="768096" y="1119225"/>
                  </a:cubicBezTo>
                  <a:cubicBezTo>
                    <a:pt x="765658" y="1141171"/>
                    <a:pt x="764411" y="1163282"/>
                    <a:pt x="760781" y="1185062"/>
                  </a:cubicBezTo>
                  <a:cubicBezTo>
                    <a:pt x="759513" y="1192668"/>
                    <a:pt x="758282" y="1200987"/>
                    <a:pt x="753465" y="1207008"/>
                  </a:cubicBezTo>
                  <a:cubicBezTo>
                    <a:pt x="747973" y="1213873"/>
                    <a:pt x="738835" y="1216761"/>
                    <a:pt x="731520" y="1221638"/>
                  </a:cubicBezTo>
                  <a:cubicBezTo>
                    <a:pt x="692506" y="1219200"/>
                    <a:pt x="653353" y="1218415"/>
                    <a:pt x="614477" y="1214323"/>
                  </a:cubicBezTo>
                  <a:cubicBezTo>
                    <a:pt x="606808" y="1213516"/>
                    <a:pt x="600242" y="1207008"/>
                    <a:pt x="592531" y="1207008"/>
                  </a:cubicBezTo>
                  <a:cubicBezTo>
                    <a:pt x="570450" y="1207008"/>
                    <a:pt x="548640" y="1211885"/>
                    <a:pt x="526694" y="1214323"/>
                  </a:cubicBezTo>
                  <a:cubicBezTo>
                    <a:pt x="461855" y="1235935"/>
                    <a:pt x="498130" y="1230656"/>
                    <a:pt x="416966" y="1221638"/>
                  </a:cubicBezTo>
                  <a:cubicBezTo>
                    <a:pt x="414528" y="1214323"/>
                    <a:pt x="410670" y="1207335"/>
                    <a:pt x="409651" y="1199692"/>
                  </a:cubicBezTo>
                  <a:cubicBezTo>
                    <a:pt x="405771" y="1170587"/>
                    <a:pt x="422087" y="1133636"/>
                    <a:pt x="402336" y="1111910"/>
                  </a:cubicBezTo>
                  <a:cubicBezTo>
                    <a:pt x="387483" y="1095572"/>
                    <a:pt x="358445" y="1116787"/>
                    <a:pt x="336499" y="1119225"/>
                  </a:cubicBezTo>
                  <a:cubicBezTo>
                    <a:pt x="329184" y="1121663"/>
                    <a:pt x="319035" y="1120265"/>
                    <a:pt x="314553" y="1126540"/>
                  </a:cubicBezTo>
                  <a:cubicBezTo>
                    <a:pt x="287707" y="1164126"/>
                    <a:pt x="309555" y="1165799"/>
                    <a:pt x="292608" y="1199692"/>
                  </a:cubicBezTo>
                  <a:cubicBezTo>
                    <a:pt x="289523" y="1205861"/>
                    <a:pt x="282854" y="1209446"/>
                    <a:pt x="277977" y="1214323"/>
                  </a:cubicBezTo>
                  <a:cubicBezTo>
                    <a:pt x="265785" y="1211885"/>
                    <a:pt x="252829" y="1211906"/>
                    <a:pt x="241401" y="1207008"/>
                  </a:cubicBezTo>
                  <a:cubicBezTo>
                    <a:pt x="231674" y="1202839"/>
                    <a:pt x="216423" y="1176855"/>
                    <a:pt x="212141" y="1170432"/>
                  </a:cubicBezTo>
                  <a:cubicBezTo>
                    <a:pt x="214579" y="1150925"/>
                    <a:pt x="214284" y="1130876"/>
                    <a:pt x="219456" y="1111910"/>
                  </a:cubicBezTo>
                  <a:cubicBezTo>
                    <a:pt x="221769" y="1103428"/>
                    <a:pt x="230154" y="1097828"/>
                    <a:pt x="234086" y="1089964"/>
                  </a:cubicBezTo>
                  <a:cubicBezTo>
                    <a:pt x="237534" y="1083067"/>
                    <a:pt x="238963" y="1075334"/>
                    <a:pt x="241401" y="1068019"/>
                  </a:cubicBezTo>
                  <a:cubicBezTo>
                    <a:pt x="238963" y="1046073"/>
                    <a:pt x="249699" y="1017796"/>
                    <a:pt x="234086" y="1002182"/>
                  </a:cubicBezTo>
                  <a:cubicBezTo>
                    <a:pt x="209215" y="977310"/>
                    <a:pt x="181806" y="1010571"/>
                    <a:pt x="168249" y="1024128"/>
                  </a:cubicBezTo>
                  <a:cubicBezTo>
                    <a:pt x="142081" y="1018894"/>
                    <a:pt x="128564" y="1021018"/>
                    <a:pt x="109728" y="1002182"/>
                  </a:cubicBezTo>
                  <a:cubicBezTo>
                    <a:pt x="103511" y="995965"/>
                    <a:pt x="101314" y="986453"/>
                    <a:pt x="95097" y="980236"/>
                  </a:cubicBezTo>
                  <a:cubicBezTo>
                    <a:pt x="88880" y="974019"/>
                    <a:pt x="79827" y="971327"/>
                    <a:pt x="73152" y="965606"/>
                  </a:cubicBezTo>
                  <a:cubicBezTo>
                    <a:pt x="62679" y="956629"/>
                    <a:pt x="55368" y="943996"/>
                    <a:pt x="43891" y="936345"/>
                  </a:cubicBezTo>
                  <a:cubicBezTo>
                    <a:pt x="16206" y="917889"/>
                    <a:pt x="28162" y="927932"/>
                    <a:pt x="7315" y="907084"/>
                  </a:cubicBezTo>
                  <a:cubicBezTo>
                    <a:pt x="4877" y="899769"/>
                    <a:pt x="0" y="892850"/>
                    <a:pt x="0" y="885139"/>
                  </a:cubicBezTo>
                  <a:cubicBezTo>
                    <a:pt x="0" y="834994"/>
                    <a:pt x="1705" y="818165"/>
                    <a:pt x="43891" y="790041"/>
                  </a:cubicBezTo>
                  <a:lnTo>
                    <a:pt x="87782" y="760780"/>
                  </a:lnTo>
                  <a:cubicBezTo>
                    <a:pt x="132824" y="693222"/>
                    <a:pt x="75342" y="776332"/>
                    <a:pt x="117043" y="724204"/>
                  </a:cubicBezTo>
                  <a:cubicBezTo>
                    <a:pt x="122535" y="717339"/>
                    <a:pt x="126181" y="709124"/>
                    <a:pt x="131673" y="702259"/>
                  </a:cubicBezTo>
                  <a:cubicBezTo>
                    <a:pt x="143586" y="687368"/>
                    <a:pt x="151954" y="683861"/>
                    <a:pt x="168249" y="672998"/>
                  </a:cubicBezTo>
                  <a:cubicBezTo>
                    <a:pt x="182880" y="675436"/>
                    <a:pt x="198070" y="675623"/>
                    <a:pt x="212141" y="680313"/>
                  </a:cubicBezTo>
                  <a:cubicBezTo>
                    <a:pt x="231435" y="686744"/>
                    <a:pt x="234451" y="698161"/>
                    <a:pt x="248717" y="709574"/>
                  </a:cubicBezTo>
                  <a:cubicBezTo>
                    <a:pt x="283657" y="737525"/>
                    <a:pt x="256551" y="713491"/>
                    <a:pt x="292608" y="731520"/>
                  </a:cubicBezTo>
                  <a:cubicBezTo>
                    <a:pt x="349323" y="759878"/>
                    <a:pt x="281343" y="735081"/>
                    <a:pt x="336499" y="753465"/>
                  </a:cubicBezTo>
                  <a:cubicBezTo>
                    <a:pt x="369535" y="786503"/>
                    <a:pt x="327034" y="749410"/>
                    <a:pt x="387705" y="775411"/>
                  </a:cubicBezTo>
                  <a:cubicBezTo>
                    <a:pt x="394044" y="778128"/>
                    <a:pt x="395793" y="787860"/>
                    <a:pt x="402336" y="790041"/>
                  </a:cubicBezTo>
                  <a:cubicBezTo>
                    <a:pt x="418693" y="795493"/>
                    <a:pt x="436473" y="794918"/>
                    <a:pt x="453542" y="797356"/>
                  </a:cubicBezTo>
                  <a:cubicBezTo>
                    <a:pt x="460857" y="799795"/>
                    <a:pt x="467777" y="804672"/>
                    <a:pt x="475488" y="804672"/>
                  </a:cubicBezTo>
                  <a:cubicBezTo>
                    <a:pt x="516231" y="804672"/>
                    <a:pt x="540761" y="796793"/>
                    <a:pt x="577901" y="790041"/>
                  </a:cubicBezTo>
                  <a:cubicBezTo>
                    <a:pt x="592494" y="787388"/>
                    <a:pt x="607162" y="785164"/>
                    <a:pt x="621792" y="782726"/>
                  </a:cubicBezTo>
                  <a:cubicBezTo>
                    <a:pt x="629107" y="780288"/>
                    <a:pt x="637716" y="780228"/>
                    <a:pt x="643737" y="775411"/>
                  </a:cubicBezTo>
                  <a:cubicBezTo>
                    <a:pt x="650602" y="769919"/>
                    <a:pt x="652739" y="760219"/>
                    <a:pt x="658368" y="753465"/>
                  </a:cubicBezTo>
                  <a:cubicBezTo>
                    <a:pt x="664991" y="745518"/>
                    <a:pt x="672998" y="738835"/>
                    <a:pt x="680313" y="731520"/>
                  </a:cubicBezTo>
                  <a:cubicBezTo>
                    <a:pt x="682101" y="722581"/>
                    <a:pt x="694306" y="653703"/>
                    <a:pt x="702259" y="651052"/>
                  </a:cubicBezTo>
                  <a:lnTo>
                    <a:pt x="746150" y="636422"/>
                  </a:lnTo>
                  <a:cubicBezTo>
                    <a:pt x="758343" y="599844"/>
                    <a:pt x="768096" y="599847"/>
                    <a:pt x="753465" y="570585"/>
                  </a:cubicBezTo>
                  <a:cubicBezTo>
                    <a:pt x="749533" y="562722"/>
                    <a:pt x="745052" y="554857"/>
                    <a:pt x="738835" y="548640"/>
                  </a:cubicBezTo>
                  <a:cubicBezTo>
                    <a:pt x="732618" y="542423"/>
                    <a:pt x="724204" y="538886"/>
                    <a:pt x="716889" y="534009"/>
                  </a:cubicBezTo>
                  <a:cubicBezTo>
                    <a:pt x="712012" y="519379"/>
                    <a:pt x="697382" y="504748"/>
                    <a:pt x="702259" y="490118"/>
                  </a:cubicBezTo>
                  <a:lnTo>
                    <a:pt x="716889" y="446227"/>
                  </a:lnTo>
                  <a:lnTo>
                    <a:pt x="724205" y="424281"/>
                  </a:lnTo>
                  <a:cubicBezTo>
                    <a:pt x="705517" y="386907"/>
                    <a:pt x="696007" y="345247"/>
                    <a:pt x="621792" y="402336"/>
                  </a:cubicBezTo>
                  <a:cubicBezTo>
                    <a:pt x="604291" y="415799"/>
                    <a:pt x="625837" y="449238"/>
                    <a:pt x="614477" y="468172"/>
                  </a:cubicBezTo>
                  <a:cubicBezTo>
                    <a:pt x="608080" y="478834"/>
                    <a:pt x="590093" y="473049"/>
                    <a:pt x="577901" y="475488"/>
                  </a:cubicBezTo>
                  <a:cubicBezTo>
                    <a:pt x="563270" y="473049"/>
                    <a:pt x="547563" y="474196"/>
                    <a:pt x="534009" y="468172"/>
                  </a:cubicBezTo>
                  <a:cubicBezTo>
                    <a:pt x="524556" y="463970"/>
                    <a:pt x="520011" y="452850"/>
                    <a:pt x="512064" y="446227"/>
                  </a:cubicBezTo>
                  <a:cubicBezTo>
                    <a:pt x="505310" y="440598"/>
                    <a:pt x="497433" y="436473"/>
                    <a:pt x="490118" y="431596"/>
                  </a:cubicBezTo>
                  <a:cubicBezTo>
                    <a:pt x="485241" y="424281"/>
                    <a:pt x="479420" y="417514"/>
                    <a:pt x="475488" y="409651"/>
                  </a:cubicBezTo>
                  <a:cubicBezTo>
                    <a:pt x="456336" y="371347"/>
                    <a:pt x="461658" y="271355"/>
                    <a:pt x="460857" y="263347"/>
                  </a:cubicBezTo>
                  <a:cubicBezTo>
                    <a:pt x="460090" y="255674"/>
                    <a:pt x="456990" y="248298"/>
                    <a:pt x="453542" y="241401"/>
                  </a:cubicBezTo>
                  <a:cubicBezTo>
                    <a:pt x="441594" y="217505"/>
                    <a:pt x="421354" y="198973"/>
                    <a:pt x="395021" y="190195"/>
                  </a:cubicBezTo>
                  <a:cubicBezTo>
                    <a:pt x="380390" y="185318"/>
                    <a:pt x="366475" y="177099"/>
                    <a:pt x="351129" y="175564"/>
                  </a:cubicBezTo>
                  <a:lnTo>
                    <a:pt x="277977" y="168249"/>
                  </a:lnTo>
                  <a:cubicBezTo>
                    <a:pt x="270662" y="160934"/>
                    <a:pt x="264640" y="152042"/>
                    <a:pt x="256032" y="146304"/>
                  </a:cubicBezTo>
                  <a:cubicBezTo>
                    <a:pt x="249616" y="142027"/>
                    <a:pt x="239539" y="144441"/>
                    <a:pt x="234086" y="138988"/>
                  </a:cubicBezTo>
                  <a:cubicBezTo>
                    <a:pt x="226375" y="131277"/>
                    <a:pt x="224333" y="119481"/>
                    <a:pt x="219456" y="109728"/>
                  </a:cubicBezTo>
                  <a:cubicBezTo>
                    <a:pt x="248595" y="66017"/>
                    <a:pt x="216771" y="104024"/>
                    <a:pt x="256032" y="80467"/>
                  </a:cubicBezTo>
                  <a:cubicBezTo>
                    <a:pt x="261946" y="76919"/>
                    <a:pt x="264323" y="68553"/>
                    <a:pt x="270662" y="65836"/>
                  </a:cubicBezTo>
                  <a:cubicBezTo>
                    <a:pt x="282090" y="60938"/>
                    <a:pt x="294848" y="59554"/>
                    <a:pt x="307238" y="58521"/>
                  </a:cubicBezTo>
                  <a:cubicBezTo>
                    <a:pt x="353472" y="54668"/>
                    <a:pt x="399897" y="53644"/>
                    <a:pt x="446227" y="51206"/>
                  </a:cubicBezTo>
                  <a:cubicBezTo>
                    <a:pt x="485241" y="53644"/>
                    <a:pt x="524538" y="53239"/>
                    <a:pt x="563270" y="58521"/>
                  </a:cubicBezTo>
                  <a:cubicBezTo>
                    <a:pt x="578550" y="60605"/>
                    <a:pt x="607161" y="73152"/>
                    <a:pt x="607161" y="73152"/>
                  </a:cubicBezTo>
                  <a:cubicBezTo>
                    <a:pt x="649189" y="115180"/>
                    <a:pt x="638284" y="93371"/>
                    <a:pt x="651053" y="131673"/>
                  </a:cubicBezTo>
                  <a:cubicBezTo>
                    <a:pt x="668122" y="129235"/>
                    <a:pt x="685744" y="129312"/>
                    <a:pt x="702259" y="124358"/>
                  </a:cubicBezTo>
                  <a:cubicBezTo>
                    <a:pt x="719542" y="119173"/>
                    <a:pt x="755268" y="78665"/>
                    <a:pt x="760781" y="73152"/>
                  </a:cubicBezTo>
                  <a:cubicBezTo>
                    <a:pt x="765658" y="68275"/>
                    <a:pt x="771585" y="64260"/>
                    <a:pt x="775411" y="58521"/>
                  </a:cubicBezTo>
                  <a:cubicBezTo>
                    <a:pt x="780288" y="51206"/>
                    <a:pt x="783824" y="42793"/>
                    <a:pt x="790041" y="36576"/>
                  </a:cubicBezTo>
                  <a:cubicBezTo>
                    <a:pt x="796258" y="30359"/>
                    <a:pt x="805233" y="27573"/>
                    <a:pt x="811987" y="21945"/>
                  </a:cubicBezTo>
                  <a:cubicBezTo>
                    <a:pt x="819934" y="15322"/>
                    <a:pt x="826618" y="7315"/>
                    <a:pt x="833933" y="0"/>
                  </a:cubicBezTo>
                  <a:cubicBezTo>
                    <a:pt x="860755" y="2438"/>
                    <a:pt x="887738" y="3506"/>
                    <a:pt x="914400" y="7315"/>
                  </a:cubicBezTo>
                  <a:cubicBezTo>
                    <a:pt x="922033" y="8405"/>
                    <a:pt x="928931" y="12512"/>
                    <a:pt x="936345" y="14630"/>
                  </a:cubicBezTo>
                  <a:cubicBezTo>
                    <a:pt x="946012" y="17392"/>
                    <a:pt x="955852" y="19507"/>
                    <a:pt x="965606" y="21945"/>
                  </a:cubicBezTo>
                  <a:cubicBezTo>
                    <a:pt x="972921" y="26822"/>
                    <a:pt x="979688" y="32644"/>
                    <a:pt x="987552" y="36576"/>
                  </a:cubicBezTo>
                  <a:cubicBezTo>
                    <a:pt x="994449" y="40024"/>
                    <a:pt x="1003081" y="39614"/>
                    <a:pt x="1009497" y="43891"/>
                  </a:cubicBezTo>
                  <a:cubicBezTo>
                    <a:pt x="1018105" y="49629"/>
                    <a:pt x="1022835" y="60098"/>
                    <a:pt x="1031443" y="65836"/>
                  </a:cubicBezTo>
                  <a:cubicBezTo>
                    <a:pt x="1037859" y="70113"/>
                    <a:pt x="1046492" y="69703"/>
                    <a:pt x="1053389" y="73152"/>
                  </a:cubicBezTo>
                  <a:cubicBezTo>
                    <a:pt x="1110104" y="101510"/>
                    <a:pt x="1042124" y="76713"/>
                    <a:pt x="1097280" y="95097"/>
                  </a:cubicBezTo>
                  <a:cubicBezTo>
                    <a:pt x="1125855" y="123674"/>
                    <a:pt x="1095872" y="98051"/>
                    <a:pt x="1133856" y="117043"/>
                  </a:cubicBezTo>
                  <a:cubicBezTo>
                    <a:pt x="1190579" y="145404"/>
                    <a:pt x="1122584" y="120601"/>
                    <a:pt x="1177747" y="138988"/>
                  </a:cubicBezTo>
                  <a:cubicBezTo>
                    <a:pt x="1182917" y="146744"/>
                    <a:pt x="1196582" y="170351"/>
                    <a:pt x="1207008" y="175564"/>
                  </a:cubicBezTo>
                  <a:cubicBezTo>
                    <a:pt x="1220802" y="182461"/>
                    <a:pt x="1250899" y="190195"/>
                    <a:pt x="1250899" y="190195"/>
                  </a:cubicBezTo>
                  <a:cubicBezTo>
                    <a:pt x="1272845" y="187757"/>
                    <a:pt x="1297802" y="194240"/>
                    <a:pt x="1316736" y="182880"/>
                  </a:cubicBezTo>
                  <a:cubicBezTo>
                    <a:pt x="1357176" y="158616"/>
                    <a:pt x="1291502" y="124605"/>
                    <a:pt x="1345997" y="160934"/>
                  </a:cubicBezTo>
                  <a:cubicBezTo>
                    <a:pt x="1350874" y="175564"/>
                    <a:pt x="1358714" y="189522"/>
                    <a:pt x="1360627" y="204825"/>
                  </a:cubicBezTo>
                  <a:cubicBezTo>
                    <a:pt x="1365068" y="240351"/>
                    <a:pt x="1366880" y="266416"/>
                    <a:pt x="1375257" y="299923"/>
                  </a:cubicBezTo>
                  <a:cubicBezTo>
                    <a:pt x="1377127" y="307404"/>
                    <a:pt x="1378606" y="315256"/>
                    <a:pt x="1382573" y="321868"/>
                  </a:cubicBezTo>
                  <a:cubicBezTo>
                    <a:pt x="1386121" y="327782"/>
                    <a:pt x="1392895" y="331113"/>
                    <a:pt x="1397203" y="336499"/>
                  </a:cubicBezTo>
                  <a:cubicBezTo>
                    <a:pt x="1402695" y="343364"/>
                    <a:pt x="1404968" y="352952"/>
                    <a:pt x="1411833" y="358444"/>
                  </a:cubicBezTo>
                  <a:cubicBezTo>
                    <a:pt x="1417854" y="363261"/>
                    <a:pt x="1426464" y="363321"/>
                    <a:pt x="1433779" y="365760"/>
                  </a:cubicBezTo>
                  <a:cubicBezTo>
                    <a:pt x="1489590" y="421568"/>
                    <a:pt x="1424734" y="363258"/>
                    <a:pt x="1477670" y="395020"/>
                  </a:cubicBezTo>
                  <a:cubicBezTo>
                    <a:pt x="1483584" y="398569"/>
                    <a:pt x="1486132" y="406566"/>
                    <a:pt x="1492301" y="409651"/>
                  </a:cubicBezTo>
                  <a:cubicBezTo>
                    <a:pt x="1501293" y="414147"/>
                    <a:pt x="1511894" y="414204"/>
                    <a:pt x="1521561" y="416966"/>
                  </a:cubicBezTo>
                  <a:cubicBezTo>
                    <a:pt x="1528975" y="419084"/>
                    <a:pt x="1536192" y="421843"/>
                    <a:pt x="1543507" y="424281"/>
                  </a:cubicBezTo>
                  <a:cubicBezTo>
                    <a:pt x="1558137" y="434035"/>
                    <a:pt x="1574964" y="441109"/>
                    <a:pt x="1587398" y="453542"/>
                  </a:cubicBezTo>
                  <a:cubicBezTo>
                    <a:pt x="1592275" y="458419"/>
                    <a:pt x="1596115" y="464624"/>
                    <a:pt x="1602029" y="468172"/>
                  </a:cubicBezTo>
                  <a:cubicBezTo>
                    <a:pt x="1608641" y="472139"/>
                    <a:pt x="1616659" y="473049"/>
                    <a:pt x="1623974" y="475488"/>
                  </a:cubicBezTo>
                  <a:cubicBezTo>
                    <a:pt x="1630476" y="494995"/>
                    <a:pt x="1640452" y="512823"/>
                    <a:pt x="1623974" y="534009"/>
                  </a:cubicBezTo>
                  <a:cubicBezTo>
                    <a:pt x="1613179" y="547889"/>
                    <a:pt x="1594713" y="553516"/>
                    <a:pt x="1580083" y="563270"/>
                  </a:cubicBezTo>
                  <a:lnTo>
                    <a:pt x="1558137" y="577900"/>
                  </a:lnTo>
                  <a:cubicBezTo>
                    <a:pt x="1552201" y="595708"/>
                    <a:pt x="1543008" y="610196"/>
                    <a:pt x="1558137" y="629107"/>
                  </a:cubicBezTo>
                  <a:cubicBezTo>
                    <a:pt x="1562954" y="635128"/>
                    <a:pt x="1572768" y="633984"/>
                    <a:pt x="1580083" y="636422"/>
                  </a:cubicBezTo>
                  <a:cubicBezTo>
                    <a:pt x="1587398" y="643737"/>
                    <a:pt x="1593611" y="652355"/>
                    <a:pt x="1602029" y="658368"/>
                  </a:cubicBezTo>
                  <a:cubicBezTo>
                    <a:pt x="1610902" y="664706"/>
                    <a:pt x="1623578" y="665287"/>
                    <a:pt x="1631289" y="672998"/>
                  </a:cubicBezTo>
                  <a:cubicBezTo>
                    <a:pt x="1636742" y="678451"/>
                    <a:pt x="1635156" y="688047"/>
                    <a:pt x="1638605" y="694944"/>
                  </a:cubicBezTo>
                  <a:cubicBezTo>
                    <a:pt x="1642537" y="702807"/>
                    <a:pt x="1648358" y="709574"/>
                    <a:pt x="1653235" y="716889"/>
                  </a:cubicBezTo>
                  <a:cubicBezTo>
                    <a:pt x="1647125" y="753548"/>
                    <a:pt x="1654381" y="762455"/>
                    <a:pt x="1623974" y="782726"/>
                  </a:cubicBezTo>
                  <a:cubicBezTo>
                    <a:pt x="1617558" y="787003"/>
                    <a:pt x="1609344" y="787603"/>
                    <a:pt x="1602029" y="790041"/>
                  </a:cubicBezTo>
                  <a:cubicBezTo>
                    <a:pt x="1597152" y="804671"/>
                    <a:pt x="1588932" y="818587"/>
                    <a:pt x="1587398" y="833932"/>
                  </a:cubicBezTo>
                  <a:cubicBezTo>
                    <a:pt x="1585301" y="854907"/>
                    <a:pt x="1585949" y="902668"/>
                    <a:pt x="1572768" y="929030"/>
                  </a:cubicBezTo>
                  <a:cubicBezTo>
                    <a:pt x="1568836" y="936894"/>
                    <a:pt x="1563014" y="943661"/>
                    <a:pt x="1558137" y="950976"/>
                  </a:cubicBezTo>
                  <a:cubicBezTo>
                    <a:pt x="1556564" y="958843"/>
                    <a:pt x="1550255" y="998249"/>
                    <a:pt x="1543507" y="1009497"/>
                  </a:cubicBezTo>
                  <a:cubicBezTo>
                    <a:pt x="1539959" y="1015411"/>
                    <a:pt x="1533015" y="1018610"/>
                    <a:pt x="1528877" y="1024128"/>
                  </a:cubicBezTo>
                  <a:cubicBezTo>
                    <a:pt x="1518327" y="1038195"/>
                    <a:pt x="1509370" y="1053389"/>
                    <a:pt x="1499616" y="1068019"/>
                  </a:cubicBezTo>
                  <a:cubicBezTo>
                    <a:pt x="1494739" y="1075334"/>
                    <a:pt x="1491201" y="1083747"/>
                    <a:pt x="1484985" y="1089964"/>
                  </a:cubicBezTo>
                  <a:lnTo>
                    <a:pt x="1470355" y="1104595"/>
                  </a:lnTo>
                  <a:cubicBezTo>
                    <a:pt x="1467917" y="1111910"/>
                    <a:pt x="1468492" y="1121088"/>
                    <a:pt x="1463040" y="1126540"/>
                  </a:cubicBezTo>
                  <a:cubicBezTo>
                    <a:pt x="1455329" y="1134251"/>
                    <a:pt x="1443026" y="1135391"/>
                    <a:pt x="1433779" y="1141171"/>
                  </a:cubicBezTo>
                  <a:cubicBezTo>
                    <a:pt x="1423440" y="1147633"/>
                    <a:pt x="1415104" y="1157067"/>
                    <a:pt x="1404518" y="1163116"/>
                  </a:cubicBezTo>
                  <a:cubicBezTo>
                    <a:pt x="1397823" y="1166942"/>
                    <a:pt x="1389313" y="1166687"/>
                    <a:pt x="1382573" y="1170432"/>
                  </a:cubicBezTo>
                  <a:cubicBezTo>
                    <a:pt x="1307112" y="1212354"/>
                    <a:pt x="1366392" y="1190454"/>
                    <a:pt x="1316736" y="1207008"/>
                  </a:cubicBezTo>
                  <a:cubicBezTo>
                    <a:pt x="1244657" y="1202503"/>
                    <a:pt x="1223471" y="1208288"/>
                    <a:pt x="1170432" y="1192377"/>
                  </a:cubicBezTo>
                  <a:cubicBezTo>
                    <a:pt x="1155661" y="1187946"/>
                    <a:pt x="1141171" y="1182624"/>
                    <a:pt x="1126541" y="1177747"/>
                  </a:cubicBezTo>
                  <a:lnTo>
                    <a:pt x="1104595" y="1170432"/>
                  </a:lnTo>
                  <a:cubicBezTo>
                    <a:pt x="1097280" y="1165555"/>
                    <a:pt x="1085064" y="1164255"/>
                    <a:pt x="1082649" y="1155801"/>
                  </a:cubicBezTo>
                  <a:cubicBezTo>
                    <a:pt x="1054543" y="1057425"/>
                    <a:pt x="1145535" y="1193788"/>
                    <a:pt x="1082649" y="1068019"/>
                  </a:cubicBezTo>
                  <a:cubicBezTo>
                    <a:pt x="1079201" y="1061122"/>
                    <a:pt x="1068118" y="1062822"/>
                    <a:pt x="1060704" y="1060704"/>
                  </a:cubicBezTo>
                  <a:cubicBezTo>
                    <a:pt x="1051037" y="1057942"/>
                    <a:pt x="1041197" y="1055827"/>
                    <a:pt x="1031443" y="1053388"/>
                  </a:cubicBezTo>
                  <a:cubicBezTo>
                    <a:pt x="1024128" y="1055827"/>
                    <a:pt x="1014950" y="1055251"/>
                    <a:pt x="1009497" y="1060704"/>
                  </a:cubicBezTo>
                  <a:cubicBezTo>
                    <a:pt x="1004045" y="1066156"/>
                    <a:pt x="1002182" y="1074938"/>
                    <a:pt x="1002182" y="1082649"/>
                  </a:cubicBezTo>
                  <a:cubicBezTo>
                    <a:pt x="1002182" y="1108401"/>
                    <a:pt x="1009268" y="1125854"/>
                    <a:pt x="1016813" y="1148486"/>
                  </a:cubicBezTo>
                  <a:cubicBezTo>
                    <a:pt x="1014374" y="1155801"/>
                    <a:pt x="1015518" y="1165615"/>
                    <a:pt x="1009497" y="1170432"/>
                  </a:cubicBezTo>
                  <a:cubicBezTo>
                    <a:pt x="999614" y="1178338"/>
                    <a:pt x="989990" y="1180185"/>
                    <a:pt x="972921" y="117774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236" name="Forma livre 352"/>
            <p:cNvSpPr/>
            <p:nvPr/>
          </p:nvSpPr>
          <p:spPr>
            <a:xfrm>
              <a:off x="2534735" y="3196742"/>
              <a:ext cx="479397" cy="482804"/>
            </a:xfrm>
            <a:custGeom>
              <a:avLst/>
              <a:gdLst>
                <a:gd name="connsiteX0" fmla="*/ 318193 w 479397"/>
                <a:gd name="connsiteY0" fmla="*/ 270663 h 482804"/>
                <a:gd name="connsiteX1" fmla="*/ 362084 w 479397"/>
                <a:gd name="connsiteY1" fmla="*/ 277978 h 482804"/>
                <a:gd name="connsiteX2" fmla="*/ 384030 w 479397"/>
                <a:gd name="connsiteY2" fmla="*/ 285293 h 482804"/>
                <a:gd name="connsiteX3" fmla="*/ 464497 w 479397"/>
                <a:gd name="connsiteY3" fmla="*/ 292608 h 482804"/>
                <a:gd name="connsiteX4" fmla="*/ 479127 w 479397"/>
                <a:gd name="connsiteY4" fmla="*/ 314554 h 482804"/>
                <a:gd name="connsiteX5" fmla="*/ 449867 w 479397"/>
                <a:gd name="connsiteY5" fmla="*/ 358445 h 482804"/>
                <a:gd name="connsiteX6" fmla="*/ 442551 w 479397"/>
                <a:gd name="connsiteY6" fmla="*/ 380391 h 482804"/>
                <a:gd name="connsiteX7" fmla="*/ 435236 w 479397"/>
                <a:gd name="connsiteY7" fmla="*/ 453543 h 482804"/>
                <a:gd name="connsiteX8" fmla="*/ 369399 w 479397"/>
                <a:gd name="connsiteY8" fmla="*/ 475488 h 482804"/>
                <a:gd name="connsiteX9" fmla="*/ 347454 w 479397"/>
                <a:gd name="connsiteY9" fmla="*/ 482804 h 482804"/>
                <a:gd name="connsiteX10" fmla="*/ 318193 w 479397"/>
                <a:gd name="connsiteY10" fmla="*/ 475488 h 482804"/>
                <a:gd name="connsiteX11" fmla="*/ 310878 w 479397"/>
                <a:gd name="connsiteY11" fmla="*/ 453543 h 482804"/>
                <a:gd name="connsiteX12" fmla="*/ 296247 w 479397"/>
                <a:gd name="connsiteY12" fmla="*/ 395021 h 482804"/>
                <a:gd name="connsiteX13" fmla="*/ 252356 w 479397"/>
                <a:gd name="connsiteY13" fmla="*/ 373076 h 482804"/>
                <a:gd name="connsiteX14" fmla="*/ 98737 w 479397"/>
                <a:gd name="connsiteY14" fmla="*/ 373076 h 482804"/>
                <a:gd name="connsiteX15" fmla="*/ 76791 w 479397"/>
                <a:gd name="connsiteY15" fmla="*/ 358445 h 482804"/>
                <a:gd name="connsiteX16" fmla="*/ 47531 w 479397"/>
                <a:gd name="connsiteY16" fmla="*/ 314554 h 482804"/>
                <a:gd name="connsiteX17" fmla="*/ 40215 w 479397"/>
                <a:gd name="connsiteY17" fmla="*/ 292608 h 482804"/>
                <a:gd name="connsiteX18" fmla="*/ 10955 w 479397"/>
                <a:gd name="connsiteY18" fmla="*/ 248717 h 482804"/>
                <a:gd name="connsiteX19" fmla="*/ 10955 w 479397"/>
                <a:gd name="connsiteY19" fmla="*/ 87783 h 482804"/>
                <a:gd name="connsiteX20" fmla="*/ 18270 w 479397"/>
                <a:gd name="connsiteY20" fmla="*/ 65837 h 482804"/>
                <a:gd name="connsiteX21" fmla="*/ 32900 w 479397"/>
                <a:gd name="connsiteY21" fmla="*/ 43892 h 482804"/>
                <a:gd name="connsiteX22" fmla="*/ 40215 w 479397"/>
                <a:gd name="connsiteY22" fmla="*/ 21946 h 482804"/>
                <a:gd name="connsiteX23" fmla="*/ 62161 w 479397"/>
                <a:gd name="connsiteY23" fmla="*/ 14631 h 482804"/>
                <a:gd name="connsiteX24" fmla="*/ 84107 w 479397"/>
                <a:gd name="connsiteY24" fmla="*/ 0 h 482804"/>
                <a:gd name="connsiteX25" fmla="*/ 135313 w 479397"/>
                <a:gd name="connsiteY25" fmla="*/ 7316 h 482804"/>
                <a:gd name="connsiteX26" fmla="*/ 157259 w 479397"/>
                <a:gd name="connsiteY26" fmla="*/ 21946 h 482804"/>
                <a:gd name="connsiteX27" fmla="*/ 186519 w 479397"/>
                <a:gd name="connsiteY27" fmla="*/ 43892 h 482804"/>
                <a:gd name="connsiteX28" fmla="*/ 303563 w 479397"/>
                <a:gd name="connsiteY28" fmla="*/ 51207 h 482804"/>
                <a:gd name="connsiteX29" fmla="*/ 340139 w 479397"/>
                <a:gd name="connsiteY29" fmla="*/ 80468 h 482804"/>
                <a:gd name="connsiteX30" fmla="*/ 362084 w 479397"/>
                <a:gd name="connsiteY30" fmla="*/ 95098 h 482804"/>
                <a:gd name="connsiteX31" fmla="*/ 384030 w 479397"/>
                <a:gd name="connsiteY31" fmla="*/ 138989 h 482804"/>
                <a:gd name="connsiteX32" fmla="*/ 391345 w 479397"/>
                <a:gd name="connsiteY32" fmla="*/ 197511 h 482804"/>
                <a:gd name="connsiteX33" fmla="*/ 398660 w 479397"/>
                <a:gd name="connsiteY33" fmla="*/ 219456 h 482804"/>
                <a:gd name="connsiteX34" fmla="*/ 442551 w 479397"/>
                <a:gd name="connsiteY34" fmla="*/ 241402 h 482804"/>
                <a:gd name="connsiteX35" fmla="*/ 457182 w 479397"/>
                <a:gd name="connsiteY35" fmla="*/ 256032 h 482804"/>
                <a:gd name="connsiteX36" fmla="*/ 471812 w 479397"/>
                <a:gd name="connsiteY36" fmla="*/ 307239 h 482804"/>
                <a:gd name="connsiteX0" fmla="*/ 362084 w 479397"/>
                <a:gd name="connsiteY0" fmla="*/ 277978 h 482804"/>
                <a:gd name="connsiteX1" fmla="*/ 384030 w 479397"/>
                <a:gd name="connsiteY1" fmla="*/ 285293 h 482804"/>
                <a:gd name="connsiteX2" fmla="*/ 464497 w 479397"/>
                <a:gd name="connsiteY2" fmla="*/ 292608 h 482804"/>
                <a:gd name="connsiteX3" fmla="*/ 479127 w 479397"/>
                <a:gd name="connsiteY3" fmla="*/ 314554 h 482804"/>
                <a:gd name="connsiteX4" fmla="*/ 449867 w 479397"/>
                <a:gd name="connsiteY4" fmla="*/ 358445 h 482804"/>
                <a:gd name="connsiteX5" fmla="*/ 442551 w 479397"/>
                <a:gd name="connsiteY5" fmla="*/ 380391 h 482804"/>
                <a:gd name="connsiteX6" fmla="*/ 435236 w 479397"/>
                <a:gd name="connsiteY6" fmla="*/ 453543 h 482804"/>
                <a:gd name="connsiteX7" fmla="*/ 369399 w 479397"/>
                <a:gd name="connsiteY7" fmla="*/ 475488 h 482804"/>
                <a:gd name="connsiteX8" fmla="*/ 347454 w 479397"/>
                <a:gd name="connsiteY8" fmla="*/ 482804 h 482804"/>
                <a:gd name="connsiteX9" fmla="*/ 318193 w 479397"/>
                <a:gd name="connsiteY9" fmla="*/ 475488 h 482804"/>
                <a:gd name="connsiteX10" fmla="*/ 310878 w 479397"/>
                <a:gd name="connsiteY10" fmla="*/ 453543 h 482804"/>
                <a:gd name="connsiteX11" fmla="*/ 296247 w 479397"/>
                <a:gd name="connsiteY11" fmla="*/ 395021 h 482804"/>
                <a:gd name="connsiteX12" fmla="*/ 252356 w 479397"/>
                <a:gd name="connsiteY12" fmla="*/ 373076 h 482804"/>
                <a:gd name="connsiteX13" fmla="*/ 98737 w 479397"/>
                <a:gd name="connsiteY13" fmla="*/ 373076 h 482804"/>
                <a:gd name="connsiteX14" fmla="*/ 76791 w 479397"/>
                <a:gd name="connsiteY14" fmla="*/ 358445 h 482804"/>
                <a:gd name="connsiteX15" fmla="*/ 47531 w 479397"/>
                <a:gd name="connsiteY15" fmla="*/ 314554 h 482804"/>
                <a:gd name="connsiteX16" fmla="*/ 40215 w 479397"/>
                <a:gd name="connsiteY16" fmla="*/ 292608 h 482804"/>
                <a:gd name="connsiteX17" fmla="*/ 10955 w 479397"/>
                <a:gd name="connsiteY17" fmla="*/ 248717 h 482804"/>
                <a:gd name="connsiteX18" fmla="*/ 10955 w 479397"/>
                <a:gd name="connsiteY18" fmla="*/ 87783 h 482804"/>
                <a:gd name="connsiteX19" fmla="*/ 18270 w 479397"/>
                <a:gd name="connsiteY19" fmla="*/ 65837 h 482804"/>
                <a:gd name="connsiteX20" fmla="*/ 32900 w 479397"/>
                <a:gd name="connsiteY20" fmla="*/ 43892 h 482804"/>
                <a:gd name="connsiteX21" fmla="*/ 40215 w 479397"/>
                <a:gd name="connsiteY21" fmla="*/ 21946 h 482804"/>
                <a:gd name="connsiteX22" fmla="*/ 62161 w 479397"/>
                <a:gd name="connsiteY22" fmla="*/ 14631 h 482804"/>
                <a:gd name="connsiteX23" fmla="*/ 84107 w 479397"/>
                <a:gd name="connsiteY23" fmla="*/ 0 h 482804"/>
                <a:gd name="connsiteX24" fmla="*/ 135313 w 479397"/>
                <a:gd name="connsiteY24" fmla="*/ 7316 h 482804"/>
                <a:gd name="connsiteX25" fmla="*/ 157259 w 479397"/>
                <a:gd name="connsiteY25" fmla="*/ 21946 h 482804"/>
                <a:gd name="connsiteX26" fmla="*/ 186519 w 479397"/>
                <a:gd name="connsiteY26" fmla="*/ 43892 h 482804"/>
                <a:gd name="connsiteX27" fmla="*/ 303563 w 479397"/>
                <a:gd name="connsiteY27" fmla="*/ 51207 h 482804"/>
                <a:gd name="connsiteX28" fmla="*/ 340139 w 479397"/>
                <a:gd name="connsiteY28" fmla="*/ 80468 h 482804"/>
                <a:gd name="connsiteX29" fmla="*/ 362084 w 479397"/>
                <a:gd name="connsiteY29" fmla="*/ 95098 h 482804"/>
                <a:gd name="connsiteX30" fmla="*/ 384030 w 479397"/>
                <a:gd name="connsiteY30" fmla="*/ 138989 h 482804"/>
                <a:gd name="connsiteX31" fmla="*/ 391345 w 479397"/>
                <a:gd name="connsiteY31" fmla="*/ 197511 h 482804"/>
                <a:gd name="connsiteX32" fmla="*/ 398660 w 479397"/>
                <a:gd name="connsiteY32" fmla="*/ 219456 h 482804"/>
                <a:gd name="connsiteX33" fmla="*/ 442551 w 479397"/>
                <a:gd name="connsiteY33" fmla="*/ 241402 h 482804"/>
                <a:gd name="connsiteX34" fmla="*/ 457182 w 479397"/>
                <a:gd name="connsiteY34" fmla="*/ 256032 h 482804"/>
                <a:gd name="connsiteX35" fmla="*/ 471812 w 479397"/>
                <a:gd name="connsiteY35" fmla="*/ 307239 h 482804"/>
                <a:gd name="connsiteX0" fmla="*/ 384030 w 479397"/>
                <a:gd name="connsiteY0" fmla="*/ 285293 h 482804"/>
                <a:gd name="connsiteX1" fmla="*/ 464497 w 479397"/>
                <a:gd name="connsiteY1" fmla="*/ 292608 h 482804"/>
                <a:gd name="connsiteX2" fmla="*/ 479127 w 479397"/>
                <a:gd name="connsiteY2" fmla="*/ 314554 h 482804"/>
                <a:gd name="connsiteX3" fmla="*/ 449867 w 479397"/>
                <a:gd name="connsiteY3" fmla="*/ 358445 h 482804"/>
                <a:gd name="connsiteX4" fmla="*/ 442551 w 479397"/>
                <a:gd name="connsiteY4" fmla="*/ 380391 h 482804"/>
                <a:gd name="connsiteX5" fmla="*/ 435236 w 479397"/>
                <a:gd name="connsiteY5" fmla="*/ 453543 h 482804"/>
                <a:gd name="connsiteX6" fmla="*/ 369399 w 479397"/>
                <a:gd name="connsiteY6" fmla="*/ 475488 h 482804"/>
                <a:gd name="connsiteX7" fmla="*/ 347454 w 479397"/>
                <a:gd name="connsiteY7" fmla="*/ 482804 h 482804"/>
                <a:gd name="connsiteX8" fmla="*/ 318193 w 479397"/>
                <a:gd name="connsiteY8" fmla="*/ 475488 h 482804"/>
                <a:gd name="connsiteX9" fmla="*/ 310878 w 479397"/>
                <a:gd name="connsiteY9" fmla="*/ 453543 h 482804"/>
                <a:gd name="connsiteX10" fmla="*/ 296247 w 479397"/>
                <a:gd name="connsiteY10" fmla="*/ 395021 h 482804"/>
                <a:gd name="connsiteX11" fmla="*/ 252356 w 479397"/>
                <a:gd name="connsiteY11" fmla="*/ 373076 h 482804"/>
                <a:gd name="connsiteX12" fmla="*/ 98737 w 479397"/>
                <a:gd name="connsiteY12" fmla="*/ 373076 h 482804"/>
                <a:gd name="connsiteX13" fmla="*/ 76791 w 479397"/>
                <a:gd name="connsiteY13" fmla="*/ 358445 h 482804"/>
                <a:gd name="connsiteX14" fmla="*/ 47531 w 479397"/>
                <a:gd name="connsiteY14" fmla="*/ 314554 h 482804"/>
                <a:gd name="connsiteX15" fmla="*/ 40215 w 479397"/>
                <a:gd name="connsiteY15" fmla="*/ 292608 h 482804"/>
                <a:gd name="connsiteX16" fmla="*/ 10955 w 479397"/>
                <a:gd name="connsiteY16" fmla="*/ 248717 h 482804"/>
                <a:gd name="connsiteX17" fmla="*/ 10955 w 479397"/>
                <a:gd name="connsiteY17" fmla="*/ 87783 h 482804"/>
                <a:gd name="connsiteX18" fmla="*/ 18270 w 479397"/>
                <a:gd name="connsiteY18" fmla="*/ 65837 h 482804"/>
                <a:gd name="connsiteX19" fmla="*/ 32900 w 479397"/>
                <a:gd name="connsiteY19" fmla="*/ 43892 h 482804"/>
                <a:gd name="connsiteX20" fmla="*/ 40215 w 479397"/>
                <a:gd name="connsiteY20" fmla="*/ 21946 h 482804"/>
                <a:gd name="connsiteX21" fmla="*/ 62161 w 479397"/>
                <a:gd name="connsiteY21" fmla="*/ 14631 h 482804"/>
                <a:gd name="connsiteX22" fmla="*/ 84107 w 479397"/>
                <a:gd name="connsiteY22" fmla="*/ 0 h 482804"/>
                <a:gd name="connsiteX23" fmla="*/ 135313 w 479397"/>
                <a:gd name="connsiteY23" fmla="*/ 7316 h 482804"/>
                <a:gd name="connsiteX24" fmla="*/ 157259 w 479397"/>
                <a:gd name="connsiteY24" fmla="*/ 21946 h 482804"/>
                <a:gd name="connsiteX25" fmla="*/ 186519 w 479397"/>
                <a:gd name="connsiteY25" fmla="*/ 43892 h 482804"/>
                <a:gd name="connsiteX26" fmla="*/ 303563 w 479397"/>
                <a:gd name="connsiteY26" fmla="*/ 51207 h 482804"/>
                <a:gd name="connsiteX27" fmla="*/ 340139 w 479397"/>
                <a:gd name="connsiteY27" fmla="*/ 80468 h 482804"/>
                <a:gd name="connsiteX28" fmla="*/ 362084 w 479397"/>
                <a:gd name="connsiteY28" fmla="*/ 95098 h 482804"/>
                <a:gd name="connsiteX29" fmla="*/ 384030 w 479397"/>
                <a:gd name="connsiteY29" fmla="*/ 138989 h 482804"/>
                <a:gd name="connsiteX30" fmla="*/ 391345 w 479397"/>
                <a:gd name="connsiteY30" fmla="*/ 197511 h 482804"/>
                <a:gd name="connsiteX31" fmla="*/ 398660 w 479397"/>
                <a:gd name="connsiteY31" fmla="*/ 219456 h 482804"/>
                <a:gd name="connsiteX32" fmla="*/ 442551 w 479397"/>
                <a:gd name="connsiteY32" fmla="*/ 241402 h 482804"/>
                <a:gd name="connsiteX33" fmla="*/ 457182 w 479397"/>
                <a:gd name="connsiteY33" fmla="*/ 256032 h 482804"/>
                <a:gd name="connsiteX34" fmla="*/ 471812 w 479397"/>
                <a:gd name="connsiteY34" fmla="*/ 307239 h 482804"/>
                <a:gd name="connsiteX0" fmla="*/ 464497 w 479397"/>
                <a:gd name="connsiteY0" fmla="*/ 292608 h 482804"/>
                <a:gd name="connsiteX1" fmla="*/ 479127 w 479397"/>
                <a:gd name="connsiteY1" fmla="*/ 314554 h 482804"/>
                <a:gd name="connsiteX2" fmla="*/ 449867 w 479397"/>
                <a:gd name="connsiteY2" fmla="*/ 358445 h 482804"/>
                <a:gd name="connsiteX3" fmla="*/ 442551 w 479397"/>
                <a:gd name="connsiteY3" fmla="*/ 380391 h 482804"/>
                <a:gd name="connsiteX4" fmla="*/ 435236 w 479397"/>
                <a:gd name="connsiteY4" fmla="*/ 453543 h 482804"/>
                <a:gd name="connsiteX5" fmla="*/ 369399 w 479397"/>
                <a:gd name="connsiteY5" fmla="*/ 475488 h 482804"/>
                <a:gd name="connsiteX6" fmla="*/ 347454 w 479397"/>
                <a:gd name="connsiteY6" fmla="*/ 482804 h 482804"/>
                <a:gd name="connsiteX7" fmla="*/ 318193 w 479397"/>
                <a:gd name="connsiteY7" fmla="*/ 475488 h 482804"/>
                <a:gd name="connsiteX8" fmla="*/ 310878 w 479397"/>
                <a:gd name="connsiteY8" fmla="*/ 453543 h 482804"/>
                <a:gd name="connsiteX9" fmla="*/ 296247 w 479397"/>
                <a:gd name="connsiteY9" fmla="*/ 395021 h 482804"/>
                <a:gd name="connsiteX10" fmla="*/ 252356 w 479397"/>
                <a:gd name="connsiteY10" fmla="*/ 373076 h 482804"/>
                <a:gd name="connsiteX11" fmla="*/ 98737 w 479397"/>
                <a:gd name="connsiteY11" fmla="*/ 373076 h 482804"/>
                <a:gd name="connsiteX12" fmla="*/ 76791 w 479397"/>
                <a:gd name="connsiteY12" fmla="*/ 358445 h 482804"/>
                <a:gd name="connsiteX13" fmla="*/ 47531 w 479397"/>
                <a:gd name="connsiteY13" fmla="*/ 314554 h 482804"/>
                <a:gd name="connsiteX14" fmla="*/ 40215 w 479397"/>
                <a:gd name="connsiteY14" fmla="*/ 292608 h 482804"/>
                <a:gd name="connsiteX15" fmla="*/ 10955 w 479397"/>
                <a:gd name="connsiteY15" fmla="*/ 248717 h 482804"/>
                <a:gd name="connsiteX16" fmla="*/ 10955 w 479397"/>
                <a:gd name="connsiteY16" fmla="*/ 87783 h 482804"/>
                <a:gd name="connsiteX17" fmla="*/ 18270 w 479397"/>
                <a:gd name="connsiteY17" fmla="*/ 65837 h 482804"/>
                <a:gd name="connsiteX18" fmla="*/ 32900 w 479397"/>
                <a:gd name="connsiteY18" fmla="*/ 43892 h 482804"/>
                <a:gd name="connsiteX19" fmla="*/ 40215 w 479397"/>
                <a:gd name="connsiteY19" fmla="*/ 21946 h 482804"/>
                <a:gd name="connsiteX20" fmla="*/ 62161 w 479397"/>
                <a:gd name="connsiteY20" fmla="*/ 14631 h 482804"/>
                <a:gd name="connsiteX21" fmla="*/ 84107 w 479397"/>
                <a:gd name="connsiteY21" fmla="*/ 0 h 482804"/>
                <a:gd name="connsiteX22" fmla="*/ 135313 w 479397"/>
                <a:gd name="connsiteY22" fmla="*/ 7316 h 482804"/>
                <a:gd name="connsiteX23" fmla="*/ 157259 w 479397"/>
                <a:gd name="connsiteY23" fmla="*/ 21946 h 482804"/>
                <a:gd name="connsiteX24" fmla="*/ 186519 w 479397"/>
                <a:gd name="connsiteY24" fmla="*/ 43892 h 482804"/>
                <a:gd name="connsiteX25" fmla="*/ 303563 w 479397"/>
                <a:gd name="connsiteY25" fmla="*/ 51207 h 482804"/>
                <a:gd name="connsiteX26" fmla="*/ 340139 w 479397"/>
                <a:gd name="connsiteY26" fmla="*/ 80468 h 482804"/>
                <a:gd name="connsiteX27" fmla="*/ 362084 w 479397"/>
                <a:gd name="connsiteY27" fmla="*/ 95098 h 482804"/>
                <a:gd name="connsiteX28" fmla="*/ 384030 w 479397"/>
                <a:gd name="connsiteY28" fmla="*/ 138989 h 482804"/>
                <a:gd name="connsiteX29" fmla="*/ 391345 w 479397"/>
                <a:gd name="connsiteY29" fmla="*/ 197511 h 482804"/>
                <a:gd name="connsiteX30" fmla="*/ 398660 w 479397"/>
                <a:gd name="connsiteY30" fmla="*/ 219456 h 482804"/>
                <a:gd name="connsiteX31" fmla="*/ 442551 w 479397"/>
                <a:gd name="connsiteY31" fmla="*/ 241402 h 482804"/>
                <a:gd name="connsiteX32" fmla="*/ 457182 w 479397"/>
                <a:gd name="connsiteY32" fmla="*/ 256032 h 482804"/>
                <a:gd name="connsiteX33" fmla="*/ 471812 w 479397"/>
                <a:gd name="connsiteY33" fmla="*/ 307239 h 482804"/>
                <a:gd name="connsiteX0" fmla="*/ 479127 w 479397"/>
                <a:gd name="connsiteY0" fmla="*/ 314554 h 482804"/>
                <a:gd name="connsiteX1" fmla="*/ 449867 w 479397"/>
                <a:gd name="connsiteY1" fmla="*/ 358445 h 482804"/>
                <a:gd name="connsiteX2" fmla="*/ 442551 w 479397"/>
                <a:gd name="connsiteY2" fmla="*/ 380391 h 482804"/>
                <a:gd name="connsiteX3" fmla="*/ 435236 w 479397"/>
                <a:gd name="connsiteY3" fmla="*/ 453543 h 482804"/>
                <a:gd name="connsiteX4" fmla="*/ 369399 w 479397"/>
                <a:gd name="connsiteY4" fmla="*/ 475488 h 482804"/>
                <a:gd name="connsiteX5" fmla="*/ 347454 w 479397"/>
                <a:gd name="connsiteY5" fmla="*/ 482804 h 482804"/>
                <a:gd name="connsiteX6" fmla="*/ 318193 w 479397"/>
                <a:gd name="connsiteY6" fmla="*/ 475488 h 482804"/>
                <a:gd name="connsiteX7" fmla="*/ 310878 w 479397"/>
                <a:gd name="connsiteY7" fmla="*/ 453543 h 482804"/>
                <a:gd name="connsiteX8" fmla="*/ 296247 w 479397"/>
                <a:gd name="connsiteY8" fmla="*/ 395021 h 482804"/>
                <a:gd name="connsiteX9" fmla="*/ 252356 w 479397"/>
                <a:gd name="connsiteY9" fmla="*/ 373076 h 482804"/>
                <a:gd name="connsiteX10" fmla="*/ 98737 w 479397"/>
                <a:gd name="connsiteY10" fmla="*/ 373076 h 482804"/>
                <a:gd name="connsiteX11" fmla="*/ 76791 w 479397"/>
                <a:gd name="connsiteY11" fmla="*/ 358445 h 482804"/>
                <a:gd name="connsiteX12" fmla="*/ 47531 w 479397"/>
                <a:gd name="connsiteY12" fmla="*/ 314554 h 482804"/>
                <a:gd name="connsiteX13" fmla="*/ 40215 w 479397"/>
                <a:gd name="connsiteY13" fmla="*/ 292608 h 482804"/>
                <a:gd name="connsiteX14" fmla="*/ 10955 w 479397"/>
                <a:gd name="connsiteY14" fmla="*/ 248717 h 482804"/>
                <a:gd name="connsiteX15" fmla="*/ 10955 w 479397"/>
                <a:gd name="connsiteY15" fmla="*/ 87783 h 482804"/>
                <a:gd name="connsiteX16" fmla="*/ 18270 w 479397"/>
                <a:gd name="connsiteY16" fmla="*/ 65837 h 482804"/>
                <a:gd name="connsiteX17" fmla="*/ 32900 w 479397"/>
                <a:gd name="connsiteY17" fmla="*/ 43892 h 482804"/>
                <a:gd name="connsiteX18" fmla="*/ 40215 w 479397"/>
                <a:gd name="connsiteY18" fmla="*/ 21946 h 482804"/>
                <a:gd name="connsiteX19" fmla="*/ 62161 w 479397"/>
                <a:gd name="connsiteY19" fmla="*/ 14631 h 482804"/>
                <a:gd name="connsiteX20" fmla="*/ 84107 w 479397"/>
                <a:gd name="connsiteY20" fmla="*/ 0 h 482804"/>
                <a:gd name="connsiteX21" fmla="*/ 135313 w 479397"/>
                <a:gd name="connsiteY21" fmla="*/ 7316 h 482804"/>
                <a:gd name="connsiteX22" fmla="*/ 157259 w 479397"/>
                <a:gd name="connsiteY22" fmla="*/ 21946 h 482804"/>
                <a:gd name="connsiteX23" fmla="*/ 186519 w 479397"/>
                <a:gd name="connsiteY23" fmla="*/ 43892 h 482804"/>
                <a:gd name="connsiteX24" fmla="*/ 303563 w 479397"/>
                <a:gd name="connsiteY24" fmla="*/ 51207 h 482804"/>
                <a:gd name="connsiteX25" fmla="*/ 340139 w 479397"/>
                <a:gd name="connsiteY25" fmla="*/ 80468 h 482804"/>
                <a:gd name="connsiteX26" fmla="*/ 362084 w 479397"/>
                <a:gd name="connsiteY26" fmla="*/ 95098 h 482804"/>
                <a:gd name="connsiteX27" fmla="*/ 384030 w 479397"/>
                <a:gd name="connsiteY27" fmla="*/ 138989 h 482804"/>
                <a:gd name="connsiteX28" fmla="*/ 391345 w 479397"/>
                <a:gd name="connsiteY28" fmla="*/ 197511 h 482804"/>
                <a:gd name="connsiteX29" fmla="*/ 398660 w 479397"/>
                <a:gd name="connsiteY29" fmla="*/ 219456 h 482804"/>
                <a:gd name="connsiteX30" fmla="*/ 442551 w 479397"/>
                <a:gd name="connsiteY30" fmla="*/ 241402 h 482804"/>
                <a:gd name="connsiteX31" fmla="*/ 457182 w 479397"/>
                <a:gd name="connsiteY31" fmla="*/ 256032 h 482804"/>
                <a:gd name="connsiteX32" fmla="*/ 471812 w 479397"/>
                <a:gd name="connsiteY32" fmla="*/ 307239 h 482804"/>
                <a:gd name="connsiteX0" fmla="*/ 479127 w 479397"/>
                <a:gd name="connsiteY0" fmla="*/ 314554 h 482804"/>
                <a:gd name="connsiteX1" fmla="*/ 449867 w 479397"/>
                <a:gd name="connsiteY1" fmla="*/ 358445 h 482804"/>
                <a:gd name="connsiteX2" fmla="*/ 442551 w 479397"/>
                <a:gd name="connsiteY2" fmla="*/ 380391 h 482804"/>
                <a:gd name="connsiteX3" fmla="*/ 435236 w 479397"/>
                <a:gd name="connsiteY3" fmla="*/ 453543 h 482804"/>
                <a:gd name="connsiteX4" fmla="*/ 369399 w 479397"/>
                <a:gd name="connsiteY4" fmla="*/ 475488 h 482804"/>
                <a:gd name="connsiteX5" fmla="*/ 347454 w 479397"/>
                <a:gd name="connsiteY5" fmla="*/ 482804 h 482804"/>
                <a:gd name="connsiteX6" fmla="*/ 318193 w 479397"/>
                <a:gd name="connsiteY6" fmla="*/ 475488 h 482804"/>
                <a:gd name="connsiteX7" fmla="*/ 310878 w 479397"/>
                <a:gd name="connsiteY7" fmla="*/ 453543 h 482804"/>
                <a:gd name="connsiteX8" fmla="*/ 296247 w 479397"/>
                <a:gd name="connsiteY8" fmla="*/ 395021 h 482804"/>
                <a:gd name="connsiteX9" fmla="*/ 252356 w 479397"/>
                <a:gd name="connsiteY9" fmla="*/ 373076 h 482804"/>
                <a:gd name="connsiteX10" fmla="*/ 98737 w 479397"/>
                <a:gd name="connsiteY10" fmla="*/ 373076 h 482804"/>
                <a:gd name="connsiteX11" fmla="*/ 76791 w 479397"/>
                <a:gd name="connsiteY11" fmla="*/ 358445 h 482804"/>
                <a:gd name="connsiteX12" fmla="*/ 47531 w 479397"/>
                <a:gd name="connsiteY12" fmla="*/ 314554 h 482804"/>
                <a:gd name="connsiteX13" fmla="*/ 40215 w 479397"/>
                <a:gd name="connsiteY13" fmla="*/ 292608 h 482804"/>
                <a:gd name="connsiteX14" fmla="*/ 10955 w 479397"/>
                <a:gd name="connsiteY14" fmla="*/ 248717 h 482804"/>
                <a:gd name="connsiteX15" fmla="*/ 10955 w 479397"/>
                <a:gd name="connsiteY15" fmla="*/ 87783 h 482804"/>
                <a:gd name="connsiteX16" fmla="*/ 18270 w 479397"/>
                <a:gd name="connsiteY16" fmla="*/ 65837 h 482804"/>
                <a:gd name="connsiteX17" fmla="*/ 32900 w 479397"/>
                <a:gd name="connsiteY17" fmla="*/ 43892 h 482804"/>
                <a:gd name="connsiteX18" fmla="*/ 40215 w 479397"/>
                <a:gd name="connsiteY18" fmla="*/ 21946 h 482804"/>
                <a:gd name="connsiteX19" fmla="*/ 62161 w 479397"/>
                <a:gd name="connsiteY19" fmla="*/ 14631 h 482804"/>
                <a:gd name="connsiteX20" fmla="*/ 84107 w 479397"/>
                <a:gd name="connsiteY20" fmla="*/ 0 h 482804"/>
                <a:gd name="connsiteX21" fmla="*/ 135313 w 479397"/>
                <a:gd name="connsiteY21" fmla="*/ 7316 h 482804"/>
                <a:gd name="connsiteX22" fmla="*/ 157259 w 479397"/>
                <a:gd name="connsiteY22" fmla="*/ 21946 h 482804"/>
                <a:gd name="connsiteX23" fmla="*/ 186519 w 479397"/>
                <a:gd name="connsiteY23" fmla="*/ 43892 h 482804"/>
                <a:gd name="connsiteX24" fmla="*/ 303563 w 479397"/>
                <a:gd name="connsiteY24" fmla="*/ 51207 h 482804"/>
                <a:gd name="connsiteX25" fmla="*/ 340139 w 479397"/>
                <a:gd name="connsiteY25" fmla="*/ 80468 h 482804"/>
                <a:gd name="connsiteX26" fmla="*/ 362084 w 479397"/>
                <a:gd name="connsiteY26" fmla="*/ 95098 h 482804"/>
                <a:gd name="connsiteX27" fmla="*/ 384030 w 479397"/>
                <a:gd name="connsiteY27" fmla="*/ 138989 h 482804"/>
                <a:gd name="connsiteX28" fmla="*/ 391345 w 479397"/>
                <a:gd name="connsiteY28" fmla="*/ 197511 h 482804"/>
                <a:gd name="connsiteX29" fmla="*/ 398660 w 479397"/>
                <a:gd name="connsiteY29" fmla="*/ 219456 h 482804"/>
                <a:gd name="connsiteX30" fmla="*/ 442551 w 479397"/>
                <a:gd name="connsiteY30" fmla="*/ 241402 h 482804"/>
                <a:gd name="connsiteX31" fmla="*/ 457182 w 479397"/>
                <a:gd name="connsiteY31" fmla="*/ 256032 h 482804"/>
                <a:gd name="connsiteX0" fmla="*/ 479127 w 479397"/>
                <a:gd name="connsiteY0" fmla="*/ 314554 h 482804"/>
                <a:gd name="connsiteX1" fmla="*/ 449867 w 479397"/>
                <a:gd name="connsiteY1" fmla="*/ 358445 h 482804"/>
                <a:gd name="connsiteX2" fmla="*/ 442551 w 479397"/>
                <a:gd name="connsiteY2" fmla="*/ 380391 h 482804"/>
                <a:gd name="connsiteX3" fmla="*/ 435236 w 479397"/>
                <a:gd name="connsiteY3" fmla="*/ 453543 h 482804"/>
                <a:gd name="connsiteX4" fmla="*/ 369399 w 479397"/>
                <a:gd name="connsiteY4" fmla="*/ 475488 h 482804"/>
                <a:gd name="connsiteX5" fmla="*/ 347454 w 479397"/>
                <a:gd name="connsiteY5" fmla="*/ 482804 h 482804"/>
                <a:gd name="connsiteX6" fmla="*/ 318193 w 479397"/>
                <a:gd name="connsiteY6" fmla="*/ 475488 h 482804"/>
                <a:gd name="connsiteX7" fmla="*/ 310878 w 479397"/>
                <a:gd name="connsiteY7" fmla="*/ 453543 h 482804"/>
                <a:gd name="connsiteX8" fmla="*/ 296247 w 479397"/>
                <a:gd name="connsiteY8" fmla="*/ 395021 h 482804"/>
                <a:gd name="connsiteX9" fmla="*/ 252356 w 479397"/>
                <a:gd name="connsiteY9" fmla="*/ 373076 h 482804"/>
                <a:gd name="connsiteX10" fmla="*/ 98737 w 479397"/>
                <a:gd name="connsiteY10" fmla="*/ 373076 h 482804"/>
                <a:gd name="connsiteX11" fmla="*/ 76791 w 479397"/>
                <a:gd name="connsiteY11" fmla="*/ 358445 h 482804"/>
                <a:gd name="connsiteX12" fmla="*/ 47531 w 479397"/>
                <a:gd name="connsiteY12" fmla="*/ 314554 h 482804"/>
                <a:gd name="connsiteX13" fmla="*/ 40215 w 479397"/>
                <a:gd name="connsiteY13" fmla="*/ 292608 h 482804"/>
                <a:gd name="connsiteX14" fmla="*/ 10955 w 479397"/>
                <a:gd name="connsiteY14" fmla="*/ 248717 h 482804"/>
                <a:gd name="connsiteX15" fmla="*/ 10955 w 479397"/>
                <a:gd name="connsiteY15" fmla="*/ 87783 h 482804"/>
                <a:gd name="connsiteX16" fmla="*/ 18270 w 479397"/>
                <a:gd name="connsiteY16" fmla="*/ 65837 h 482804"/>
                <a:gd name="connsiteX17" fmla="*/ 32900 w 479397"/>
                <a:gd name="connsiteY17" fmla="*/ 43892 h 482804"/>
                <a:gd name="connsiteX18" fmla="*/ 40215 w 479397"/>
                <a:gd name="connsiteY18" fmla="*/ 21946 h 482804"/>
                <a:gd name="connsiteX19" fmla="*/ 62161 w 479397"/>
                <a:gd name="connsiteY19" fmla="*/ 14631 h 482804"/>
                <a:gd name="connsiteX20" fmla="*/ 84107 w 479397"/>
                <a:gd name="connsiteY20" fmla="*/ 0 h 482804"/>
                <a:gd name="connsiteX21" fmla="*/ 135313 w 479397"/>
                <a:gd name="connsiteY21" fmla="*/ 7316 h 482804"/>
                <a:gd name="connsiteX22" fmla="*/ 157259 w 479397"/>
                <a:gd name="connsiteY22" fmla="*/ 21946 h 482804"/>
                <a:gd name="connsiteX23" fmla="*/ 186519 w 479397"/>
                <a:gd name="connsiteY23" fmla="*/ 43892 h 482804"/>
                <a:gd name="connsiteX24" fmla="*/ 303563 w 479397"/>
                <a:gd name="connsiteY24" fmla="*/ 51207 h 482804"/>
                <a:gd name="connsiteX25" fmla="*/ 340139 w 479397"/>
                <a:gd name="connsiteY25" fmla="*/ 80468 h 482804"/>
                <a:gd name="connsiteX26" fmla="*/ 362084 w 479397"/>
                <a:gd name="connsiteY26" fmla="*/ 95098 h 482804"/>
                <a:gd name="connsiteX27" fmla="*/ 384030 w 479397"/>
                <a:gd name="connsiteY27" fmla="*/ 138989 h 482804"/>
                <a:gd name="connsiteX28" fmla="*/ 391345 w 479397"/>
                <a:gd name="connsiteY28" fmla="*/ 197511 h 482804"/>
                <a:gd name="connsiteX29" fmla="*/ 398660 w 479397"/>
                <a:gd name="connsiteY29" fmla="*/ 219456 h 482804"/>
                <a:gd name="connsiteX30" fmla="*/ 442551 w 479397"/>
                <a:gd name="connsiteY30" fmla="*/ 241402 h 482804"/>
                <a:gd name="connsiteX31" fmla="*/ 475767 w 479397"/>
                <a:gd name="connsiteY31" fmla="*/ 308071 h 482804"/>
                <a:gd name="connsiteX0" fmla="*/ 479127 w 479397"/>
                <a:gd name="connsiteY0" fmla="*/ 314554 h 482804"/>
                <a:gd name="connsiteX1" fmla="*/ 449867 w 479397"/>
                <a:gd name="connsiteY1" fmla="*/ 358445 h 482804"/>
                <a:gd name="connsiteX2" fmla="*/ 442551 w 479397"/>
                <a:gd name="connsiteY2" fmla="*/ 380391 h 482804"/>
                <a:gd name="connsiteX3" fmla="*/ 435236 w 479397"/>
                <a:gd name="connsiteY3" fmla="*/ 453543 h 482804"/>
                <a:gd name="connsiteX4" fmla="*/ 369399 w 479397"/>
                <a:gd name="connsiteY4" fmla="*/ 475488 h 482804"/>
                <a:gd name="connsiteX5" fmla="*/ 347454 w 479397"/>
                <a:gd name="connsiteY5" fmla="*/ 482804 h 482804"/>
                <a:gd name="connsiteX6" fmla="*/ 318193 w 479397"/>
                <a:gd name="connsiteY6" fmla="*/ 475488 h 482804"/>
                <a:gd name="connsiteX7" fmla="*/ 310878 w 479397"/>
                <a:gd name="connsiteY7" fmla="*/ 453543 h 482804"/>
                <a:gd name="connsiteX8" fmla="*/ 296247 w 479397"/>
                <a:gd name="connsiteY8" fmla="*/ 395021 h 482804"/>
                <a:gd name="connsiteX9" fmla="*/ 252356 w 479397"/>
                <a:gd name="connsiteY9" fmla="*/ 373076 h 482804"/>
                <a:gd name="connsiteX10" fmla="*/ 98737 w 479397"/>
                <a:gd name="connsiteY10" fmla="*/ 373076 h 482804"/>
                <a:gd name="connsiteX11" fmla="*/ 76791 w 479397"/>
                <a:gd name="connsiteY11" fmla="*/ 358445 h 482804"/>
                <a:gd name="connsiteX12" fmla="*/ 47531 w 479397"/>
                <a:gd name="connsiteY12" fmla="*/ 314554 h 482804"/>
                <a:gd name="connsiteX13" fmla="*/ 40215 w 479397"/>
                <a:gd name="connsiteY13" fmla="*/ 292608 h 482804"/>
                <a:gd name="connsiteX14" fmla="*/ 10955 w 479397"/>
                <a:gd name="connsiteY14" fmla="*/ 248717 h 482804"/>
                <a:gd name="connsiteX15" fmla="*/ 10955 w 479397"/>
                <a:gd name="connsiteY15" fmla="*/ 87783 h 482804"/>
                <a:gd name="connsiteX16" fmla="*/ 18270 w 479397"/>
                <a:gd name="connsiteY16" fmla="*/ 65837 h 482804"/>
                <a:gd name="connsiteX17" fmla="*/ 32900 w 479397"/>
                <a:gd name="connsiteY17" fmla="*/ 43892 h 482804"/>
                <a:gd name="connsiteX18" fmla="*/ 40215 w 479397"/>
                <a:gd name="connsiteY18" fmla="*/ 21946 h 482804"/>
                <a:gd name="connsiteX19" fmla="*/ 62161 w 479397"/>
                <a:gd name="connsiteY19" fmla="*/ 14631 h 482804"/>
                <a:gd name="connsiteX20" fmla="*/ 84107 w 479397"/>
                <a:gd name="connsiteY20" fmla="*/ 0 h 482804"/>
                <a:gd name="connsiteX21" fmla="*/ 135313 w 479397"/>
                <a:gd name="connsiteY21" fmla="*/ 7316 h 482804"/>
                <a:gd name="connsiteX22" fmla="*/ 157259 w 479397"/>
                <a:gd name="connsiteY22" fmla="*/ 21946 h 482804"/>
                <a:gd name="connsiteX23" fmla="*/ 186519 w 479397"/>
                <a:gd name="connsiteY23" fmla="*/ 43892 h 482804"/>
                <a:gd name="connsiteX24" fmla="*/ 303563 w 479397"/>
                <a:gd name="connsiteY24" fmla="*/ 51207 h 482804"/>
                <a:gd name="connsiteX25" fmla="*/ 340139 w 479397"/>
                <a:gd name="connsiteY25" fmla="*/ 80468 h 482804"/>
                <a:gd name="connsiteX26" fmla="*/ 362084 w 479397"/>
                <a:gd name="connsiteY26" fmla="*/ 95098 h 482804"/>
                <a:gd name="connsiteX27" fmla="*/ 384030 w 479397"/>
                <a:gd name="connsiteY27" fmla="*/ 138989 h 482804"/>
                <a:gd name="connsiteX28" fmla="*/ 391345 w 479397"/>
                <a:gd name="connsiteY28" fmla="*/ 197511 h 482804"/>
                <a:gd name="connsiteX29" fmla="*/ 398660 w 479397"/>
                <a:gd name="connsiteY29" fmla="*/ 219456 h 482804"/>
                <a:gd name="connsiteX30" fmla="*/ 442551 w 479397"/>
                <a:gd name="connsiteY30" fmla="*/ 241402 h 482804"/>
                <a:gd name="connsiteX31" fmla="*/ 475767 w 479397"/>
                <a:gd name="connsiteY31" fmla="*/ 308071 h 482804"/>
                <a:gd name="connsiteX32" fmla="*/ 479127 w 479397"/>
                <a:gd name="connsiteY32" fmla="*/ 314554 h 482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79397" h="482804">
                  <a:moveTo>
                    <a:pt x="479127" y="314554"/>
                  </a:moveTo>
                  <a:cubicBezTo>
                    <a:pt x="482152" y="332703"/>
                    <a:pt x="459004" y="349308"/>
                    <a:pt x="449867" y="358445"/>
                  </a:cubicBezTo>
                  <a:cubicBezTo>
                    <a:pt x="447428" y="365760"/>
                    <a:pt x="443724" y="372770"/>
                    <a:pt x="442551" y="380391"/>
                  </a:cubicBezTo>
                  <a:cubicBezTo>
                    <a:pt x="438825" y="404612"/>
                    <a:pt x="447584" y="432376"/>
                    <a:pt x="435236" y="453543"/>
                  </a:cubicBezTo>
                  <a:cubicBezTo>
                    <a:pt x="435235" y="453544"/>
                    <a:pt x="380372" y="471830"/>
                    <a:pt x="369399" y="475488"/>
                  </a:cubicBezTo>
                  <a:lnTo>
                    <a:pt x="347454" y="482804"/>
                  </a:lnTo>
                  <a:cubicBezTo>
                    <a:pt x="337700" y="480365"/>
                    <a:pt x="326044" y="481769"/>
                    <a:pt x="318193" y="475488"/>
                  </a:cubicBezTo>
                  <a:cubicBezTo>
                    <a:pt x="312172" y="470671"/>
                    <a:pt x="312748" y="461023"/>
                    <a:pt x="310878" y="453543"/>
                  </a:cubicBezTo>
                  <a:cubicBezTo>
                    <a:pt x="310380" y="451551"/>
                    <a:pt x="302329" y="402624"/>
                    <a:pt x="296247" y="395021"/>
                  </a:cubicBezTo>
                  <a:cubicBezTo>
                    <a:pt x="285934" y="382129"/>
                    <a:pt x="266813" y="377895"/>
                    <a:pt x="252356" y="373076"/>
                  </a:cubicBezTo>
                  <a:cubicBezTo>
                    <a:pt x="195219" y="377837"/>
                    <a:pt x="154163" y="386933"/>
                    <a:pt x="98737" y="373076"/>
                  </a:cubicBezTo>
                  <a:cubicBezTo>
                    <a:pt x="90208" y="370944"/>
                    <a:pt x="84106" y="363322"/>
                    <a:pt x="76791" y="358445"/>
                  </a:cubicBezTo>
                  <a:cubicBezTo>
                    <a:pt x="67038" y="343815"/>
                    <a:pt x="53092" y="331235"/>
                    <a:pt x="47531" y="314554"/>
                  </a:cubicBezTo>
                  <a:cubicBezTo>
                    <a:pt x="45092" y="307239"/>
                    <a:pt x="43960" y="299349"/>
                    <a:pt x="40215" y="292608"/>
                  </a:cubicBezTo>
                  <a:cubicBezTo>
                    <a:pt x="31676" y="277237"/>
                    <a:pt x="10955" y="248717"/>
                    <a:pt x="10955" y="248717"/>
                  </a:cubicBezTo>
                  <a:cubicBezTo>
                    <a:pt x="-6092" y="180535"/>
                    <a:pt x="-991" y="213208"/>
                    <a:pt x="10955" y="87783"/>
                  </a:cubicBezTo>
                  <a:cubicBezTo>
                    <a:pt x="11686" y="80107"/>
                    <a:pt x="14822" y="72734"/>
                    <a:pt x="18270" y="65837"/>
                  </a:cubicBezTo>
                  <a:cubicBezTo>
                    <a:pt x="22202" y="57974"/>
                    <a:pt x="28023" y="51207"/>
                    <a:pt x="32900" y="43892"/>
                  </a:cubicBezTo>
                  <a:cubicBezTo>
                    <a:pt x="35338" y="36577"/>
                    <a:pt x="34762" y="27399"/>
                    <a:pt x="40215" y="21946"/>
                  </a:cubicBezTo>
                  <a:cubicBezTo>
                    <a:pt x="45668" y="16493"/>
                    <a:pt x="55264" y="18079"/>
                    <a:pt x="62161" y="14631"/>
                  </a:cubicBezTo>
                  <a:cubicBezTo>
                    <a:pt x="70025" y="10699"/>
                    <a:pt x="76792" y="4877"/>
                    <a:pt x="84107" y="0"/>
                  </a:cubicBezTo>
                  <a:cubicBezTo>
                    <a:pt x="101176" y="2439"/>
                    <a:pt x="118798" y="2361"/>
                    <a:pt x="135313" y="7316"/>
                  </a:cubicBezTo>
                  <a:cubicBezTo>
                    <a:pt x="143734" y="9842"/>
                    <a:pt x="150105" y="16836"/>
                    <a:pt x="157259" y="21946"/>
                  </a:cubicBezTo>
                  <a:cubicBezTo>
                    <a:pt x="167180" y="29032"/>
                    <a:pt x="174564" y="41501"/>
                    <a:pt x="186519" y="43892"/>
                  </a:cubicBezTo>
                  <a:cubicBezTo>
                    <a:pt x="224851" y="51558"/>
                    <a:pt x="264548" y="48769"/>
                    <a:pt x="303563" y="51207"/>
                  </a:cubicBezTo>
                  <a:cubicBezTo>
                    <a:pt x="371105" y="96235"/>
                    <a:pt x="288022" y="38774"/>
                    <a:pt x="340139" y="80468"/>
                  </a:cubicBezTo>
                  <a:cubicBezTo>
                    <a:pt x="347004" y="85960"/>
                    <a:pt x="354769" y="90221"/>
                    <a:pt x="362084" y="95098"/>
                  </a:cubicBezTo>
                  <a:cubicBezTo>
                    <a:pt x="373798" y="112668"/>
                    <a:pt x="380244" y="118167"/>
                    <a:pt x="384030" y="138989"/>
                  </a:cubicBezTo>
                  <a:cubicBezTo>
                    <a:pt x="387547" y="158331"/>
                    <a:pt x="387828" y="178169"/>
                    <a:pt x="391345" y="197511"/>
                  </a:cubicBezTo>
                  <a:cubicBezTo>
                    <a:pt x="392724" y="205097"/>
                    <a:pt x="393843" y="213435"/>
                    <a:pt x="398660" y="219456"/>
                  </a:cubicBezTo>
                  <a:cubicBezTo>
                    <a:pt x="408974" y="232348"/>
                    <a:pt x="428093" y="236583"/>
                    <a:pt x="442551" y="241402"/>
                  </a:cubicBezTo>
                  <a:cubicBezTo>
                    <a:pt x="447428" y="246279"/>
                    <a:pt x="472683" y="301902"/>
                    <a:pt x="475767" y="308071"/>
                  </a:cubicBezTo>
                  <a:lnTo>
                    <a:pt x="479127" y="31455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black"/>
                </a:solidFill>
              </a:endParaRPr>
            </a:p>
          </p:txBody>
        </p:sp>
        <p:sp>
          <p:nvSpPr>
            <p:cNvPr id="237" name="Forma livre 353"/>
            <p:cNvSpPr/>
            <p:nvPr/>
          </p:nvSpPr>
          <p:spPr>
            <a:xfrm>
              <a:off x="4250069" y="4169664"/>
              <a:ext cx="351744" cy="482803"/>
            </a:xfrm>
            <a:custGeom>
              <a:avLst/>
              <a:gdLst>
                <a:gd name="connsiteX0" fmla="*/ 248779 w 351744"/>
                <a:gd name="connsiteY0" fmla="*/ 241402 h 482803"/>
                <a:gd name="connsiteX1" fmla="*/ 285355 w 351744"/>
                <a:gd name="connsiteY1" fmla="*/ 270662 h 482803"/>
                <a:gd name="connsiteX2" fmla="*/ 329246 w 351744"/>
                <a:gd name="connsiteY2" fmla="*/ 314554 h 482803"/>
                <a:gd name="connsiteX3" fmla="*/ 336561 w 351744"/>
                <a:gd name="connsiteY3" fmla="*/ 336499 h 482803"/>
                <a:gd name="connsiteX4" fmla="*/ 351192 w 351744"/>
                <a:gd name="connsiteY4" fmla="*/ 351130 h 482803"/>
                <a:gd name="connsiteX5" fmla="*/ 343877 w 351744"/>
                <a:gd name="connsiteY5" fmla="*/ 424282 h 482803"/>
                <a:gd name="connsiteX6" fmla="*/ 329246 w 351744"/>
                <a:gd name="connsiteY6" fmla="*/ 446227 h 482803"/>
                <a:gd name="connsiteX7" fmla="*/ 292670 w 351744"/>
                <a:gd name="connsiteY7" fmla="*/ 475488 h 482803"/>
                <a:gd name="connsiteX8" fmla="*/ 270725 w 351744"/>
                <a:gd name="connsiteY8" fmla="*/ 482803 h 482803"/>
                <a:gd name="connsiteX9" fmla="*/ 168312 w 351744"/>
                <a:gd name="connsiteY9" fmla="*/ 475488 h 482803"/>
                <a:gd name="connsiteX10" fmla="*/ 146366 w 351744"/>
                <a:gd name="connsiteY10" fmla="*/ 468173 h 482803"/>
                <a:gd name="connsiteX11" fmla="*/ 109790 w 351744"/>
                <a:gd name="connsiteY11" fmla="*/ 424282 h 482803"/>
                <a:gd name="connsiteX12" fmla="*/ 73214 w 351744"/>
                <a:gd name="connsiteY12" fmla="*/ 395021 h 482803"/>
                <a:gd name="connsiteX13" fmla="*/ 29323 w 351744"/>
                <a:gd name="connsiteY13" fmla="*/ 365760 h 482803"/>
                <a:gd name="connsiteX14" fmla="*/ 62 w 351744"/>
                <a:gd name="connsiteY14" fmla="*/ 321869 h 482803"/>
                <a:gd name="connsiteX15" fmla="*/ 7377 w 351744"/>
                <a:gd name="connsiteY15" fmla="*/ 226771 h 482803"/>
                <a:gd name="connsiteX16" fmla="*/ 29323 w 351744"/>
                <a:gd name="connsiteY16" fmla="*/ 190195 h 482803"/>
                <a:gd name="connsiteX17" fmla="*/ 65899 w 351744"/>
                <a:gd name="connsiteY17" fmla="*/ 153619 h 482803"/>
                <a:gd name="connsiteX18" fmla="*/ 80529 w 351744"/>
                <a:gd name="connsiteY18" fmla="*/ 109728 h 482803"/>
                <a:gd name="connsiteX19" fmla="*/ 87845 w 351744"/>
                <a:gd name="connsiteY19" fmla="*/ 87782 h 482803"/>
                <a:gd name="connsiteX20" fmla="*/ 109790 w 351744"/>
                <a:gd name="connsiteY20" fmla="*/ 29261 h 482803"/>
                <a:gd name="connsiteX21" fmla="*/ 117105 w 351744"/>
                <a:gd name="connsiteY21" fmla="*/ 7315 h 482803"/>
                <a:gd name="connsiteX22" fmla="*/ 139051 w 351744"/>
                <a:gd name="connsiteY22" fmla="*/ 0 h 482803"/>
                <a:gd name="connsiteX23" fmla="*/ 212203 w 351744"/>
                <a:gd name="connsiteY23" fmla="*/ 7315 h 482803"/>
                <a:gd name="connsiteX24" fmla="*/ 256094 w 351744"/>
                <a:gd name="connsiteY24" fmla="*/ 43891 h 482803"/>
                <a:gd name="connsiteX25" fmla="*/ 278040 w 351744"/>
                <a:gd name="connsiteY25" fmla="*/ 117043 h 482803"/>
                <a:gd name="connsiteX26" fmla="*/ 292670 w 351744"/>
                <a:gd name="connsiteY26" fmla="*/ 285293 h 482803"/>
                <a:gd name="connsiteX0" fmla="*/ 285355 w 351744"/>
                <a:gd name="connsiteY0" fmla="*/ 270662 h 482803"/>
                <a:gd name="connsiteX1" fmla="*/ 329246 w 351744"/>
                <a:gd name="connsiteY1" fmla="*/ 314554 h 482803"/>
                <a:gd name="connsiteX2" fmla="*/ 336561 w 351744"/>
                <a:gd name="connsiteY2" fmla="*/ 336499 h 482803"/>
                <a:gd name="connsiteX3" fmla="*/ 351192 w 351744"/>
                <a:gd name="connsiteY3" fmla="*/ 351130 h 482803"/>
                <a:gd name="connsiteX4" fmla="*/ 343877 w 351744"/>
                <a:gd name="connsiteY4" fmla="*/ 424282 h 482803"/>
                <a:gd name="connsiteX5" fmla="*/ 329246 w 351744"/>
                <a:gd name="connsiteY5" fmla="*/ 446227 h 482803"/>
                <a:gd name="connsiteX6" fmla="*/ 292670 w 351744"/>
                <a:gd name="connsiteY6" fmla="*/ 475488 h 482803"/>
                <a:gd name="connsiteX7" fmla="*/ 270725 w 351744"/>
                <a:gd name="connsiteY7" fmla="*/ 482803 h 482803"/>
                <a:gd name="connsiteX8" fmla="*/ 168312 w 351744"/>
                <a:gd name="connsiteY8" fmla="*/ 475488 h 482803"/>
                <a:gd name="connsiteX9" fmla="*/ 146366 w 351744"/>
                <a:gd name="connsiteY9" fmla="*/ 468173 h 482803"/>
                <a:gd name="connsiteX10" fmla="*/ 109790 w 351744"/>
                <a:gd name="connsiteY10" fmla="*/ 424282 h 482803"/>
                <a:gd name="connsiteX11" fmla="*/ 73214 w 351744"/>
                <a:gd name="connsiteY11" fmla="*/ 395021 h 482803"/>
                <a:gd name="connsiteX12" fmla="*/ 29323 w 351744"/>
                <a:gd name="connsiteY12" fmla="*/ 365760 h 482803"/>
                <a:gd name="connsiteX13" fmla="*/ 62 w 351744"/>
                <a:gd name="connsiteY13" fmla="*/ 321869 h 482803"/>
                <a:gd name="connsiteX14" fmla="*/ 7377 w 351744"/>
                <a:gd name="connsiteY14" fmla="*/ 226771 h 482803"/>
                <a:gd name="connsiteX15" fmla="*/ 29323 w 351744"/>
                <a:gd name="connsiteY15" fmla="*/ 190195 h 482803"/>
                <a:gd name="connsiteX16" fmla="*/ 65899 w 351744"/>
                <a:gd name="connsiteY16" fmla="*/ 153619 h 482803"/>
                <a:gd name="connsiteX17" fmla="*/ 80529 w 351744"/>
                <a:gd name="connsiteY17" fmla="*/ 109728 h 482803"/>
                <a:gd name="connsiteX18" fmla="*/ 87845 w 351744"/>
                <a:gd name="connsiteY18" fmla="*/ 87782 h 482803"/>
                <a:gd name="connsiteX19" fmla="*/ 109790 w 351744"/>
                <a:gd name="connsiteY19" fmla="*/ 29261 h 482803"/>
                <a:gd name="connsiteX20" fmla="*/ 117105 w 351744"/>
                <a:gd name="connsiteY20" fmla="*/ 7315 h 482803"/>
                <a:gd name="connsiteX21" fmla="*/ 139051 w 351744"/>
                <a:gd name="connsiteY21" fmla="*/ 0 h 482803"/>
                <a:gd name="connsiteX22" fmla="*/ 212203 w 351744"/>
                <a:gd name="connsiteY22" fmla="*/ 7315 h 482803"/>
                <a:gd name="connsiteX23" fmla="*/ 256094 w 351744"/>
                <a:gd name="connsiteY23" fmla="*/ 43891 h 482803"/>
                <a:gd name="connsiteX24" fmla="*/ 278040 w 351744"/>
                <a:gd name="connsiteY24" fmla="*/ 117043 h 482803"/>
                <a:gd name="connsiteX25" fmla="*/ 292670 w 351744"/>
                <a:gd name="connsiteY25" fmla="*/ 285293 h 482803"/>
                <a:gd name="connsiteX0" fmla="*/ 329246 w 351744"/>
                <a:gd name="connsiteY0" fmla="*/ 314554 h 482803"/>
                <a:gd name="connsiteX1" fmla="*/ 336561 w 351744"/>
                <a:gd name="connsiteY1" fmla="*/ 336499 h 482803"/>
                <a:gd name="connsiteX2" fmla="*/ 351192 w 351744"/>
                <a:gd name="connsiteY2" fmla="*/ 351130 h 482803"/>
                <a:gd name="connsiteX3" fmla="*/ 343877 w 351744"/>
                <a:gd name="connsiteY3" fmla="*/ 424282 h 482803"/>
                <a:gd name="connsiteX4" fmla="*/ 329246 w 351744"/>
                <a:gd name="connsiteY4" fmla="*/ 446227 h 482803"/>
                <a:gd name="connsiteX5" fmla="*/ 292670 w 351744"/>
                <a:gd name="connsiteY5" fmla="*/ 475488 h 482803"/>
                <a:gd name="connsiteX6" fmla="*/ 270725 w 351744"/>
                <a:gd name="connsiteY6" fmla="*/ 482803 h 482803"/>
                <a:gd name="connsiteX7" fmla="*/ 168312 w 351744"/>
                <a:gd name="connsiteY7" fmla="*/ 475488 h 482803"/>
                <a:gd name="connsiteX8" fmla="*/ 146366 w 351744"/>
                <a:gd name="connsiteY8" fmla="*/ 468173 h 482803"/>
                <a:gd name="connsiteX9" fmla="*/ 109790 w 351744"/>
                <a:gd name="connsiteY9" fmla="*/ 424282 h 482803"/>
                <a:gd name="connsiteX10" fmla="*/ 73214 w 351744"/>
                <a:gd name="connsiteY10" fmla="*/ 395021 h 482803"/>
                <a:gd name="connsiteX11" fmla="*/ 29323 w 351744"/>
                <a:gd name="connsiteY11" fmla="*/ 365760 h 482803"/>
                <a:gd name="connsiteX12" fmla="*/ 62 w 351744"/>
                <a:gd name="connsiteY12" fmla="*/ 321869 h 482803"/>
                <a:gd name="connsiteX13" fmla="*/ 7377 w 351744"/>
                <a:gd name="connsiteY13" fmla="*/ 226771 h 482803"/>
                <a:gd name="connsiteX14" fmla="*/ 29323 w 351744"/>
                <a:gd name="connsiteY14" fmla="*/ 190195 h 482803"/>
                <a:gd name="connsiteX15" fmla="*/ 65899 w 351744"/>
                <a:gd name="connsiteY15" fmla="*/ 153619 h 482803"/>
                <a:gd name="connsiteX16" fmla="*/ 80529 w 351744"/>
                <a:gd name="connsiteY16" fmla="*/ 109728 h 482803"/>
                <a:gd name="connsiteX17" fmla="*/ 87845 w 351744"/>
                <a:gd name="connsiteY17" fmla="*/ 87782 h 482803"/>
                <a:gd name="connsiteX18" fmla="*/ 109790 w 351744"/>
                <a:gd name="connsiteY18" fmla="*/ 29261 h 482803"/>
                <a:gd name="connsiteX19" fmla="*/ 117105 w 351744"/>
                <a:gd name="connsiteY19" fmla="*/ 7315 h 482803"/>
                <a:gd name="connsiteX20" fmla="*/ 139051 w 351744"/>
                <a:gd name="connsiteY20" fmla="*/ 0 h 482803"/>
                <a:gd name="connsiteX21" fmla="*/ 212203 w 351744"/>
                <a:gd name="connsiteY21" fmla="*/ 7315 h 482803"/>
                <a:gd name="connsiteX22" fmla="*/ 256094 w 351744"/>
                <a:gd name="connsiteY22" fmla="*/ 43891 h 482803"/>
                <a:gd name="connsiteX23" fmla="*/ 278040 w 351744"/>
                <a:gd name="connsiteY23" fmla="*/ 117043 h 482803"/>
                <a:gd name="connsiteX24" fmla="*/ 292670 w 351744"/>
                <a:gd name="connsiteY24" fmla="*/ 285293 h 482803"/>
                <a:gd name="connsiteX0" fmla="*/ 290777 w 351744"/>
                <a:gd name="connsiteY0" fmla="*/ 290880 h 482803"/>
                <a:gd name="connsiteX1" fmla="*/ 336561 w 351744"/>
                <a:gd name="connsiteY1" fmla="*/ 336499 h 482803"/>
                <a:gd name="connsiteX2" fmla="*/ 351192 w 351744"/>
                <a:gd name="connsiteY2" fmla="*/ 351130 h 482803"/>
                <a:gd name="connsiteX3" fmla="*/ 343877 w 351744"/>
                <a:gd name="connsiteY3" fmla="*/ 424282 h 482803"/>
                <a:gd name="connsiteX4" fmla="*/ 329246 w 351744"/>
                <a:gd name="connsiteY4" fmla="*/ 446227 h 482803"/>
                <a:gd name="connsiteX5" fmla="*/ 292670 w 351744"/>
                <a:gd name="connsiteY5" fmla="*/ 475488 h 482803"/>
                <a:gd name="connsiteX6" fmla="*/ 270725 w 351744"/>
                <a:gd name="connsiteY6" fmla="*/ 482803 h 482803"/>
                <a:gd name="connsiteX7" fmla="*/ 168312 w 351744"/>
                <a:gd name="connsiteY7" fmla="*/ 475488 h 482803"/>
                <a:gd name="connsiteX8" fmla="*/ 146366 w 351744"/>
                <a:gd name="connsiteY8" fmla="*/ 468173 h 482803"/>
                <a:gd name="connsiteX9" fmla="*/ 109790 w 351744"/>
                <a:gd name="connsiteY9" fmla="*/ 424282 h 482803"/>
                <a:gd name="connsiteX10" fmla="*/ 73214 w 351744"/>
                <a:gd name="connsiteY10" fmla="*/ 395021 h 482803"/>
                <a:gd name="connsiteX11" fmla="*/ 29323 w 351744"/>
                <a:gd name="connsiteY11" fmla="*/ 365760 h 482803"/>
                <a:gd name="connsiteX12" fmla="*/ 62 w 351744"/>
                <a:gd name="connsiteY12" fmla="*/ 321869 h 482803"/>
                <a:gd name="connsiteX13" fmla="*/ 7377 w 351744"/>
                <a:gd name="connsiteY13" fmla="*/ 226771 h 482803"/>
                <a:gd name="connsiteX14" fmla="*/ 29323 w 351744"/>
                <a:gd name="connsiteY14" fmla="*/ 190195 h 482803"/>
                <a:gd name="connsiteX15" fmla="*/ 65899 w 351744"/>
                <a:gd name="connsiteY15" fmla="*/ 153619 h 482803"/>
                <a:gd name="connsiteX16" fmla="*/ 80529 w 351744"/>
                <a:gd name="connsiteY16" fmla="*/ 109728 h 482803"/>
                <a:gd name="connsiteX17" fmla="*/ 87845 w 351744"/>
                <a:gd name="connsiteY17" fmla="*/ 87782 h 482803"/>
                <a:gd name="connsiteX18" fmla="*/ 109790 w 351744"/>
                <a:gd name="connsiteY18" fmla="*/ 29261 h 482803"/>
                <a:gd name="connsiteX19" fmla="*/ 117105 w 351744"/>
                <a:gd name="connsiteY19" fmla="*/ 7315 h 482803"/>
                <a:gd name="connsiteX20" fmla="*/ 139051 w 351744"/>
                <a:gd name="connsiteY20" fmla="*/ 0 h 482803"/>
                <a:gd name="connsiteX21" fmla="*/ 212203 w 351744"/>
                <a:gd name="connsiteY21" fmla="*/ 7315 h 482803"/>
                <a:gd name="connsiteX22" fmla="*/ 256094 w 351744"/>
                <a:gd name="connsiteY22" fmla="*/ 43891 h 482803"/>
                <a:gd name="connsiteX23" fmla="*/ 278040 w 351744"/>
                <a:gd name="connsiteY23" fmla="*/ 117043 h 482803"/>
                <a:gd name="connsiteX24" fmla="*/ 292670 w 351744"/>
                <a:gd name="connsiteY24" fmla="*/ 285293 h 482803"/>
                <a:gd name="connsiteX0" fmla="*/ 290777 w 351744"/>
                <a:gd name="connsiteY0" fmla="*/ 290880 h 482803"/>
                <a:gd name="connsiteX1" fmla="*/ 336561 w 351744"/>
                <a:gd name="connsiteY1" fmla="*/ 336499 h 482803"/>
                <a:gd name="connsiteX2" fmla="*/ 351192 w 351744"/>
                <a:gd name="connsiteY2" fmla="*/ 351130 h 482803"/>
                <a:gd name="connsiteX3" fmla="*/ 343877 w 351744"/>
                <a:gd name="connsiteY3" fmla="*/ 424282 h 482803"/>
                <a:gd name="connsiteX4" fmla="*/ 329246 w 351744"/>
                <a:gd name="connsiteY4" fmla="*/ 446227 h 482803"/>
                <a:gd name="connsiteX5" fmla="*/ 292670 w 351744"/>
                <a:gd name="connsiteY5" fmla="*/ 475488 h 482803"/>
                <a:gd name="connsiteX6" fmla="*/ 270725 w 351744"/>
                <a:gd name="connsiteY6" fmla="*/ 482803 h 482803"/>
                <a:gd name="connsiteX7" fmla="*/ 168312 w 351744"/>
                <a:gd name="connsiteY7" fmla="*/ 475488 h 482803"/>
                <a:gd name="connsiteX8" fmla="*/ 146366 w 351744"/>
                <a:gd name="connsiteY8" fmla="*/ 468173 h 482803"/>
                <a:gd name="connsiteX9" fmla="*/ 109790 w 351744"/>
                <a:gd name="connsiteY9" fmla="*/ 424282 h 482803"/>
                <a:gd name="connsiteX10" fmla="*/ 73214 w 351744"/>
                <a:gd name="connsiteY10" fmla="*/ 395021 h 482803"/>
                <a:gd name="connsiteX11" fmla="*/ 29323 w 351744"/>
                <a:gd name="connsiteY11" fmla="*/ 365760 h 482803"/>
                <a:gd name="connsiteX12" fmla="*/ 62 w 351744"/>
                <a:gd name="connsiteY12" fmla="*/ 321869 h 482803"/>
                <a:gd name="connsiteX13" fmla="*/ 7377 w 351744"/>
                <a:gd name="connsiteY13" fmla="*/ 226771 h 482803"/>
                <a:gd name="connsiteX14" fmla="*/ 29323 w 351744"/>
                <a:gd name="connsiteY14" fmla="*/ 190195 h 482803"/>
                <a:gd name="connsiteX15" fmla="*/ 65899 w 351744"/>
                <a:gd name="connsiteY15" fmla="*/ 153619 h 482803"/>
                <a:gd name="connsiteX16" fmla="*/ 80529 w 351744"/>
                <a:gd name="connsiteY16" fmla="*/ 109728 h 482803"/>
                <a:gd name="connsiteX17" fmla="*/ 87845 w 351744"/>
                <a:gd name="connsiteY17" fmla="*/ 87782 h 482803"/>
                <a:gd name="connsiteX18" fmla="*/ 109790 w 351744"/>
                <a:gd name="connsiteY18" fmla="*/ 29261 h 482803"/>
                <a:gd name="connsiteX19" fmla="*/ 117105 w 351744"/>
                <a:gd name="connsiteY19" fmla="*/ 7315 h 482803"/>
                <a:gd name="connsiteX20" fmla="*/ 139051 w 351744"/>
                <a:gd name="connsiteY20" fmla="*/ 0 h 482803"/>
                <a:gd name="connsiteX21" fmla="*/ 212203 w 351744"/>
                <a:gd name="connsiteY21" fmla="*/ 7315 h 482803"/>
                <a:gd name="connsiteX22" fmla="*/ 256094 w 351744"/>
                <a:gd name="connsiteY22" fmla="*/ 43891 h 482803"/>
                <a:gd name="connsiteX23" fmla="*/ 278040 w 351744"/>
                <a:gd name="connsiteY23" fmla="*/ 117043 h 482803"/>
                <a:gd name="connsiteX24" fmla="*/ 292670 w 351744"/>
                <a:gd name="connsiteY24" fmla="*/ 285293 h 482803"/>
                <a:gd name="connsiteX25" fmla="*/ 290777 w 351744"/>
                <a:gd name="connsiteY25" fmla="*/ 290880 h 482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51744" h="482803">
                  <a:moveTo>
                    <a:pt x="290777" y="290880"/>
                  </a:moveTo>
                  <a:cubicBezTo>
                    <a:pt x="293215" y="298195"/>
                    <a:pt x="326492" y="326457"/>
                    <a:pt x="336561" y="336499"/>
                  </a:cubicBezTo>
                  <a:cubicBezTo>
                    <a:pt x="346630" y="346541"/>
                    <a:pt x="350619" y="344257"/>
                    <a:pt x="351192" y="351130"/>
                  </a:cubicBezTo>
                  <a:cubicBezTo>
                    <a:pt x="353227" y="375551"/>
                    <a:pt x="349387" y="400404"/>
                    <a:pt x="343877" y="424282"/>
                  </a:cubicBezTo>
                  <a:cubicBezTo>
                    <a:pt x="341900" y="432849"/>
                    <a:pt x="334738" y="439362"/>
                    <a:pt x="329246" y="446227"/>
                  </a:cubicBezTo>
                  <a:cubicBezTo>
                    <a:pt x="320172" y="457570"/>
                    <a:pt x="305348" y="469149"/>
                    <a:pt x="292670" y="475488"/>
                  </a:cubicBezTo>
                  <a:cubicBezTo>
                    <a:pt x="285773" y="478936"/>
                    <a:pt x="278040" y="480365"/>
                    <a:pt x="270725" y="482803"/>
                  </a:cubicBezTo>
                  <a:cubicBezTo>
                    <a:pt x="236587" y="480365"/>
                    <a:pt x="202302" y="479487"/>
                    <a:pt x="168312" y="475488"/>
                  </a:cubicBezTo>
                  <a:cubicBezTo>
                    <a:pt x="160654" y="474587"/>
                    <a:pt x="152782" y="472450"/>
                    <a:pt x="146366" y="468173"/>
                  </a:cubicBezTo>
                  <a:cubicBezTo>
                    <a:pt x="124030" y="453282"/>
                    <a:pt x="125209" y="443555"/>
                    <a:pt x="109790" y="424282"/>
                  </a:cubicBezTo>
                  <a:cubicBezTo>
                    <a:pt x="94085" y="404651"/>
                    <a:pt x="94345" y="411926"/>
                    <a:pt x="73214" y="395021"/>
                  </a:cubicBezTo>
                  <a:cubicBezTo>
                    <a:pt x="35976" y="365230"/>
                    <a:pt x="88307" y="395251"/>
                    <a:pt x="29323" y="365760"/>
                  </a:cubicBezTo>
                  <a:cubicBezTo>
                    <a:pt x="19569" y="351130"/>
                    <a:pt x="-1287" y="339401"/>
                    <a:pt x="62" y="321869"/>
                  </a:cubicBezTo>
                  <a:cubicBezTo>
                    <a:pt x="2500" y="290170"/>
                    <a:pt x="3433" y="258318"/>
                    <a:pt x="7377" y="226771"/>
                  </a:cubicBezTo>
                  <a:cubicBezTo>
                    <a:pt x="10670" y="200426"/>
                    <a:pt x="14790" y="208362"/>
                    <a:pt x="29323" y="190195"/>
                  </a:cubicBezTo>
                  <a:cubicBezTo>
                    <a:pt x="57189" y="155362"/>
                    <a:pt x="28279" y="178700"/>
                    <a:pt x="65899" y="153619"/>
                  </a:cubicBezTo>
                  <a:lnTo>
                    <a:pt x="80529" y="109728"/>
                  </a:lnTo>
                  <a:cubicBezTo>
                    <a:pt x="82968" y="102413"/>
                    <a:pt x="86333" y="95343"/>
                    <a:pt x="87845" y="87782"/>
                  </a:cubicBezTo>
                  <a:cubicBezTo>
                    <a:pt x="96884" y="42585"/>
                    <a:pt x="88263" y="61551"/>
                    <a:pt x="109790" y="29261"/>
                  </a:cubicBezTo>
                  <a:cubicBezTo>
                    <a:pt x="112228" y="21946"/>
                    <a:pt x="111652" y="12768"/>
                    <a:pt x="117105" y="7315"/>
                  </a:cubicBezTo>
                  <a:cubicBezTo>
                    <a:pt x="122558" y="1862"/>
                    <a:pt x="131340" y="0"/>
                    <a:pt x="139051" y="0"/>
                  </a:cubicBezTo>
                  <a:cubicBezTo>
                    <a:pt x="163557" y="0"/>
                    <a:pt x="187819" y="4877"/>
                    <a:pt x="212203" y="7315"/>
                  </a:cubicBezTo>
                  <a:cubicBezTo>
                    <a:pt x="225862" y="16421"/>
                    <a:pt x="247811" y="28982"/>
                    <a:pt x="256094" y="43891"/>
                  </a:cubicBezTo>
                  <a:cubicBezTo>
                    <a:pt x="267341" y="64136"/>
                    <a:pt x="271264" y="94454"/>
                    <a:pt x="278040" y="117043"/>
                  </a:cubicBezTo>
                  <a:cubicBezTo>
                    <a:pt x="305778" y="209507"/>
                    <a:pt x="292670" y="120657"/>
                    <a:pt x="292670" y="285293"/>
                  </a:cubicBezTo>
                  <a:lnTo>
                    <a:pt x="290777" y="29088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black"/>
                </a:solidFill>
              </a:endParaRPr>
            </a:p>
          </p:txBody>
        </p:sp>
        <p:sp>
          <p:nvSpPr>
            <p:cNvPr id="238" name="Forma livre 354"/>
            <p:cNvSpPr/>
            <p:nvPr/>
          </p:nvSpPr>
          <p:spPr>
            <a:xfrm>
              <a:off x="3272901" y="4545367"/>
              <a:ext cx="349248" cy="284085"/>
            </a:xfrm>
            <a:custGeom>
              <a:avLst/>
              <a:gdLst>
                <a:gd name="connsiteX0" fmla="*/ 349188 w 349248"/>
                <a:gd name="connsiteY0" fmla="*/ 115410 h 284085"/>
                <a:gd name="connsiteX1" fmla="*/ 334392 w 349248"/>
                <a:gd name="connsiteY1" fmla="*/ 121328 h 284085"/>
                <a:gd name="connsiteX2" fmla="*/ 319596 w 349248"/>
                <a:gd name="connsiteY2" fmla="*/ 139083 h 284085"/>
                <a:gd name="connsiteX3" fmla="*/ 313678 w 349248"/>
                <a:gd name="connsiteY3" fmla="*/ 156839 h 284085"/>
                <a:gd name="connsiteX4" fmla="*/ 310718 w 349248"/>
                <a:gd name="connsiteY4" fmla="*/ 165716 h 284085"/>
                <a:gd name="connsiteX5" fmla="*/ 298882 w 349248"/>
                <a:gd name="connsiteY5" fmla="*/ 174594 h 284085"/>
                <a:gd name="connsiteX6" fmla="*/ 287045 w 349248"/>
                <a:gd name="connsiteY6" fmla="*/ 201227 h 284085"/>
                <a:gd name="connsiteX7" fmla="*/ 284085 w 349248"/>
                <a:gd name="connsiteY7" fmla="*/ 213064 h 284085"/>
                <a:gd name="connsiteX8" fmla="*/ 278167 w 349248"/>
                <a:gd name="connsiteY8" fmla="*/ 221942 h 284085"/>
                <a:gd name="connsiteX9" fmla="*/ 275208 w 349248"/>
                <a:gd name="connsiteY9" fmla="*/ 230819 h 284085"/>
                <a:gd name="connsiteX10" fmla="*/ 272249 w 349248"/>
                <a:gd name="connsiteY10" fmla="*/ 257452 h 284085"/>
                <a:gd name="connsiteX11" fmla="*/ 269289 w 349248"/>
                <a:gd name="connsiteY11" fmla="*/ 269289 h 284085"/>
                <a:gd name="connsiteX12" fmla="*/ 257452 w 349248"/>
                <a:gd name="connsiteY12" fmla="*/ 281126 h 284085"/>
                <a:gd name="connsiteX13" fmla="*/ 242656 w 349248"/>
                <a:gd name="connsiteY13" fmla="*/ 284085 h 284085"/>
                <a:gd name="connsiteX14" fmla="*/ 221942 w 349248"/>
                <a:gd name="connsiteY14" fmla="*/ 281126 h 284085"/>
                <a:gd name="connsiteX15" fmla="*/ 201227 w 349248"/>
                <a:gd name="connsiteY15" fmla="*/ 272249 h 284085"/>
                <a:gd name="connsiteX16" fmla="*/ 189390 w 349248"/>
                <a:gd name="connsiteY16" fmla="*/ 269289 h 284085"/>
                <a:gd name="connsiteX17" fmla="*/ 165716 w 349248"/>
                <a:gd name="connsiteY17" fmla="*/ 248575 h 284085"/>
                <a:gd name="connsiteX18" fmla="*/ 159798 w 349248"/>
                <a:gd name="connsiteY18" fmla="*/ 242656 h 284085"/>
                <a:gd name="connsiteX19" fmla="*/ 150920 w 349248"/>
                <a:gd name="connsiteY19" fmla="*/ 239697 h 284085"/>
                <a:gd name="connsiteX20" fmla="*/ 145002 w 349248"/>
                <a:gd name="connsiteY20" fmla="*/ 230819 h 284085"/>
                <a:gd name="connsiteX21" fmla="*/ 133165 w 349248"/>
                <a:gd name="connsiteY21" fmla="*/ 224901 h 284085"/>
                <a:gd name="connsiteX22" fmla="*/ 124287 w 349248"/>
                <a:gd name="connsiteY22" fmla="*/ 218983 h 284085"/>
                <a:gd name="connsiteX23" fmla="*/ 118369 w 349248"/>
                <a:gd name="connsiteY23" fmla="*/ 213064 h 284085"/>
                <a:gd name="connsiteX24" fmla="*/ 100614 w 349248"/>
                <a:gd name="connsiteY24" fmla="*/ 207146 h 284085"/>
                <a:gd name="connsiteX25" fmla="*/ 82858 w 349248"/>
                <a:gd name="connsiteY25" fmla="*/ 198268 h 284085"/>
                <a:gd name="connsiteX26" fmla="*/ 73981 w 349248"/>
                <a:gd name="connsiteY26" fmla="*/ 192350 h 284085"/>
                <a:gd name="connsiteX27" fmla="*/ 65103 w 349248"/>
                <a:gd name="connsiteY27" fmla="*/ 189390 h 284085"/>
                <a:gd name="connsiteX28" fmla="*/ 50307 w 349248"/>
                <a:gd name="connsiteY28" fmla="*/ 177553 h 284085"/>
                <a:gd name="connsiteX29" fmla="*/ 41429 w 349248"/>
                <a:gd name="connsiteY29" fmla="*/ 171635 h 284085"/>
                <a:gd name="connsiteX30" fmla="*/ 35511 w 349248"/>
                <a:gd name="connsiteY30" fmla="*/ 165716 h 284085"/>
                <a:gd name="connsiteX31" fmla="*/ 23674 w 349248"/>
                <a:gd name="connsiteY31" fmla="*/ 159798 h 284085"/>
                <a:gd name="connsiteX32" fmla="*/ 11837 w 349248"/>
                <a:gd name="connsiteY32" fmla="*/ 147961 h 284085"/>
                <a:gd name="connsiteX33" fmla="*/ 2959 w 349248"/>
                <a:gd name="connsiteY33" fmla="*/ 121328 h 284085"/>
                <a:gd name="connsiteX34" fmla="*/ 0 w 349248"/>
                <a:gd name="connsiteY34" fmla="*/ 112450 h 284085"/>
                <a:gd name="connsiteX35" fmla="*/ 2959 w 349248"/>
                <a:gd name="connsiteY35" fmla="*/ 62144 h 284085"/>
                <a:gd name="connsiteX36" fmla="*/ 5918 w 349248"/>
                <a:gd name="connsiteY36" fmla="*/ 50307 h 284085"/>
                <a:gd name="connsiteX37" fmla="*/ 20715 w 349248"/>
                <a:gd name="connsiteY37" fmla="*/ 32551 h 284085"/>
                <a:gd name="connsiteX38" fmla="*/ 29592 w 349248"/>
                <a:gd name="connsiteY38" fmla="*/ 26633 h 284085"/>
                <a:gd name="connsiteX39" fmla="*/ 44388 w 349248"/>
                <a:gd name="connsiteY39" fmla="*/ 20715 h 284085"/>
                <a:gd name="connsiteX40" fmla="*/ 62144 w 349248"/>
                <a:gd name="connsiteY40" fmla="*/ 11837 h 284085"/>
                <a:gd name="connsiteX41" fmla="*/ 79899 w 349248"/>
                <a:gd name="connsiteY41" fmla="*/ 5918 h 284085"/>
                <a:gd name="connsiteX42" fmla="*/ 103573 w 349248"/>
                <a:gd name="connsiteY42" fmla="*/ 0 h 284085"/>
                <a:gd name="connsiteX43" fmla="*/ 121328 w 349248"/>
                <a:gd name="connsiteY43" fmla="*/ 2959 h 284085"/>
                <a:gd name="connsiteX44" fmla="*/ 139083 w 349248"/>
                <a:gd name="connsiteY44" fmla="*/ 14796 h 284085"/>
                <a:gd name="connsiteX45" fmla="*/ 145002 w 349248"/>
                <a:gd name="connsiteY45" fmla="*/ 23674 h 284085"/>
                <a:gd name="connsiteX46" fmla="*/ 162757 w 349248"/>
                <a:gd name="connsiteY46" fmla="*/ 35511 h 284085"/>
                <a:gd name="connsiteX47" fmla="*/ 171635 w 349248"/>
                <a:gd name="connsiteY47" fmla="*/ 41429 h 284085"/>
                <a:gd name="connsiteX48" fmla="*/ 177553 w 349248"/>
                <a:gd name="connsiteY48" fmla="*/ 47348 h 284085"/>
                <a:gd name="connsiteX49" fmla="*/ 186431 w 349248"/>
                <a:gd name="connsiteY49" fmla="*/ 50307 h 284085"/>
                <a:gd name="connsiteX50" fmla="*/ 195309 w 349248"/>
                <a:gd name="connsiteY50" fmla="*/ 56225 h 284085"/>
                <a:gd name="connsiteX51" fmla="*/ 236738 w 349248"/>
                <a:gd name="connsiteY51" fmla="*/ 59184 h 284085"/>
                <a:gd name="connsiteX52" fmla="*/ 260412 w 349248"/>
                <a:gd name="connsiteY52" fmla="*/ 62144 h 284085"/>
                <a:gd name="connsiteX53" fmla="*/ 269289 w 349248"/>
                <a:gd name="connsiteY53" fmla="*/ 65103 h 284085"/>
                <a:gd name="connsiteX54" fmla="*/ 290004 w 349248"/>
                <a:gd name="connsiteY54" fmla="*/ 68062 h 284085"/>
                <a:gd name="connsiteX55" fmla="*/ 307759 w 349248"/>
                <a:gd name="connsiteY55" fmla="*/ 71021 h 284085"/>
                <a:gd name="connsiteX56" fmla="*/ 310718 w 349248"/>
                <a:gd name="connsiteY56" fmla="*/ 85817 h 284085"/>
                <a:gd name="connsiteX57" fmla="*/ 316637 w 349248"/>
                <a:gd name="connsiteY57" fmla="*/ 91736 h 284085"/>
                <a:gd name="connsiteX58" fmla="*/ 328474 w 349248"/>
                <a:gd name="connsiteY58" fmla="*/ 109491 h 284085"/>
                <a:gd name="connsiteX59" fmla="*/ 349188 w 349248"/>
                <a:gd name="connsiteY59" fmla="*/ 115410 h 284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349248" h="284085">
                  <a:moveTo>
                    <a:pt x="349188" y="115410"/>
                  </a:moveTo>
                  <a:cubicBezTo>
                    <a:pt x="350174" y="117383"/>
                    <a:pt x="338896" y="118513"/>
                    <a:pt x="334392" y="121328"/>
                  </a:cubicBezTo>
                  <a:cubicBezTo>
                    <a:pt x="327885" y="125395"/>
                    <a:pt x="323685" y="132950"/>
                    <a:pt x="319596" y="139083"/>
                  </a:cubicBezTo>
                  <a:lnTo>
                    <a:pt x="313678" y="156839"/>
                  </a:lnTo>
                  <a:cubicBezTo>
                    <a:pt x="312692" y="159798"/>
                    <a:pt x="313213" y="163844"/>
                    <a:pt x="310718" y="165716"/>
                  </a:cubicBezTo>
                  <a:lnTo>
                    <a:pt x="298882" y="174594"/>
                  </a:lnTo>
                  <a:cubicBezTo>
                    <a:pt x="291838" y="195724"/>
                    <a:pt x="296424" y="187159"/>
                    <a:pt x="287045" y="201227"/>
                  </a:cubicBezTo>
                  <a:cubicBezTo>
                    <a:pt x="286058" y="205173"/>
                    <a:pt x="285687" y="209326"/>
                    <a:pt x="284085" y="213064"/>
                  </a:cubicBezTo>
                  <a:cubicBezTo>
                    <a:pt x="282684" y="216333"/>
                    <a:pt x="279757" y="218761"/>
                    <a:pt x="278167" y="221942"/>
                  </a:cubicBezTo>
                  <a:cubicBezTo>
                    <a:pt x="276772" y="224732"/>
                    <a:pt x="276194" y="227860"/>
                    <a:pt x="275208" y="230819"/>
                  </a:cubicBezTo>
                  <a:cubicBezTo>
                    <a:pt x="274222" y="239697"/>
                    <a:pt x="273607" y="248624"/>
                    <a:pt x="272249" y="257452"/>
                  </a:cubicBezTo>
                  <a:cubicBezTo>
                    <a:pt x="271631" y="261472"/>
                    <a:pt x="271445" y="265840"/>
                    <a:pt x="269289" y="269289"/>
                  </a:cubicBezTo>
                  <a:cubicBezTo>
                    <a:pt x="266331" y="274021"/>
                    <a:pt x="262924" y="280032"/>
                    <a:pt x="257452" y="281126"/>
                  </a:cubicBezTo>
                  <a:lnTo>
                    <a:pt x="242656" y="284085"/>
                  </a:lnTo>
                  <a:cubicBezTo>
                    <a:pt x="235751" y="283099"/>
                    <a:pt x="228781" y="282494"/>
                    <a:pt x="221942" y="281126"/>
                  </a:cubicBezTo>
                  <a:cubicBezTo>
                    <a:pt x="211445" y="279027"/>
                    <a:pt x="212226" y="276374"/>
                    <a:pt x="201227" y="272249"/>
                  </a:cubicBezTo>
                  <a:cubicBezTo>
                    <a:pt x="197419" y="270821"/>
                    <a:pt x="193336" y="270276"/>
                    <a:pt x="189390" y="269289"/>
                  </a:cubicBezTo>
                  <a:cubicBezTo>
                    <a:pt x="152870" y="232769"/>
                    <a:pt x="190193" y="268157"/>
                    <a:pt x="165716" y="248575"/>
                  </a:cubicBezTo>
                  <a:cubicBezTo>
                    <a:pt x="163537" y="246832"/>
                    <a:pt x="162190" y="244091"/>
                    <a:pt x="159798" y="242656"/>
                  </a:cubicBezTo>
                  <a:cubicBezTo>
                    <a:pt x="157123" y="241051"/>
                    <a:pt x="153879" y="240683"/>
                    <a:pt x="150920" y="239697"/>
                  </a:cubicBezTo>
                  <a:cubicBezTo>
                    <a:pt x="148947" y="236738"/>
                    <a:pt x="147734" y="233096"/>
                    <a:pt x="145002" y="230819"/>
                  </a:cubicBezTo>
                  <a:cubicBezTo>
                    <a:pt x="141613" y="227995"/>
                    <a:pt x="136995" y="227089"/>
                    <a:pt x="133165" y="224901"/>
                  </a:cubicBezTo>
                  <a:cubicBezTo>
                    <a:pt x="130077" y="223137"/>
                    <a:pt x="127064" y="221205"/>
                    <a:pt x="124287" y="218983"/>
                  </a:cubicBezTo>
                  <a:cubicBezTo>
                    <a:pt x="122108" y="217240"/>
                    <a:pt x="120864" y="214312"/>
                    <a:pt x="118369" y="213064"/>
                  </a:cubicBezTo>
                  <a:cubicBezTo>
                    <a:pt x="112789" y="210274"/>
                    <a:pt x="100614" y="207146"/>
                    <a:pt x="100614" y="207146"/>
                  </a:cubicBezTo>
                  <a:cubicBezTo>
                    <a:pt x="75175" y="190186"/>
                    <a:pt x="107358" y="210517"/>
                    <a:pt x="82858" y="198268"/>
                  </a:cubicBezTo>
                  <a:cubicBezTo>
                    <a:pt x="79677" y="196678"/>
                    <a:pt x="77162" y="193940"/>
                    <a:pt x="73981" y="192350"/>
                  </a:cubicBezTo>
                  <a:cubicBezTo>
                    <a:pt x="71191" y="190955"/>
                    <a:pt x="67893" y="190785"/>
                    <a:pt x="65103" y="189390"/>
                  </a:cubicBezTo>
                  <a:cubicBezTo>
                    <a:pt x="52951" y="183314"/>
                    <a:pt x="59487" y="184897"/>
                    <a:pt x="50307" y="177553"/>
                  </a:cubicBezTo>
                  <a:cubicBezTo>
                    <a:pt x="47530" y="175331"/>
                    <a:pt x="44206" y="173857"/>
                    <a:pt x="41429" y="171635"/>
                  </a:cubicBezTo>
                  <a:cubicBezTo>
                    <a:pt x="39250" y="169892"/>
                    <a:pt x="37832" y="167264"/>
                    <a:pt x="35511" y="165716"/>
                  </a:cubicBezTo>
                  <a:cubicBezTo>
                    <a:pt x="31841" y="163269"/>
                    <a:pt x="27203" y="162445"/>
                    <a:pt x="23674" y="159798"/>
                  </a:cubicBezTo>
                  <a:cubicBezTo>
                    <a:pt x="19210" y="156450"/>
                    <a:pt x="11837" y="147961"/>
                    <a:pt x="11837" y="147961"/>
                  </a:cubicBezTo>
                  <a:lnTo>
                    <a:pt x="2959" y="121328"/>
                  </a:lnTo>
                  <a:lnTo>
                    <a:pt x="0" y="112450"/>
                  </a:lnTo>
                  <a:cubicBezTo>
                    <a:pt x="986" y="95681"/>
                    <a:pt x="1367" y="78866"/>
                    <a:pt x="2959" y="62144"/>
                  </a:cubicBezTo>
                  <a:cubicBezTo>
                    <a:pt x="3345" y="58095"/>
                    <a:pt x="4316" y="54045"/>
                    <a:pt x="5918" y="50307"/>
                  </a:cubicBezTo>
                  <a:cubicBezTo>
                    <a:pt x="8504" y="44272"/>
                    <a:pt x="15975" y="36501"/>
                    <a:pt x="20715" y="32551"/>
                  </a:cubicBezTo>
                  <a:cubicBezTo>
                    <a:pt x="23447" y="30274"/>
                    <a:pt x="26411" y="28223"/>
                    <a:pt x="29592" y="26633"/>
                  </a:cubicBezTo>
                  <a:cubicBezTo>
                    <a:pt x="34343" y="24258"/>
                    <a:pt x="39456" y="22688"/>
                    <a:pt x="44388" y="20715"/>
                  </a:cubicBezTo>
                  <a:cubicBezTo>
                    <a:pt x="53896" y="11207"/>
                    <a:pt x="46560" y="16512"/>
                    <a:pt x="62144" y="11837"/>
                  </a:cubicBezTo>
                  <a:cubicBezTo>
                    <a:pt x="68119" y="10044"/>
                    <a:pt x="73782" y="7141"/>
                    <a:pt x="79899" y="5918"/>
                  </a:cubicBezTo>
                  <a:cubicBezTo>
                    <a:pt x="97754" y="2347"/>
                    <a:pt x="89923" y="4549"/>
                    <a:pt x="103573" y="0"/>
                  </a:cubicBezTo>
                  <a:cubicBezTo>
                    <a:pt x="109491" y="986"/>
                    <a:pt x="115790" y="651"/>
                    <a:pt x="121328" y="2959"/>
                  </a:cubicBezTo>
                  <a:cubicBezTo>
                    <a:pt x="127894" y="5695"/>
                    <a:pt x="139083" y="14796"/>
                    <a:pt x="139083" y="14796"/>
                  </a:cubicBezTo>
                  <a:cubicBezTo>
                    <a:pt x="141056" y="17755"/>
                    <a:pt x="142325" y="21332"/>
                    <a:pt x="145002" y="23674"/>
                  </a:cubicBezTo>
                  <a:cubicBezTo>
                    <a:pt x="150355" y="28358"/>
                    <a:pt x="156839" y="31565"/>
                    <a:pt x="162757" y="35511"/>
                  </a:cubicBezTo>
                  <a:cubicBezTo>
                    <a:pt x="165716" y="37484"/>
                    <a:pt x="169120" y="38914"/>
                    <a:pt x="171635" y="41429"/>
                  </a:cubicBezTo>
                  <a:cubicBezTo>
                    <a:pt x="173608" y="43402"/>
                    <a:pt x="175161" y="45913"/>
                    <a:pt x="177553" y="47348"/>
                  </a:cubicBezTo>
                  <a:cubicBezTo>
                    <a:pt x="180228" y="48953"/>
                    <a:pt x="183641" y="48912"/>
                    <a:pt x="186431" y="50307"/>
                  </a:cubicBezTo>
                  <a:cubicBezTo>
                    <a:pt x="189612" y="51897"/>
                    <a:pt x="191807" y="55607"/>
                    <a:pt x="195309" y="56225"/>
                  </a:cubicBezTo>
                  <a:cubicBezTo>
                    <a:pt x="208943" y="58631"/>
                    <a:pt x="222950" y="57930"/>
                    <a:pt x="236738" y="59184"/>
                  </a:cubicBezTo>
                  <a:cubicBezTo>
                    <a:pt x="244658" y="59904"/>
                    <a:pt x="252521" y="61157"/>
                    <a:pt x="260412" y="62144"/>
                  </a:cubicBezTo>
                  <a:cubicBezTo>
                    <a:pt x="263371" y="63130"/>
                    <a:pt x="266231" y="64491"/>
                    <a:pt x="269289" y="65103"/>
                  </a:cubicBezTo>
                  <a:cubicBezTo>
                    <a:pt x="276129" y="66471"/>
                    <a:pt x="283110" y="67001"/>
                    <a:pt x="290004" y="68062"/>
                  </a:cubicBezTo>
                  <a:cubicBezTo>
                    <a:pt x="295934" y="68974"/>
                    <a:pt x="301841" y="70035"/>
                    <a:pt x="307759" y="71021"/>
                  </a:cubicBezTo>
                  <a:cubicBezTo>
                    <a:pt x="308745" y="75953"/>
                    <a:pt x="308737" y="81194"/>
                    <a:pt x="310718" y="85817"/>
                  </a:cubicBezTo>
                  <a:cubicBezTo>
                    <a:pt x="311817" y="88382"/>
                    <a:pt x="314963" y="89504"/>
                    <a:pt x="316637" y="91736"/>
                  </a:cubicBezTo>
                  <a:cubicBezTo>
                    <a:pt x="320905" y="97426"/>
                    <a:pt x="323445" y="104461"/>
                    <a:pt x="328474" y="109491"/>
                  </a:cubicBezTo>
                  <a:cubicBezTo>
                    <a:pt x="335089" y="116108"/>
                    <a:pt x="348202" y="113437"/>
                    <a:pt x="349188" y="11541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</p:grpSp>
      <p:grpSp>
        <p:nvGrpSpPr>
          <p:cNvPr id="239" name="Group 207"/>
          <p:cNvGrpSpPr>
            <a:grpSpLocks/>
          </p:cNvGrpSpPr>
          <p:nvPr/>
        </p:nvGrpSpPr>
        <p:grpSpPr bwMode="auto">
          <a:xfrm>
            <a:off x="2692400" y="1793875"/>
            <a:ext cx="3886200" cy="4359275"/>
            <a:chOff x="5073968" y="2570776"/>
            <a:chExt cx="3398026" cy="3812760"/>
          </a:xfrm>
          <a:solidFill>
            <a:schemeClr val="bg1">
              <a:lumMod val="85000"/>
              <a:alpha val="50000"/>
            </a:schemeClr>
          </a:solidFill>
        </p:grpSpPr>
        <p:grpSp>
          <p:nvGrpSpPr>
            <p:cNvPr id="240" name="Group 151"/>
            <p:cNvGrpSpPr>
              <a:grpSpLocks noChangeAspect="1"/>
            </p:cNvGrpSpPr>
            <p:nvPr/>
          </p:nvGrpSpPr>
          <p:grpSpPr>
            <a:xfrm>
              <a:off x="5073968" y="2626242"/>
              <a:ext cx="3398026" cy="3757294"/>
              <a:chOff x="4002088" y="2532064"/>
              <a:chExt cx="3198817" cy="3537026"/>
            </a:xfrm>
            <a:grpFill/>
          </p:grpSpPr>
          <p:grpSp>
            <p:nvGrpSpPr>
              <p:cNvPr id="264" name="Group 152"/>
              <p:cNvGrpSpPr/>
              <p:nvPr/>
            </p:nvGrpSpPr>
            <p:grpSpPr>
              <a:xfrm>
                <a:off x="4957486" y="2532064"/>
                <a:ext cx="2243419" cy="3537026"/>
                <a:chOff x="4957486" y="2532064"/>
                <a:chExt cx="2243419" cy="3537026"/>
              </a:xfrm>
              <a:grpFill/>
            </p:grpSpPr>
            <p:grpSp>
              <p:nvGrpSpPr>
                <p:cNvPr id="269" name="Group 50"/>
                <p:cNvGrpSpPr>
                  <a:grpSpLocks/>
                </p:cNvGrpSpPr>
                <p:nvPr/>
              </p:nvGrpSpPr>
              <p:grpSpPr bwMode="auto">
                <a:xfrm>
                  <a:off x="4957486" y="2532064"/>
                  <a:ext cx="2243419" cy="3537026"/>
                  <a:chOff x="4958044" y="2531641"/>
                  <a:chExt cx="2243146" cy="3538118"/>
                </a:xfrm>
                <a:grpFill/>
              </p:grpSpPr>
              <p:sp>
                <p:nvSpPr>
                  <p:cNvPr id="279" name="Oval 85"/>
                  <p:cNvSpPr/>
                  <p:nvPr/>
                </p:nvSpPr>
                <p:spPr>
                  <a:xfrm>
                    <a:off x="5336105" y="4910450"/>
                    <a:ext cx="96825" cy="169914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97748" h="170249">
                        <a:moveTo>
                          <a:pt x="149" y="112487"/>
                        </a:moveTo>
                        <a:cubicBezTo>
                          <a:pt x="2140" y="101261"/>
                          <a:pt x="37462" y="118941"/>
                          <a:pt x="42536" y="100232"/>
                        </a:cubicBezTo>
                        <a:cubicBezTo>
                          <a:pt x="47610" y="81523"/>
                          <a:pt x="521" y="5072"/>
                          <a:pt x="30592" y="235"/>
                        </a:cubicBezTo>
                        <a:cubicBezTo>
                          <a:pt x="60663" y="-4602"/>
                          <a:pt x="82857" y="66717"/>
                          <a:pt x="89610" y="90262"/>
                        </a:cubicBezTo>
                        <a:cubicBezTo>
                          <a:pt x="96363" y="113807"/>
                          <a:pt x="106347" y="169895"/>
                          <a:pt x="83811" y="154208"/>
                        </a:cubicBezTo>
                        <a:cubicBezTo>
                          <a:pt x="73975" y="167096"/>
                          <a:pt x="44536" y="174542"/>
                          <a:pt x="30592" y="167589"/>
                        </a:cubicBezTo>
                        <a:cubicBezTo>
                          <a:pt x="16648" y="160636"/>
                          <a:pt x="-1842" y="123713"/>
                          <a:pt x="149" y="11248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0" name="Oval 86"/>
                  <p:cNvSpPr/>
                  <p:nvPr/>
                </p:nvSpPr>
                <p:spPr>
                  <a:xfrm>
                    <a:off x="4958044" y="5947484"/>
                    <a:ext cx="73016" cy="122275"/>
                  </a:xfrm>
                  <a:custGeom>
                    <a:avLst/>
                    <a:gdLst>
                      <a:gd name="connsiteX0" fmla="*/ 0 w 117307"/>
                      <a:gd name="connsiteY0" fmla="*/ 69154 h 138308"/>
                      <a:gd name="connsiteX1" fmla="*/ 58654 w 117307"/>
                      <a:gd name="connsiteY1" fmla="*/ 0 h 138308"/>
                      <a:gd name="connsiteX2" fmla="*/ 117308 w 117307"/>
                      <a:gd name="connsiteY2" fmla="*/ 69154 h 138308"/>
                      <a:gd name="connsiteX3" fmla="*/ 58654 w 117307"/>
                      <a:gd name="connsiteY3" fmla="*/ 138308 h 138308"/>
                      <a:gd name="connsiteX4" fmla="*/ 0 w 117307"/>
                      <a:gd name="connsiteY4" fmla="*/ 69154 h 138308"/>
                      <a:gd name="connsiteX0" fmla="*/ 0 w 95083"/>
                      <a:gd name="connsiteY0" fmla="*/ 65986 h 138321"/>
                      <a:gd name="connsiteX1" fmla="*/ 36429 w 95083"/>
                      <a:gd name="connsiteY1" fmla="*/ 7 h 138321"/>
                      <a:gd name="connsiteX2" fmla="*/ 95083 w 95083"/>
                      <a:gd name="connsiteY2" fmla="*/ 69161 h 138321"/>
                      <a:gd name="connsiteX3" fmla="*/ 36429 w 95083"/>
                      <a:gd name="connsiteY3" fmla="*/ 138315 h 138321"/>
                      <a:gd name="connsiteX4" fmla="*/ 0 w 95083"/>
                      <a:gd name="connsiteY4" fmla="*/ 65986 h 138321"/>
                      <a:gd name="connsiteX0" fmla="*/ 0 w 99906"/>
                      <a:gd name="connsiteY0" fmla="*/ 68069 h 140402"/>
                      <a:gd name="connsiteX1" fmla="*/ 36429 w 99906"/>
                      <a:gd name="connsiteY1" fmla="*/ 2090 h 140402"/>
                      <a:gd name="connsiteX2" fmla="*/ 93093 w 99906"/>
                      <a:gd name="connsiteY2" fmla="*/ 21424 h 140402"/>
                      <a:gd name="connsiteX3" fmla="*/ 95083 w 99906"/>
                      <a:gd name="connsiteY3" fmla="*/ 71244 h 140402"/>
                      <a:gd name="connsiteX4" fmla="*/ 36429 w 99906"/>
                      <a:gd name="connsiteY4" fmla="*/ 140398 h 140402"/>
                      <a:gd name="connsiteX5" fmla="*/ 0 w 99906"/>
                      <a:gd name="connsiteY5" fmla="*/ 68069 h 140402"/>
                      <a:gd name="connsiteX0" fmla="*/ 0 w 99546"/>
                      <a:gd name="connsiteY0" fmla="*/ 68069 h 140577"/>
                      <a:gd name="connsiteX1" fmla="*/ 36429 w 99546"/>
                      <a:gd name="connsiteY1" fmla="*/ 2090 h 140577"/>
                      <a:gd name="connsiteX2" fmla="*/ 93093 w 99546"/>
                      <a:gd name="connsiteY2" fmla="*/ 21424 h 140577"/>
                      <a:gd name="connsiteX3" fmla="*/ 95083 w 99546"/>
                      <a:gd name="connsiteY3" fmla="*/ 71244 h 140577"/>
                      <a:gd name="connsiteX4" fmla="*/ 42292 w 99546"/>
                      <a:gd name="connsiteY4" fmla="*/ 88099 h 140577"/>
                      <a:gd name="connsiteX5" fmla="*/ 36429 w 99546"/>
                      <a:gd name="connsiteY5" fmla="*/ 140398 h 140577"/>
                      <a:gd name="connsiteX6" fmla="*/ 0 w 99546"/>
                      <a:gd name="connsiteY6" fmla="*/ 68069 h 140577"/>
                      <a:gd name="connsiteX0" fmla="*/ 0 w 99546"/>
                      <a:gd name="connsiteY0" fmla="*/ 68069 h 143371"/>
                      <a:gd name="connsiteX1" fmla="*/ 36429 w 99546"/>
                      <a:gd name="connsiteY1" fmla="*/ 2090 h 143371"/>
                      <a:gd name="connsiteX2" fmla="*/ 93093 w 99546"/>
                      <a:gd name="connsiteY2" fmla="*/ 21424 h 143371"/>
                      <a:gd name="connsiteX3" fmla="*/ 95083 w 99546"/>
                      <a:gd name="connsiteY3" fmla="*/ 71244 h 143371"/>
                      <a:gd name="connsiteX4" fmla="*/ 42292 w 99546"/>
                      <a:gd name="connsiteY4" fmla="*/ 88099 h 143371"/>
                      <a:gd name="connsiteX5" fmla="*/ 36429 w 99546"/>
                      <a:gd name="connsiteY5" fmla="*/ 140398 h 143371"/>
                      <a:gd name="connsiteX6" fmla="*/ 0 w 99546"/>
                      <a:gd name="connsiteY6" fmla="*/ 68069 h 143371"/>
                      <a:gd name="connsiteX0" fmla="*/ 0 w 94958"/>
                      <a:gd name="connsiteY0" fmla="*/ 68069 h 143371"/>
                      <a:gd name="connsiteX1" fmla="*/ 36429 w 94958"/>
                      <a:gd name="connsiteY1" fmla="*/ 2090 h 143371"/>
                      <a:gd name="connsiteX2" fmla="*/ 93093 w 94958"/>
                      <a:gd name="connsiteY2" fmla="*/ 21424 h 143371"/>
                      <a:gd name="connsiteX3" fmla="*/ 66508 w 94958"/>
                      <a:gd name="connsiteY3" fmla="*/ 58544 h 143371"/>
                      <a:gd name="connsiteX4" fmla="*/ 42292 w 94958"/>
                      <a:gd name="connsiteY4" fmla="*/ 88099 h 143371"/>
                      <a:gd name="connsiteX5" fmla="*/ 36429 w 94958"/>
                      <a:gd name="connsiteY5" fmla="*/ 140398 h 143371"/>
                      <a:gd name="connsiteX6" fmla="*/ 0 w 94958"/>
                      <a:gd name="connsiteY6" fmla="*/ 68069 h 143371"/>
                      <a:gd name="connsiteX0" fmla="*/ 0 w 72874"/>
                      <a:gd name="connsiteY0" fmla="*/ 66999 h 142301"/>
                      <a:gd name="connsiteX1" fmla="*/ 36429 w 72874"/>
                      <a:gd name="connsiteY1" fmla="*/ 1020 h 142301"/>
                      <a:gd name="connsiteX2" fmla="*/ 67693 w 72874"/>
                      <a:gd name="connsiteY2" fmla="*/ 29879 h 142301"/>
                      <a:gd name="connsiteX3" fmla="*/ 66508 w 72874"/>
                      <a:gd name="connsiteY3" fmla="*/ 57474 h 142301"/>
                      <a:gd name="connsiteX4" fmla="*/ 42292 w 72874"/>
                      <a:gd name="connsiteY4" fmla="*/ 87029 h 142301"/>
                      <a:gd name="connsiteX5" fmla="*/ 36429 w 72874"/>
                      <a:gd name="connsiteY5" fmla="*/ 139328 h 142301"/>
                      <a:gd name="connsiteX6" fmla="*/ 0 w 72874"/>
                      <a:gd name="connsiteY6" fmla="*/ 66999 h 142301"/>
                      <a:gd name="connsiteX0" fmla="*/ 0 w 72874"/>
                      <a:gd name="connsiteY0" fmla="*/ 47417 h 122061"/>
                      <a:gd name="connsiteX1" fmla="*/ 36429 w 72874"/>
                      <a:gd name="connsiteY1" fmla="*/ 3663 h 122061"/>
                      <a:gd name="connsiteX2" fmla="*/ 67693 w 72874"/>
                      <a:gd name="connsiteY2" fmla="*/ 10297 h 122061"/>
                      <a:gd name="connsiteX3" fmla="*/ 66508 w 72874"/>
                      <a:gd name="connsiteY3" fmla="*/ 37892 h 122061"/>
                      <a:gd name="connsiteX4" fmla="*/ 42292 w 72874"/>
                      <a:gd name="connsiteY4" fmla="*/ 67447 h 122061"/>
                      <a:gd name="connsiteX5" fmla="*/ 36429 w 72874"/>
                      <a:gd name="connsiteY5" fmla="*/ 119746 h 122061"/>
                      <a:gd name="connsiteX6" fmla="*/ 0 w 72874"/>
                      <a:gd name="connsiteY6" fmla="*/ 47417 h 1220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72874" h="122061">
                        <a:moveTo>
                          <a:pt x="0" y="47417"/>
                        </a:moveTo>
                        <a:cubicBezTo>
                          <a:pt x="0" y="28070"/>
                          <a:pt x="25147" y="9850"/>
                          <a:pt x="36429" y="3663"/>
                        </a:cubicBezTo>
                        <a:cubicBezTo>
                          <a:pt x="47711" y="-2524"/>
                          <a:pt x="57917" y="-1229"/>
                          <a:pt x="67693" y="10297"/>
                        </a:cubicBezTo>
                        <a:cubicBezTo>
                          <a:pt x="77469" y="21823"/>
                          <a:pt x="71271" y="23075"/>
                          <a:pt x="66508" y="37892"/>
                        </a:cubicBezTo>
                        <a:cubicBezTo>
                          <a:pt x="61745" y="52709"/>
                          <a:pt x="52068" y="55921"/>
                          <a:pt x="42292" y="67447"/>
                        </a:cubicBezTo>
                        <a:cubicBezTo>
                          <a:pt x="32516" y="78973"/>
                          <a:pt x="53003" y="104034"/>
                          <a:pt x="36429" y="119746"/>
                        </a:cubicBezTo>
                        <a:cubicBezTo>
                          <a:pt x="19855" y="135458"/>
                          <a:pt x="0" y="66764"/>
                          <a:pt x="0" y="4741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1" name="Oval 87"/>
                  <p:cNvSpPr/>
                  <p:nvPr/>
                </p:nvSpPr>
                <p:spPr>
                  <a:xfrm>
                    <a:off x="5167850" y="5186760"/>
                    <a:ext cx="153968" cy="166739"/>
                  </a:xfrm>
                  <a:custGeom>
                    <a:avLst/>
                    <a:gdLst>
                      <a:gd name="connsiteX0" fmla="*/ 0 w 117307"/>
                      <a:gd name="connsiteY0" fmla="*/ 57153 h 114305"/>
                      <a:gd name="connsiteX1" fmla="*/ 58654 w 117307"/>
                      <a:gd name="connsiteY1" fmla="*/ 0 h 114305"/>
                      <a:gd name="connsiteX2" fmla="*/ 117308 w 117307"/>
                      <a:gd name="connsiteY2" fmla="*/ 57153 h 114305"/>
                      <a:gd name="connsiteX3" fmla="*/ 58654 w 117307"/>
                      <a:gd name="connsiteY3" fmla="*/ 114306 h 114305"/>
                      <a:gd name="connsiteX4" fmla="*/ 0 w 117307"/>
                      <a:gd name="connsiteY4" fmla="*/ 57153 h 114305"/>
                      <a:gd name="connsiteX0" fmla="*/ 0 w 76033"/>
                      <a:gd name="connsiteY0" fmla="*/ 57219 h 114470"/>
                      <a:gd name="connsiteX1" fmla="*/ 58654 w 76033"/>
                      <a:gd name="connsiteY1" fmla="*/ 66 h 114470"/>
                      <a:gd name="connsiteX2" fmla="*/ 76033 w 76033"/>
                      <a:gd name="connsiteY2" fmla="*/ 66744 h 114470"/>
                      <a:gd name="connsiteX3" fmla="*/ 58654 w 76033"/>
                      <a:gd name="connsiteY3" fmla="*/ 114372 h 114470"/>
                      <a:gd name="connsiteX4" fmla="*/ 0 w 76033"/>
                      <a:gd name="connsiteY4" fmla="*/ 57219 h 114470"/>
                      <a:gd name="connsiteX0" fmla="*/ 0 w 98482"/>
                      <a:gd name="connsiteY0" fmla="*/ 57219 h 114470"/>
                      <a:gd name="connsiteX1" fmla="*/ 58654 w 98482"/>
                      <a:gd name="connsiteY1" fmla="*/ 66 h 114470"/>
                      <a:gd name="connsiteX2" fmla="*/ 76033 w 98482"/>
                      <a:gd name="connsiteY2" fmla="*/ 66744 h 114470"/>
                      <a:gd name="connsiteX3" fmla="*/ 58654 w 98482"/>
                      <a:gd name="connsiteY3" fmla="*/ 114372 h 114470"/>
                      <a:gd name="connsiteX4" fmla="*/ 0 w 98482"/>
                      <a:gd name="connsiteY4" fmla="*/ 57219 h 114470"/>
                      <a:gd name="connsiteX0" fmla="*/ 0 w 135106"/>
                      <a:gd name="connsiteY0" fmla="*/ 60698 h 117949"/>
                      <a:gd name="connsiteX1" fmla="*/ 58654 w 135106"/>
                      <a:gd name="connsiteY1" fmla="*/ 3545 h 117949"/>
                      <a:gd name="connsiteX2" fmla="*/ 135000 w 135106"/>
                      <a:gd name="connsiteY2" fmla="*/ 13074 h 117949"/>
                      <a:gd name="connsiteX3" fmla="*/ 76033 w 135106"/>
                      <a:gd name="connsiteY3" fmla="*/ 70223 h 117949"/>
                      <a:gd name="connsiteX4" fmla="*/ 58654 w 135106"/>
                      <a:gd name="connsiteY4" fmla="*/ 117851 h 117949"/>
                      <a:gd name="connsiteX5" fmla="*/ 0 w 135106"/>
                      <a:gd name="connsiteY5" fmla="*/ 60698 h 117949"/>
                      <a:gd name="connsiteX0" fmla="*/ 701 w 135807"/>
                      <a:gd name="connsiteY0" fmla="*/ 74703 h 131954"/>
                      <a:gd name="connsiteX1" fmla="*/ 103805 w 135807"/>
                      <a:gd name="connsiteY1" fmla="*/ 1675 h 131954"/>
                      <a:gd name="connsiteX2" fmla="*/ 135701 w 135807"/>
                      <a:gd name="connsiteY2" fmla="*/ 27079 h 131954"/>
                      <a:gd name="connsiteX3" fmla="*/ 76734 w 135807"/>
                      <a:gd name="connsiteY3" fmla="*/ 84228 h 131954"/>
                      <a:gd name="connsiteX4" fmla="*/ 59355 w 135807"/>
                      <a:gd name="connsiteY4" fmla="*/ 131856 h 131954"/>
                      <a:gd name="connsiteX5" fmla="*/ 701 w 135807"/>
                      <a:gd name="connsiteY5" fmla="*/ 74703 h 131954"/>
                      <a:gd name="connsiteX0" fmla="*/ 701 w 136129"/>
                      <a:gd name="connsiteY0" fmla="*/ 73063 h 130314"/>
                      <a:gd name="connsiteX1" fmla="*/ 103805 w 136129"/>
                      <a:gd name="connsiteY1" fmla="*/ 35 h 130314"/>
                      <a:gd name="connsiteX2" fmla="*/ 135701 w 136129"/>
                      <a:gd name="connsiteY2" fmla="*/ 25439 h 130314"/>
                      <a:gd name="connsiteX3" fmla="*/ 76734 w 136129"/>
                      <a:gd name="connsiteY3" fmla="*/ 82588 h 130314"/>
                      <a:gd name="connsiteX4" fmla="*/ 59355 w 136129"/>
                      <a:gd name="connsiteY4" fmla="*/ 130216 h 130314"/>
                      <a:gd name="connsiteX5" fmla="*/ 701 w 136129"/>
                      <a:gd name="connsiteY5" fmla="*/ 73063 h 130314"/>
                      <a:gd name="connsiteX0" fmla="*/ 5 w 135111"/>
                      <a:gd name="connsiteY0" fmla="*/ 87025 h 144276"/>
                      <a:gd name="connsiteX1" fmla="*/ 61981 w 135111"/>
                      <a:gd name="connsiteY1" fmla="*/ 4477 h 144276"/>
                      <a:gd name="connsiteX2" fmla="*/ 103109 w 135111"/>
                      <a:gd name="connsiteY2" fmla="*/ 13997 h 144276"/>
                      <a:gd name="connsiteX3" fmla="*/ 135005 w 135111"/>
                      <a:gd name="connsiteY3" fmla="*/ 39401 h 144276"/>
                      <a:gd name="connsiteX4" fmla="*/ 76038 w 135111"/>
                      <a:gd name="connsiteY4" fmla="*/ 96550 h 144276"/>
                      <a:gd name="connsiteX5" fmla="*/ 58659 w 135111"/>
                      <a:gd name="connsiteY5" fmla="*/ 144178 h 144276"/>
                      <a:gd name="connsiteX6" fmla="*/ 5 w 135111"/>
                      <a:gd name="connsiteY6" fmla="*/ 87025 h 144276"/>
                      <a:gd name="connsiteX0" fmla="*/ 5 w 135111"/>
                      <a:gd name="connsiteY0" fmla="*/ 89495 h 146746"/>
                      <a:gd name="connsiteX1" fmla="*/ 61981 w 135111"/>
                      <a:gd name="connsiteY1" fmla="*/ 6947 h 146746"/>
                      <a:gd name="connsiteX2" fmla="*/ 112634 w 135111"/>
                      <a:gd name="connsiteY2" fmla="*/ 6942 h 146746"/>
                      <a:gd name="connsiteX3" fmla="*/ 135005 w 135111"/>
                      <a:gd name="connsiteY3" fmla="*/ 41871 h 146746"/>
                      <a:gd name="connsiteX4" fmla="*/ 76038 w 135111"/>
                      <a:gd name="connsiteY4" fmla="*/ 99020 h 146746"/>
                      <a:gd name="connsiteX5" fmla="*/ 58659 w 135111"/>
                      <a:gd name="connsiteY5" fmla="*/ 146648 h 146746"/>
                      <a:gd name="connsiteX6" fmla="*/ 5 w 135111"/>
                      <a:gd name="connsiteY6" fmla="*/ 89495 h 146746"/>
                      <a:gd name="connsiteX0" fmla="*/ 3060 w 138166"/>
                      <a:gd name="connsiteY0" fmla="*/ 86530 h 143781"/>
                      <a:gd name="connsiteX1" fmla="*/ 14236 w 138166"/>
                      <a:gd name="connsiteY1" fmla="*/ 26207 h 143781"/>
                      <a:gd name="connsiteX2" fmla="*/ 65036 w 138166"/>
                      <a:gd name="connsiteY2" fmla="*/ 3982 h 143781"/>
                      <a:gd name="connsiteX3" fmla="*/ 115689 w 138166"/>
                      <a:gd name="connsiteY3" fmla="*/ 3977 h 143781"/>
                      <a:gd name="connsiteX4" fmla="*/ 138060 w 138166"/>
                      <a:gd name="connsiteY4" fmla="*/ 38906 h 143781"/>
                      <a:gd name="connsiteX5" fmla="*/ 79093 w 138166"/>
                      <a:gd name="connsiteY5" fmla="*/ 96055 h 143781"/>
                      <a:gd name="connsiteX6" fmla="*/ 61714 w 138166"/>
                      <a:gd name="connsiteY6" fmla="*/ 143683 h 143781"/>
                      <a:gd name="connsiteX7" fmla="*/ 3060 w 138166"/>
                      <a:gd name="connsiteY7" fmla="*/ 86530 h 143781"/>
                      <a:gd name="connsiteX0" fmla="*/ 3060 w 138166"/>
                      <a:gd name="connsiteY0" fmla="*/ 89656 h 146907"/>
                      <a:gd name="connsiteX1" fmla="*/ 14236 w 138166"/>
                      <a:gd name="connsiteY1" fmla="*/ 29333 h 146907"/>
                      <a:gd name="connsiteX2" fmla="*/ 26936 w 138166"/>
                      <a:gd name="connsiteY2" fmla="*/ 758 h 146907"/>
                      <a:gd name="connsiteX3" fmla="*/ 65036 w 138166"/>
                      <a:gd name="connsiteY3" fmla="*/ 7108 h 146907"/>
                      <a:gd name="connsiteX4" fmla="*/ 115689 w 138166"/>
                      <a:gd name="connsiteY4" fmla="*/ 7103 h 146907"/>
                      <a:gd name="connsiteX5" fmla="*/ 138060 w 138166"/>
                      <a:gd name="connsiteY5" fmla="*/ 42032 h 146907"/>
                      <a:gd name="connsiteX6" fmla="*/ 79093 w 138166"/>
                      <a:gd name="connsiteY6" fmla="*/ 99181 h 146907"/>
                      <a:gd name="connsiteX7" fmla="*/ 61714 w 138166"/>
                      <a:gd name="connsiteY7" fmla="*/ 146809 h 146907"/>
                      <a:gd name="connsiteX8" fmla="*/ 3060 w 138166"/>
                      <a:gd name="connsiteY8" fmla="*/ 89656 h 146907"/>
                      <a:gd name="connsiteX0" fmla="*/ 1540 w 152521"/>
                      <a:gd name="connsiteY0" fmla="*/ 99181 h 146809"/>
                      <a:gd name="connsiteX1" fmla="*/ 28591 w 152521"/>
                      <a:gd name="connsiteY1" fmla="*/ 29333 h 146809"/>
                      <a:gd name="connsiteX2" fmla="*/ 41291 w 152521"/>
                      <a:gd name="connsiteY2" fmla="*/ 758 h 146809"/>
                      <a:gd name="connsiteX3" fmla="*/ 79391 w 152521"/>
                      <a:gd name="connsiteY3" fmla="*/ 7108 h 146809"/>
                      <a:gd name="connsiteX4" fmla="*/ 130044 w 152521"/>
                      <a:gd name="connsiteY4" fmla="*/ 7103 h 146809"/>
                      <a:gd name="connsiteX5" fmla="*/ 152415 w 152521"/>
                      <a:gd name="connsiteY5" fmla="*/ 42032 h 146809"/>
                      <a:gd name="connsiteX6" fmla="*/ 93448 w 152521"/>
                      <a:gd name="connsiteY6" fmla="*/ 99181 h 146809"/>
                      <a:gd name="connsiteX7" fmla="*/ 76069 w 152521"/>
                      <a:gd name="connsiteY7" fmla="*/ 146809 h 146809"/>
                      <a:gd name="connsiteX8" fmla="*/ 1540 w 152521"/>
                      <a:gd name="connsiteY8" fmla="*/ 99181 h 146809"/>
                      <a:gd name="connsiteX0" fmla="*/ 2038 w 153019"/>
                      <a:gd name="connsiteY0" fmla="*/ 99181 h 165859"/>
                      <a:gd name="connsiteX1" fmla="*/ 29089 w 153019"/>
                      <a:gd name="connsiteY1" fmla="*/ 29333 h 165859"/>
                      <a:gd name="connsiteX2" fmla="*/ 41789 w 153019"/>
                      <a:gd name="connsiteY2" fmla="*/ 758 h 165859"/>
                      <a:gd name="connsiteX3" fmla="*/ 79889 w 153019"/>
                      <a:gd name="connsiteY3" fmla="*/ 7108 h 165859"/>
                      <a:gd name="connsiteX4" fmla="*/ 130542 w 153019"/>
                      <a:gd name="connsiteY4" fmla="*/ 7103 h 165859"/>
                      <a:gd name="connsiteX5" fmla="*/ 152913 w 153019"/>
                      <a:gd name="connsiteY5" fmla="*/ 42032 h 165859"/>
                      <a:gd name="connsiteX6" fmla="*/ 93946 w 153019"/>
                      <a:gd name="connsiteY6" fmla="*/ 99181 h 165859"/>
                      <a:gd name="connsiteX7" fmla="*/ 86092 w 153019"/>
                      <a:gd name="connsiteY7" fmla="*/ 165859 h 165859"/>
                      <a:gd name="connsiteX8" fmla="*/ 2038 w 153019"/>
                      <a:gd name="connsiteY8" fmla="*/ 99181 h 165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53019" h="165859">
                        <a:moveTo>
                          <a:pt x="2038" y="99181"/>
                        </a:moveTo>
                        <a:cubicBezTo>
                          <a:pt x="-7463" y="76427"/>
                          <a:pt x="18760" y="43091"/>
                          <a:pt x="29089" y="29333"/>
                        </a:cubicBezTo>
                        <a:cubicBezTo>
                          <a:pt x="36243" y="16633"/>
                          <a:pt x="33322" y="4462"/>
                          <a:pt x="41789" y="758"/>
                        </a:cubicBezTo>
                        <a:cubicBezTo>
                          <a:pt x="50256" y="-2946"/>
                          <a:pt x="68272" y="8167"/>
                          <a:pt x="79889" y="7108"/>
                        </a:cubicBezTo>
                        <a:cubicBezTo>
                          <a:pt x="91506" y="6049"/>
                          <a:pt x="118371" y="1282"/>
                          <a:pt x="130542" y="7103"/>
                        </a:cubicBezTo>
                        <a:cubicBezTo>
                          <a:pt x="142713" y="12924"/>
                          <a:pt x="150017" y="30919"/>
                          <a:pt x="152913" y="42032"/>
                        </a:cubicBezTo>
                        <a:cubicBezTo>
                          <a:pt x="155809" y="53145"/>
                          <a:pt x="98733" y="81718"/>
                          <a:pt x="93946" y="99181"/>
                        </a:cubicBezTo>
                        <a:cubicBezTo>
                          <a:pt x="93946" y="130746"/>
                          <a:pt x="101410" y="165859"/>
                          <a:pt x="86092" y="165859"/>
                        </a:cubicBezTo>
                        <a:cubicBezTo>
                          <a:pt x="70774" y="165859"/>
                          <a:pt x="11539" y="121935"/>
                          <a:pt x="2038" y="9918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2" name="Oval 88"/>
                  <p:cNvSpPr/>
                  <p:nvPr/>
                </p:nvSpPr>
                <p:spPr>
                  <a:xfrm>
                    <a:off x="5510709" y="4942210"/>
                    <a:ext cx="188889" cy="160387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14861"/>
                      <a:gd name="connsiteY0" fmla="*/ 122392 h 170110"/>
                      <a:gd name="connsiteX1" fmla="*/ 36793 w 114861"/>
                      <a:gd name="connsiteY1" fmla="*/ 615 h 170110"/>
                      <a:gd name="connsiteX2" fmla="*/ 114861 w 114861"/>
                      <a:gd name="connsiteY2" fmla="*/ 84292 h 170110"/>
                      <a:gd name="connsiteX3" fmla="*/ 36793 w 114861"/>
                      <a:gd name="connsiteY3" fmla="*/ 167969 h 170110"/>
                      <a:gd name="connsiteX4" fmla="*/ 0 w 114861"/>
                      <a:gd name="connsiteY4" fmla="*/ 122392 h 170110"/>
                      <a:gd name="connsiteX0" fmla="*/ 13 w 114874"/>
                      <a:gd name="connsiteY0" fmla="*/ 122392 h 156828"/>
                      <a:gd name="connsiteX1" fmla="*/ 36806 w 114874"/>
                      <a:gd name="connsiteY1" fmla="*/ 615 h 156828"/>
                      <a:gd name="connsiteX2" fmla="*/ 114874 w 114874"/>
                      <a:gd name="connsiteY2" fmla="*/ 84292 h 156828"/>
                      <a:gd name="connsiteX3" fmla="*/ 33631 w 114874"/>
                      <a:gd name="connsiteY3" fmla="*/ 155269 h 156828"/>
                      <a:gd name="connsiteX4" fmla="*/ 13 w 114874"/>
                      <a:gd name="connsiteY4" fmla="*/ 122392 h 156828"/>
                      <a:gd name="connsiteX0" fmla="*/ 9 w 115771"/>
                      <a:gd name="connsiteY0" fmla="*/ 122194 h 155137"/>
                      <a:gd name="connsiteX1" fmla="*/ 36802 w 115771"/>
                      <a:gd name="connsiteY1" fmla="*/ 417 h 155137"/>
                      <a:gd name="connsiteX2" fmla="*/ 114870 w 115771"/>
                      <a:gd name="connsiteY2" fmla="*/ 84094 h 155137"/>
                      <a:gd name="connsiteX3" fmla="*/ 66479 w 115771"/>
                      <a:gd name="connsiteY3" fmla="*/ 129367 h 155137"/>
                      <a:gd name="connsiteX4" fmla="*/ 33627 w 115771"/>
                      <a:gd name="connsiteY4" fmla="*/ 155071 h 155137"/>
                      <a:gd name="connsiteX5" fmla="*/ 9 w 115771"/>
                      <a:gd name="connsiteY5" fmla="*/ 122194 h 155137"/>
                      <a:gd name="connsiteX0" fmla="*/ 9 w 125148"/>
                      <a:gd name="connsiteY0" fmla="*/ 121780 h 154723"/>
                      <a:gd name="connsiteX1" fmla="*/ 36802 w 125148"/>
                      <a:gd name="connsiteY1" fmla="*/ 3 h 154723"/>
                      <a:gd name="connsiteX2" fmla="*/ 124395 w 125148"/>
                      <a:gd name="connsiteY2" fmla="*/ 118605 h 154723"/>
                      <a:gd name="connsiteX3" fmla="*/ 66479 w 125148"/>
                      <a:gd name="connsiteY3" fmla="*/ 128953 h 154723"/>
                      <a:gd name="connsiteX4" fmla="*/ 33627 w 125148"/>
                      <a:gd name="connsiteY4" fmla="*/ 154657 h 154723"/>
                      <a:gd name="connsiteX5" fmla="*/ 9 w 125148"/>
                      <a:gd name="connsiteY5" fmla="*/ 121780 h 154723"/>
                      <a:gd name="connsiteX0" fmla="*/ 3247 w 131427"/>
                      <a:gd name="connsiteY0" fmla="*/ 77331 h 110274"/>
                      <a:gd name="connsiteX1" fmla="*/ 122590 w 131427"/>
                      <a:gd name="connsiteY1" fmla="*/ 4 h 110274"/>
                      <a:gd name="connsiteX2" fmla="*/ 127633 w 131427"/>
                      <a:gd name="connsiteY2" fmla="*/ 74156 h 110274"/>
                      <a:gd name="connsiteX3" fmla="*/ 69717 w 131427"/>
                      <a:gd name="connsiteY3" fmla="*/ 84504 h 110274"/>
                      <a:gd name="connsiteX4" fmla="*/ 36865 w 131427"/>
                      <a:gd name="connsiteY4" fmla="*/ 110208 h 110274"/>
                      <a:gd name="connsiteX5" fmla="*/ 3247 w 131427"/>
                      <a:gd name="connsiteY5" fmla="*/ 77331 h 110274"/>
                      <a:gd name="connsiteX0" fmla="*/ 5118 w 160910"/>
                      <a:gd name="connsiteY0" fmla="*/ 124954 h 157897"/>
                      <a:gd name="connsiteX1" fmla="*/ 156211 w 160910"/>
                      <a:gd name="connsiteY1" fmla="*/ 2 h 157897"/>
                      <a:gd name="connsiteX2" fmla="*/ 129504 w 160910"/>
                      <a:gd name="connsiteY2" fmla="*/ 121779 h 157897"/>
                      <a:gd name="connsiteX3" fmla="*/ 71588 w 160910"/>
                      <a:gd name="connsiteY3" fmla="*/ 132127 h 157897"/>
                      <a:gd name="connsiteX4" fmla="*/ 38736 w 160910"/>
                      <a:gd name="connsiteY4" fmla="*/ 157831 h 157897"/>
                      <a:gd name="connsiteX5" fmla="*/ 5118 w 160910"/>
                      <a:gd name="connsiteY5" fmla="*/ 124954 h 157897"/>
                      <a:gd name="connsiteX0" fmla="*/ 1646 w 153341"/>
                      <a:gd name="connsiteY0" fmla="*/ 125884 h 158827"/>
                      <a:gd name="connsiteX1" fmla="*/ 90340 w 153341"/>
                      <a:gd name="connsiteY1" fmla="*/ 69558 h 158827"/>
                      <a:gd name="connsiteX2" fmla="*/ 152739 w 153341"/>
                      <a:gd name="connsiteY2" fmla="*/ 932 h 158827"/>
                      <a:gd name="connsiteX3" fmla="*/ 126032 w 153341"/>
                      <a:gd name="connsiteY3" fmla="*/ 122709 h 158827"/>
                      <a:gd name="connsiteX4" fmla="*/ 68116 w 153341"/>
                      <a:gd name="connsiteY4" fmla="*/ 133057 h 158827"/>
                      <a:gd name="connsiteX5" fmla="*/ 35264 w 153341"/>
                      <a:gd name="connsiteY5" fmla="*/ 158761 h 158827"/>
                      <a:gd name="connsiteX6" fmla="*/ 1646 w 153341"/>
                      <a:gd name="connsiteY6" fmla="*/ 125884 h 158827"/>
                      <a:gd name="connsiteX0" fmla="*/ 1646 w 189305"/>
                      <a:gd name="connsiteY0" fmla="*/ 126728 h 159671"/>
                      <a:gd name="connsiteX1" fmla="*/ 90340 w 189305"/>
                      <a:gd name="connsiteY1" fmla="*/ 70402 h 159671"/>
                      <a:gd name="connsiteX2" fmla="*/ 152739 w 189305"/>
                      <a:gd name="connsiteY2" fmla="*/ 1776 h 159671"/>
                      <a:gd name="connsiteX3" fmla="*/ 188766 w 189305"/>
                      <a:gd name="connsiteY3" fmla="*/ 29127 h 159671"/>
                      <a:gd name="connsiteX4" fmla="*/ 126032 w 189305"/>
                      <a:gd name="connsiteY4" fmla="*/ 123553 h 159671"/>
                      <a:gd name="connsiteX5" fmla="*/ 68116 w 189305"/>
                      <a:gd name="connsiteY5" fmla="*/ 133901 h 159671"/>
                      <a:gd name="connsiteX6" fmla="*/ 35264 w 189305"/>
                      <a:gd name="connsiteY6" fmla="*/ 159605 h 159671"/>
                      <a:gd name="connsiteX7" fmla="*/ 1646 w 189305"/>
                      <a:gd name="connsiteY7" fmla="*/ 126728 h 1596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89305" h="159671">
                        <a:moveTo>
                          <a:pt x="1646" y="126728"/>
                        </a:moveTo>
                        <a:cubicBezTo>
                          <a:pt x="10825" y="111861"/>
                          <a:pt x="65158" y="91227"/>
                          <a:pt x="90340" y="70402"/>
                        </a:cubicBezTo>
                        <a:cubicBezTo>
                          <a:pt x="115522" y="49577"/>
                          <a:pt x="136335" y="8655"/>
                          <a:pt x="152739" y="1776"/>
                        </a:cubicBezTo>
                        <a:cubicBezTo>
                          <a:pt x="169143" y="-5103"/>
                          <a:pt x="193217" y="8831"/>
                          <a:pt x="188766" y="29127"/>
                        </a:cubicBezTo>
                        <a:cubicBezTo>
                          <a:pt x="184315" y="49423"/>
                          <a:pt x="139261" y="106620"/>
                          <a:pt x="126032" y="123553"/>
                        </a:cubicBezTo>
                        <a:cubicBezTo>
                          <a:pt x="112803" y="140486"/>
                          <a:pt x="81656" y="122072"/>
                          <a:pt x="68116" y="133901"/>
                        </a:cubicBezTo>
                        <a:cubicBezTo>
                          <a:pt x="54576" y="145730"/>
                          <a:pt x="46342" y="160800"/>
                          <a:pt x="35264" y="159605"/>
                        </a:cubicBezTo>
                        <a:cubicBezTo>
                          <a:pt x="24186" y="158410"/>
                          <a:pt x="-7533" y="141595"/>
                          <a:pt x="1646" y="1267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3" name="Oval 88"/>
                  <p:cNvSpPr/>
                  <p:nvPr/>
                </p:nvSpPr>
                <p:spPr>
                  <a:xfrm>
                    <a:off x="5775789" y="4880278"/>
                    <a:ext cx="273017" cy="95279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14861"/>
                      <a:gd name="connsiteY0" fmla="*/ 122392 h 170110"/>
                      <a:gd name="connsiteX1" fmla="*/ 36793 w 114861"/>
                      <a:gd name="connsiteY1" fmla="*/ 615 h 170110"/>
                      <a:gd name="connsiteX2" fmla="*/ 114861 w 114861"/>
                      <a:gd name="connsiteY2" fmla="*/ 84292 h 170110"/>
                      <a:gd name="connsiteX3" fmla="*/ 36793 w 114861"/>
                      <a:gd name="connsiteY3" fmla="*/ 167969 h 170110"/>
                      <a:gd name="connsiteX4" fmla="*/ 0 w 114861"/>
                      <a:gd name="connsiteY4" fmla="*/ 122392 h 170110"/>
                      <a:gd name="connsiteX0" fmla="*/ 13 w 114874"/>
                      <a:gd name="connsiteY0" fmla="*/ 122392 h 156828"/>
                      <a:gd name="connsiteX1" fmla="*/ 36806 w 114874"/>
                      <a:gd name="connsiteY1" fmla="*/ 615 h 156828"/>
                      <a:gd name="connsiteX2" fmla="*/ 114874 w 114874"/>
                      <a:gd name="connsiteY2" fmla="*/ 84292 h 156828"/>
                      <a:gd name="connsiteX3" fmla="*/ 33631 w 114874"/>
                      <a:gd name="connsiteY3" fmla="*/ 155269 h 156828"/>
                      <a:gd name="connsiteX4" fmla="*/ 13 w 114874"/>
                      <a:gd name="connsiteY4" fmla="*/ 122392 h 156828"/>
                      <a:gd name="connsiteX0" fmla="*/ 9 w 115771"/>
                      <a:gd name="connsiteY0" fmla="*/ 122194 h 155137"/>
                      <a:gd name="connsiteX1" fmla="*/ 36802 w 115771"/>
                      <a:gd name="connsiteY1" fmla="*/ 417 h 155137"/>
                      <a:gd name="connsiteX2" fmla="*/ 114870 w 115771"/>
                      <a:gd name="connsiteY2" fmla="*/ 84094 h 155137"/>
                      <a:gd name="connsiteX3" fmla="*/ 66479 w 115771"/>
                      <a:gd name="connsiteY3" fmla="*/ 129367 h 155137"/>
                      <a:gd name="connsiteX4" fmla="*/ 33627 w 115771"/>
                      <a:gd name="connsiteY4" fmla="*/ 155071 h 155137"/>
                      <a:gd name="connsiteX5" fmla="*/ 9 w 115771"/>
                      <a:gd name="connsiteY5" fmla="*/ 122194 h 155137"/>
                      <a:gd name="connsiteX0" fmla="*/ 9 w 125148"/>
                      <a:gd name="connsiteY0" fmla="*/ 121780 h 154723"/>
                      <a:gd name="connsiteX1" fmla="*/ 36802 w 125148"/>
                      <a:gd name="connsiteY1" fmla="*/ 3 h 154723"/>
                      <a:gd name="connsiteX2" fmla="*/ 124395 w 125148"/>
                      <a:gd name="connsiteY2" fmla="*/ 118605 h 154723"/>
                      <a:gd name="connsiteX3" fmla="*/ 66479 w 125148"/>
                      <a:gd name="connsiteY3" fmla="*/ 128953 h 154723"/>
                      <a:gd name="connsiteX4" fmla="*/ 33627 w 125148"/>
                      <a:gd name="connsiteY4" fmla="*/ 154657 h 154723"/>
                      <a:gd name="connsiteX5" fmla="*/ 9 w 125148"/>
                      <a:gd name="connsiteY5" fmla="*/ 121780 h 154723"/>
                      <a:gd name="connsiteX0" fmla="*/ 3247 w 131427"/>
                      <a:gd name="connsiteY0" fmla="*/ 77331 h 110274"/>
                      <a:gd name="connsiteX1" fmla="*/ 122590 w 131427"/>
                      <a:gd name="connsiteY1" fmla="*/ 4 h 110274"/>
                      <a:gd name="connsiteX2" fmla="*/ 127633 w 131427"/>
                      <a:gd name="connsiteY2" fmla="*/ 74156 h 110274"/>
                      <a:gd name="connsiteX3" fmla="*/ 69717 w 131427"/>
                      <a:gd name="connsiteY3" fmla="*/ 84504 h 110274"/>
                      <a:gd name="connsiteX4" fmla="*/ 36865 w 131427"/>
                      <a:gd name="connsiteY4" fmla="*/ 110208 h 110274"/>
                      <a:gd name="connsiteX5" fmla="*/ 3247 w 131427"/>
                      <a:gd name="connsiteY5" fmla="*/ 77331 h 110274"/>
                      <a:gd name="connsiteX0" fmla="*/ 5118 w 160910"/>
                      <a:gd name="connsiteY0" fmla="*/ 124954 h 157897"/>
                      <a:gd name="connsiteX1" fmla="*/ 156211 w 160910"/>
                      <a:gd name="connsiteY1" fmla="*/ 2 h 157897"/>
                      <a:gd name="connsiteX2" fmla="*/ 129504 w 160910"/>
                      <a:gd name="connsiteY2" fmla="*/ 121779 h 157897"/>
                      <a:gd name="connsiteX3" fmla="*/ 71588 w 160910"/>
                      <a:gd name="connsiteY3" fmla="*/ 132127 h 157897"/>
                      <a:gd name="connsiteX4" fmla="*/ 38736 w 160910"/>
                      <a:gd name="connsiteY4" fmla="*/ 157831 h 157897"/>
                      <a:gd name="connsiteX5" fmla="*/ 5118 w 160910"/>
                      <a:gd name="connsiteY5" fmla="*/ 124954 h 157897"/>
                      <a:gd name="connsiteX0" fmla="*/ 1646 w 153341"/>
                      <a:gd name="connsiteY0" fmla="*/ 125884 h 158827"/>
                      <a:gd name="connsiteX1" fmla="*/ 90340 w 153341"/>
                      <a:gd name="connsiteY1" fmla="*/ 69558 h 158827"/>
                      <a:gd name="connsiteX2" fmla="*/ 152739 w 153341"/>
                      <a:gd name="connsiteY2" fmla="*/ 932 h 158827"/>
                      <a:gd name="connsiteX3" fmla="*/ 126032 w 153341"/>
                      <a:gd name="connsiteY3" fmla="*/ 122709 h 158827"/>
                      <a:gd name="connsiteX4" fmla="*/ 68116 w 153341"/>
                      <a:gd name="connsiteY4" fmla="*/ 133057 h 158827"/>
                      <a:gd name="connsiteX5" fmla="*/ 35264 w 153341"/>
                      <a:gd name="connsiteY5" fmla="*/ 158761 h 158827"/>
                      <a:gd name="connsiteX6" fmla="*/ 1646 w 153341"/>
                      <a:gd name="connsiteY6" fmla="*/ 125884 h 158827"/>
                      <a:gd name="connsiteX0" fmla="*/ 1646 w 189305"/>
                      <a:gd name="connsiteY0" fmla="*/ 126728 h 159671"/>
                      <a:gd name="connsiteX1" fmla="*/ 90340 w 189305"/>
                      <a:gd name="connsiteY1" fmla="*/ 70402 h 159671"/>
                      <a:gd name="connsiteX2" fmla="*/ 152739 w 189305"/>
                      <a:gd name="connsiteY2" fmla="*/ 1776 h 159671"/>
                      <a:gd name="connsiteX3" fmla="*/ 188766 w 189305"/>
                      <a:gd name="connsiteY3" fmla="*/ 29127 h 159671"/>
                      <a:gd name="connsiteX4" fmla="*/ 126032 w 189305"/>
                      <a:gd name="connsiteY4" fmla="*/ 123553 h 159671"/>
                      <a:gd name="connsiteX5" fmla="*/ 68116 w 189305"/>
                      <a:gd name="connsiteY5" fmla="*/ 133901 h 159671"/>
                      <a:gd name="connsiteX6" fmla="*/ 35264 w 189305"/>
                      <a:gd name="connsiteY6" fmla="*/ 159605 h 159671"/>
                      <a:gd name="connsiteX7" fmla="*/ 1646 w 189305"/>
                      <a:gd name="connsiteY7" fmla="*/ 126728 h 159671"/>
                      <a:gd name="connsiteX0" fmla="*/ 1540 w 192374"/>
                      <a:gd name="connsiteY0" fmla="*/ 117203 h 159913"/>
                      <a:gd name="connsiteX1" fmla="*/ 93409 w 192374"/>
                      <a:gd name="connsiteY1" fmla="*/ 70402 h 159913"/>
                      <a:gd name="connsiteX2" fmla="*/ 155808 w 192374"/>
                      <a:gd name="connsiteY2" fmla="*/ 1776 h 159913"/>
                      <a:gd name="connsiteX3" fmla="*/ 191835 w 192374"/>
                      <a:gd name="connsiteY3" fmla="*/ 29127 h 159913"/>
                      <a:gd name="connsiteX4" fmla="*/ 129101 w 192374"/>
                      <a:gd name="connsiteY4" fmla="*/ 123553 h 159913"/>
                      <a:gd name="connsiteX5" fmla="*/ 71185 w 192374"/>
                      <a:gd name="connsiteY5" fmla="*/ 133901 h 159913"/>
                      <a:gd name="connsiteX6" fmla="*/ 38333 w 192374"/>
                      <a:gd name="connsiteY6" fmla="*/ 159605 h 159913"/>
                      <a:gd name="connsiteX7" fmla="*/ 1540 w 192374"/>
                      <a:gd name="connsiteY7" fmla="*/ 117203 h 159913"/>
                      <a:gd name="connsiteX0" fmla="*/ 1578 w 192412"/>
                      <a:gd name="connsiteY0" fmla="*/ 117203 h 160098"/>
                      <a:gd name="connsiteX1" fmla="*/ 93447 w 192412"/>
                      <a:gd name="connsiteY1" fmla="*/ 70402 h 160098"/>
                      <a:gd name="connsiteX2" fmla="*/ 155846 w 192412"/>
                      <a:gd name="connsiteY2" fmla="*/ 1776 h 160098"/>
                      <a:gd name="connsiteX3" fmla="*/ 191873 w 192412"/>
                      <a:gd name="connsiteY3" fmla="*/ 29127 h 160098"/>
                      <a:gd name="connsiteX4" fmla="*/ 129139 w 192412"/>
                      <a:gd name="connsiteY4" fmla="*/ 123553 h 160098"/>
                      <a:gd name="connsiteX5" fmla="*/ 77573 w 192412"/>
                      <a:gd name="connsiteY5" fmla="*/ 137076 h 160098"/>
                      <a:gd name="connsiteX6" fmla="*/ 38371 w 192412"/>
                      <a:gd name="connsiteY6" fmla="*/ 159605 h 160098"/>
                      <a:gd name="connsiteX7" fmla="*/ 1578 w 192412"/>
                      <a:gd name="connsiteY7" fmla="*/ 117203 h 160098"/>
                      <a:gd name="connsiteX0" fmla="*/ 1578 w 192412"/>
                      <a:gd name="connsiteY0" fmla="*/ 117203 h 172587"/>
                      <a:gd name="connsiteX1" fmla="*/ 93447 w 192412"/>
                      <a:gd name="connsiteY1" fmla="*/ 70402 h 172587"/>
                      <a:gd name="connsiteX2" fmla="*/ 155846 w 192412"/>
                      <a:gd name="connsiteY2" fmla="*/ 1776 h 172587"/>
                      <a:gd name="connsiteX3" fmla="*/ 191873 w 192412"/>
                      <a:gd name="connsiteY3" fmla="*/ 29127 h 172587"/>
                      <a:gd name="connsiteX4" fmla="*/ 129139 w 192412"/>
                      <a:gd name="connsiteY4" fmla="*/ 123553 h 172587"/>
                      <a:gd name="connsiteX5" fmla="*/ 77573 w 192412"/>
                      <a:gd name="connsiteY5" fmla="*/ 137076 h 172587"/>
                      <a:gd name="connsiteX6" fmla="*/ 38371 w 192412"/>
                      <a:gd name="connsiteY6" fmla="*/ 172305 h 172587"/>
                      <a:gd name="connsiteX7" fmla="*/ 1578 w 192412"/>
                      <a:gd name="connsiteY7" fmla="*/ 117203 h 172587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29200 w 192473"/>
                      <a:gd name="connsiteY4" fmla="*/ 123553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29200 w 192473"/>
                      <a:gd name="connsiteY4" fmla="*/ 120378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45075 w 192473"/>
                      <a:gd name="connsiteY4" fmla="*/ 139428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74103"/>
                      <a:gd name="connsiteY0" fmla="*/ 115867 h 171548"/>
                      <a:gd name="connsiteX1" fmla="*/ 93508 w 174103"/>
                      <a:gd name="connsiteY1" fmla="*/ 69066 h 171548"/>
                      <a:gd name="connsiteX2" fmla="*/ 155907 w 174103"/>
                      <a:gd name="connsiteY2" fmla="*/ 440 h 171548"/>
                      <a:gd name="connsiteX3" fmla="*/ 172884 w 174103"/>
                      <a:gd name="connsiteY3" fmla="*/ 103991 h 171548"/>
                      <a:gd name="connsiteX4" fmla="*/ 145075 w 174103"/>
                      <a:gd name="connsiteY4" fmla="*/ 138092 h 171548"/>
                      <a:gd name="connsiteX5" fmla="*/ 87159 w 174103"/>
                      <a:gd name="connsiteY5" fmla="*/ 142090 h 171548"/>
                      <a:gd name="connsiteX6" fmla="*/ 38432 w 174103"/>
                      <a:gd name="connsiteY6" fmla="*/ 170969 h 171548"/>
                      <a:gd name="connsiteX7" fmla="*/ 1639 w 174103"/>
                      <a:gd name="connsiteY7" fmla="*/ 115867 h 171548"/>
                      <a:gd name="connsiteX0" fmla="*/ 1639 w 173324"/>
                      <a:gd name="connsiteY0" fmla="*/ 52930 h 108611"/>
                      <a:gd name="connsiteX1" fmla="*/ 93508 w 173324"/>
                      <a:gd name="connsiteY1" fmla="*/ 6129 h 108611"/>
                      <a:gd name="connsiteX2" fmla="*/ 133682 w 173324"/>
                      <a:gd name="connsiteY2" fmla="*/ 29578 h 108611"/>
                      <a:gd name="connsiteX3" fmla="*/ 172884 w 173324"/>
                      <a:gd name="connsiteY3" fmla="*/ 41054 h 108611"/>
                      <a:gd name="connsiteX4" fmla="*/ 145075 w 173324"/>
                      <a:gd name="connsiteY4" fmla="*/ 75155 h 108611"/>
                      <a:gd name="connsiteX5" fmla="*/ 87159 w 173324"/>
                      <a:gd name="connsiteY5" fmla="*/ 79153 h 108611"/>
                      <a:gd name="connsiteX6" fmla="*/ 38432 w 173324"/>
                      <a:gd name="connsiteY6" fmla="*/ 108032 h 108611"/>
                      <a:gd name="connsiteX7" fmla="*/ 1639 w 173324"/>
                      <a:gd name="connsiteY7" fmla="*/ 52930 h 108611"/>
                      <a:gd name="connsiteX0" fmla="*/ 1791 w 173470"/>
                      <a:gd name="connsiteY0" fmla="*/ 47258 h 102939"/>
                      <a:gd name="connsiteX1" fmla="*/ 96835 w 173470"/>
                      <a:gd name="connsiteY1" fmla="*/ 6807 h 102939"/>
                      <a:gd name="connsiteX2" fmla="*/ 133834 w 173470"/>
                      <a:gd name="connsiteY2" fmla="*/ 23906 h 102939"/>
                      <a:gd name="connsiteX3" fmla="*/ 173036 w 173470"/>
                      <a:gd name="connsiteY3" fmla="*/ 35382 h 102939"/>
                      <a:gd name="connsiteX4" fmla="*/ 145227 w 173470"/>
                      <a:gd name="connsiteY4" fmla="*/ 69483 h 102939"/>
                      <a:gd name="connsiteX5" fmla="*/ 87311 w 173470"/>
                      <a:gd name="connsiteY5" fmla="*/ 73481 h 102939"/>
                      <a:gd name="connsiteX6" fmla="*/ 38584 w 173470"/>
                      <a:gd name="connsiteY6" fmla="*/ 102360 h 102939"/>
                      <a:gd name="connsiteX7" fmla="*/ 1791 w 173470"/>
                      <a:gd name="connsiteY7" fmla="*/ 47258 h 102939"/>
                      <a:gd name="connsiteX0" fmla="*/ 1791 w 173470"/>
                      <a:gd name="connsiteY0" fmla="*/ 40451 h 96132"/>
                      <a:gd name="connsiteX1" fmla="*/ 96835 w 173470"/>
                      <a:gd name="connsiteY1" fmla="*/ 0 h 96132"/>
                      <a:gd name="connsiteX2" fmla="*/ 133834 w 173470"/>
                      <a:gd name="connsiteY2" fmla="*/ 17099 h 96132"/>
                      <a:gd name="connsiteX3" fmla="*/ 173036 w 173470"/>
                      <a:gd name="connsiteY3" fmla="*/ 28575 h 96132"/>
                      <a:gd name="connsiteX4" fmla="*/ 145227 w 173470"/>
                      <a:gd name="connsiteY4" fmla="*/ 62676 h 96132"/>
                      <a:gd name="connsiteX5" fmla="*/ 87311 w 173470"/>
                      <a:gd name="connsiteY5" fmla="*/ 66674 h 96132"/>
                      <a:gd name="connsiteX6" fmla="*/ 38584 w 173470"/>
                      <a:gd name="connsiteY6" fmla="*/ 95553 h 96132"/>
                      <a:gd name="connsiteX7" fmla="*/ 1791 w 173470"/>
                      <a:gd name="connsiteY7" fmla="*/ 40451 h 96132"/>
                      <a:gd name="connsiteX0" fmla="*/ 1791 w 192729"/>
                      <a:gd name="connsiteY0" fmla="*/ 40451 h 96132"/>
                      <a:gd name="connsiteX1" fmla="*/ 96835 w 192729"/>
                      <a:gd name="connsiteY1" fmla="*/ 0 h 96132"/>
                      <a:gd name="connsiteX2" fmla="*/ 133834 w 192729"/>
                      <a:gd name="connsiteY2" fmla="*/ 17099 h 96132"/>
                      <a:gd name="connsiteX3" fmla="*/ 173036 w 192729"/>
                      <a:gd name="connsiteY3" fmla="*/ 28575 h 96132"/>
                      <a:gd name="connsiteX4" fmla="*/ 189677 w 192729"/>
                      <a:gd name="connsiteY4" fmla="*/ 91251 h 96132"/>
                      <a:gd name="connsiteX5" fmla="*/ 87311 w 192729"/>
                      <a:gd name="connsiteY5" fmla="*/ 66674 h 96132"/>
                      <a:gd name="connsiteX6" fmla="*/ 38584 w 192729"/>
                      <a:gd name="connsiteY6" fmla="*/ 95553 h 96132"/>
                      <a:gd name="connsiteX7" fmla="*/ 1791 w 192729"/>
                      <a:gd name="connsiteY7" fmla="*/ 40451 h 96132"/>
                      <a:gd name="connsiteX0" fmla="*/ 1791 w 273343"/>
                      <a:gd name="connsiteY0" fmla="*/ 40451 h 96132"/>
                      <a:gd name="connsiteX1" fmla="*/ 96835 w 273343"/>
                      <a:gd name="connsiteY1" fmla="*/ 0 h 96132"/>
                      <a:gd name="connsiteX2" fmla="*/ 133834 w 273343"/>
                      <a:gd name="connsiteY2" fmla="*/ 17099 h 96132"/>
                      <a:gd name="connsiteX3" fmla="*/ 173036 w 273343"/>
                      <a:gd name="connsiteY3" fmla="*/ 28575 h 96132"/>
                      <a:gd name="connsiteX4" fmla="*/ 273264 w 273343"/>
                      <a:gd name="connsiteY4" fmla="*/ 44816 h 96132"/>
                      <a:gd name="connsiteX5" fmla="*/ 189677 w 273343"/>
                      <a:gd name="connsiteY5" fmla="*/ 91251 h 96132"/>
                      <a:gd name="connsiteX6" fmla="*/ 87311 w 273343"/>
                      <a:gd name="connsiteY6" fmla="*/ 66674 h 96132"/>
                      <a:gd name="connsiteX7" fmla="*/ 38584 w 273343"/>
                      <a:gd name="connsiteY7" fmla="*/ 95553 h 96132"/>
                      <a:gd name="connsiteX8" fmla="*/ 1791 w 273343"/>
                      <a:gd name="connsiteY8" fmla="*/ 40451 h 96132"/>
                      <a:gd name="connsiteX0" fmla="*/ 1791 w 273378"/>
                      <a:gd name="connsiteY0" fmla="*/ 40451 h 97753"/>
                      <a:gd name="connsiteX1" fmla="*/ 96835 w 273378"/>
                      <a:gd name="connsiteY1" fmla="*/ 0 h 97753"/>
                      <a:gd name="connsiteX2" fmla="*/ 133834 w 273378"/>
                      <a:gd name="connsiteY2" fmla="*/ 17099 h 97753"/>
                      <a:gd name="connsiteX3" fmla="*/ 173036 w 273378"/>
                      <a:gd name="connsiteY3" fmla="*/ 28575 h 97753"/>
                      <a:gd name="connsiteX4" fmla="*/ 273264 w 273378"/>
                      <a:gd name="connsiteY4" fmla="*/ 44816 h 97753"/>
                      <a:gd name="connsiteX5" fmla="*/ 211902 w 273378"/>
                      <a:gd name="connsiteY5" fmla="*/ 97601 h 97753"/>
                      <a:gd name="connsiteX6" fmla="*/ 87311 w 273378"/>
                      <a:gd name="connsiteY6" fmla="*/ 66674 h 97753"/>
                      <a:gd name="connsiteX7" fmla="*/ 38584 w 273378"/>
                      <a:gd name="connsiteY7" fmla="*/ 95553 h 97753"/>
                      <a:gd name="connsiteX8" fmla="*/ 1791 w 273378"/>
                      <a:gd name="connsiteY8" fmla="*/ 40451 h 97753"/>
                      <a:gd name="connsiteX0" fmla="*/ 1791 w 273378"/>
                      <a:gd name="connsiteY0" fmla="*/ 40451 h 104803"/>
                      <a:gd name="connsiteX1" fmla="*/ 96835 w 273378"/>
                      <a:gd name="connsiteY1" fmla="*/ 0 h 104803"/>
                      <a:gd name="connsiteX2" fmla="*/ 133834 w 273378"/>
                      <a:gd name="connsiteY2" fmla="*/ 17099 h 104803"/>
                      <a:gd name="connsiteX3" fmla="*/ 173036 w 273378"/>
                      <a:gd name="connsiteY3" fmla="*/ 28575 h 104803"/>
                      <a:gd name="connsiteX4" fmla="*/ 273264 w 273378"/>
                      <a:gd name="connsiteY4" fmla="*/ 44816 h 104803"/>
                      <a:gd name="connsiteX5" fmla="*/ 211902 w 273378"/>
                      <a:gd name="connsiteY5" fmla="*/ 97601 h 104803"/>
                      <a:gd name="connsiteX6" fmla="*/ 184363 w 273378"/>
                      <a:gd name="connsiteY6" fmla="*/ 101966 h 104803"/>
                      <a:gd name="connsiteX7" fmla="*/ 87311 w 273378"/>
                      <a:gd name="connsiteY7" fmla="*/ 66674 h 104803"/>
                      <a:gd name="connsiteX8" fmla="*/ 38584 w 273378"/>
                      <a:gd name="connsiteY8" fmla="*/ 95553 h 104803"/>
                      <a:gd name="connsiteX9" fmla="*/ 1791 w 273378"/>
                      <a:gd name="connsiteY9" fmla="*/ 40451 h 104803"/>
                      <a:gd name="connsiteX0" fmla="*/ 1791 w 273378"/>
                      <a:gd name="connsiteY0" fmla="*/ 40451 h 104803"/>
                      <a:gd name="connsiteX1" fmla="*/ 96835 w 273378"/>
                      <a:gd name="connsiteY1" fmla="*/ 0 h 104803"/>
                      <a:gd name="connsiteX2" fmla="*/ 124309 w 273378"/>
                      <a:gd name="connsiteY2" fmla="*/ 36149 h 104803"/>
                      <a:gd name="connsiteX3" fmla="*/ 173036 w 273378"/>
                      <a:gd name="connsiteY3" fmla="*/ 28575 h 104803"/>
                      <a:gd name="connsiteX4" fmla="*/ 273264 w 273378"/>
                      <a:gd name="connsiteY4" fmla="*/ 44816 h 104803"/>
                      <a:gd name="connsiteX5" fmla="*/ 211902 w 273378"/>
                      <a:gd name="connsiteY5" fmla="*/ 97601 h 104803"/>
                      <a:gd name="connsiteX6" fmla="*/ 184363 w 273378"/>
                      <a:gd name="connsiteY6" fmla="*/ 101966 h 104803"/>
                      <a:gd name="connsiteX7" fmla="*/ 87311 w 273378"/>
                      <a:gd name="connsiteY7" fmla="*/ 66674 h 104803"/>
                      <a:gd name="connsiteX8" fmla="*/ 38584 w 273378"/>
                      <a:gd name="connsiteY8" fmla="*/ 95553 h 104803"/>
                      <a:gd name="connsiteX9" fmla="*/ 1791 w 273378"/>
                      <a:gd name="connsiteY9" fmla="*/ 40451 h 104803"/>
                      <a:gd name="connsiteX0" fmla="*/ 1348 w 272935"/>
                      <a:gd name="connsiteY0" fmla="*/ 30926 h 95278"/>
                      <a:gd name="connsiteX1" fmla="*/ 86867 w 272935"/>
                      <a:gd name="connsiteY1" fmla="*/ 0 h 95278"/>
                      <a:gd name="connsiteX2" fmla="*/ 123866 w 272935"/>
                      <a:gd name="connsiteY2" fmla="*/ 26624 h 95278"/>
                      <a:gd name="connsiteX3" fmla="*/ 172593 w 272935"/>
                      <a:gd name="connsiteY3" fmla="*/ 19050 h 95278"/>
                      <a:gd name="connsiteX4" fmla="*/ 272821 w 272935"/>
                      <a:gd name="connsiteY4" fmla="*/ 35291 h 95278"/>
                      <a:gd name="connsiteX5" fmla="*/ 211459 w 272935"/>
                      <a:gd name="connsiteY5" fmla="*/ 88076 h 95278"/>
                      <a:gd name="connsiteX6" fmla="*/ 183920 w 272935"/>
                      <a:gd name="connsiteY6" fmla="*/ 92441 h 95278"/>
                      <a:gd name="connsiteX7" fmla="*/ 86868 w 272935"/>
                      <a:gd name="connsiteY7" fmla="*/ 57149 h 95278"/>
                      <a:gd name="connsiteX8" fmla="*/ 38141 w 272935"/>
                      <a:gd name="connsiteY8" fmla="*/ 86028 h 95278"/>
                      <a:gd name="connsiteX9" fmla="*/ 1348 w 272935"/>
                      <a:gd name="connsiteY9" fmla="*/ 30926 h 95278"/>
                      <a:gd name="connsiteX0" fmla="*/ 1348 w 272935"/>
                      <a:gd name="connsiteY0" fmla="*/ 30926 h 95278"/>
                      <a:gd name="connsiteX1" fmla="*/ 86867 w 272935"/>
                      <a:gd name="connsiteY1" fmla="*/ 0 h 95278"/>
                      <a:gd name="connsiteX2" fmla="*/ 123866 w 272935"/>
                      <a:gd name="connsiteY2" fmla="*/ 26624 h 95278"/>
                      <a:gd name="connsiteX3" fmla="*/ 178943 w 272935"/>
                      <a:gd name="connsiteY3" fmla="*/ 41275 h 95278"/>
                      <a:gd name="connsiteX4" fmla="*/ 272821 w 272935"/>
                      <a:gd name="connsiteY4" fmla="*/ 35291 h 95278"/>
                      <a:gd name="connsiteX5" fmla="*/ 211459 w 272935"/>
                      <a:gd name="connsiteY5" fmla="*/ 88076 h 95278"/>
                      <a:gd name="connsiteX6" fmla="*/ 183920 w 272935"/>
                      <a:gd name="connsiteY6" fmla="*/ 92441 h 95278"/>
                      <a:gd name="connsiteX7" fmla="*/ 86868 w 272935"/>
                      <a:gd name="connsiteY7" fmla="*/ 57149 h 95278"/>
                      <a:gd name="connsiteX8" fmla="*/ 38141 w 272935"/>
                      <a:gd name="connsiteY8" fmla="*/ 86028 h 95278"/>
                      <a:gd name="connsiteX9" fmla="*/ 1348 w 272935"/>
                      <a:gd name="connsiteY9" fmla="*/ 30926 h 952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72935" h="95278">
                        <a:moveTo>
                          <a:pt x="1348" y="30926"/>
                        </a:moveTo>
                        <a:cubicBezTo>
                          <a:pt x="9469" y="16588"/>
                          <a:pt x="61685" y="20825"/>
                          <a:pt x="86867" y="0"/>
                        </a:cubicBezTo>
                        <a:cubicBezTo>
                          <a:pt x="118399" y="1400"/>
                          <a:pt x="108520" y="19745"/>
                          <a:pt x="123866" y="26624"/>
                        </a:cubicBezTo>
                        <a:cubicBezTo>
                          <a:pt x="139212" y="33503"/>
                          <a:pt x="171051" y="36126"/>
                          <a:pt x="178943" y="41275"/>
                        </a:cubicBezTo>
                        <a:cubicBezTo>
                          <a:pt x="186835" y="46424"/>
                          <a:pt x="270048" y="24845"/>
                          <a:pt x="272821" y="35291"/>
                        </a:cubicBezTo>
                        <a:cubicBezTo>
                          <a:pt x="275594" y="45737"/>
                          <a:pt x="227334" y="80668"/>
                          <a:pt x="211459" y="88076"/>
                        </a:cubicBezTo>
                        <a:cubicBezTo>
                          <a:pt x="195584" y="95484"/>
                          <a:pt x="204685" y="97596"/>
                          <a:pt x="183920" y="92441"/>
                        </a:cubicBezTo>
                        <a:cubicBezTo>
                          <a:pt x="163155" y="87286"/>
                          <a:pt x="110106" y="56101"/>
                          <a:pt x="86868" y="57149"/>
                        </a:cubicBezTo>
                        <a:cubicBezTo>
                          <a:pt x="63630" y="58197"/>
                          <a:pt x="52394" y="90399"/>
                          <a:pt x="38141" y="86028"/>
                        </a:cubicBezTo>
                        <a:cubicBezTo>
                          <a:pt x="23888" y="81657"/>
                          <a:pt x="-6773" y="45264"/>
                          <a:pt x="1348" y="309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 dirty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4" name="Oval 88"/>
                  <p:cNvSpPr/>
                  <p:nvPr/>
                </p:nvSpPr>
                <p:spPr>
                  <a:xfrm>
                    <a:off x="5883726" y="4772294"/>
                    <a:ext cx="146032" cy="84164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14861"/>
                      <a:gd name="connsiteY0" fmla="*/ 122392 h 170110"/>
                      <a:gd name="connsiteX1" fmla="*/ 36793 w 114861"/>
                      <a:gd name="connsiteY1" fmla="*/ 615 h 170110"/>
                      <a:gd name="connsiteX2" fmla="*/ 114861 w 114861"/>
                      <a:gd name="connsiteY2" fmla="*/ 84292 h 170110"/>
                      <a:gd name="connsiteX3" fmla="*/ 36793 w 114861"/>
                      <a:gd name="connsiteY3" fmla="*/ 167969 h 170110"/>
                      <a:gd name="connsiteX4" fmla="*/ 0 w 114861"/>
                      <a:gd name="connsiteY4" fmla="*/ 122392 h 170110"/>
                      <a:gd name="connsiteX0" fmla="*/ 13 w 114874"/>
                      <a:gd name="connsiteY0" fmla="*/ 122392 h 156828"/>
                      <a:gd name="connsiteX1" fmla="*/ 36806 w 114874"/>
                      <a:gd name="connsiteY1" fmla="*/ 615 h 156828"/>
                      <a:gd name="connsiteX2" fmla="*/ 114874 w 114874"/>
                      <a:gd name="connsiteY2" fmla="*/ 84292 h 156828"/>
                      <a:gd name="connsiteX3" fmla="*/ 33631 w 114874"/>
                      <a:gd name="connsiteY3" fmla="*/ 155269 h 156828"/>
                      <a:gd name="connsiteX4" fmla="*/ 13 w 114874"/>
                      <a:gd name="connsiteY4" fmla="*/ 122392 h 156828"/>
                      <a:gd name="connsiteX0" fmla="*/ 9 w 115771"/>
                      <a:gd name="connsiteY0" fmla="*/ 122194 h 155137"/>
                      <a:gd name="connsiteX1" fmla="*/ 36802 w 115771"/>
                      <a:gd name="connsiteY1" fmla="*/ 417 h 155137"/>
                      <a:gd name="connsiteX2" fmla="*/ 114870 w 115771"/>
                      <a:gd name="connsiteY2" fmla="*/ 84094 h 155137"/>
                      <a:gd name="connsiteX3" fmla="*/ 66479 w 115771"/>
                      <a:gd name="connsiteY3" fmla="*/ 129367 h 155137"/>
                      <a:gd name="connsiteX4" fmla="*/ 33627 w 115771"/>
                      <a:gd name="connsiteY4" fmla="*/ 155071 h 155137"/>
                      <a:gd name="connsiteX5" fmla="*/ 9 w 115771"/>
                      <a:gd name="connsiteY5" fmla="*/ 122194 h 155137"/>
                      <a:gd name="connsiteX0" fmla="*/ 9 w 125148"/>
                      <a:gd name="connsiteY0" fmla="*/ 121780 h 154723"/>
                      <a:gd name="connsiteX1" fmla="*/ 36802 w 125148"/>
                      <a:gd name="connsiteY1" fmla="*/ 3 h 154723"/>
                      <a:gd name="connsiteX2" fmla="*/ 124395 w 125148"/>
                      <a:gd name="connsiteY2" fmla="*/ 118605 h 154723"/>
                      <a:gd name="connsiteX3" fmla="*/ 66479 w 125148"/>
                      <a:gd name="connsiteY3" fmla="*/ 128953 h 154723"/>
                      <a:gd name="connsiteX4" fmla="*/ 33627 w 125148"/>
                      <a:gd name="connsiteY4" fmla="*/ 154657 h 154723"/>
                      <a:gd name="connsiteX5" fmla="*/ 9 w 125148"/>
                      <a:gd name="connsiteY5" fmla="*/ 121780 h 154723"/>
                      <a:gd name="connsiteX0" fmla="*/ 3247 w 131427"/>
                      <a:gd name="connsiteY0" fmla="*/ 77331 h 110274"/>
                      <a:gd name="connsiteX1" fmla="*/ 122590 w 131427"/>
                      <a:gd name="connsiteY1" fmla="*/ 4 h 110274"/>
                      <a:gd name="connsiteX2" fmla="*/ 127633 w 131427"/>
                      <a:gd name="connsiteY2" fmla="*/ 74156 h 110274"/>
                      <a:gd name="connsiteX3" fmla="*/ 69717 w 131427"/>
                      <a:gd name="connsiteY3" fmla="*/ 84504 h 110274"/>
                      <a:gd name="connsiteX4" fmla="*/ 36865 w 131427"/>
                      <a:gd name="connsiteY4" fmla="*/ 110208 h 110274"/>
                      <a:gd name="connsiteX5" fmla="*/ 3247 w 131427"/>
                      <a:gd name="connsiteY5" fmla="*/ 77331 h 110274"/>
                      <a:gd name="connsiteX0" fmla="*/ 5118 w 160910"/>
                      <a:gd name="connsiteY0" fmla="*/ 124954 h 157897"/>
                      <a:gd name="connsiteX1" fmla="*/ 156211 w 160910"/>
                      <a:gd name="connsiteY1" fmla="*/ 2 h 157897"/>
                      <a:gd name="connsiteX2" fmla="*/ 129504 w 160910"/>
                      <a:gd name="connsiteY2" fmla="*/ 121779 h 157897"/>
                      <a:gd name="connsiteX3" fmla="*/ 71588 w 160910"/>
                      <a:gd name="connsiteY3" fmla="*/ 132127 h 157897"/>
                      <a:gd name="connsiteX4" fmla="*/ 38736 w 160910"/>
                      <a:gd name="connsiteY4" fmla="*/ 157831 h 157897"/>
                      <a:gd name="connsiteX5" fmla="*/ 5118 w 160910"/>
                      <a:gd name="connsiteY5" fmla="*/ 124954 h 157897"/>
                      <a:gd name="connsiteX0" fmla="*/ 1646 w 153341"/>
                      <a:gd name="connsiteY0" fmla="*/ 125884 h 158827"/>
                      <a:gd name="connsiteX1" fmla="*/ 90340 w 153341"/>
                      <a:gd name="connsiteY1" fmla="*/ 69558 h 158827"/>
                      <a:gd name="connsiteX2" fmla="*/ 152739 w 153341"/>
                      <a:gd name="connsiteY2" fmla="*/ 932 h 158827"/>
                      <a:gd name="connsiteX3" fmla="*/ 126032 w 153341"/>
                      <a:gd name="connsiteY3" fmla="*/ 122709 h 158827"/>
                      <a:gd name="connsiteX4" fmla="*/ 68116 w 153341"/>
                      <a:gd name="connsiteY4" fmla="*/ 133057 h 158827"/>
                      <a:gd name="connsiteX5" fmla="*/ 35264 w 153341"/>
                      <a:gd name="connsiteY5" fmla="*/ 158761 h 158827"/>
                      <a:gd name="connsiteX6" fmla="*/ 1646 w 153341"/>
                      <a:gd name="connsiteY6" fmla="*/ 125884 h 158827"/>
                      <a:gd name="connsiteX0" fmla="*/ 1646 w 189305"/>
                      <a:gd name="connsiteY0" fmla="*/ 126728 h 159671"/>
                      <a:gd name="connsiteX1" fmla="*/ 90340 w 189305"/>
                      <a:gd name="connsiteY1" fmla="*/ 70402 h 159671"/>
                      <a:gd name="connsiteX2" fmla="*/ 152739 w 189305"/>
                      <a:gd name="connsiteY2" fmla="*/ 1776 h 159671"/>
                      <a:gd name="connsiteX3" fmla="*/ 188766 w 189305"/>
                      <a:gd name="connsiteY3" fmla="*/ 29127 h 159671"/>
                      <a:gd name="connsiteX4" fmla="*/ 126032 w 189305"/>
                      <a:gd name="connsiteY4" fmla="*/ 123553 h 159671"/>
                      <a:gd name="connsiteX5" fmla="*/ 68116 w 189305"/>
                      <a:gd name="connsiteY5" fmla="*/ 133901 h 159671"/>
                      <a:gd name="connsiteX6" fmla="*/ 35264 w 189305"/>
                      <a:gd name="connsiteY6" fmla="*/ 159605 h 159671"/>
                      <a:gd name="connsiteX7" fmla="*/ 1646 w 189305"/>
                      <a:gd name="connsiteY7" fmla="*/ 126728 h 159671"/>
                      <a:gd name="connsiteX0" fmla="*/ 1540 w 192374"/>
                      <a:gd name="connsiteY0" fmla="*/ 117203 h 159913"/>
                      <a:gd name="connsiteX1" fmla="*/ 93409 w 192374"/>
                      <a:gd name="connsiteY1" fmla="*/ 70402 h 159913"/>
                      <a:gd name="connsiteX2" fmla="*/ 155808 w 192374"/>
                      <a:gd name="connsiteY2" fmla="*/ 1776 h 159913"/>
                      <a:gd name="connsiteX3" fmla="*/ 191835 w 192374"/>
                      <a:gd name="connsiteY3" fmla="*/ 29127 h 159913"/>
                      <a:gd name="connsiteX4" fmla="*/ 129101 w 192374"/>
                      <a:gd name="connsiteY4" fmla="*/ 123553 h 159913"/>
                      <a:gd name="connsiteX5" fmla="*/ 71185 w 192374"/>
                      <a:gd name="connsiteY5" fmla="*/ 133901 h 159913"/>
                      <a:gd name="connsiteX6" fmla="*/ 38333 w 192374"/>
                      <a:gd name="connsiteY6" fmla="*/ 159605 h 159913"/>
                      <a:gd name="connsiteX7" fmla="*/ 1540 w 192374"/>
                      <a:gd name="connsiteY7" fmla="*/ 117203 h 159913"/>
                      <a:gd name="connsiteX0" fmla="*/ 1578 w 192412"/>
                      <a:gd name="connsiteY0" fmla="*/ 117203 h 160098"/>
                      <a:gd name="connsiteX1" fmla="*/ 93447 w 192412"/>
                      <a:gd name="connsiteY1" fmla="*/ 70402 h 160098"/>
                      <a:gd name="connsiteX2" fmla="*/ 155846 w 192412"/>
                      <a:gd name="connsiteY2" fmla="*/ 1776 h 160098"/>
                      <a:gd name="connsiteX3" fmla="*/ 191873 w 192412"/>
                      <a:gd name="connsiteY3" fmla="*/ 29127 h 160098"/>
                      <a:gd name="connsiteX4" fmla="*/ 129139 w 192412"/>
                      <a:gd name="connsiteY4" fmla="*/ 123553 h 160098"/>
                      <a:gd name="connsiteX5" fmla="*/ 77573 w 192412"/>
                      <a:gd name="connsiteY5" fmla="*/ 137076 h 160098"/>
                      <a:gd name="connsiteX6" fmla="*/ 38371 w 192412"/>
                      <a:gd name="connsiteY6" fmla="*/ 159605 h 160098"/>
                      <a:gd name="connsiteX7" fmla="*/ 1578 w 192412"/>
                      <a:gd name="connsiteY7" fmla="*/ 117203 h 160098"/>
                      <a:gd name="connsiteX0" fmla="*/ 1578 w 192412"/>
                      <a:gd name="connsiteY0" fmla="*/ 117203 h 172587"/>
                      <a:gd name="connsiteX1" fmla="*/ 93447 w 192412"/>
                      <a:gd name="connsiteY1" fmla="*/ 70402 h 172587"/>
                      <a:gd name="connsiteX2" fmla="*/ 155846 w 192412"/>
                      <a:gd name="connsiteY2" fmla="*/ 1776 h 172587"/>
                      <a:gd name="connsiteX3" fmla="*/ 191873 w 192412"/>
                      <a:gd name="connsiteY3" fmla="*/ 29127 h 172587"/>
                      <a:gd name="connsiteX4" fmla="*/ 129139 w 192412"/>
                      <a:gd name="connsiteY4" fmla="*/ 123553 h 172587"/>
                      <a:gd name="connsiteX5" fmla="*/ 77573 w 192412"/>
                      <a:gd name="connsiteY5" fmla="*/ 137076 h 172587"/>
                      <a:gd name="connsiteX6" fmla="*/ 38371 w 192412"/>
                      <a:gd name="connsiteY6" fmla="*/ 172305 h 172587"/>
                      <a:gd name="connsiteX7" fmla="*/ 1578 w 192412"/>
                      <a:gd name="connsiteY7" fmla="*/ 117203 h 172587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29200 w 192473"/>
                      <a:gd name="connsiteY4" fmla="*/ 123553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29200 w 192473"/>
                      <a:gd name="connsiteY4" fmla="*/ 120378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92473"/>
                      <a:gd name="connsiteY0" fmla="*/ 117203 h 172884"/>
                      <a:gd name="connsiteX1" fmla="*/ 93508 w 192473"/>
                      <a:gd name="connsiteY1" fmla="*/ 70402 h 172884"/>
                      <a:gd name="connsiteX2" fmla="*/ 155907 w 192473"/>
                      <a:gd name="connsiteY2" fmla="*/ 1776 h 172884"/>
                      <a:gd name="connsiteX3" fmla="*/ 191934 w 192473"/>
                      <a:gd name="connsiteY3" fmla="*/ 29127 h 172884"/>
                      <a:gd name="connsiteX4" fmla="*/ 145075 w 192473"/>
                      <a:gd name="connsiteY4" fmla="*/ 139428 h 172884"/>
                      <a:gd name="connsiteX5" fmla="*/ 87159 w 192473"/>
                      <a:gd name="connsiteY5" fmla="*/ 143426 h 172884"/>
                      <a:gd name="connsiteX6" fmla="*/ 38432 w 192473"/>
                      <a:gd name="connsiteY6" fmla="*/ 172305 h 172884"/>
                      <a:gd name="connsiteX7" fmla="*/ 1639 w 192473"/>
                      <a:gd name="connsiteY7" fmla="*/ 117203 h 172884"/>
                      <a:gd name="connsiteX0" fmla="*/ 1639 w 174103"/>
                      <a:gd name="connsiteY0" fmla="*/ 115867 h 171548"/>
                      <a:gd name="connsiteX1" fmla="*/ 93508 w 174103"/>
                      <a:gd name="connsiteY1" fmla="*/ 69066 h 171548"/>
                      <a:gd name="connsiteX2" fmla="*/ 155907 w 174103"/>
                      <a:gd name="connsiteY2" fmla="*/ 440 h 171548"/>
                      <a:gd name="connsiteX3" fmla="*/ 172884 w 174103"/>
                      <a:gd name="connsiteY3" fmla="*/ 103991 h 171548"/>
                      <a:gd name="connsiteX4" fmla="*/ 145075 w 174103"/>
                      <a:gd name="connsiteY4" fmla="*/ 138092 h 171548"/>
                      <a:gd name="connsiteX5" fmla="*/ 87159 w 174103"/>
                      <a:gd name="connsiteY5" fmla="*/ 142090 h 171548"/>
                      <a:gd name="connsiteX6" fmla="*/ 38432 w 174103"/>
                      <a:gd name="connsiteY6" fmla="*/ 170969 h 171548"/>
                      <a:gd name="connsiteX7" fmla="*/ 1639 w 174103"/>
                      <a:gd name="connsiteY7" fmla="*/ 115867 h 171548"/>
                      <a:gd name="connsiteX0" fmla="*/ 1639 w 173324"/>
                      <a:gd name="connsiteY0" fmla="*/ 52930 h 108611"/>
                      <a:gd name="connsiteX1" fmla="*/ 93508 w 173324"/>
                      <a:gd name="connsiteY1" fmla="*/ 6129 h 108611"/>
                      <a:gd name="connsiteX2" fmla="*/ 133682 w 173324"/>
                      <a:gd name="connsiteY2" fmla="*/ 29578 h 108611"/>
                      <a:gd name="connsiteX3" fmla="*/ 172884 w 173324"/>
                      <a:gd name="connsiteY3" fmla="*/ 41054 h 108611"/>
                      <a:gd name="connsiteX4" fmla="*/ 145075 w 173324"/>
                      <a:gd name="connsiteY4" fmla="*/ 75155 h 108611"/>
                      <a:gd name="connsiteX5" fmla="*/ 87159 w 173324"/>
                      <a:gd name="connsiteY5" fmla="*/ 79153 h 108611"/>
                      <a:gd name="connsiteX6" fmla="*/ 38432 w 173324"/>
                      <a:gd name="connsiteY6" fmla="*/ 108032 h 108611"/>
                      <a:gd name="connsiteX7" fmla="*/ 1639 w 173324"/>
                      <a:gd name="connsiteY7" fmla="*/ 52930 h 108611"/>
                      <a:gd name="connsiteX0" fmla="*/ 1791 w 173470"/>
                      <a:gd name="connsiteY0" fmla="*/ 47258 h 102939"/>
                      <a:gd name="connsiteX1" fmla="*/ 96835 w 173470"/>
                      <a:gd name="connsiteY1" fmla="*/ 6807 h 102939"/>
                      <a:gd name="connsiteX2" fmla="*/ 133834 w 173470"/>
                      <a:gd name="connsiteY2" fmla="*/ 23906 h 102939"/>
                      <a:gd name="connsiteX3" fmla="*/ 173036 w 173470"/>
                      <a:gd name="connsiteY3" fmla="*/ 35382 h 102939"/>
                      <a:gd name="connsiteX4" fmla="*/ 145227 w 173470"/>
                      <a:gd name="connsiteY4" fmla="*/ 69483 h 102939"/>
                      <a:gd name="connsiteX5" fmla="*/ 87311 w 173470"/>
                      <a:gd name="connsiteY5" fmla="*/ 73481 h 102939"/>
                      <a:gd name="connsiteX6" fmla="*/ 38584 w 173470"/>
                      <a:gd name="connsiteY6" fmla="*/ 102360 h 102939"/>
                      <a:gd name="connsiteX7" fmla="*/ 1791 w 173470"/>
                      <a:gd name="connsiteY7" fmla="*/ 47258 h 102939"/>
                      <a:gd name="connsiteX0" fmla="*/ 1791 w 173470"/>
                      <a:gd name="connsiteY0" fmla="*/ 40451 h 96132"/>
                      <a:gd name="connsiteX1" fmla="*/ 96835 w 173470"/>
                      <a:gd name="connsiteY1" fmla="*/ 0 h 96132"/>
                      <a:gd name="connsiteX2" fmla="*/ 133834 w 173470"/>
                      <a:gd name="connsiteY2" fmla="*/ 17099 h 96132"/>
                      <a:gd name="connsiteX3" fmla="*/ 173036 w 173470"/>
                      <a:gd name="connsiteY3" fmla="*/ 28575 h 96132"/>
                      <a:gd name="connsiteX4" fmla="*/ 145227 w 173470"/>
                      <a:gd name="connsiteY4" fmla="*/ 62676 h 96132"/>
                      <a:gd name="connsiteX5" fmla="*/ 87311 w 173470"/>
                      <a:gd name="connsiteY5" fmla="*/ 66674 h 96132"/>
                      <a:gd name="connsiteX6" fmla="*/ 38584 w 173470"/>
                      <a:gd name="connsiteY6" fmla="*/ 95553 h 96132"/>
                      <a:gd name="connsiteX7" fmla="*/ 1791 w 173470"/>
                      <a:gd name="connsiteY7" fmla="*/ 40451 h 96132"/>
                      <a:gd name="connsiteX0" fmla="*/ 1791 w 192729"/>
                      <a:gd name="connsiteY0" fmla="*/ 40451 h 96132"/>
                      <a:gd name="connsiteX1" fmla="*/ 96835 w 192729"/>
                      <a:gd name="connsiteY1" fmla="*/ 0 h 96132"/>
                      <a:gd name="connsiteX2" fmla="*/ 133834 w 192729"/>
                      <a:gd name="connsiteY2" fmla="*/ 17099 h 96132"/>
                      <a:gd name="connsiteX3" fmla="*/ 173036 w 192729"/>
                      <a:gd name="connsiteY3" fmla="*/ 28575 h 96132"/>
                      <a:gd name="connsiteX4" fmla="*/ 189677 w 192729"/>
                      <a:gd name="connsiteY4" fmla="*/ 91251 h 96132"/>
                      <a:gd name="connsiteX5" fmla="*/ 87311 w 192729"/>
                      <a:gd name="connsiteY5" fmla="*/ 66674 h 96132"/>
                      <a:gd name="connsiteX6" fmla="*/ 38584 w 192729"/>
                      <a:gd name="connsiteY6" fmla="*/ 95553 h 96132"/>
                      <a:gd name="connsiteX7" fmla="*/ 1791 w 192729"/>
                      <a:gd name="connsiteY7" fmla="*/ 40451 h 96132"/>
                      <a:gd name="connsiteX0" fmla="*/ 1791 w 273343"/>
                      <a:gd name="connsiteY0" fmla="*/ 40451 h 96132"/>
                      <a:gd name="connsiteX1" fmla="*/ 96835 w 273343"/>
                      <a:gd name="connsiteY1" fmla="*/ 0 h 96132"/>
                      <a:gd name="connsiteX2" fmla="*/ 133834 w 273343"/>
                      <a:gd name="connsiteY2" fmla="*/ 17099 h 96132"/>
                      <a:gd name="connsiteX3" fmla="*/ 173036 w 273343"/>
                      <a:gd name="connsiteY3" fmla="*/ 28575 h 96132"/>
                      <a:gd name="connsiteX4" fmla="*/ 273264 w 273343"/>
                      <a:gd name="connsiteY4" fmla="*/ 44816 h 96132"/>
                      <a:gd name="connsiteX5" fmla="*/ 189677 w 273343"/>
                      <a:gd name="connsiteY5" fmla="*/ 91251 h 96132"/>
                      <a:gd name="connsiteX6" fmla="*/ 87311 w 273343"/>
                      <a:gd name="connsiteY6" fmla="*/ 66674 h 96132"/>
                      <a:gd name="connsiteX7" fmla="*/ 38584 w 273343"/>
                      <a:gd name="connsiteY7" fmla="*/ 95553 h 96132"/>
                      <a:gd name="connsiteX8" fmla="*/ 1791 w 273343"/>
                      <a:gd name="connsiteY8" fmla="*/ 40451 h 96132"/>
                      <a:gd name="connsiteX0" fmla="*/ 1791 w 273378"/>
                      <a:gd name="connsiteY0" fmla="*/ 40451 h 97753"/>
                      <a:gd name="connsiteX1" fmla="*/ 96835 w 273378"/>
                      <a:gd name="connsiteY1" fmla="*/ 0 h 97753"/>
                      <a:gd name="connsiteX2" fmla="*/ 133834 w 273378"/>
                      <a:gd name="connsiteY2" fmla="*/ 17099 h 97753"/>
                      <a:gd name="connsiteX3" fmla="*/ 173036 w 273378"/>
                      <a:gd name="connsiteY3" fmla="*/ 28575 h 97753"/>
                      <a:gd name="connsiteX4" fmla="*/ 273264 w 273378"/>
                      <a:gd name="connsiteY4" fmla="*/ 44816 h 97753"/>
                      <a:gd name="connsiteX5" fmla="*/ 211902 w 273378"/>
                      <a:gd name="connsiteY5" fmla="*/ 97601 h 97753"/>
                      <a:gd name="connsiteX6" fmla="*/ 87311 w 273378"/>
                      <a:gd name="connsiteY6" fmla="*/ 66674 h 97753"/>
                      <a:gd name="connsiteX7" fmla="*/ 38584 w 273378"/>
                      <a:gd name="connsiteY7" fmla="*/ 95553 h 97753"/>
                      <a:gd name="connsiteX8" fmla="*/ 1791 w 273378"/>
                      <a:gd name="connsiteY8" fmla="*/ 40451 h 97753"/>
                      <a:gd name="connsiteX0" fmla="*/ 1791 w 273378"/>
                      <a:gd name="connsiteY0" fmla="*/ 40451 h 104803"/>
                      <a:gd name="connsiteX1" fmla="*/ 96835 w 273378"/>
                      <a:gd name="connsiteY1" fmla="*/ 0 h 104803"/>
                      <a:gd name="connsiteX2" fmla="*/ 133834 w 273378"/>
                      <a:gd name="connsiteY2" fmla="*/ 17099 h 104803"/>
                      <a:gd name="connsiteX3" fmla="*/ 173036 w 273378"/>
                      <a:gd name="connsiteY3" fmla="*/ 28575 h 104803"/>
                      <a:gd name="connsiteX4" fmla="*/ 273264 w 273378"/>
                      <a:gd name="connsiteY4" fmla="*/ 44816 h 104803"/>
                      <a:gd name="connsiteX5" fmla="*/ 211902 w 273378"/>
                      <a:gd name="connsiteY5" fmla="*/ 97601 h 104803"/>
                      <a:gd name="connsiteX6" fmla="*/ 184363 w 273378"/>
                      <a:gd name="connsiteY6" fmla="*/ 101966 h 104803"/>
                      <a:gd name="connsiteX7" fmla="*/ 87311 w 273378"/>
                      <a:gd name="connsiteY7" fmla="*/ 66674 h 104803"/>
                      <a:gd name="connsiteX8" fmla="*/ 38584 w 273378"/>
                      <a:gd name="connsiteY8" fmla="*/ 95553 h 104803"/>
                      <a:gd name="connsiteX9" fmla="*/ 1791 w 273378"/>
                      <a:gd name="connsiteY9" fmla="*/ 40451 h 104803"/>
                      <a:gd name="connsiteX0" fmla="*/ 1791 w 273378"/>
                      <a:gd name="connsiteY0" fmla="*/ 40451 h 104803"/>
                      <a:gd name="connsiteX1" fmla="*/ 96835 w 273378"/>
                      <a:gd name="connsiteY1" fmla="*/ 0 h 104803"/>
                      <a:gd name="connsiteX2" fmla="*/ 124309 w 273378"/>
                      <a:gd name="connsiteY2" fmla="*/ 36149 h 104803"/>
                      <a:gd name="connsiteX3" fmla="*/ 173036 w 273378"/>
                      <a:gd name="connsiteY3" fmla="*/ 28575 h 104803"/>
                      <a:gd name="connsiteX4" fmla="*/ 273264 w 273378"/>
                      <a:gd name="connsiteY4" fmla="*/ 44816 h 104803"/>
                      <a:gd name="connsiteX5" fmla="*/ 211902 w 273378"/>
                      <a:gd name="connsiteY5" fmla="*/ 97601 h 104803"/>
                      <a:gd name="connsiteX6" fmla="*/ 184363 w 273378"/>
                      <a:gd name="connsiteY6" fmla="*/ 101966 h 104803"/>
                      <a:gd name="connsiteX7" fmla="*/ 87311 w 273378"/>
                      <a:gd name="connsiteY7" fmla="*/ 66674 h 104803"/>
                      <a:gd name="connsiteX8" fmla="*/ 38584 w 273378"/>
                      <a:gd name="connsiteY8" fmla="*/ 95553 h 104803"/>
                      <a:gd name="connsiteX9" fmla="*/ 1791 w 273378"/>
                      <a:gd name="connsiteY9" fmla="*/ 40451 h 104803"/>
                      <a:gd name="connsiteX0" fmla="*/ 1348 w 272935"/>
                      <a:gd name="connsiteY0" fmla="*/ 30926 h 95278"/>
                      <a:gd name="connsiteX1" fmla="*/ 86867 w 272935"/>
                      <a:gd name="connsiteY1" fmla="*/ 0 h 95278"/>
                      <a:gd name="connsiteX2" fmla="*/ 123866 w 272935"/>
                      <a:gd name="connsiteY2" fmla="*/ 26624 h 95278"/>
                      <a:gd name="connsiteX3" fmla="*/ 172593 w 272935"/>
                      <a:gd name="connsiteY3" fmla="*/ 19050 h 95278"/>
                      <a:gd name="connsiteX4" fmla="*/ 272821 w 272935"/>
                      <a:gd name="connsiteY4" fmla="*/ 35291 h 95278"/>
                      <a:gd name="connsiteX5" fmla="*/ 211459 w 272935"/>
                      <a:gd name="connsiteY5" fmla="*/ 88076 h 95278"/>
                      <a:gd name="connsiteX6" fmla="*/ 183920 w 272935"/>
                      <a:gd name="connsiteY6" fmla="*/ 92441 h 95278"/>
                      <a:gd name="connsiteX7" fmla="*/ 86868 w 272935"/>
                      <a:gd name="connsiteY7" fmla="*/ 57149 h 95278"/>
                      <a:gd name="connsiteX8" fmla="*/ 38141 w 272935"/>
                      <a:gd name="connsiteY8" fmla="*/ 86028 h 95278"/>
                      <a:gd name="connsiteX9" fmla="*/ 1348 w 272935"/>
                      <a:gd name="connsiteY9" fmla="*/ 30926 h 95278"/>
                      <a:gd name="connsiteX0" fmla="*/ 1348 w 272935"/>
                      <a:gd name="connsiteY0" fmla="*/ 30926 h 95278"/>
                      <a:gd name="connsiteX1" fmla="*/ 86867 w 272935"/>
                      <a:gd name="connsiteY1" fmla="*/ 0 h 95278"/>
                      <a:gd name="connsiteX2" fmla="*/ 123866 w 272935"/>
                      <a:gd name="connsiteY2" fmla="*/ 26624 h 95278"/>
                      <a:gd name="connsiteX3" fmla="*/ 178943 w 272935"/>
                      <a:gd name="connsiteY3" fmla="*/ 41275 h 95278"/>
                      <a:gd name="connsiteX4" fmla="*/ 272821 w 272935"/>
                      <a:gd name="connsiteY4" fmla="*/ 35291 h 95278"/>
                      <a:gd name="connsiteX5" fmla="*/ 211459 w 272935"/>
                      <a:gd name="connsiteY5" fmla="*/ 88076 h 95278"/>
                      <a:gd name="connsiteX6" fmla="*/ 183920 w 272935"/>
                      <a:gd name="connsiteY6" fmla="*/ 92441 h 95278"/>
                      <a:gd name="connsiteX7" fmla="*/ 86868 w 272935"/>
                      <a:gd name="connsiteY7" fmla="*/ 57149 h 95278"/>
                      <a:gd name="connsiteX8" fmla="*/ 38141 w 272935"/>
                      <a:gd name="connsiteY8" fmla="*/ 86028 h 95278"/>
                      <a:gd name="connsiteX9" fmla="*/ 1348 w 272935"/>
                      <a:gd name="connsiteY9" fmla="*/ 30926 h 95278"/>
                      <a:gd name="connsiteX0" fmla="*/ 1348 w 215636"/>
                      <a:gd name="connsiteY0" fmla="*/ 30926 h 95278"/>
                      <a:gd name="connsiteX1" fmla="*/ 86867 w 215636"/>
                      <a:gd name="connsiteY1" fmla="*/ 0 h 95278"/>
                      <a:gd name="connsiteX2" fmla="*/ 123866 w 215636"/>
                      <a:gd name="connsiteY2" fmla="*/ 26624 h 95278"/>
                      <a:gd name="connsiteX3" fmla="*/ 178943 w 215636"/>
                      <a:gd name="connsiteY3" fmla="*/ 41275 h 95278"/>
                      <a:gd name="connsiteX4" fmla="*/ 190271 w 215636"/>
                      <a:gd name="connsiteY4" fmla="*/ 38466 h 95278"/>
                      <a:gd name="connsiteX5" fmla="*/ 211459 w 215636"/>
                      <a:gd name="connsiteY5" fmla="*/ 88076 h 95278"/>
                      <a:gd name="connsiteX6" fmla="*/ 183920 w 215636"/>
                      <a:gd name="connsiteY6" fmla="*/ 92441 h 95278"/>
                      <a:gd name="connsiteX7" fmla="*/ 86868 w 215636"/>
                      <a:gd name="connsiteY7" fmla="*/ 57149 h 95278"/>
                      <a:gd name="connsiteX8" fmla="*/ 38141 w 215636"/>
                      <a:gd name="connsiteY8" fmla="*/ 86028 h 95278"/>
                      <a:gd name="connsiteX9" fmla="*/ 1348 w 215636"/>
                      <a:gd name="connsiteY9" fmla="*/ 30926 h 95278"/>
                      <a:gd name="connsiteX0" fmla="*/ 1348 w 211519"/>
                      <a:gd name="connsiteY0" fmla="*/ 30926 h 95587"/>
                      <a:gd name="connsiteX1" fmla="*/ 86867 w 211519"/>
                      <a:gd name="connsiteY1" fmla="*/ 0 h 95587"/>
                      <a:gd name="connsiteX2" fmla="*/ 123866 w 211519"/>
                      <a:gd name="connsiteY2" fmla="*/ 26624 h 95587"/>
                      <a:gd name="connsiteX3" fmla="*/ 178943 w 211519"/>
                      <a:gd name="connsiteY3" fmla="*/ 41275 h 95587"/>
                      <a:gd name="connsiteX4" fmla="*/ 211459 w 211519"/>
                      <a:gd name="connsiteY4" fmla="*/ 88076 h 95587"/>
                      <a:gd name="connsiteX5" fmla="*/ 183920 w 211519"/>
                      <a:gd name="connsiteY5" fmla="*/ 92441 h 95587"/>
                      <a:gd name="connsiteX6" fmla="*/ 86868 w 211519"/>
                      <a:gd name="connsiteY6" fmla="*/ 57149 h 95587"/>
                      <a:gd name="connsiteX7" fmla="*/ 38141 w 211519"/>
                      <a:gd name="connsiteY7" fmla="*/ 86028 h 95587"/>
                      <a:gd name="connsiteX8" fmla="*/ 1348 w 211519"/>
                      <a:gd name="connsiteY8" fmla="*/ 30926 h 95587"/>
                      <a:gd name="connsiteX0" fmla="*/ 1348 w 191731"/>
                      <a:gd name="connsiteY0" fmla="*/ 30926 h 92441"/>
                      <a:gd name="connsiteX1" fmla="*/ 86867 w 191731"/>
                      <a:gd name="connsiteY1" fmla="*/ 0 h 92441"/>
                      <a:gd name="connsiteX2" fmla="*/ 123866 w 191731"/>
                      <a:gd name="connsiteY2" fmla="*/ 26624 h 92441"/>
                      <a:gd name="connsiteX3" fmla="*/ 178943 w 191731"/>
                      <a:gd name="connsiteY3" fmla="*/ 41275 h 92441"/>
                      <a:gd name="connsiteX4" fmla="*/ 183920 w 191731"/>
                      <a:gd name="connsiteY4" fmla="*/ 92441 h 92441"/>
                      <a:gd name="connsiteX5" fmla="*/ 86868 w 191731"/>
                      <a:gd name="connsiteY5" fmla="*/ 57149 h 92441"/>
                      <a:gd name="connsiteX6" fmla="*/ 38141 w 191731"/>
                      <a:gd name="connsiteY6" fmla="*/ 86028 h 92441"/>
                      <a:gd name="connsiteX7" fmla="*/ 1348 w 191731"/>
                      <a:gd name="connsiteY7" fmla="*/ 30926 h 92441"/>
                      <a:gd name="connsiteX0" fmla="*/ 1348 w 187823"/>
                      <a:gd name="connsiteY0" fmla="*/ 30926 h 93844"/>
                      <a:gd name="connsiteX1" fmla="*/ 86867 w 187823"/>
                      <a:gd name="connsiteY1" fmla="*/ 0 h 93844"/>
                      <a:gd name="connsiteX2" fmla="*/ 123866 w 187823"/>
                      <a:gd name="connsiteY2" fmla="*/ 26624 h 93844"/>
                      <a:gd name="connsiteX3" fmla="*/ 178943 w 187823"/>
                      <a:gd name="connsiteY3" fmla="*/ 41275 h 93844"/>
                      <a:gd name="connsiteX4" fmla="*/ 183920 w 187823"/>
                      <a:gd name="connsiteY4" fmla="*/ 92441 h 93844"/>
                      <a:gd name="connsiteX5" fmla="*/ 124559 w 187823"/>
                      <a:gd name="connsiteY5" fmla="*/ 81554 h 93844"/>
                      <a:gd name="connsiteX6" fmla="*/ 86868 w 187823"/>
                      <a:gd name="connsiteY6" fmla="*/ 57149 h 93844"/>
                      <a:gd name="connsiteX7" fmla="*/ 38141 w 187823"/>
                      <a:gd name="connsiteY7" fmla="*/ 86028 h 93844"/>
                      <a:gd name="connsiteX8" fmla="*/ 1348 w 187823"/>
                      <a:gd name="connsiteY8" fmla="*/ 30926 h 93844"/>
                      <a:gd name="connsiteX0" fmla="*/ 1348 w 182367"/>
                      <a:gd name="connsiteY0" fmla="*/ 30926 h 86450"/>
                      <a:gd name="connsiteX1" fmla="*/ 86867 w 182367"/>
                      <a:gd name="connsiteY1" fmla="*/ 0 h 86450"/>
                      <a:gd name="connsiteX2" fmla="*/ 123866 w 182367"/>
                      <a:gd name="connsiteY2" fmla="*/ 26624 h 86450"/>
                      <a:gd name="connsiteX3" fmla="*/ 178943 w 182367"/>
                      <a:gd name="connsiteY3" fmla="*/ 41275 h 86450"/>
                      <a:gd name="connsiteX4" fmla="*/ 168045 w 182367"/>
                      <a:gd name="connsiteY4" fmla="*/ 70216 h 86450"/>
                      <a:gd name="connsiteX5" fmla="*/ 124559 w 182367"/>
                      <a:gd name="connsiteY5" fmla="*/ 81554 h 86450"/>
                      <a:gd name="connsiteX6" fmla="*/ 86868 w 182367"/>
                      <a:gd name="connsiteY6" fmla="*/ 57149 h 86450"/>
                      <a:gd name="connsiteX7" fmla="*/ 38141 w 182367"/>
                      <a:gd name="connsiteY7" fmla="*/ 86028 h 86450"/>
                      <a:gd name="connsiteX8" fmla="*/ 1348 w 182367"/>
                      <a:gd name="connsiteY8" fmla="*/ 30926 h 86450"/>
                      <a:gd name="connsiteX0" fmla="*/ 5340 w 151434"/>
                      <a:gd name="connsiteY0" fmla="*/ 18226 h 86870"/>
                      <a:gd name="connsiteX1" fmla="*/ 55934 w 151434"/>
                      <a:gd name="connsiteY1" fmla="*/ 0 h 86870"/>
                      <a:gd name="connsiteX2" fmla="*/ 92933 w 151434"/>
                      <a:gd name="connsiteY2" fmla="*/ 26624 h 86870"/>
                      <a:gd name="connsiteX3" fmla="*/ 148010 w 151434"/>
                      <a:gd name="connsiteY3" fmla="*/ 41275 h 86870"/>
                      <a:gd name="connsiteX4" fmla="*/ 137112 w 151434"/>
                      <a:gd name="connsiteY4" fmla="*/ 70216 h 86870"/>
                      <a:gd name="connsiteX5" fmla="*/ 93626 w 151434"/>
                      <a:gd name="connsiteY5" fmla="*/ 81554 h 86870"/>
                      <a:gd name="connsiteX6" fmla="*/ 55935 w 151434"/>
                      <a:gd name="connsiteY6" fmla="*/ 57149 h 86870"/>
                      <a:gd name="connsiteX7" fmla="*/ 7208 w 151434"/>
                      <a:gd name="connsiteY7" fmla="*/ 86028 h 86870"/>
                      <a:gd name="connsiteX8" fmla="*/ 5340 w 151434"/>
                      <a:gd name="connsiteY8" fmla="*/ 18226 h 86870"/>
                      <a:gd name="connsiteX0" fmla="*/ 869 w 146963"/>
                      <a:gd name="connsiteY0" fmla="*/ 18226 h 83131"/>
                      <a:gd name="connsiteX1" fmla="*/ 51463 w 146963"/>
                      <a:gd name="connsiteY1" fmla="*/ 0 h 83131"/>
                      <a:gd name="connsiteX2" fmla="*/ 88462 w 146963"/>
                      <a:gd name="connsiteY2" fmla="*/ 26624 h 83131"/>
                      <a:gd name="connsiteX3" fmla="*/ 143539 w 146963"/>
                      <a:gd name="connsiteY3" fmla="*/ 41275 h 83131"/>
                      <a:gd name="connsiteX4" fmla="*/ 132641 w 146963"/>
                      <a:gd name="connsiteY4" fmla="*/ 70216 h 83131"/>
                      <a:gd name="connsiteX5" fmla="*/ 89155 w 146963"/>
                      <a:gd name="connsiteY5" fmla="*/ 81554 h 83131"/>
                      <a:gd name="connsiteX6" fmla="*/ 51464 w 146963"/>
                      <a:gd name="connsiteY6" fmla="*/ 57149 h 83131"/>
                      <a:gd name="connsiteX7" fmla="*/ 21787 w 146963"/>
                      <a:gd name="connsiteY7" fmla="*/ 70153 h 83131"/>
                      <a:gd name="connsiteX8" fmla="*/ 869 w 146963"/>
                      <a:gd name="connsiteY8" fmla="*/ 18226 h 831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46963" h="83131">
                        <a:moveTo>
                          <a:pt x="869" y="18226"/>
                        </a:moveTo>
                        <a:cubicBezTo>
                          <a:pt x="5815" y="6534"/>
                          <a:pt x="26281" y="20825"/>
                          <a:pt x="51463" y="0"/>
                        </a:cubicBezTo>
                        <a:cubicBezTo>
                          <a:pt x="82995" y="1400"/>
                          <a:pt x="73116" y="19745"/>
                          <a:pt x="88462" y="26624"/>
                        </a:cubicBezTo>
                        <a:cubicBezTo>
                          <a:pt x="103808" y="33503"/>
                          <a:pt x="133530" y="30306"/>
                          <a:pt x="143539" y="41275"/>
                        </a:cubicBezTo>
                        <a:cubicBezTo>
                          <a:pt x="153548" y="52245"/>
                          <a:pt x="139059" y="65090"/>
                          <a:pt x="132641" y="70216"/>
                        </a:cubicBezTo>
                        <a:cubicBezTo>
                          <a:pt x="126223" y="75342"/>
                          <a:pt x="105330" y="87436"/>
                          <a:pt x="89155" y="81554"/>
                        </a:cubicBezTo>
                        <a:cubicBezTo>
                          <a:pt x="72980" y="75672"/>
                          <a:pt x="68513" y="54816"/>
                          <a:pt x="51464" y="57149"/>
                        </a:cubicBezTo>
                        <a:cubicBezTo>
                          <a:pt x="34415" y="59482"/>
                          <a:pt x="30220" y="76640"/>
                          <a:pt x="21787" y="70153"/>
                        </a:cubicBezTo>
                        <a:cubicBezTo>
                          <a:pt x="13355" y="63666"/>
                          <a:pt x="-4077" y="29918"/>
                          <a:pt x="869" y="1822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 dirty="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5" name="Oval 85"/>
                  <p:cNvSpPr/>
                  <p:nvPr/>
                </p:nvSpPr>
                <p:spPr>
                  <a:xfrm rot="16200000">
                    <a:off x="5956455" y="4643579"/>
                    <a:ext cx="58195" cy="116660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  <a:gd name="connsiteX0" fmla="*/ 149 w 97748"/>
                      <a:gd name="connsiteY0" fmla="*/ 59088 h 116850"/>
                      <a:gd name="connsiteX1" fmla="*/ 42536 w 97748"/>
                      <a:gd name="connsiteY1" fmla="*/ 46833 h 116850"/>
                      <a:gd name="connsiteX2" fmla="*/ 40117 w 97748"/>
                      <a:gd name="connsiteY2" fmla="*/ 814 h 116850"/>
                      <a:gd name="connsiteX3" fmla="*/ 89610 w 97748"/>
                      <a:gd name="connsiteY3" fmla="*/ 36863 h 116850"/>
                      <a:gd name="connsiteX4" fmla="*/ 83811 w 97748"/>
                      <a:gd name="connsiteY4" fmla="*/ 100809 h 116850"/>
                      <a:gd name="connsiteX5" fmla="*/ 30592 w 97748"/>
                      <a:gd name="connsiteY5" fmla="*/ 114190 h 116850"/>
                      <a:gd name="connsiteX6" fmla="*/ 149 w 97748"/>
                      <a:gd name="connsiteY6" fmla="*/ 59088 h 116850"/>
                      <a:gd name="connsiteX0" fmla="*/ 1 w 97600"/>
                      <a:gd name="connsiteY0" fmla="*/ 58340 h 116102"/>
                      <a:gd name="connsiteX1" fmla="*/ 29688 w 97600"/>
                      <a:gd name="connsiteY1" fmla="*/ 42910 h 116102"/>
                      <a:gd name="connsiteX2" fmla="*/ 39969 w 97600"/>
                      <a:gd name="connsiteY2" fmla="*/ 66 h 116102"/>
                      <a:gd name="connsiteX3" fmla="*/ 89462 w 97600"/>
                      <a:gd name="connsiteY3" fmla="*/ 36115 h 116102"/>
                      <a:gd name="connsiteX4" fmla="*/ 83663 w 97600"/>
                      <a:gd name="connsiteY4" fmla="*/ 100061 h 116102"/>
                      <a:gd name="connsiteX5" fmla="*/ 30444 w 97600"/>
                      <a:gd name="connsiteY5" fmla="*/ 113442 h 116102"/>
                      <a:gd name="connsiteX6" fmla="*/ 1 w 97600"/>
                      <a:gd name="connsiteY6" fmla="*/ 58340 h 116102"/>
                      <a:gd name="connsiteX0" fmla="*/ 1 w 83713"/>
                      <a:gd name="connsiteY0" fmla="*/ 59937 h 118867"/>
                      <a:gd name="connsiteX1" fmla="*/ 29688 w 83713"/>
                      <a:gd name="connsiteY1" fmla="*/ 44507 h 118867"/>
                      <a:gd name="connsiteX2" fmla="*/ 39969 w 83713"/>
                      <a:gd name="connsiteY2" fmla="*/ 1663 h 118867"/>
                      <a:gd name="connsiteX3" fmla="*/ 83663 w 83713"/>
                      <a:gd name="connsiteY3" fmla="*/ 101658 h 118867"/>
                      <a:gd name="connsiteX4" fmla="*/ 30444 w 83713"/>
                      <a:gd name="connsiteY4" fmla="*/ 115039 h 118867"/>
                      <a:gd name="connsiteX5" fmla="*/ 1 w 83713"/>
                      <a:gd name="connsiteY5" fmla="*/ 59937 h 118867"/>
                      <a:gd name="connsiteX0" fmla="*/ 1 w 84357"/>
                      <a:gd name="connsiteY0" fmla="*/ 59289 h 116429"/>
                      <a:gd name="connsiteX1" fmla="*/ 29688 w 84357"/>
                      <a:gd name="connsiteY1" fmla="*/ 43859 h 116429"/>
                      <a:gd name="connsiteX2" fmla="*/ 39969 w 84357"/>
                      <a:gd name="connsiteY2" fmla="*/ 1015 h 116429"/>
                      <a:gd name="connsiteX3" fmla="*/ 29910 w 84357"/>
                      <a:gd name="connsiteY3" fmla="*/ 86040 h 116429"/>
                      <a:gd name="connsiteX4" fmla="*/ 83663 w 84357"/>
                      <a:gd name="connsiteY4" fmla="*/ 101010 h 116429"/>
                      <a:gd name="connsiteX5" fmla="*/ 30444 w 84357"/>
                      <a:gd name="connsiteY5" fmla="*/ 114391 h 116429"/>
                      <a:gd name="connsiteX6" fmla="*/ 1 w 84357"/>
                      <a:gd name="connsiteY6" fmla="*/ 59289 h 116429"/>
                      <a:gd name="connsiteX0" fmla="*/ 1 w 58923"/>
                      <a:gd name="connsiteY0" fmla="*/ 59289 h 116890"/>
                      <a:gd name="connsiteX1" fmla="*/ 29688 w 58923"/>
                      <a:gd name="connsiteY1" fmla="*/ 43859 h 116890"/>
                      <a:gd name="connsiteX2" fmla="*/ 39969 w 58923"/>
                      <a:gd name="connsiteY2" fmla="*/ 1015 h 116890"/>
                      <a:gd name="connsiteX3" fmla="*/ 29910 w 58923"/>
                      <a:gd name="connsiteY3" fmla="*/ 86040 h 116890"/>
                      <a:gd name="connsiteX4" fmla="*/ 57689 w 58923"/>
                      <a:gd name="connsiteY4" fmla="*/ 103395 h 116890"/>
                      <a:gd name="connsiteX5" fmla="*/ 30444 w 58923"/>
                      <a:gd name="connsiteY5" fmla="*/ 114391 h 116890"/>
                      <a:gd name="connsiteX6" fmla="*/ 1 w 58923"/>
                      <a:gd name="connsiteY6" fmla="*/ 59289 h 116890"/>
                      <a:gd name="connsiteX0" fmla="*/ 1 w 57689"/>
                      <a:gd name="connsiteY0" fmla="*/ 59289 h 116890"/>
                      <a:gd name="connsiteX1" fmla="*/ 29688 w 57689"/>
                      <a:gd name="connsiteY1" fmla="*/ 43859 h 116890"/>
                      <a:gd name="connsiteX2" fmla="*/ 39969 w 57689"/>
                      <a:gd name="connsiteY2" fmla="*/ 1015 h 116890"/>
                      <a:gd name="connsiteX3" fmla="*/ 29910 w 57689"/>
                      <a:gd name="connsiteY3" fmla="*/ 86040 h 116890"/>
                      <a:gd name="connsiteX4" fmla="*/ 57689 w 57689"/>
                      <a:gd name="connsiteY4" fmla="*/ 103395 h 116890"/>
                      <a:gd name="connsiteX5" fmla="*/ 30444 w 57689"/>
                      <a:gd name="connsiteY5" fmla="*/ 114391 h 116890"/>
                      <a:gd name="connsiteX6" fmla="*/ 1 w 57689"/>
                      <a:gd name="connsiteY6" fmla="*/ 59289 h 11689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7689" h="116890">
                        <a:moveTo>
                          <a:pt x="1" y="59289"/>
                        </a:moveTo>
                        <a:cubicBezTo>
                          <a:pt x="-125" y="47534"/>
                          <a:pt x="24614" y="62568"/>
                          <a:pt x="29688" y="43859"/>
                        </a:cubicBezTo>
                        <a:cubicBezTo>
                          <a:pt x="34762" y="25150"/>
                          <a:pt x="39932" y="-6015"/>
                          <a:pt x="39969" y="1015"/>
                        </a:cubicBezTo>
                        <a:cubicBezTo>
                          <a:pt x="40006" y="8045"/>
                          <a:pt x="22628" y="69374"/>
                          <a:pt x="29910" y="86040"/>
                        </a:cubicBezTo>
                        <a:cubicBezTo>
                          <a:pt x="37192" y="102706"/>
                          <a:pt x="39102" y="88335"/>
                          <a:pt x="57689" y="103395"/>
                        </a:cubicBezTo>
                        <a:cubicBezTo>
                          <a:pt x="50301" y="111301"/>
                          <a:pt x="40059" y="121742"/>
                          <a:pt x="30444" y="114391"/>
                        </a:cubicBezTo>
                        <a:cubicBezTo>
                          <a:pt x="20829" y="107040"/>
                          <a:pt x="127" y="71044"/>
                          <a:pt x="1" y="5928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6" name="Oval 85"/>
                  <p:cNvSpPr/>
                  <p:nvPr/>
                </p:nvSpPr>
                <p:spPr>
                  <a:xfrm rot="9831496">
                    <a:off x="6126204" y="4421263"/>
                    <a:ext cx="104880" cy="144281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  <a:gd name="connsiteX0" fmla="*/ 149 w 97748"/>
                      <a:gd name="connsiteY0" fmla="*/ 59088 h 116850"/>
                      <a:gd name="connsiteX1" fmla="*/ 42536 w 97748"/>
                      <a:gd name="connsiteY1" fmla="*/ 46833 h 116850"/>
                      <a:gd name="connsiteX2" fmla="*/ 40117 w 97748"/>
                      <a:gd name="connsiteY2" fmla="*/ 814 h 116850"/>
                      <a:gd name="connsiteX3" fmla="*/ 89610 w 97748"/>
                      <a:gd name="connsiteY3" fmla="*/ 36863 h 116850"/>
                      <a:gd name="connsiteX4" fmla="*/ 83811 w 97748"/>
                      <a:gd name="connsiteY4" fmla="*/ 100809 h 116850"/>
                      <a:gd name="connsiteX5" fmla="*/ 30592 w 97748"/>
                      <a:gd name="connsiteY5" fmla="*/ 114190 h 116850"/>
                      <a:gd name="connsiteX6" fmla="*/ 149 w 97748"/>
                      <a:gd name="connsiteY6" fmla="*/ 59088 h 116850"/>
                      <a:gd name="connsiteX0" fmla="*/ 1 w 97600"/>
                      <a:gd name="connsiteY0" fmla="*/ 58340 h 116102"/>
                      <a:gd name="connsiteX1" fmla="*/ 29688 w 97600"/>
                      <a:gd name="connsiteY1" fmla="*/ 42910 h 116102"/>
                      <a:gd name="connsiteX2" fmla="*/ 39969 w 97600"/>
                      <a:gd name="connsiteY2" fmla="*/ 66 h 116102"/>
                      <a:gd name="connsiteX3" fmla="*/ 89462 w 97600"/>
                      <a:gd name="connsiteY3" fmla="*/ 36115 h 116102"/>
                      <a:gd name="connsiteX4" fmla="*/ 83663 w 97600"/>
                      <a:gd name="connsiteY4" fmla="*/ 100061 h 116102"/>
                      <a:gd name="connsiteX5" fmla="*/ 30444 w 97600"/>
                      <a:gd name="connsiteY5" fmla="*/ 113442 h 116102"/>
                      <a:gd name="connsiteX6" fmla="*/ 1 w 97600"/>
                      <a:gd name="connsiteY6" fmla="*/ 58340 h 116102"/>
                      <a:gd name="connsiteX0" fmla="*/ 1 w 122101"/>
                      <a:gd name="connsiteY0" fmla="*/ 59525 h 117287"/>
                      <a:gd name="connsiteX1" fmla="*/ 29688 w 122101"/>
                      <a:gd name="connsiteY1" fmla="*/ 44095 h 117287"/>
                      <a:gd name="connsiteX2" fmla="*/ 39969 w 122101"/>
                      <a:gd name="connsiteY2" fmla="*/ 1251 h 117287"/>
                      <a:gd name="connsiteX3" fmla="*/ 120835 w 122101"/>
                      <a:gd name="connsiteY3" fmla="*/ 23702 h 117287"/>
                      <a:gd name="connsiteX4" fmla="*/ 83663 w 122101"/>
                      <a:gd name="connsiteY4" fmla="*/ 101246 h 117287"/>
                      <a:gd name="connsiteX5" fmla="*/ 30444 w 122101"/>
                      <a:gd name="connsiteY5" fmla="*/ 114627 h 117287"/>
                      <a:gd name="connsiteX6" fmla="*/ 1 w 122101"/>
                      <a:gd name="connsiteY6" fmla="*/ 59525 h 117287"/>
                      <a:gd name="connsiteX0" fmla="*/ 1 w 120835"/>
                      <a:gd name="connsiteY0" fmla="*/ 59525 h 117287"/>
                      <a:gd name="connsiteX1" fmla="*/ 29688 w 120835"/>
                      <a:gd name="connsiteY1" fmla="*/ 44095 h 117287"/>
                      <a:gd name="connsiteX2" fmla="*/ 39969 w 120835"/>
                      <a:gd name="connsiteY2" fmla="*/ 1251 h 117287"/>
                      <a:gd name="connsiteX3" fmla="*/ 120835 w 120835"/>
                      <a:gd name="connsiteY3" fmla="*/ 23702 h 117287"/>
                      <a:gd name="connsiteX4" fmla="*/ 83663 w 120835"/>
                      <a:gd name="connsiteY4" fmla="*/ 101246 h 117287"/>
                      <a:gd name="connsiteX5" fmla="*/ 30444 w 120835"/>
                      <a:gd name="connsiteY5" fmla="*/ 114627 h 117287"/>
                      <a:gd name="connsiteX6" fmla="*/ 1 w 120835"/>
                      <a:gd name="connsiteY6" fmla="*/ 59525 h 117287"/>
                      <a:gd name="connsiteX0" fmla="*/ 1 w 123150"/>
                      <a:gd name="connsiteY0" fmla="*/ 58807 h 116569"/>
                      <a:gd name="connsiteX1" fmla="*/ 29688 w 123150"/>
                      <a:gd name="connsiteY1" fmla="*/ 43377 h 116569"/>
                      <a:gd name="connsiteX2" fmla="*/ 39969 w 123150"/>
                      <a:gd name="connsiteY2" fmla="*/ 533 h 116569"/>
                      <a:gd name="connsiteX3" fmla="*/ 120835 w 123150"/>
                      <a:gd name="connsiteY3" fmla="*/ 22984 h 116569"/>
                      <a:gd name="connsiteX4" fmla="*/ 104570 w 123150"/>
                      <a:gd name="connsiteY4" fmla="*/ 66595 h 116569"/>
                      <a:gd name="connsiteX5" fmla="*/ 83663 w 123150"/>
                      <a:gd name="connsiteY5" fmla="*/ 100528 h 116569"/>
                      <a:gd name="connsiteX6" fmla="*/ 30444 w 123150"/>
                      <a:gd name="connsiteY6" fmla="*/ 113909 h 116569"/>
                      <a:gd name="connsiteX7" fmla="*/ 1 w 123150"/>
                      <a:gd name="connsiteY7" fmla="*/ 58807 h 116569"/>
                      <a:gd name="connsiteX0" fmla="*/ 1 w 122598"/>
                      <a:gd name="connsiteY0" fmla="*/ 58728 h 116490"/>
                      <a:gd name="connsiteX1" fmla="*/ 29688 w 122598"/>
                      <a:gd name="connsiteY1" fmla="*/ 43298 h 116490"/>
                      <a:gd name="connsiteX2" fmla="*/ 39969 w 122598"/>
                      <a:gd name="connsiteY2" fmla="*/ 454 h 116490"/>
                      <a:gd name="connsiteX3" fmla="*/ 120835 w 122598"/>
                      <a:gd name="connsiteY3" fmla="*/ 22905 h 116490"/>
                      <a:gd name="connsiteX4" fmla="*/ 82826 w 122598"/>
                      <a:gd name="connsiteY4" fmla="*/ 49868 h 116490"/>
                      <a:gd name="connsiteX5" fmla="*/ 104570 w 122598"/>
                      <a:gd name="connsiteY5" fmla="*/ 66516 h 116490"/>
                      <a:gd name="connsiteX6" fmla="*/ 83663 w 122598"/>
                      <a:gd name="connsiteY6" fmla="*/ 100449 h 116490"/>
                      <a:gd name="connsiteX7" fmla="*/ 30444 w 122598"/>
                      <a:gd name="connsiteY7" fmla="*/ 113830 h 116490"/>
                      <a:gd name="connsiteX8" fmla="*/ 1 w 122598"/>
                      <a:gd name="connsiteY8" fmla="*/ 58728 h 116490"/>
                      <a:gd name="connsiteX0" fmla="*/ 1 w 122598"/>
                      <a:gd name="connsiteY0" fmla="*/ 58728 h 116490"/>
                      <a:gd name="connsiteX1" fmla="*/ 29688 w 122598"/>
                      <a:gd name="connsiteY1" fmla="*/ 43298 h 116490"/>
                      <a:gd name="connsiteX2" fmla="*/ 39969 w 122598"/>
                      <a:gd name="connsiteY2" fmla="*/ 454 h 116490"/>
                      <a:gd name="connsiteX3" fmla="*/ 120835 w 122598"/>
                      <a:gd name="connsiteY3" fmla="*/ 22905 h 116490"/>
                      <a:gd name="connsiteX4" fmla="*/ 82826 w 122598"/>
                      <a:gd name="connsiteY4" fmla="*/ 49868 h 116490"/>
                      <a:gd name="connsiteX5" fmla="*/ 87606 w 122598"/>
                      <a:gd name="connsiteY5" fmla="*/ 70247 h 116490"/>
                      <a:gd name="connsiteX6" fmla="*/ 83663 w 122598"/>
                      <a:gd name="connsiteY6" fmla="*/ 100449 h 116490"/>
                      <a:gd name="connsiteX7" fmla="*/ 30444 w 122598"/>
                      <a:gd name="connsiteY7" fmla="*/ 113830 h 116490"/>
                      <a:gd name="connsiteX8" fmla="*/ 1 w 122598"/>
                      <a:gd name="connsiteY8" fmla="*/ 58728 h 116490"/>
                      <a:gd name="connsiteX0" fmla="*/ 1 w 254819"/>
                      <a:gd name="connsiteY0" fmla="*/ 58678 h 116440"/>
                      <a:gd name="connsiteX1" fmla="*/ 29688 w 254819"/>
                      <a:gd name="connsiteY1" fmla="*/ 43248 h 116440"/>
                      <a:gd name="connsiteX2" fmla="*/ 39969 w 254819"/>
                      <a:gd name="connsiteY2" fmla="*/ 404 h 116440"/>
                      <a:gd name="connsiteX3" fmla="*/ 120835 w 254819"/>
                      <a:gd name="connsiteY3" fmla="*/ 22855 h 116440"/>
                      <a:gd name="connsiteX4" fmla="*/ 254598 w 254819"/>
                      <a:gd name="connsiteY4" fmla="*/ 76576 h 116440"/>
                      <a:gd name="connsiteX5" fmla="*/ 82826 w 254819"/>
                      <a:gd name="connsiteY5" fmla="*/ 49818 h 116440"/>
                      <a:gd name="connsiteX6" fmla="*/ 87606 w 254819"/>
                      <a:gd name="connsiteY6" fmla="*/ 70197 h 116440"/>
                      <a:gd name="connsiteX7" fmla="*/ 83663 w 254819"/>
                      <a:gd name="connsiteY7" fmla="*/ 100399 h 116440"/>
                      <a:gd name="connsiteX8" fmla="*/ 30444 w 254819"/>
                      <a:gd name="connsiteY8" fmla="*/ 113780 h 116440"/>
                      <a:gd name="connsiteX9" fmla="*/ 1 w 254819"/>
                      <a:gd name="connsiteY9" fmla="*/ 58678 h 116440"/>
                      <a:gd name="connsiteX0" fmla="*/ 1 w 318737"/>
                      <a:gd name="connsiteY0" fmla="*/ 58751 h 116513"/>
                      <a:gd name="connsiteX1" fmla="*/ 29688 w 318737"/>
                      <a:gd name="connsiteY1" fmla="*/ 43321 h 116513"/>
                      <a:gd name="connsiteX2" fmla="*/ 39969 w 318737"/>
                      <a:gd name="connsiteY2" fmla="*/ 477 h 116513"/>
                      <a:gd name="connsiteX3" fmla="*/ 120835 w 318737"/>
                      <a:gd name="connsiteY3" fmla="*/ 22928 h 116513"/>
                      <a:gd name="connsiteX4" fmla="*/ 313807 w 318737"/>
                      <a:gd name="connsiteY4" fmla="*/ 67642 h 116513"/>
                      <a:gd name="connsiteX5" fmla="*/ 254598 w 318737"/>
                      <a:gd name="connsiteY5" fmla="*/ 76649 h 116513"/>
                      <a:gd name="connsiteX6" fmla="*/ 82826 w 318737"/>
                      <a:gd name="connsiteY6" fmla="*/ 49891 h 116513"/>
                      <a:gd name="connsiteX7" fmla="*/ 87606 w 318737"/>
                      <a:gd name="connsiteY7" fmla="*/ 70270 h 116513"/>
                      <a:gd name="connsiteX8" fmla="*/ 83663 w 318737"/>
                      <a:gd name="connsiteY8" fmla="*/ 100472 h 116513"/>
                      <a:gd name="connsiteX9" fmla="*/ 30444 w 318737"/>
                      <a:gd name="connsiteY9" fmla="*/ 113853 h 116513"/>
                      <a:gd name="connsiteX10" fmla="*/ 1 w 318737"/>
                      <a:gd name="connsiteY10" fmla="*/ 58751 h 116513"/>
                      <a:gd name="connsiteX0" fmla="*/ 1 w 322540"/>
                      <a:gd name="connsiteY0" fmla="*/ 58751 h 116513"/>
                      <a:gd name="connsiteX1" fmla="*/ 29688 w 322540"/>
                      <a:gd name="connsiteY1" fmla="*/ 43321 h 116513"/>
                      <a:gd name="connsiteX2" fmla="*/ 39969 w 322540"/>
                      <a:gd name="connsiteY2" fmla="*/ 477 h 116513"/>
                      <a:gd name="connsiteX3" fmla="*/ 120835 w 322540"/>
                      <a:gd name="connsiteY3" fmla="*/ 22928 h 116513"/>
                      <a:gd name="connsiteX4" fmla="*/ 313807 w 322540"/>
                      <a:gd name="connsiteY4" fmla="*/ 67642 h 116513"/>
                      <a:gd name="connsiteX5" fmla="*/ 289018 w 322540"/>
                      <a:gd name="connsiteY5" fmla="*/ 95949 h 116513"/>
                      <a:gd name="connsiteX6" fmla="*/ 82826 w 322540"/>
                      <a:gd name="connsiteY6" fmla="*/ 49891 h 116513"/>
                      <a:gd name="connsiteX7" fmla="*/ 87606 w 322540"/>
                      <a:gd name="connsiteY7" fmla="*/ 70270 h 116513"/>
                      <a:gd name="connsiteX8" fmla="*/ 83663 w 322540"/>
                      <a:gd name="connsiteY8" fmla="*/ 100472 h 116513"/>
                      <a:gd name="connsiteX9" fmla="*/ 30444 w 322540"/>
                      <a:gd name="connsiteY9" fmla="*/ 113853 h 116513"/>
                      <a:gd name="connsiteX10" fmla="*/ 1 w 322540"/>
                      <a:gd name="connsiteY10" fmla="*/ 58751 h 116513"/>
                      <a:gd name="connsiteX0" fmla="*/ 1 w 291145"/>
                      <a:gd name="connsiteY0" fmla="*/ 58669 h 116431"/>
                      <a:gd name="connsiteX1" fmla="*/ 29688 w 291145"/>
                      <a:gd name="connsiteY1" fmla="*/ 43239 h 116431"/>
                      <a:gd name="connsiteX2" fmla="*/ 39969 w 291145"/>
                      <a:gd name="connsiteY2" fmla="*/ 395 h 116431"/>
                      <a:gd name="connsiteX3" fmla="*/ 120835 w 291145"/>
                      <a:gd name="connsiteY3" fmla="*/ 22846 h 116431"/>
                      <a:gd name="connsiteX4" fmla="*/ 188123 w 291145"/>
                      <a:gd name="connsiteY4" fmla="*/ 38576 h 116431"/>
                      <a:gd name="connsiteX5" fmla="*/ 289018 w 291145"/>
                      <a:gd name="connsiteY5" fmla="*/ 95867 h 116431"/>
                      <a:gd name="connsiteX6" fmla="*/ 82826 w 291145"/>
                      <a:gd name="connsiteY6" fmla="*/ 49809 h 116431"/>
                      <a:gd name="connsiteX7" fmla="*/ 87606 w 291145"/>
                      <a:gd name="connsiteY7" fmla="*/ 70188 h 116431"/>
                      <a:gd name="connsiteX8" fmla="*/ 83663 w 291145"/>
                      <a:gd name="connsiteY8" fmla="*/ 100390 h 116431"/>
                      <a:gd name="connsiteX9" fmla="*/ 30444 w 291145"/>
                      <a:gd name="connsiteY9" fmla="*/ 113771 h 116431"/>
                      <a:gd name="connsiteX10" fmla="*/ 1 w 291145"/>
                      <a:gd name="connsiteY10" fmla="*/ 58669 h 116431"/>
                      <a:gd name="connsiteX0" fmla="*/ 1 w 291352"/>
                      <a:gd name="connsiteY0" fmla="*/ 59685 h 117447"/>
                      <a:gd name="connsiteX1" fmla="*/ 29688 w 291352"/>
                      <a:gd name="connsiteY1" fmla="*/ 44255 h 117447"/>
                      <a:gd name="connsiteX2" fmla="*/ 39969 w 291352"/>
                      <a:gd name="connsiteY2" fmla="*/ 1411 h 117447"/>
                      <a:gd name="connsiteX3" fmla="*/ 95065 w 291352"/>
                      <a:gd name="connsiteY3" fmla="*/ 12992 h 117447"/>
                      <a:gd name="connsiteX4" fmla="*/ 188123 w 291352"/>
                      <a:gd name="connsiteY4" fmla="*/ 39592 h 117447"/>
                      <a:gd name="connsiteX5" fmla="*/ 289018 w 291352"/>
                      <a:gd name="connsiteY5" fmla="*/ 96883 h 117447"/>
                      <a:gd name="connsiteX6" fmla="*/ 82826 w 291352"/>
                      <a:gd name="connsiteY6" fmla="*/ 50825 h 117447"/>
                      <a:gd name="connsiteX7" fmla="*/ 87606 w 291352"/>
                      <a:gd name="connsiteY7" fmla="*/ 71204 h 117447"/>
                      <a:gd name="connsiteX8" fmla="*/ 83663 w 291352"/>
                      <a:gd name="connsiteY8" fmla="*/ 101406 h 117447"/>
                      <a:gd name="connsiteX9" fmla="*/ 30444 w 291352"/>
                      <a:gd name="connsiteY9" fmla="*/ 114787 h 117447"/>
                      <a:gd name="connsiteX10" fmla="*/ 1 w 291352"/>
                      <a:gd name="connsiteY10" fmla="*/ 59685 h 117447"/>
                      <a:gd name="connsiteX0" fmla="*/ 1 w 289918"/>
                      <a:gd name="connsiteY0" fmla="*/ 59685 h 117447"/>
                      <a:gd name="connsiteX1" fmla="*/ 29688 w 289918"/>
                      <a:gd name="connsiteY1" fmla="*/ 44255 h 117447"/>
                      <a:gd name="connsiteX2" fmla="*/ 39969 w 289918"/>
                      <a:gd name="connsiteY2" fmla="*/ 1411 h 117447"/>
                      <a:gd name="connsiteX3" fmla="*/ 95065 w 289918"/>
                      <a:gd name="connsiteY3" fmla="*/ 12992 h 117447"/>
                      <a:gd name="connsiteX4" fmla="*/ 188123 w 289918"/>
                      <a:gd name="connsiteY4" fmla="*/ 39592 h 117447"/>
                      <a:gd name="connsiteX5" fmla="*/ 289018 w 289918"/>
                      <a:gd name="connsiteY5" fmla="*/ 96883 h 117447"/>
                      <a:gd name="connsiteX6" fmla="*/ 127072 w 289918"/>
                      <a:gd name="connsiteY6" fmla="*/ 53599 h 117447"/>
                      <a:gd name="connsiteX7" fmla="*/ 82826 w 289918"/>
                      <a:gd name="connsiteY7" fmla="*/ 50825 h 117447"/>
                      <a:gd name="connsiteX8" fmla="*/ 87606 w 289918"/>
                      <a:gd name="connsiteY8" fmla="*/ 71204 h 117447"/>
                      <a:gd name="connsiteX9" fmla="*/ 83663 w 289918"/>
                      <a:gd name="connsiteY9" fmla="*/ 101406 h 117447"/>
                      <a:gd name="connsiteX10" fmla="*/ 30444 w 289918"/>
                      <a:gd name="connsiteY10" fmla="*/ 114787 h 117447"/>
                      <a:gd name="connsiteX11" fmla="*/ 1 w 289918"/>
                      <a:gd name="connsiteY11" fmla="*/ 59685 h 117447"/>
                      <a:gd name="connsiteX0" fmla="*/ 1 w 188527"/>
                      <a:gd name="connsiteY0" fmla="*/ 59685 h 117447"/>
                      <a:gd name="connsiteX1" fmla="*/ 29688 w 188527"/>
                      <a:gd name="connsiteY1" fmla="*/ 44255 h 117447"/>
                      <a:gd name="connsiteX2" fmla="*/ 39969 w 188527"/>
                      <a:gd name="connsiteY2" fmla="*/ 1411 h 117447"/>
                      <a:gd name="connsiteX3" fmla="*/ 95065 w 188527"/>
                      <a:gd name="connsiteY3" fmla="*/ 12992 h 117447"/>
                      <a:gd name="connsiteX4" fmla="*/ 188123 w 188527"/>
                      <a:gd name="connsiteY4" fmla="*/ 39592 h 117447"/>
                      <a:gd name="connsiteX5" fmla="*/ 127072 w 188527"/>
                      <a:gd name="connsiteY5" fmla="*/ 53599 h 117447"/>
                      <a:gd name="connsiteX6" fmla="*/ 82826 w 188527"/>
                      <a:gd name="connsiteY6" fmla="*/ 50825 h 117447"/>
                      <a:gd name="connsiteX7" fmla="*/ 87606 w 188527"/>
                      <a:gd name="connsiteY7" fmla="*/ 71204 h 117447"/>
                      <a:gd name="connsiteX8" fmla="*/ 83663 w 188527"/>
                      <a:gd name="connsiteY8" fmla="*/ 101406 h 117447"/>
                      <a:gd name="connsiteX9" fmla="*/ 30444 w 188527"/>
                      <a:gd name="connsiteY9" fmla="*/ 114787 h 117447"/>
                      <a:gd name="connsiteX10" fmla="*/ 1 w 188527"/>
                      <a:gd name="connsiteY10" fmla="*/ 59685 h 117447"/>
                      <a:gd name="connsiteX0" fmla="*/ 1 w 188166"/>
                      <a:gd name="connsiteY0" fmla="*/ 59685 h 117447"/>
                      <a:gd name="connsiteX1" fmla="*/ 29688 w 188166"/>
                      <a:gd name="connsiteY1" fmla="*/ 44255 h 117447"/>
                      <a:gd name="connsiteX2" fmla="*/ 39969 w 188166"/>
                      <a:gd name="connsiteY2" fmla="*/ 1411 h 117447"/>
                      <a:gd name="connsiteX3" fmla="*/ 95065 w 188166"/>
                      <a:gd name="connsiteY3" fmla="*/ 12992 h 117447"/>
                      <a:gd name="connsiteX4" fmla="*/ 188123 w 188166"/>
                      <a:gd name="connsiteY4" fmla="*/ 39592 h 117447"/>
                      <a:gd name="connsiteX5" fmla="*/ 82826 w 188166"/>
                      <a:gd name="connsiteY5" fmla="*/ 50825 h 117447"/>
                      <a:gd name="connsiteX6" fmla="*/ 87606 w 188166"/>
                      <a:gd name="connsiteY6" fmla="*/ 71204 h 117447"/>
                      <a:gd name="connsiteX7" fmla="*/ 83663 w 188166"/>
                      <a:gd name="connsiteY7" fmla="*/ 101406 h 117447"/>
                      <a:gd name="connsiteX8" fmla="*/ 30444 w 188166"/>
                      <a:gd name="connsiteY8" fmla="*/ 114787 h 117447"/>
                      <a:gd name="connsiteX9" fmla="*/ 1 w 188166"/>
                      <a:gd name="connsiteY9" fmla="*/ 59685 h 117447"/>
                      <a:gd name="connsiteX0" fmla="*/ 1 w 188166"/>
                      <a:gd name="connsiteY0" fmla="*/ 59685 h 117137"/>
                      <a:gd name="connsiteX1" fmla="*/ 29688 w 188166"/>
                      <a:gd name="connsiteY1" fmla="*/ 44255 h 117137"/>
                      <a:gd name="connsiteX2" fmla="*/ 39969 w 188166"/>
                      <a:gd name="connsiteY2" fmla="*/ 1411 h 117137"/>
                      <a:gd name="connsiteX3" fmla="*/ 95065 w 188166"/>
                      <a:gd name="connsiteY3" fmla="*/ 12992 h 117137"/>
                      <a:gd name="connsiteX4" fmla="*/ 188123 w 188166"/>
                      <a:gd name="connsiteY4" fmla="*/ 39592 h 117137"/>
                      <a:gd name="connsiteX5" fmla="*/ 82826 w 188166"/>
                      <a:gd name="connsiteY5" fmla="*/ 50825 h 117137"/>
                      <a:gd name="connsiteX6" fmla="*/ 83663 w 188166"/>
                      <a:gd name="connsiteY6" fmla="*/ 101406 h 117137"/>
                      <a:gd name="connsiteX7" fmla="*/ 30444 w 188166"/>
                      <a:gd name="connsiteY7" fmla="*/ 114787 h 117137"/>
                      <a:gd name="connsiteX8" fmla="*/ 1 w 188166"/>
                      <a:gd name="connsiteY8" fmla="*/ 59685 h 117137"/>
                      <a:gd name="connsiteX0" fmla="*/ 1 w 188160"/>
                      <a:gd name="connsiteY0" fmla="*/ 59685 h 117394"/>
                      <a:gd name="connsiteX1" fmla="*/ 29688 w 188160"/>
                      <a:gd name="connsiteY1" fmla="*/ 44255 h 117394"/>
                      <a:gd name="connsiteX2" fmla="*/ 39969 w 188160"/>
                      <a:gd name="connsiteY2" fmla="*/ 1411 h 117394"/>
                      <a:gd name="connsiteX3" fmla="*/ 95065 w 188160"/>
                      <a:gd name="connsiteY3" fmla="*/ 12992 h 117394"/>
                      <a:gd name="connsiteX4" fmla="*/ 188123 w 188160"/>
                      <a:gd name="connsiteY4" fmla="*/ 39592 h 117394"/>
                      <a:gd name="connsiteX5" fmla="*/ 83663 w 188160"/>
                      <a:gd name="connsiteY5" fmla="*/ 101406 h 117394"/>
                      <a:gd name="connsiteX6" fmla="*/ 30444 w 188160"/>
                      <a:gd name="connsiteY6" fmla="*/ 114787 h 117394"/>
                      <a:gd name="connsiteX7" fmla="*/ 1 w 188160"/>
                      <a:gd name="connsiteY7" fmla="*/ 59685 h 117394"/>
                      <a:gd name="connsiteX0" fmla="*/ 1 w 95135"/>
                      <a:gd name="connsiteY0" fmla="*/ 59731 h 117440"/>
                      <a:gd name="connsiteX1" fmla="*/ 29688 w 95135"/>
                      <a:gd name="connsiteY1" fmla="*/ 44301 h 117440"/>
                      <a:gd name="connsiteX2" fmla="*/ 39969 w 95135"/>
                      <a:gd name="connsiteY2" fmla="*/ 1457 h 117440"/>
                      <a:gd name="connsiteX3" fmla="*/ 95065 w 95135"/>
                      <a:gd name="connsiteY3" fmla="*/ 13038 h 117440"/>
                      <a:gd name="connsiteX4" fmla="*/ 52230 w 95135"/>
                      <a:gd name="connsiteY4" fmla="*/ 42720 h 117440"/>
                      <a:gd name="connsiteX5" fmla="*/ 83663 w 95135"/>
                      <a:gd name="connsiteY5" fmla="*/ 101452 h 117440"/>
                      <a:gd name="connsiteX6" fmla="*/ 30444 w 95135"/>
                      <a:gd name="connsiteY6" fmla="*/ 114833 h 117440"/>
                      <a:gd name="connsiteX7" fmla="*/ 1 w 95135"/>
                      <a:gd name="connsiteY7" fmla="*/ 59731 h 117440"/>
                      <a:gd name="connsiteX0" fmla="*/ 1 w 95135"/>
                      <a:gd name="connsiteY0" fmla="*/ 59731 h 117440"/>
                      <a:gd name="connsiteX1" fmla="*/ 29688 w 95135"/>
                      <a:gd name="connsiteY1" fmla="*/ 44301 h 117440"/>
                      <a:gd name="connsiteX2" fmla="*/ 39969 w 95135"/>
                      <a:gd name="connsiteY2" fmla="*/ 1457 h 117440"/>
                      <a:gd name="connsiteX3" fmla="*/ 95065 w 95135"/>
                      <a:gd name="connsiteY3" fmla="*/ 13038 h 117440"/>
                      <a:gd name="connsiteX4" fmla="*/ 52230 w 95135"/>
                      <a:gd name="connsiteY4" fmla="*/ 42720 h 117440"/>
                      <a:gd name="connsiteX5" fmla="*/ 83663 w 95135"/>
                      <a:gd name="connsiteY5" fmla="*/ 101452 h 117440"/>
                      <a:gd name="connsiteX6" fmla="*/ 30444 w 95135"/>
                      <a:gd name="connsiteY6" fmla="*/ 114833 h 117440"/>
                      <a:gd name="connsiteX7" fmla="*/ 1 w 95135"/>
                      <a:gd name="connsiteY7" fmla="*/ 59731 h 117440"/>
                      <a:gd name="connsiteX0" fmla="*/ 1 w 95141"/>
                      <a:gd name="connsiteY0" fmla="*/ 59731 h 118943"/>
                      <a:gd name="connsiteX1" fmla="*/ 29688 w 95141"/>
                      <a:gd name="connsiteY1" fmla="*/ 44301 h 118943"/>
                      <a:gd name="connsiteX2" fmla="*/ 39969 w 95141"/>
                      <a:gd name="connsiteY2" fmla="*/ 1457 h 118943"/>
                      <a:gd name="connsiteX3" fmla="*/ 95065 w 95141"/>
                      <a:gd name="connsiteY3" fmla="*/ 13038 h 118943"/>
                      <a:gd name="connsiteX4" fmla="*/ 52230 w 95141"/>
                      <a:gd name="connsiteY4" fmla="*/ 42720 h 118943"/>
                      <a:gd name="connsiteX5" fmla="*/ 64063 w 95141"/>
                      <a:gd name="connsiteY5" fmla="*/ 106515 h 118943"/>
                      <a:gd name="connsiteX6" fmla="*/ 30444 w 95141"/>
                      <a:gd name="connsiteY6" fmla="*/ 114833 h 118943"/>
                      <a:gd name="connsiteX7" fmla="*/ 1 w 95141"/>
                      <a:gd name="connsiteY7" fmla="*/ 59731 h 1189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95141" h="118943">
                        <a:moveTo>
                          <a:pt x="1" y="59731"/>
                        </a:moveTo>
                        <a:cubicBezTo>
                          <a:pt x="-125" y="47976"/>
                          <a:pt x="24614" y="63010"/>
                          <a:pt x="29688" y="44301"/>
                        </a:cubicBezTo>
                        <a:cubicBezTo>
                          <a:pt x="34762" y="25592"/>
                          <a:pt x="29073" y="6667"/>
                          <a:pt x="39969" y="1457"/>
                        </a:cubicBezTo>
                        <a:cubicBezTo>
                          <a:pt x="50865" y="-3753"/>
                          <a:pt x="93022" y="6161"/>
                          <a:pt x="95065" y="13038"/>
                        </a:cubicBezTo>
                        <a:cubicBezTo>
                          <a:pt x="97108" y="19915"/>
                          <a:pt x="57397" y="27141"/>
                          <a:pt x="52230" y="42720"/>
                        </a:cubicBezTo>
                        <a:cubicBezTo>
                          <a:pt x="47063" y="58299"/>
                          <a:pt x="40877" y="72789"/>
                          <a:pt x="64063" y="106515"/>
                        </a:cubicBezTo>
                        <a:cubicBezTo>
                          <a:pt x="37783" y="119047"/>
                          <a:pt x="41121" y="122630"/>
                          <a:pt x="30444" y="114833"/>
                        </a:cubicBezTo>
                        <a:cubicBezTo>
                          <a:pt x="19767" y="107036"/>
                          <a:pt x="127" y="71486"/>
                          <a:pt x="1" y="597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7" name="Oval 85"/>
                  <p:cNvSpPr/>
                  <p:nvPr/>
                </p:nvSpPr>
                <p:spPr>
                  <a:xfrm rot="16200000">
                    <a:off x="6710699" y="3608314"/>
                    <a:ext cx="61932" cy="77779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  <a:gd name="connsiteX0" fmla="*/ 149 w 97748"/>
                      <a:gd name="connsiteY0" fmla="*/ 59088 h 116850"/>
                      <a:gd name="connsiteX1" fmla="*/ 42536 w 97748"/>
                      <a:gd name="connsiteY1" fmla="*/ 46833 h 116850"/>
                      <a:gd name="connsiteX2" fmla="*/ 40117 w 97748"/>
                      <a:gd name="connsiteY2" fmla="*/ 814 h 116850"/>
                      <a:gd name="connsiteX3" fmla="*/ 89610 w 97748"/>
                      <a:gd name="connsiteY3" fmla="*/ 36863 h 116850"/>
                      <a:gd name="connsiteX4" fmla="*/ 83811 w 97748"/>
                      <a:gd name="connsiteY4" fmla="*/ 100809 h 116850"/>
                      <a:gd name="connsiteX5" fmla="*/ 30592 w 97748"/>
                      <a:gd name="connsiteY5" fmla="*/ 114190 h 116850"/>
                      <a:gd name="connsiteX6" fmla="*/ 149 w 97748"/>
                      <a:gd name="connsiteY6" fmla="*/ 59088 h 116850"/>
                      <a:gd name="connsiteX0" fmla="*/ 1 w 97600"/>
                      <a:gd name="connsiteY0" fmla="*/ 58340 h 116102"/>
                      <a:gd name="connsiteX1" fmla="*/ 29688 w 97600"/>
                      <a:gd name="connsiteY1" fmla="*/ 42910 h 116102"/>
                      <a:gd name="connsiteX2" fmla="*/ 39969 w 97600"/>
                      <a:gd name="connsiteY2" fmla="*/ 66 h 116102"/>
                      <a:gd name="connsiteX3" fmla="*/ 89462 w 97600"/>
                      <a:gd name="connsiteY3" fmla="*/ 36115 h 116102"/>
                      <a:gd name="connsiteX4" fmla="*/ 83663 w 97600"/>
                      <a:gd name="connsiteY4" fmla="*/ 100061 h 116102"/>
                      <a:gd name="connsiteX5" fmla="*/ 30444 w 97600"/>
                      <a:gd name="connsiteY5" fmla="*/ 113442 h 116102"/>
                      <a:gd name="connsiteX6" fmla="*/ 1 w 97600"/>
                      <a:gd name="connsiteY6" fmla="*/ 58340 h 116102"/>
                      <a:gd name="connsiteX0" fmla="*/ 1 w 91180"/>
                      <a:gd name="connsiteY0" fmla="*/ 58340 h 113511"/>
                      <a:gd name="connsiteX1" fmla="*/ 29688 w 91180"/>
                      <a:gd name="connsiteY1" fmla="*/ 42910 h 113511"/>
                      <a:gd name="connsiteX2" fmla="*/ 39969 w 91180"/>
                      <a:gd name="connsiteY2" fmla="*/ 66 h 113511"/>
                      <a:gd name="connsiteX3" fmla="*/ 89462 w 91180"/>
                      <a:gd name="connsiteY3" fmla="*/ 36115 h 113511"/>
                      <a:gd name="connsiteX4" fmla="*/ 59851 w 91180"/>
                      <a:gd name="connsiteY4" fmla="*/ 69104 h 113511"/>
                      <a:gd name="connsiteX5" fmla="*/ 30444 w 91180"/>
                      <a:gd name="connsiteY5" fmla="*/ 113442 h 113511"/>
                      <a:gd name="connsiteX6" fmla="*/ 1 w 91180"/>
                      <a:gd name="connsiteY6" fmla="*/ 58340 h 113511"/>
                      <a:gd name="connsiteX0" fmla="*/ 55 w 91234"/>
                      <a:gd name="connsiteY0" fmla="*/ 58340 h 85238"/>
                      <a:gd name="connsiteX1" fmla="*/ 29742 w 91234"/>
                      <a:gd name="connsiteY1" fmla="*/ 42910 h 85238"/>
                      <a:gd name="connsiteX2" fmla="*/ 40023 w 91234"/>
                      <a:gd name="connsiteY2" fmla="*/ 66 h 85238"/>
                      <a:gd name="connsiteX3" fmla="*/ 89516 w 91234"/>
                      <a:gd name="connsiteY3" fmla="*/ 36115 h 85238"/>
                      <a:gd name="connsiteX4" fmla="*/ 59905 w 91234"/>
                      <a:gd name="connsiteY4" fmla="*/ 69104 h 85238"/>
                      <a:gd name="connsiteX5" fmla="*/ 23355 w 91234"/>
                      <a:gd name="connsiteY5" fmla="*/ 84870 h 85238"/>
                      <a:gd name="connsiteX6" fmla="*/ 55 w 91234"/>
                      <a:gd name="connsiteY6" fmla="*/ 58340 h 85238"/>
                      <a:gd name="connsiteX0" fmla="*/ 55 w 77701"/>
                      <a:gd name="connsiteY0" fmla="*/ 61019 h 87917"/>
                      <a:gd name="connsiteX1" fmla="*/ 29742 w 77701"/>
                      <a:gd name="connsiteY1" fmla="*/ 45589 h 87917"/>
                      <a:gd name="connsiteX2" fmla="*/ 40023 w 77701"/>
                      <a:gd name="connsiteY2" fmla="*/ 2745 h 87917"/>
                      <a:gd name="connsiteX3" fmla="*/ 72848 w 77701"/>
                      <a:gd name="connsiteY3" fmla="*/ 19744 h 87917"/>
                      <a:gd name="connsiteX4" fmla="*/ 59905 w 77701"/>
                      <a:gd name="connsiteY4" fmla="*/ 71783 h 87917"/>
                      <a:gd name="connsiteX5" fmla="*/ 23355 w 77701"/>
                      <a:gd name="connsiteY5" fmla="*/ 87549 h 87917"/>
                      <a:gd name="connsiteX6" fmla="*/ 55 w 77701"/>
                      <a:gd name="connsiteY6" fmla="*/ 61019 h 87917"/>
                      <a:gd name="connsiteX0" fmla="*/ 55 w 77701"/>
                      <a:gd name="connsiteY0" fmla="*/ 61019 h 87653"/>
                      <a:gd name="connsiteX1" fmla="*/ 29742 w 77701"/>
                      <a:gd name="connsiteY1" fmla="*/ 45589 h 87653"/>
                      <a:gd name="connsiteX2" fmla="*/ 40023 w 77701"/>
                      <a:gd name="connsiteY2" fmla="*/ 2745 h 87653"/>
                      <a:gd name="connsiteX3" fmla="*/ 72848 w 77701"/>
                      <a:gd name="connsiteY3" fmla="*/ 19744 h 87653"/>
                      <a:gd name="connsiteX4" fmla="*/ 59905 w 77701"/>
                      <a:gd name="connsiteY4" fmla="*/ 50352 h 87653"/>
                      <a:gd name="connsiteX5" fmla="*/ 23355 w 77701"/>
                      <a:gd name="connsiteY5" fmla="*/ 87549 h 87653"/>
                      <a:gd name="connsiteX6" fmla="*/ 55 w 77701"/>
                      <a:gd name="connsiteY6" fmla="*/ 61019 h 87653"/>
                      <a:gd name="connsiteX0" fmla="*/ 55 w 73842"/>
                      <a:gd name="connsiteY0" fmla="*/ 67065 h 93699"/>
                      <a:gd name="connsiteX1" fmla="*/ 29742 w 73842"/>
                      <a:gd name="connsiteY1" fmla="*/ 51635 h 93699"/>
                      <a:gd name="connsiteX2" fmla="*/ 40023 w 73842"/>
                      <a:gd name="connsiteY2" fmla="*/ 8791 h 93699"/>
                      <a:gd name="connsiteX3" fmla="*/ 65704 w 73842"/>
                      <a:gd name="connsiteY3" fmla="*/ 13884 h 93699"/>
                      <a:gd name="connsiteX4" fmla="*/ 59905 w 73842"/>
                      <a:gd name="connsiteY4" fmla="*/ 56398 h 93699"/>
                      <a:gd name="connsiteX5" fmla="*/ 23355 w 73842"/>
                      <a:gd name="connsiteY5" fmla="*/ 93595 h 93699"/>
                      <a:gd name="connsiteX6" fmla="*/ 55 w 73842"/>
                      <a:gd name="connsiteY6" fmla="*/ 67065 h 93699"/>
                      <a:gd name="connsiteX0" fmla="*/ 55 w 68153"/>
                      <a:gd name="connsiteY0" fmla="*/ 67065 h 109152"/>
                      <a:gd name="connsiteX1" fmla="*/ 29742 w 68153"/>
                      <a:gd name="connsiteY1" fmla="*/ 51635 h 109152"/>
                      <a:gd name="connsiteX2" fmla="*/ 40023 w 68153"/>
                      <a:gd name="connsiteY2" fmla="*/ 8791 h 109152"/>
                      <a:gd name="connsiteX3" fmla="*/ 65704 w 68153"/>
                      <a:gd name="connsiteY3" fmla="*/ 13884 h 109152"/>
                      <a:gd name="connsiteX4" fmla="*/ 59905 w 68153"/>
                      <a:gd name="connsiteY4" fmla="*/ 56398 h 109152"/>
                      <a:gd name="connsiteX5" fmla="*/ 58495 w 68153"/>
                      <a:gd name="connsiteY5" fmla="*/ 107558 h 109152"/>
                      <a:gd name="connsiteX6" fmla="*/ 23355 w 68153"/>
                      <a:gd name="connsiteY6" fmla="*/ 93595 h 109152"/>
                      <a:gd name="connsiteX7" fmla="*/ 55 w 68153"/>
                      <a:gd name="connsiteY7" fmla="*/ 67065 h 109152"/>
                      <a:gd name="connsiteX0" fmla="*/ 55 w 62086"/>
                      <a:gd name="connsiteY0" fmla="*/ 58408 h 100495"/>
                      <a:gd name="connsiteX1" fmla="*/ 29742 w 62086"/>
                      <a:gd name="connsiteY1" fmla="*/ 42978 h 100495"/>
                      <a:gd name="connsiteX2" fmla="*/ 40023 w 62086"/>
                      <a:gd name="connsiteY2" fmla="*/ 134 h 100495"/>
                      <a:gd name="connsiteX3" fmla="*/ 56179 w 62086"/>
                      <a:gd name="connsiteY3" fmla="*/ 33805 h 100495"/>
                      <a:gd name="connsiteX4" fmla="*/ 59905 w 62086"/>
                      <a:gd name="connsiteY4" fmla="*/ 47741 h 100495"/>
                      <a:gd name="connsiteX5" fmla="*/ 58495 w 62086"/>
                      <a:gd name="connsiteY5" fmla="*/ 98901 h 100495"/>
                      <a:gd name="connsiteX6" fmla="*/ 23355 w 62086"/>
                      <a:gd name="connsiteY6" fmla="*/ 84938 h 100495"/>
                      <a:gd name="connsiteX7" fmla="*/ 55 w 62086"/>
                      <a:gd name="connsiteY7" fmla="*/ 58408 h 100495"/>
                      <a:gd name="connsiteX0" fmla="*/ 55 w 62086"/>
                      <a:gd name="connsiteY0" fmla="*/ 36212 h 78299"/>
                      <a:gd name="connsiteX1" fmla="*/ 29742 w 62086"/>
                      <a:gd name="connsiteY1" fmla="*/ 20782 h 78299"/>
                      <a:gd name="connsiteX2" fmla="*/ 35261 w 62086"/>
                      <a:gd name="connsiteY2" fmla="*/ 8897 h 78299"/>
                      <a:gd name="connsiteX3" fmla="*/ 56179 w 62086"/>
                      <a:gd name="connsiteY3" fmla="*/ 11609 h 78299"/>
                      <a:gd name="connsiteX4" fmla="*/ 59905 w 62086"/>
                      <a:gd name="connsiteY4" fmla="*/ 25545 h 78299"/>
                      <a:gd name="connsiteX5" fmla="*/ 58495 w 62086"/>
                      <a:gd name="connsiteY5" fmla="*/ 76705 h 78299"/>
                      <a:gd name="connsiteX6" fmla="*/ 23355 w 62086"/>
                      <a:gd name="connsiteY6" fmla="*/ 62742 h 78299"/>
                      <a:gd name="connsiteX7" fmla="*/ 55 w 62086"/>
                      <a:gd name="connsiteY7" fmla="*/ 36212 h 782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62086" h="78299">
                        <a:moveTo>
                          <a:pt x="55" y="36212"/>
                        </a:moveTo>
                        <a:cubicBezTo>
                          <a:pt x="1120" y="29219"/>
                          <a:pt x="24668" y="39491"/>
                          <a:pt x="29742" y="20782"/>
                        </a:cubicBezTo>
                        <a:cubicBezTo>
                          <a:pt x="34816" y="2073"/>
                          <a:pt x="30855" y="10426"/>
                          <a:pt x="35261" y="8897"/>
                        </a:cubicBezTo>
                        <a:cubicBezTo>
                          <a:pt x="39667" y="7368"/>
                          <a:pt x="49426" y="-11936"/>
                          <a:pt x="56179" y="11609"/>
                        </a:cubicBezTo>
                        <a:cubicBezTo>
                          <a:pt x="62932" y="35154"/>
                          <a:pt x="63488" y="14299"/>
                          <a:pt x="59905" y="25545"/>
                        </a:cubicBezTo>
                        <a:cubicBezTo>
                          <a:pt x="56322" y="36791"/>
                          <a:pt x="64587" y="70506"/>
                          <a:pt x="58495" y="76705"/>
                        </a:cubicBezTo>
                        <a:cubicBezTo>
                          <a:pt x="52403" y="82904"/>
                          <a:pt x="33095" y="69491"/>
                          <a:pt x="23355" y="62742"/>
                        </a:cubicBezTo>
                        <a:cubicBezTo>
                          <a:pt x="13615" y="55993"/>
                          <a:pt x="-1010" y="43205"/>
                          <a:pt x="55" y="362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8" name="Oval 85"/>
                  <p:cNvSpPr/>
                  <p:nvPr/>
                </p:nvSpPr>
                <p:spPr>
                  <a:xfrm rot="16200000">
                    <a:off x="7148003" y="3077124"/>
                    <a:ext cx="60344" cy="46031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  <a:gd name="connsiteX0" fmla="*/ 149 w 97748"/>
                      <a:gd name="connsiteY0" fmla="*/ 59088 h 116850"/>
                      <a:gd name="connsiteX1" fmla="*/ 42536 w 97748"/>
                      <a:gd name="connsiteY1" fmla="*/ 46833 h 116850"/>
                      <a:gd name="connsiteX2" fmla="*/ 40117 w 97748"/>
                      <a:gd name="connsiteY2" fmla="*/ 814 h 116850"/>
                      <a:gd name="connsiteX3" fmla="*/ 89610 w 97748"/>
                      <a:gd name="connsiteY3" fmla="*/ 36863 h 116850"/>
                      <a:gd name="connsiteX4" fmla="*/ 83811 w 97748"/>
                      <a:gd name="connsiteY4" fmla="*/ 100809 h 116850"/>
                      <a:gd name="connsiteX5" fmla="*/ 30592 w 97748"/>
                      <a:gd name="connsiteY5" fmla="*/ 114190 h 116850"/>
                      <a:gd name="connsiteX6" fmla="*/ 149 w 97748"/>
                      <a:gd name="connsiteY6" fmla="*/ 59088 h 116850"/>
                      <a:gd name="connsiteX0" fmla="*/ 1 w 97600"/>
                      <a:gd name="connsiteY0" fmla="*/ 58340 h 116102"/>
                      <a:gd name="connsiteX1" fmla="*/ 29688 w 97600"/>
                      <a:gd name="connsiteY1" fmla="*/ 42910 h 116102"/>
                      <a:gd name="connsiteX2" fmla="*/ 39969 w 97600"/>
                      <a:gd name="connsiteY2" fmla="*/ 66 h 116102"/>
                      <a:gd name="connsiteX3" fmla="*/ 89462 w 97600"/>
                      <a:gd name="connsiteY3" fmla="*/ 36115 h 116102"/>
                      <a:gd name="connsiteX4" fmla="*/ 83663 w 97600"/>
                      <a:gd name="connsiteY4" fmla="*/ 100061 h 116102"/>
                      <a:gd name="connsiteX5" fmla="*/ 30444 w 97600"/>
                      <a:gd name="connsiteY5" fmla="*/ 113442 h 116102"/>
                      <a:gd name="connsiteX6" fmla="*/ 1 w 97600"/>
                      <a:gd name="connsiteY6" fmla="*/ 58340 h 116102"/>
                      <a:gd name="connsiteX0" fmla="*/ 1 w 91180"/>
                      <a:gd name="connsiteY0" fmla="*/ 58340 h 113511"/>
                      <a:gd name="connsiteX1" fmla="*/ 29688 w 91180"/>
                      <a:gd name="connsiteY1" fmla="*/ 42910 h 113511"/>
                      <a:gd name="connsiteX2" fmla="*/ 39969 w 91180"/>
                      <a:gd name="connsiteY2" fmla="*/ 66 h 113511"/>
                      <a:gd name="connsiteX3" fmla="*/ 89462 w 91180"/>
                      <a:gd name="connsiteY3" fmla="*/ 36115 h 113511"/>
                      <a:gd name="connsiteX4" fmla="*/ 59851 w 91180"/>
                      <a:gd name="connsiteY4" fmla="*/ 69104 h 113511"/>
                      <a:gd name="connsiteX5" fmla="*/ 30444 w 91180"/>
                      <a:gd name="connsiteY5" fmla="*/ 113442 h 113511"/>
                      <a:gd name="connsiteX6" fmla="*/ 1 w 91180"/>
                      <a:gd name="connsiteY6" fmla="*/ 58340 h 113511"/>
                      <a:gd name="connsiteX0" fmla="*/ 55 w 91234"/>
                      <a:gd name="connsiteY0" fmla="*/ 58340 h 85238"/>
                      <a:gd name="connsiteX1" fmla="*/ 29742 w 91234"/>
                      <a:gd name="connsiteY1" fmla="*/ 42910 h 85238"/>
                      <a:gd name="connsiteX2" fmla="*/ 40023 w 91234"/>
                      <a:gd name="connsiteY2" fmla="*/ 66 h 85238"/>
                      <a:gd name="connsiteX3" fmla="*/ 89516 w 91234"/>
                      <a:gd name="connsiteY3" fmla="*/ 36115 h 85238"/>
                      <a:gd name="connsiteX4" fmla="*/ 59905 w 91234"/>
                      <a:gd name="connsiteY4" fmla="*/ 69104 h 85238"/>
                      <a:gd name="connsiteX5" fmla="*/ 23355 w 91234"/>
                      <a:gd name="connsiteY5" fmla="*/ 84870 h 85238"/>
                      <a:gd name="connsiteX6" fmla="*/ 55 w 91234"/>
                      <a:gd name="connsiteY6" fmla="*/ 58340 h 85238"/>
                      <a:gd name="connsiteX0" fmla="*/ 55 w 77701"/>
                      <a:gd name="connsiteY0" fmla="*/ 61019 h 87917"/>
                      <a:gd name="connsiteX1" fmla="*/ 29742 w 77701"/>
                      <a:gd name="connsiteY1" fmla="*/ 45589 h 87917"/>
                      <a:gd name="connsiteX2" fmla="*/ 40023 w 77701"/>
                      <a:gd name="connsiteY2" fmla="*/ 2745 h 87917"/>
                      <a:gd name="connsiteX3" fmla="*/ 72848 w 77701"/>
                      <a:gd name="connsiteY3" fmla="*/ 19744 h 87917"/>
                      <a:gd name="connsiteX4" fmla="*/ 59905 w 77701"/>
                      <a:gd name="connsiteY4" fmla="*/ 71783 h 87917"/>
                      <a:gd name="connsiteX5" fmla="*/ 23355 w 77701"/>
                      <a:gd name="connsiteY5" fmla="*/ 87549 h 87917"/>
                      <a:gd name="connsiteX6" fmla="*/ 55 w 77701"/>
                      <a:gd name="connsiteY6" fmla="*/ 61019 h 87917"/>
                      <a:gd name="connsiteX0" fmla="*/ 55 w 77701"/>
                      <a:gd name="connsiteY0" fmla="*/ 61019 h 87653"/>
                      <a:gd name="connsiteX1" fmla="*/ 29742 w 77701"/>
                      <a:gd name="connsiteY1" fmla="*/ 45589 h 87653"/>
                      <a:gd name="connsiteX2" fmla="*/ 40023 w 77701"/>
                      <a:gd name="connsiteY2" fmla="*/ 2745 h 87653"/>
                      <a:gd name="connsiteX3" fmla="*/ 72848 w 77701"/>
                      <a:gd name="connsiteY3" fmla="*/ 19744 h 87653"/>
                      <a:gd name="connsiteX4" fmla="*/ 59905 w 77701"/>
                      <a:gd name="connsiteY4" fmla="*/ 50352 h 87653"/>
                      <a:gd name="connsiteX5" fmla="*/ 23355 w 77701"/>
                      <a:gd name="connsiteY5" fmla="*/ 87549 h 87653"/>
                      <a:gd name="connsiteX6" fmla="*/ 55 w 77701"/>
                      <a:gd name="connsiteY6" fmla="*/ 61019 h 87653"/>
                      <a:gd name="connsiteX0" fmla="*/ 55 w 73842"/>
                      <a:gd name="connsiteY0" fmla="*/ 67065 h 93699"/>
                      <a:gd name="connsiteX1" fmla="*/ 29742 w 73842"/>
                      <a:gd name="connsiteY1" fmla="*/ 51635 h 93699"/>
                      <a:gd name="connsiteX2" fmla="*/ 40023 w 73842"/>
                      <a:gd name="connsiteY2" fmla="*/ 8791 h 93699"/>
                      <a:gd name="connsiteX3" fmla="*/ 65704 w 73842"/>
                      <a:gd name="connsiteY3" fmla="*/ 13884 h 93699"/>
                      <a:gd name="connsiteX4" fmla="*/ 59905 w 73842"/>
                      <a:gd name="connsiteY4" fmla="*/ 56398 h 93699"/>
                      <a:gd name="connsiteX5" fmla="*/ 23355 w 73842"/>
                      <a:gd name="connsiteY5" fmla="*/ 93595 h 93699"/>
                      <a:gd name="connsiteX6" fmla="*/ 55 w 73842"/>
                      <a:gd name="connsiteY6" fmla="*/ 67065 h 93699"/>
                      <a:gd name="connsiteX0" fmla="*/ 55 w 68153"/>
                      <a:gd name="connsiteY0" fmla="*/ 67065 h 109152"/>
                      <a:gd name="connsiteX1" fmla="*/ 29742 w 68153"/>
                      <a:gd name="connsiteY1" fmla="*/ 51635 h 109152"/>
                      <a:gd name="connsiteX2" fmla="*/ 40023 w 68153"/>
                      <a:gd name="connsiteY2" fmla="*/ 8791 h 109152"/>
                      <a:gd name="connsiteX3" fmla="*/ 65704 w 68153"/>
                      <a:gd name="connsiteY3" fmla="*/ 13884 h 109152"/>
                      <a:gd name="connsiteX4" fmla="*/ 59905 w 68153"/>
                      <a:gd name="connsiteY4" fmla="*/ 56398 h 109152"/>
                      <a:gd name="connsiteX5" fmla="*/ 58495 w 68153"/>
                      <a:gd name="connsiteY5" fmla="*/ 107558 h 109152"/>
                      <a:gd name="connsiteX6" fmla="*/ 23355 w 68153"/>
                      <a:gd name="connsiteY6" fmla="*/ 93595 h 109152"/>
                      <a:gd name="connsiteX7" fmla="*/ 55 w 68153"/>
                      <a:gd name="connsiteY7" fmla="*/ 67065 h 109152"/>
                      <a:gd name="connsiteX0" fmla="*/ 55 w 62086"/>
                      <a:gd name="connsiteY0" fmla="*/ 58408 h 100495"/>
                      <a:gd name="connsiteX1" fmla="*/ 29742 w 62086"/>
                      <a:gd name="connsiteY1" fmla="*/ 42978 h 100495"/>
                      <a:gd name="connsiteX2" fmla="*/ 40023 w 62086"/>
                      <a:gd name="connsiteY2" fmla="*/ 134 h 100495"/>
                      <a:gd name="connsiteX3" fmla="*/ 56179 w 62086"/>
                      <a:gd name="connsiteY3" fmla="*/ 33805 h 100495"/>
                      <a:gd name="connsiteX4" fmla="*/ 59905 w 62086"/>
                      <a:gd name="connsiteY4" fmla="*/ 47741 h 100495"/>
                      <a:gd name="connsiteX5" fmla="*/ 58495 w 62086"/>
                      <a:gd name="connsiteY5" fmla="*/ 98901 h 100495"/>
                      <a:gd name="connsiteX6" fmla="*/ 23355 w 62086"/>
                      <a:gd name="connsiteY6" fmla="*/ 84938 h 100495"/>
                      <a:gd name="connsiteX7" fmla="*/ 55 w 62086"/>
                      <a:gd name="connsiteY7" fmla="*/ 58408 h 100495"/>
                      <a:gd name="connsiteX0" fmla="*/ 55 w 62086"/>
                      <a:gd name="connsiteY0" fmla="*/ 36212 h 78299"/>
                      <a:gd name="connsiteX1" fmla="*/ 29742 w 62086"/>
                      <a:gd name="connsiteY1" fmla="*/ 20782 h 78299"/>
                      <a:gd name="connsiteX2" fmla="*/ 35261 w 62086"/>
                      <a:gd name="connsiteY2" fmla="*/ 8897 h 78299"/>
                      <a:gd name="connsiteX3" fmla="*/ 56179 w 62086"/>
                      <a:gd name="connsiteY3" fmla="*/ 11609 h 78299"/>
                      <a:gd name="connsiteX4" fmla="*/ 59905 w 62086"/>
                      <a:gd name="connsiteY4" fmla="*/ 25545 h 78299"/>
                      <a:gd name="connsiteX5" fmla="*/ 58495 w 62086"/>
                      <a:gd name="connsiteY5" fmla="*/ 76705 h 78299"/>
                      <a:gd name="connsiteX6" fmla="*/ 23355 w 62086"/>
                      <a:gd name="connsiteY6" fmla="*/ 62742 h 78299"/>
                      <a:gd name="connsiteX7" fmla="*/ 55 w 62086"/>
                      <a:gd name="connsiteY7" fmla="*/ 36212 h 78299"/>
                      <a:gd name="connsiteX0" fmla="*/ 116 w 62147"/>
                      <a:gd name="connsiteY0" fmla="*/ 36212 h 79817"/>
                      <a:gd name="connsiteX1" fmla="*/ 29803 w 62147"/>
                      <a:gd name="connsiteY1" fmla="*/ 20782 h 79817"/>
                      <a:gd name="connsiteX2" fmla="*/ 35322 w 62147"/>
                      <a:gd name="connsiteY2" fmla="*/ 8897 h 79817"/>
                      <a:gd name="connsiteX3" fmla="*/ 56240 w 62147"/>
                      <a:gd name="connsiteY3" fmla="*/ 11609 h 79817"/>
                      <a:gd name="connsiteX4" fmla="*/ 59966 w 62147"/>
                      <a:gd name="connsiteY4" fmla="*/ 25545 h 79817"/>
                      <a:gd name="connsiteX5" fmla="*/ 58556 w 62147"/>
                      <a:gd name="connsiteY5" fmla="*/ 76705 h 79817"/>
                      <a:gd name="connsiteX6" fmla="*/ 21035 w 62147"/>
                      <a:gd name="connsiteY6" fmla="*/ 72270 h 79817"/>
                      <a:gd name="connsiteX7" fmla="*/ 116 w 62147"/>
                      <a:gd name="connsiteY7" fmla="*/ 36212 h 79817"/>
                      <a:gd name="connsiteX0" fmla="*/ 116 w 61117"/>
                      <a:gd name="connsiteY0" fmla="*/ 30436 h 74041"/>
                      <a:gd name="connsiteX1" fmla="*/ 29803 w 61117"/>
                      <a:gd name="connsiteY1" fmla="*/ 15006 h 74041"/>
                      <a:gd name="connsiteX2" fmla="*/ 35322 w 61117"/>
                      <a:gd name="connsiteY2" fmla="*/ 3121 h 74041"/>
                      <a:gd name="connsiteX3" fmla="*/ 51477 w 61117"/>
                      <a:gd name="connsiteY3" fmla="*/ 41552 h 74041"/>
                      <a:gd name="connsiteX4" fmla="*/ 59966 w 61117"/>
                      <a:gd name="connsiteY4" fmla="*/ 19769 h 74041"/>
                      <a:gd name="connsiteX5" fmla="*/ 58556 w 61117"/>
                      <a:gd name="connsiteY5" fmla="*/ 70929 h 74041"/>
                      <a:gd name="connsiteX6" fmla="*/ 21035 w 61117"/>
                      <a:gd name="connsiteY6" fmla="*/ 66494 h 74041"/>
                      <a:gd name="connsiteX7" fmla="*/ 116 w 61117"/>
                      <a:gd name="connsiteY7" fmla="*/ 30436 h 74041"/>
                      <a:gd name="connsiteX0" fmla="*/ 116 w 61117"/>
                      <a:gd name="connsiteY0" fmla="*/ 21383 h 64988"/>
                      <a:gd name="connsiteX1" fmla="*/ 29803 w 61117"/>
                      <a:gd name="connsiteY1" fmla="*/ 5953 h 64988"/>
                      <a:gd name="connsiteX2" fmla="*/ 32940 w 61117"/>
                      <a:gd name="connsiteY2" fmla="*/ 22643 h 64988"/>
                      <a:gd name="connsiteX3" fmla="*/ 51477 w 61117"/>
                      <a:gd name="connsiteY3" fmla="*/ 32499 h 64988"/>
                      <a:gd name="connsiteX4" fmla="*/ 59966 w 61117"/>
                      <a:gd name="connsiteY4" fmla="*/ 10716 h 64988"/>
                      <a:gd name="connsiteX5" fmla="*/ 58556 w 61117"/>
                      <a:gd name="connsiteY5" fmla="*/ 61876 h 64988"/>
                      <a:gd name="connsiteX6" fmla="*/ 21035 w 61117"/>
                      <a:gd name="connsiteY6" fmla="*/ 57441 h 64988"/>
                      <a:gd name="connsiteX7" fmla="*/ 116 w 61117"/>
                      <a:gd name="connsiteY7" fmla="*/ 21383 h 64988"/>
                      <a:gd name="connsiteX0" fmla="*/ 116 w 60202"/>
                      <a:gd name="connsiteY0" fmla="*/ 21383 h 64083"/>
                      <a:gd name="connsiteX1" fmla="*/ 29803 w 60202"/>
                      <a:gd name="connsiteY1" fmla="*/ 5953 h 64083"/>
                      <a:gd name="connsiteX2" fmla="*/ 32940 w 60202"/>
                      <a:gd name="connsiteY2" fmla="*/ 22643 h 64083"/>
                      <a:gd name="connsiteX3" fmla="*/ 51477 w 60202"/>
                      <a:gd name="connsiteY3" fmla="*/ 32499 h 64083"/>
                      <a:gd name="connsiteX4" fmla="*/ 58556 w 60202"/>
                      <a:gd name="connsiteY4" fmla="*/ 61876 h 64083"/>
                      <a:gd name="connsiteX5" fmla="*/ 21035 w 60202"/>
                      <a:gd name="connsiteY5" fmla="*/ 57441 h 64083"/>
                      <a:gd name="connsiteX6" fmla="*/ 116 w 60202"/>
                      <a:gd name="connsiteY6" fmla="*/ 21383 h 64083"/>
                      <a:gd name="connsiteX0" fmla="*/ 116 w 60202"/>
                      <a:gd name="connsiteY0" fmla="*/ 2664 h 45364"/>
                      <a:gd name="connsiteX1" fmla="*/ 32940 w 60202"/>
                      <a:gd name="connsiteY1" fmla="*/ 3924 h 45364"/>
                      <a:gd name="connsiteX2" fmla="*/ 51477 w 60202"/>
                      <a:gd name="connsiteY2" fmla="*/ 13780 h 45364"/>
                      <a:gd name="connsiteX3" fmla="*/ 58556 w 60202"/>
                      <a:gd name="connsiteY3" fmla="*/ 43157 h 45364"/>
                      <a:gd name="connsiteX4" fmla="*/ 21035 w 60202"/>
                      <a:gd name="connsiteY4" fmla="*/ 38722 h 45364"/>
                      <a:gd name="connsiteX5" fmla="*/ 116 w 60202"/>
                      <a:gd name="connsiteY5" fmla="*/ 2664 h 453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60202" h="45364">
                        <a:moveTo>
                          <a:pt x="116" y="2664"/>
                        </a:moveTo>
                        <a:cubicBezTo>
                          <a:pt x="2100" y="-3136"/>
                          <a:pt x="24380" y="2071"/>
                          <a:pt x="32940" y="3924"/>
                        </a:cubicBezTo>
                        <a:cubicBezTo>
                          <a:pt x="41500" y="5777"/>
                          <a:pt x="47208" y="7241"/>
                          <a:pt x="51477" y="13780"/>
                        </a:cubicBezTo>
                        <a:cubicBezTo>
                          <a:pt x="55746" y="20319"/>
                          <a:pt x="63630" y="39000"/>
                          <a:pt x="58556" y="43157"/>
                        </a:cubicBezTo>
                        <a:cubicBezTo>
                          <a:pt x="53482" y="47314"/>
                          <a:pt x="30775" y="45471"/>
                          <a:pt x="21035" y="38722"/>
                        </a:cubicBezTo>
                        <a:cubicBezTo>
                          <a:pt x="11295" y="31973"/>
                          <a:pt x="-1345" y="11245"/>
                          <a:pt x="116" y="266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9" name="Oval 85"/>
                  <p:cNvSpPr/>
                  <p:nvPr/>
                </p:nvSpPr>
                <p:spPr>
                  <a:xfrm rot="16200000">
                    <a:off x="6741653" y="2535622"/>
                    <a:ext cx="60344" cy="52381"/>
                  </a:xfrm>
                  <a:custGeom>
                    <a:avLst/>
                    <a:gdLst>
                      <a:gd name="connsiteX0" fmla="*/ 0 w 156136"/>
                      <a:gd name="connsiteY0" fmla="*/ 83677 h 167353"/>
                      <a:gd name="connsiteX1" fmla="*/ 78068 w 156136"/>
                      <a:gd name="connsiteY1" fmla="*/ 0 h 167353"/>
                      <a:gd name="connsiteX2" fmla="*/ 156136 w 156136"/>
                      <a:gd name="connsiteY2" fmla="*/ 83677 h 167353"/>
                      <a:gd name="connsiteX3" fmla="*/ 78068 w 156136"/>
                      <a:gd name="connsiteY3" fmla="*/ 167354 h 167353"/>
                      <a:gd name="connsiteX4" fmla="*/ 0 w 156136"/>
                      <a:gd name="connsiteY4" fmla="*/ 83677 h 167353"/>
                      <a:gd name="connsiteX0" fmla="*/ 0 w 108511"/>
                      <a:gd name="connsiteY0" fmla="*/ 112619 h 168616"/>
                      <a:gd name="connsiteX1" fmla="*/ 30443 w 108511"/>
                      <a:gd name="connsiteY1" fmla="*/ 367 h 168616"/>
                      <a:gd name="connsiteX2" fmla="*/ 108511 w 108511"/>
                      <a:gd name="connsiteY2" fmla="*/ 84044 h 168616"/>
                      <a:gd name="connsiteX3" fmla="*/ 30443 w 108511"/>
                      <a:gd name="connsiteY3" fmla="*/ 167721 h 168616"/>
                      <a:gd name="connsiteX4" fmla="*/ 0 w 108511"/>
                      <a:gd name="connsiteY4" fmla="*/ 112619 h 168616"/>
                      <a:gd name="connsiteX0" fmla="*/ 184 w 108695"/>
                      <a:gd name="connsiteY0" fmla="*/ 112383 h 167812"/>
                      <a:gd name="connsiteX1" fmla="*/ 42571 w 108695"/>
                      <a:gd name="connsiteY1" fmla="*/ 100128 h 167812"/>
                      <a:gd name="connsiteX2" fmla="*/ 30627 w 108695"/>
                      <a:gd name="connsiteY2" fmla="*/ 131 h 167812"/>
                      <a:gd name="connsiteX3" fmla="*/ 108695 w 108695"/>
                      <a:gd name="connsiteY3" fmla="*/ 83808 h 167812"/>
                      <a:gd name="connsiteX4" fmla="*/ 30627 w 108695"/>
                      <a:gd name="connsiteY4" fmla="*/ 167485 h 167812"/>
                      <a:gd name="connsiteX5" fmla="*/ 184 w 108695"/>
                      <a:gd name="connsiteY5" fmla="*/ 112383 h 167812"/>
                      <a:gd name="connsiteX0" fmla="*/ 156 w 89617"/>
                      <a:gd name="connsiteY0" fmla="*/ 112297 h 167603"/>
                      <a:gd name="connsiteX1" fmla="*/ 42543 w 89617"/>
                      <a:gd name="connsiteY1" fmla="*/ 100042 h 167603"/>
                      <a:gd name="connsiteX2" fmla="*/ 30599 w 89617"/>
                      <a:gd name="connsiteY2" fmla="*/ 45 h 167603"/>
                      <a:gd name="connsiteX3" fmla="*/ 89617 w 89617"/>
                      <a:gd name="connsiteY3" fmla="*/ 90072 h 167603"/>
                      <a:gd name="connsiteX4" fmla="*/ 30599 w 89617"/>
                      <a:gd name="connsiteY4" fmla="*/ 167399 h 167603"/>
                      <a:gd name="connsiteX5" fmla="*/ 156 w 89617"/>
                      <a:gd name="connsiteY5" fmla="*/ 112297 h 167603"/>
                      <a:gd name="connsiteX0" fmla="*/ 156 w 89617"/>
                      <a:gd name="connsiteY0" fmla="*/ 112585 h 167891"/>
                      <a:gd name="connsiteX1" fmla="*/ 42543 w 89617"/>
                      <a:gd name="connsiteY1" fmla="*/ 100330 h 167891"/>
                      <a:gd name="connsiteX2" fmla="*/ 30599 w 89617"/>
                      <a:gd name="connsiteY2" fmla="*/ 333 h 167891"/>
                      <a:gd name="connsiteX3" fmla="*/ 89617 w 89617"/>
                      <a:gd name="connsiteY3" fmla="*/ 90360 h 167891"/>
                      <a:gd name="connsiteX4" fmla="*/ 30599 w 89617"/>
                      <a:gd name="connsiteY4" fmla="*/ 167687 h 167891"/>
                      <a:gd name="connsiteX5" fmla="*/ 156 w 89617"/>
                      <a:gd name="connsiteY5" fmla="*/ 112585 h 167891"/>
                      <a:gd name="connsiteX0" fmla="*/ 149 w 93336"/>
                      <a:gd name="connsiteY0" fmla="*/ 112487 h 170249"/>
                      <a:gd name="connsiteX1" fmla="*/ 42536 w 93336"/>
                      <a:gd name="connsiteY1" fmla="*/ 100232 h 170249"/>
                      <a:gd name="connsiteX2" fmla="*/ 30592 w 93336"/>
                      <a:gd name="connsiteY2" fmla="*/ 235 h 170249"/>
                      <a:gd name="connsiteX3" fmla="*/ 89610 w 93336"/>
                      <a:gd name="connsiteY3" fmla="*/ 90262 h 170249"/>
                      <a:gd name="connsiteX4" fmla="*/ 83811 w 93336"/>
                      <a:gd name="connsiteY4" fmla="*/ 154208 h 170249"/>
                      <a:gd name="connsiteX5" fmla="*/ 30592 w 93336"/>
                      <a:gd name="connsiteY5" fmla="*/ 167589 h 170249"/>
                      <a:gd name="connsiteX6" fmla="*/ 149 w 93336"/>
                      <a:gd name="connsiteY6" fmla="*/ 112487 h 170249"/>
                      <a:gd name="connsiteX0" fmla="*/ 149 w 97748"/>
                      <a:gd name="connsiteY0" fmla="*/ 112487 h 170249"/>
                      <a:gd name="connsiteX1" fmla="*/ 42536 w 97748"/>
                      <a:gd name="connsiteY1" fmla="*/ 100232 h 170249"/>
                      <a:gd name="connsiteX2" fmla="*/ 30592 w 97748"/>
                      <a:gd name="connsiteY2" fmla="*/ 235 h 170249"/>
                      <a:gd name="connsiteX3" fmla="*/ 89610 w 97748"/>
                      <a:gd name="connsiteY3" fmla="*/ 90262 h 170249"/>
                      <a:gd name="connsiteX4" fmla="*/ 83811 w 97748"/>
                      <a:gd name="connsiteY4" fmla="*/ 154208 h 170249"/>
                      <a:gd name="connsiteX5" fmla="*/ 30592 w 97748"/>
                      <a:gd name="connsiteY5" fmla="*/ 167589 h 170249"/>
                      <a:gd name="connsiteX6" fmla="*/ 149 w 97748"/>
                      <a:gd name="connsiteY6" fmla="*/ 112487 h 170249"/>
                      <a:gd name="connsiteX0" fmla="*/ 149 w 97748"/>
                      <a:gd name="connsiteY0" fmla="*/ 59088 h 116850"/>
                      <a:gd name="connsiteX1" fmla="*/ 42536 w 97748"/>
                      <a:gd name="connsiteY1" fmla="*/ 46833 h 116850"/>
                      <a:gd name="connsiteX2" fmla="*/ 40117 w 97748"/>
                      <a:gd name="connsiteY2" fmla="*/ 814 h 116850"/>
                      <a:gd name="connsiteX3" fmla="*/ 89610 w 97748"/>
                      <a:gd name="connsiteY3" fmla="*/ 36863 h 116850"/>
                      <a:gd name="connsiteX4" fmla="*/ 83811 w 97748"/>
                      <a:gd name="connsiteY4" fmla="*/ 100809 h 116850"/>
                      <a:gd name="connsiteX5" fmla="*/ 30592 w 97748"/>
                      <a:gd name="connsiteY5" fmla="*/ 114190 h 116850"/>
                      <a:gd name="connsiteX6" fmla="*/ 149 w 97748"/>
                      <a:gd name="connsiteY6" fmla="*/ 59088 h 116850"/>
                      <a:gd name="connsiteX0" fmla="*/ 1 w 97600"/>
                      <a:gd name="connsiteY0" fmla="*/ 58340 h 116102"/>
                      <a:gd name="connsiteX1" fmla="*/ 29688 w 97600"/>
                      <a:gd name="connsiteY1" fmla="*/ 42910 h 116102"/>
                      <a:gd name="connsiteX2" fmla="*/ 39969 w 97600"/>
                      <a:gd name="connsiteY2" fmla="*/ 66 h 116102"/>
                      <a:gd name="connsiteX3" fmla="*/ 89462 w 97600"/>
                      <a:gd name="connsiteY3" fmla="*/ 36115 h 116102"/>
                      <a:gd name="connsiteX4" fmla="*/ 83663 w 97600"/>
                      <a:gd name="connsiteY4" fmla="*/ 100061 h 116102"/>
                      <a:gd name="connsiteX5" fmla="*/ 30444 w 97600"/>
                      <a:gd name="connsiteY5" fmla="*/ 113442 h 116102"/>
                      <a:gd name="connsiteX6" fmla="*/ 1 w 97600"/>
                      <a:gd name="connsiteY6" fmla="*/ 58340 h 116102"/>
                      <a:gd name="connsiteX0" fmla="*/ 1 w 91180"/>
                      <a:gd name="connsiteY0" fmla="*/ 58340 h 113511"/>
                      <a:gd name="connsiteX1" fmla="*/ 29688 w 91180"/>
                      <a:gd name="connsiteY1" fmla="*/ 42910 h 113511"/>
                      <a:gd name="connsiteX2" fmla="*/ 39969 w 91180"/>
                      <a:gd name="connsiteY2" fmla="*/ 66 h 113511"/>
                      <a:gd name="connsiteX3" fmla="*/ 89462 w 91180"/>
                      <a:gd name="connsiteY3" fmla="*/ 36115 h 113511"/>
                      <a:gd name="connsiteX4" fmla="*/ 59851 w 91180"/>
                      <a:gd name="connsiteY4" fmla="*/ 69104 h 113511"/>
                      <a:gd name="connsiteX5" fmla="*/ 30444 w 91180"/>
                      <a:gd name="connsiteY5" fmla="*/ 113442 h 113511"/>
                      <a:gd name="connsiteX6" fmla="*/ 1 w 91180"/>
                      <a:gd name="connsiteY6" fmla="*/ 58340 h 113511"/>
                      <a:gd name="connsiteX0" fmla="*/ 55 w 91234"/>
                      <a:gd name="connsiteY0" fmla="*/ 58340 h 85238"/>
                      <a:gd name="connsiteX1" fmla="*/ 29742 w 91234"/>
                      <a:gd name="connsiteY1" fmla="*/ 42910 h 85238"/>
                      <a:gd name="connsiteX2" fmla="*/ 40023 w 91234"/>
                      <a:gd name="connsiteY2" fmla="*/ 66 h 85238"/>
                      <a:gd name="connsiteX3" fmla="*/ 89516 w 91234"/>
                      <a:gd name="connsiteY3" fmla="*/ 36115 h 85238"/>
                      <a:gd name="connsiteX4" fmla="*/ 59905 w 91234"/>
                      <a:gd name="connsiteY4" fmla="*/ 69104 h 85238"/>
                      <a:gd name="connsiteX5" fmla="*/ 23355 w 91234"/>
                      <a:gd name="connsiteY5" fmla="*/ 84870 h 85238"/>
                      <a:gd name="connsiteX6" fmla="*/ 55 w 91234"/>
                      <a:gd name="connsiteY6" fmla="*/ 58340 h 85238"/>
                      <a:gd name="connsiteX0" fmla="*/ 55 w 77701"/>
                      <a:gd name="connsiteY0" fmla="*/ 61019 h 87917"/>
                      <a:gd name="connsiteX1" fmla="*/ 29742 w 77701"/>
                      <a:gd name="connsiteY1" fmla="*/ 45589 h 87917"/>
                      <a:gd name="connsiteX2" fmla="*/ 40023 w 77701"/>
                      <a:gd name="connsiteY2" fmla="*/ 2745 h 87917"/>
                      <a:gd name="connsiteX3" fmla="*/ 72848 w 77701"/>
                      <a:gd name="connsiteY3" fmla="*/ 19744 h 87917"/>
                      <a:gd name="connsiteX4" fmla="*/ 59905 w 77701"/>
                      <a:gd name="connsiteY4" fmla="*/ 71783 h 87917"/>
                      <a:gd name="connsiteX5" fmla="*/ 23355 w 77701"/>
                      <a:gd name="connsiteY5" fmla="*/ 87549 h 87917"/>
                      <a:gd name="connsiteX6" fmla="*/ 55 w 77701"/>
                      <a:gd name="connsiteY6" fmla="*/ 61019 h 87917"/>
                      <a:gd name="connsiteX0" fmla="*/ 55 w 77701"/>
                      <a:gd name="connsiteY0" fmla="*/ 61019 h 87653"/>
                      <a:gd name="connsiteX1" fmla="*/ 29742 w 77701"/>
                      <a:gd name="connsiteY1" fmla="*/ 45589 h 87653"/>
                      <a:gd name="connsiteX2" fmla="*/ 40023 w 77701"/>
                      <a:gd name="connsiteY2" fmla="*/ 2745 h 87653"/>
                      <a:gd name="connsiteX3" fmla="*/ 72848 w 77701"/>
                      <a:gd name="connsiteY3" fmla="*/ 19744 h 87653"/>
                      <a:gd name="connsiteX4" fmla="*/ 59905 w 77701"/>
                      <a:gd name="connsiteY4" fmla="*/ 50352 h 87653"/>
                      <a:gd name="connsiteX5" fmla="*/ 23355 w 77701"/>
                      <a:gd name="connsiteY5" fmla="*/ 87549 h 87653"/>
                      <a:gd name="connsiteX6" fmla="*/ 55 w 77701"/>
                      <a:gd name="connsiteY6" fmla="*/ 61019 h 87653"/>
                      <a:gd name="connsiteX0" fmla="*/ 55 w 73842"/>
                      <a:gd name="connsiteY0" fmla="*/ 67065 h 93699"/>
                      <a:gd name="connsiteX1" fmla="*/ 29742 w 73842"/>
                      <a:gd name="connsiteY1" fmla="*/ 51635 h 93699"/>
                      <a:gd name="connsiteX2" fmla="*/ 40023 w 73842"/>
                      <a:gd name="connsiteY2" fmla="*/ 8791 h 93699"/>
                      <a:gd name="connsiteX3" fmla="*/ 65704 w 73842"/>
                      <a:gd name="connsiteY3" fmla="*/ 13884 h 93699"/>
                      <a:gd name="connsiteX4" fmla="*/ 59905 w 73842"/>
                      <a:gd name="connsiteY4" fmla="*/ 56398 h 93699"/>
                      <a:gd name="connsiteX5" fmla="*/ 23355 w 73842"/>
                      <a:gd name="connsiteY5" fmla="*/ 93595 h 93699"/>
                      <a:gd name="connsiteX6" fmla="*/ 55 w 73842"/>
                      <a:gd name="connsiteY6" fmla="*/ 67065 h 93699"/>
                      <a:gd name="connsiteX0" fmla="*/ 55 w 68153"/>
                      <a:gd name="connsiteY0" fmla="*/ 67065 h 109152"/>
                      <a:gd name="connsiteX1" fmla="*/ 29742 w 68153"/>
                      <a:gd name="connsiteY1" fmla="*/ 51635 h 109152"/>
                      <a:gd name="connsiteX2" fmla="*/ 40023 w 68153"/>
                      <a:gd name="connsiteY2" fmla="*/ 8791 h 109152"/>
                      <a:gd name="connsiteX3" fmla="*/ 65704 w 68153"/>
                      <a:gd name="connsiteY3" fmla="*/ 13884 h 109152"/>
                      <a:gd name="connsiteX4" fmla="*/ 59905 w 68153"/>
                      <a:gd name="connsiteY4" fmla="*/ 56398 h 109152"/>
                      <a:gd name="connsiteX5" fmla="*/ 58495 w 68153"/>
                      <a:gd name="connsiteY5" fmla="*/ 107558 h 109152"/>
                      <a:gd name="connsiteX6" fmla="*/ 23355 w 68153"/>
                      <a:gd name="connsiteY6" fmla="*/ 93595 h 109152"/>
                      <a:gd name="connsiteX7" fmla="*/ 55 w 68153"/>
                      <a:gd name="connsiteY7" fmla="*/ 67065 h 109152"/>
                      <a:gd name="connsiteX0" fmla="*/ 55 w 62086"/>
                      <a:gd name="connsiteY0" fmla="*/ 58408 h 100495"/>
                      <a:gd name="connsiteX1" fmla="*/ 29742 w 62086"/>
                      <a:gd name="connsiteY1" fmla="*/ 42978 h 100495"/>
                      <a:gd name="connsiteX2" fmla="*/ 40023 w 62086"/>
                      <a:gd name="connsiteY2" fmla="*/ 134 h 100495"/>
                      <a:gd name="connsiteX3" fmla="*/ 56179 w 62086"/>
                      <a:gd name="connsiteY3" fmla="*/ 33805 h 100495"/>
                      <a:gd name="connsiteX4" fmla="*/ 59905 w 62086"/>
                      <a:gd name="connsiteY4" fmla="*/ 47741 h 100495"/>
                      <a:gd name="connsiteX5" fmla="*/ 58495 w 62086"/>
                      <a:gd name="connsiteY5" fmla="*/ 98901 h 100495"/>
                      <a:gd name="connsiteX6" fmla="*/ 23355 w 62086"/>
                      <a:gd name="connsiteY6" fmla="*/ 84938 h 100495"/>
                      <a:gd name="connsiteX7" fmla="*/ 55 w 62086"/>
                      <a:gd name="connsiteY7" fmla="*/ 58408 h 100495"/>
                      <a:gd name="connsiteX0" fmla="*/ 55 w 62086"/>
                      <a:gd name="connsiteY0" fmla="*/ 36212 h 78299"/>
                      <a:gd name="connsiteX1" fmla="*/ 29742 w 62086"/>
                      <a:gd name="connsiteY1" fmla="*/ 20782 h 78299"/>
                      <a:gd name="connsiteX2" fmla="*/ 35261 w 62086"/>
                      <a:gd name="connsiteY2" fmla="*/ 8897 h 78299"/>
                      <a:gd name="connsiteX3" fmla="*/ 56179 w 62086"/>
                      <a:gd name="connsiteY3" fmla="*/ 11609 h 78299"/>
                      <a:gd name="connsiteX4" fmla="*/ 59905 w 62086"/>
                      <a:gd name="connsiteY4" fmla="*/ 25545 h 78299"/>
                      <a:gd name="connsiteX5" fmla="*/ 58495 w 62086"/>
                      <a:gd name="connsiteY5" fmla="*/ 76705 h 78299"/>
                      <a:gd name="connsiteX6" fmla="*/ 23355 w 62086"/>
                      <a:gd name="connsiteY6" fmla="*/ 62742 h 78299"/>
                      <a:gd name="connsiteX7" fmla="*/ 55 w 62086"/>
                      <a:gd name="connsiteY7" fmla="*/ 36212 h 78299"/>
                      <a:gd name="connsiteX0" fmla="*/ 116 w 62147"/>
                      <a:gd name="connsiteY0" fmla="*/ 36212 h 79817"/>
                      <a:gd name="connsiteX1" fmla="*/ 29803 w 62147"/>
                      <a:gd name="connsiteY1" fmla="*/ 20782 h 79817"/>
                      <a:gd name="connsiteX2" fmla="*/ 35322 w 62147"/>
                      <a:gd name="connsiteY2" fmla="*/ 8897 h 79817"/>
                      <a:gd name="connsiteX3" fmla="*/ 56240 w 62147"/>
                      <a:gd name="connsiteY3" fmla="*/ 11609 h 79817"/>
                      <a:gd name="connsiteX4" fmla="*/ 59966 w 62147"/>
                      <a:gd name="connsiteY4" fmla="*/ 25545 h 79817"/>
                      <a:gd name="connsiteX5" fmla="*/ 58556 w 62147"/>
                      <a:gd name="connsiteY5" fmla="*/ 76705 h 79817"/>
                      <a:gd name="connsiteX6" fmla="*/ 21035 w 62147"/>
                      <a:gd name="connsiteY6" fmla="*/ 72270 h 79817"/>
                      <a:gd name="connsiteX7" fmla="*/ 116 w 62147"/>
                      <a:gd name="connsiteY7" fmla="*/ 36212 h 79817"/>
                      <a:gd name="connsiteX0" fmla="*/ 116 w 61117"/>
                      <a:gd name="connsiteY0" fmla="*/ 30436 h 74041"/>
                      <a:gd name="connsiteX1" fmla="*/ 29803 w 61117"/>
                      <a:gd name="connsiteY1" fmla="*/ 15006 h 74041"/>
                      <a:gd name="connsiteX2" fmla="*/ 35322 w 61117"/>
                      <a:gd name="connsiteY2" fmla="*/ 3121 h 74041"/>
                      <a:gd name="connsiteX3" fmla="*/ 51477 w 61117"/>
                      <a:gd name="connsiteY3" fmla="*/ 41552 h 74041"/>
                      <a:gd name="connsiteX4" fmla="*/ 59966 w 61117"/>
                      <a:gd name="connsiteY4" fmla="*/ 19769 h 74041"/>
                      <a:gd name="connsiteX5" fmla="*/ 58556 w 61117"/>
                      <a:gd name="connsiteY5" fmla="*/ 70929 h 74041"/>
                      <a:gd name="connsiteX6" fmla="*/ 21035 w 61117"/>
                      <a:gd name="connsiteY6" fmla="*/ 66494 h 74041"/>
                      <a:gd name="connsiteX7" fmla="*/ 116 w 61117"/>
                      <a:gd name="connsiteY7" fmla="*/ 30436 h 74041"/>
                      <a:gd name="connsiteX0" fmla="*/ 116 w 61117"/>
                      <a:gd name="connsiteY0" fmla="*/ 21383 h 64988"/>
                      <a:gd name="connsiteX1" fmla="*/ 29803 w 61117"/>
                      <a:gd name="connsiteY1" fmla="*/ 5953 h 64988"/>
                      <a:gd name="connsiteX2" fmla="*/ 32940 w 61117"/>
                      <a:gd name="connsiteY2" fmla="*/ 22643 h 64988"/>
                      <a:gd name="connsiteX3" fmla="*/ 51477 w 61117"/>
                      <a:gd name="connsiteY3" fmla="*/ 32499 h 64988"/>
                      <a:gd name="connsiteX4" fmla="*/ 59966 w 61117"/>
                      <a:gd name="connsiteY4" fmla="*/ 10716 h 64988"/>
                      <a:gd name="connsiteX5" fmla="*/ 58556 w 61117"/>
                      <a:gd name="connsiteY5" fmla="*/ 61876 h 64988"/>
                      <a:gd name="connsiteX6" fmla="*/ 21035 w 61117"/>
                      <a:gd name="connsiteY6" fmla="*/ 57441 h 64988"/>
                      <a:gd name="connsiteX7" fmla="*/ 116 w 61117"/>
                      <a:gd name="connsiteY7" fmla="*/ 21383 h 64988"/>
                      <a:gd name="connsiteX0" fmla="*/ 116 w 60202"/>
                      <a:gd name="connsiteY0" fmla="*/ 21383 h 64083"/>
                      <a:gd name="connsiteX1" fmla="*/ 29803 w 60202"/>
                      <a:gd name="connsiteY1" fmla="*/ 5953 h 64083"/>
                      <a:gd name="connsiteX2" fmla="*/ 32940 w 60202"/>
                      <a:gd name="connsiteY2" fmla="*/ 22643 h 64083"/>
                      <a:gd name="connsiteX3" fmla="*/ 51477 w 60202"/>
                      <a:gd name="connsiteY3" fmla="*/ 32499 h 64083"/>
                      <a:gd name="connsiteX4" fmla="*/ 58556 w 60202"/>
                      <a:gd name="connsiteY4" fmla="*/ 61876 h 64083"/>
                      <a:gd name="connsiteX5" fmla="*/ 21035 w 60202"/>
                      <a:gd name="connsiteY5" fmla="*/ 57441 h 64083"/>
                      <a:gd name="connsiteX6" fmla="*/ 116 w 60202"/>
                      <a:gd name="connsiteY6" fmla="*/ 21383 h 64083"/>
                      <a:gd name="connsiteX0" fmla="*/ 116 w 60202"/>
                      <a:gd name="connsiteY0" fmla="*/ 2664 h 45364"/>
                      <a:gd name="connsiteX1" fmla="*/ 32940 w 60202"/>
                      <a:gd name="connsiteY1" fmla="*/ 3924 h 45364"/>
                      <a:gd name="connsiteX2" fmla="*/ 51477 w 60202"/>
                      <a:gd name="connsiteY2" fmla="*/ 13780 h 45364"/>
                      <a:gd name="connsiteX3" fmla="*/ 58556 w 60202"/>
                      <a:gd name="connsiteY3" fmla="*/ 43157 h 45364"/>
                      <a:gd name="connsiteX4" fmla="*/ 21035 w 60202"/>
                      <a:gd name="connsiteY4" fmla="*/ 38722 h 45364"/>
                      <a:gd name="connsiteX5" fmla="*/ 116 w 60202"/>
                      <a:gd name="connsiteY5" fmla="*/ 2664 h 45364"/>
                      <a:gd name="connsiteX0" fmla="*/ 116 w 73727"/>
                      <a:gd name="connsiteY0" fmla="*/ 2851 h 45551"/>
                      <a:gd name="connsiteX1" fmla="*/ 32940 w 73727"/>
                      <a:gd name="connsiteY1" fmla="*/ 4111 h 45551"/>
                      <a:gd name="connsiteX2" fmla="*/ 72908 w 73727"/>
                      <a:gd name="connsiteY2" fmla="*/ 18729 h 45551"/>
                      <a:gd name="connsiteX3" fmla="*/ 58556 w 73727"/>
                      <a:gd name="connsiteY3" fmla="*/ 43344 h 45551"/>
                      <a:gd name="connsiteX4" fmla="*/ 21035 w 73727"/>
                      <a:gd name="connsiteY4" fmla="*/ 38909 h 45551"/>
                      <a:gd name="connsiteX5" fmla="*/ 116 w 73727"/>
                      <a:gd name="connsiteY5" fmla="*/ 2851 h 45551"/>
                      <a:gd name="connsiteX0" fmla="*/ 24 w 73635"/>
                      <a:gd name="connsiteY0" fmla="*/ 4082 h 58544"/>
                      <a:gd name="connsiteX1" fmla="*/ 32848 w 73635"/>
                      <a:gd name="connsiteY1" fmla="*/ 5342 h 58544"/>
                      <a:gd name="connsiteX2" fmla="*/ 72816 w 73635"/>
                      <a:gd name="connsiteY2" fmla="*/ 19960 h 58544"/>
                      <a:gd name="connsiteX3" fmla="*/ 58464 w 73635"/>
                      <a:gd name="connsiteY3" fmla="*/ 44575 h 58544"/>
                      <a:gd name="connsiteX4" fmla="*/ 28087 w 73635"/>
                      <a:gd name="connsiteY4" fmla="*/ 56809 h 58544"/>
                      <a:gd name="connsiteX5" fmla="*/ 24 w 73635"/>
                      <a:gd name="connsiteY5" fmla="*/ 4082 h 58544"/>
                      <a:gd name="connsiteX0" fmla="*/ 60 w 59384"/>
                      <a:gd name="connsiteY0" fmla="*/ 20242 h 52091"/>
                      <a:gd name="connsiteX1" fmla="*/ 18597 w 59384"/>
                      <a:gd name="connsiteY1" fmla="*/ 67 h 52091"/>
                      <a:gd name="connsiteX2" fmla="*/ 58565 w 59384"/>
                      <a:gd name="connsiteY2" fmla="*/ 14685 h 52091"/>
                      <a:gd name="connsiteX3" fmla="*/ 44213 w 59384"/>
                      <a:gd name="connsiteY3" fmla="*/ 39300 h 52091"/>
                      <a:gd name="connsiteX4" fmla="*/ 13836 w 59384"/>
                      <a:gd name="connsiteY4" fmla="*/ 51534 h 52091"/>
                      <a:gd name="connsiteX5" fmla="*/ 60 w 59384"/>
                      <a:gd name="connsiteY5" fmla="*/ 20242 h 52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9384" h="52091">
                        <a:moveTo>
                          <a:pt x="60" y="20242"/>
                        </a:moveTo>
                        <a:cubicBezTo>
                          <a:pt x="853" y="11664"/>
                          <a:pt x="8846" y="993"/>
                          <a:pt x="18597" y="67"/>
                        </a:cubicBezTo>
                        <a:cubicBezTo>
                          <a:pt x="28348" y="-859"/>
                          <a:pt x="54296" y="8146"/>
                          <a:pt x="58565" y="14685"/>
                        </a:cubicBezTo>
                        <a:cubicBezTo>
                          <a:pt x="62834" y="21224"/>
                          <a:pt x="49287" y="35143"/>
                          <a:pt x="44213" y="39300"/>
                        </a:cubicBezTo>
                        <a:cubicBezTo>
                          <a:pt x="39139" y="43457"/>
                          <a:pt x="21195" y="54710"/>
                          <a:pt x="13836" y="51534"/>
                        </a:cubicBezTo>
                        <a:cubicBezTo>
                          <a:pt x="6477" y="48358"/>
                          <a:pt x="-733" y="28820"/>
                          <a:pt x="60" y="2024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270" name="Group 155"/>
                <p:cNvGrpSpPr/>
                <p:nvPr/>
              </p:nvGrpSpPr>
              <p:grpSpPr>
                <a:xfrm>
                  <a:off x="4986338" y="2725738"/>
                  <a:ext cx="1206499" cy="1941512"/>
                  <a:chOff x="4986338" y="2725738"/>
                  <a:chExt cx="1206499" cy="1941512"/>
                </a:xfrm>
                <a:grpFill/>
              </p:grpSpPr>
              <p:sp>
                <p:nvSpPr>
                  <p:cNvPr id="277" name="Freeform 156"/>
                  <p:cNvSpPr/>
                  <p:nvPr/>
                </p:nvSpPr>
                <p:spPr bwMode="auto">
                  <a:xfrm rot="8302761">
                    <a:off x="5835649" y="4452938"/>
                    <a:ext cx="357188" cy="214312"/>
                  </a:xfrm>
                  <a:custGeom>
                    <a:avLst/>
                    <a:gdLst>
                      <a:gd name="connsiteX0" fmla="*/ 175260 w 541020"/>
                      <a:gd name="connsiteY0" fmla="*/ 45720 h 281940"/>
                      <a:gd name="connsiteX1" fmla="*/ 0 w 541020"/>
                      <a:gd name="connsiteY1" fmla="*/ 121920 h 281940"/>
                      <a:gd name="connsiteX2" fmla="*/ 7620 w 541020"/>
                      <a:gd name="connsiteY2" fmla="*/ 251460 h 281940"/>
                      <a:gd name="connsiteX3" fmla="*/ 160020 w 541020"/>
                      <a:gd name="connsiteY3" fmla="*/ 281940 h 281940"/>
                      <a:gd name="connsiteX4" fmla="*/ 327660 w 541020"/>
                      <a:gd name="connsiteY4" fmla="*/ 236220 h 281940"/>
                      <a:gd name="connsiteX5" fmla="*/ 495300 w 541020"/>
                      <a:gd name="connsiteY5" fmla="*/ 114300 h 281940"/>
                      <a:gd name="connsiteX6" fmla="*/ 541020 w 541020"/>
                      <a:gd name="connsiteY6" fmla="*/ 30480 h 281940"/>
                      <a:gd name="connsiteX7" fmla="*/ 518160 w 541020"/>
                      <a:gd name="connsiteY7" fmla="*/ 0 h 281940"/>
                      <a:gd name="connsiteX8" fmla="*/ 449580 w 541020"/>
                      <a:gd name="connsiteY8" fmla="*/ 0 h 281940"/>
                      <a:gd name="connsiteX9" fmla="*/ 175260 w 541020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64165"/>
                      <a:gd name="connsiteY0" fmla="*/ 50529 h 287263"/>
                      <a:gd name="connsiteX1" fmla="*/ 17128 w 564165"/>
                      <a:gd name="connsiteY1" fmla="*/ 126729 h 287263"/>
                      <a:gd name="connsiteX2" fmla="*/ 24748 w 564165"/>
                      <a:gd name="connsiteY2" fmla="*/ 256269 h 287263"/>
                      <a:gd name="connsiteX3" fmla="*/ 177148 w 564165"/>
                      <a:gd name="connsiteY3" fmla="*/ 286749 h 287263"/>
                      <a:gd name="connsiteX4" fmla="*/ 344788 w 564165"/>
                      <a:gd name="connsiteY4" fmla="*/ 241029 h 287263"/>
                      <a:gd name="connsiteX5" fmla="*/ 545402 w 564165"/>
                      <a:gd name="connsiteY5" fmla="*/ 181894 h 287263"/>
                      <a:gd name="connsiteX6" fmla="*/ 558148 w 564165"/>
                      <a:gd name="connsiteY6" fmla="*/ 35289 h 287263"/>
                      <a:gd name="connsiteX7" fmla="*/ 535288 w 564165"/>
                      <a:gd name="connsiteY7" fmla="*/ 4809 h 287263"/>
                      <a:gd name="connsiteX8" fmla="*/ 466708 w 564165"/>
                      <a:gd name="connsiteY8" fmla="*/ 4809 h 287263"/>
                      <a:gd name="connsiteX9" fmla="*/ 192388 w 564165"/>
                      <a:gd name="connsiteY9" fmla="*/ 50529 h 287263"/>
                      <a:gd name="connsiteX0" fmla="*/ 192388 w 564165"/>
                      <a:gd name="connsiteY0" fmla="*/ 50529 h 310225"/>
                      <a:gd name="connsiteX1" fmla="*/ 17128 w 564165"/>
                      <a:gd name="connsiteY1" fmla="*/ 126729 h 310225"/>
                      <a:gd name="connsiteX2" fmla="*/ 24748 w 564165"/>
                      <a:gd name="connsiteY2" fmla="*/ 256269 h 310225"/>
                      <a:gd name="connsiteX3" fmla="*/ 177148 w 564165"/>
                      <a:gd name="connsiteY3" fmla="*/ 286749 h 310225"/>
                      <a:gd name="connsiteX4" fmla="*/ 338214 w 564165"/>
                      <a:gd name="connsiteY4" fmla="*/ 301010 h 310225"/>
                      <a:gd name="connsiteX5" fmla="*/ 545402 w 564165"/>
                      <a:gd name="connsiteY5" fmla="*/ 181894 h 310225"/>
                      <a:gd name="connsiteX6" fmla="*/ 558148 w 564165"/>
                      <a:gd name="connsiteY6" fmla="*/ 35289 h 310225"/>
                      <a:gd name="connsiteX7" fmla="*/ 535288 w 564165"/>
                      <a:gd name="connsiteY7" fmla="*/ 4809 h 310225"/>
                      <a:gd name="connsiteX8" fmla="*/ 466708 w 564165"/>
                      <a:gd name="connsiteY8" fmla="*/ 4809 h 310225"/>
                      <a:gd name="connsiteX9" fmla="*/ 192388 w 564165"/>
                      <a:gd name="connsiteY9" fmla="*/ 50529 h 310225"/>
                      <a:gd name="connsiteX0" fmla="*/ 192388 w 564165"/>
                      <a:gd name="connsiteY0" fmla="*/ 50529 h 353427"/>
                      <a:gd name="connsiteX1" fmla="*/ 17128 w 564165"/>
                      <a:gd name="connsiteY1" fmla="*/ 126729 h 353427"/>
                      <a:gd name="connsiteX2" fmla="*/ 24748 w 564165"/>
                      <a:gd name="connsiteY2" fmla="*/ 256269 h 353427"/>
                      <a:gd name="connsiteX3" fmla="*/ 193096 w 564165"/>
                      <a:gd name="connsiteY3" fmla="*/ 353363 h 353427"/>
                      <a:gd name="connsiteX4" fmla="*/ 338214 w 564165"/>
                      <a:gd name="connsiteY4" fmla="*/ 301010 h 353427"/>
                      <a:gd name="connsiteX5" fmla="*/ 545402 w 564165"/>
                      <a:gd name="connsiteY5" fmla="*/ 181894 h 353427"/>
                      <a:gd name="connsiteX6" fmla="*/ 558148 w 564165"/>
                      <a:gd name="connsiteY6" fmla="*/ 35289 h 353427"/>
                      <a:gd name="connsiteX7" fmla="*/ 535288 w 564165"/>
                      <a:gd name="connsiteY7" fmla="*/ 4809 h 353427"/>
                      <a:gd name="connsiteX8" fmla="*/ 466708 w 564165"/>
                      <a:gd name="connsiteY8" fmla="*/ 4809 h 353427"/>
                      <a:gd name="connsiteX9" fmla="*/ 192388 w 564165"/>
                      <a:gd name="connsiteY9" fmla="*/ 50529 h 353427"/>
                      <a:gd name="connsiteX0" fmla="*/ 183456 w 555233"/>
                      <a:gd name="connsiteY0" fmla="*/ 50529 h 359674"/>
                      <a:gd name="connsiteX1" fmla="*/ 8196 w 555233"/>
                      <a:gd name="connsiteY1" fmla="*/ 126729 h 359674"/>
                      <a:gd name="connsiteX2" fmla="*/ 57235 w 555233"/>
                      <a:gd name="connsiteY2" fmla="*/ 343912 h 359674"/>
                      <a:gd name="connsiteX3" fmla="*/ 184164 w 555233"/>
                      <a:gd name="connsiteY3" fmla="*/ 353363 h 359674"/>
                      <a:gd name="connsiteX4" fmla="*/ 329282 w 555233"/>
                      <a:gd name="connsiteY4" fmla="*/ 301010 h 359674"/>
                      <a:gd name="connsiteX5" fmla="*/ 536470 w 555233"/>
                      <a:gd name="connsiteY5" fmla="*/ 181894 h 359674"/>
                      <a:gd name="connsiteX6" fmla="*/ 549216 w 555233"/>
                      <a:gd name="connsiteY6" fmla="*/ 35289 h 359674"/>
                      <a:gd name="connsiteX7" fmla="*/ 526356 w 555233"/>
                      <a:gd name="connsiteY7" fmla="*/ 4809 h 359674"/>
                      <a:gd name="connsiteX8" fmla="*/ 457776 w 555233"/>
                      <a:gd name="connsiteY8" fmla="*/ 4809 h 359674"/>
                      <a:gd name="connsiteX9" fmla="*/ 183456 w 555233"/>
                      <a:gd name="connsiteY9" fmla="*/ 50529 h 359674"/>
                      <a:gd name="connsiteX0" fmla="*/ 141822 w 513599"/>
                      <a:gd name="connsiteY0" fmla="*/ 50529 h 359674"/>
                      <a:gd name="connsiteX1" fmla="*/ 26880 w 513599"/>
                      <a:gd name="connsiteY1" fmla="*/ 162601 h 359674"/>
                      <a:gd name="connsiteX2" fmla="*/ 15601 w 513599"/>
                      <a:gd name="connsiteY2" fmla="*/ 343912 h 359674"/>
                      <a:gd name="connsiteX3" fmla="*/ 142530 w 513599"/>
                      <a:gd name="connsiteY3" fmla="*/ 353363 h 359674"/>
                      <a:gd name="connsiteX4" fmla="*/ 287648 w 513599"/>
                      <a:gd name="connsiteY4" fmla="*/ 301010 h 359674"/>
                      <a:gd name="connsiteX5" fmla="*/ 494836 w 513599"/>
                      <a:gd name="connsiteY5" fmla="*/ 181894 h 359674"/>
                      <a:gd name="connsiteX6" fmla="*/ 507582 w 513599"/>
                      <a:gd name="connsiteY6" fmla="*/ 35289 h 359674"/>
                      <a:gd name="connsiteX7" fmla="*/ 484722 w 513599"/>
                      <a:gd name="connsiteY7" fmla="*/ 4809 h 359674"/>
                      <a:gd name="connsiteX8" fmla="*/ 416142 w 513599"/>
                      <a:gd name="connsiteY8" fmla="*/ 4809 h 359674"/>
                      <a:gd name="connsiteX9" fmla="*/ 141822 w 513599"/>
                      <a:gd name="connsiteY9" fmla="*/ 50529 h 359674"/>
                      <a:gd name="connsiteX0" fmla="*/ 141822 w 530249"/>
                      <a:gd name="connsiteY0" fmla="*/ 50529 h 359674"/>
                      <a:gd name="connsiteX1" fmla="*/ 26880 w 530249"/>
                      <a:gd name="connsiteY1" fmla="*/ 162601 h 359674"/>
                      <a:gd name="connsiteX2" fmla="*/ 15601 w 530249"/>
                      <a:gd name="connsiteY2" fmla="*/ 343912 h 359674"/>
                      <a:gd name="connsiteX3" fmla="*/ 142530 w 530249"/>
                      <a:gd name="connsiteY3" fmla="*/ 353363 h 359674"/>
                      <a:gd name="connsiteX4" fmla="*/ 287648 w 530249"/>
                      <a:gd name="connsiteY4" fmla="*/ 301010 h 359674"/>
                      <a:gd name="connsiteX5" fmla="*/ 517239 w 530249"/>
                      <a:gd name="connsiteY5" fmla="*/ 238247 h 359674"/>
                      <a:gd name="connsiteX6" fmla="*/ 507582 w 530249"/>
                      <a:gd name="connsiteY6" fmla="*/ 35289 h 359674"/>
                      <a:gd name="connsiteX7" fmla="*/ 484722 w 530249"/>
                      <a:gd name="connsiteY7" fmla="*/ 4809 h 359674"/>
                      <a:gd name="connsiteX8" fmla="*/ 416142 w 530249"/>
                      <a:gd name="connsiteY8" fmla="*/ 4809 h 359674"/>
                      <a:gd name="connsiteX9" fmla="*/ 141822 w 530249"/>
                      <a:gd name="connsiteY9" fmla="*/ 50529 h 35967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47613 h 369288"/>
                      <a:gd name="connsiteX1" fmla="*/ 26880 w 530248"/>
                      <a:gd name="connsiteY1" fmla="*/ 159685 h 369288"/>
                      <a:gd name="connsiteX2" fmla="*/ 15601 w 530248"/>
                      <a:gd name="connsiteY2" fmla="*/ 340996 h 369288"/>
                      <a:gd name="connsiteX3" fmla="*/ 142530 w 530248"/>
                      <a:gd name="connsiteY3" fmla="*/ 350447 h 369288"/>
                      <a:gd name="connsiteX4" fmla="*/ 292200 w 530248"/>
                      <a:gd name="connsiteY4" fmla="*/ 359200 h 369288"/>
                      <a:gd name="connsiteX5" fmla="*/ 517239 w 530248"/>
                      <a:gd name="connsiteY5" fmla="*/ 235331 h 369288"/>
                      <a:gd name="connsiteX6" fmla="*/ 507582 w 530248"/>
                      <a:gd name="connsiteY6" fmla="*/ 32373 h 369288"/>
                      <a:gd name="connsiteX7" fmla="*/ 416142 w 530248"/>
                      <a:gd name="connsiteY7" fmla="*/ 1893 h 369288"/>
                      <a:gd name="connsiteX8" fmla="*/ 141822 w 530248"/>
                      <a:gd name="connsiteY8" fmla="*/ 47613 h 369288"/>
                      <a:gd name="connsiteX0" fmla="*/ 138197 w 526623"/>
                      <a:gd name="connsiteY0" fmla="*/ 47613 h 376324"/>
                      <a:gd name="connsiteX1" fmla="*/ 23255 w 526623"/>
                      <a:gd name="connsiteY1" fmla="*/ 159685 h 376324"/>
                      <a:gd name="connsiteX2" fmla="*/ 11976 w 526623"/>
                      <a:gd name="connsiteY2" fmla="*/ 340996 h 376324"/>
                      <a:gd name="connsiteX3" fmla="*/ 132119 w 526623"/>
                      <a:gd name="connsiteY3" fmla="*/ 374396 h 376324"/>
                      <a:gd name="connsiteX4" fmla="*/ 288575 w 526623"/>
                      <a:gd name="connsiteY4" fmla="*/ 359200 h 376324"/>
                      <a:gd name="connsiteX5" fmla="*/ 513614 w 526623"/>
                      <a:gd name="connsiteY5" fmla="*/ 235331 h 376324"/>
                      <a:gd name="connsiteX6" fmla="*/ 503957 w 526623"/>
                      <a:gd name="connsiteY6" fmla="*/ 32373 h 376324"/>
                      <a:gd name="connsiteX7" fmla="*/ 412517 w 526623"/>
                      <a:gd name="connsiteY7" fmla="*/ 1893 h 376324"/>
                      <a:gd name="connsiteX8" fmla="*/ 138197 w 526623"/>
                      <a:gd name="connsiteY8" fmla="*/ 47613 h 376324"/>
                      <a:gd name="connsiteX0" fmla="*/ 427441 w 541547"/>
                      <a:gd name="connsiteY0" fmla="*/ 10181 h 384611"/>
                      <a:gd name="connsiteX1" fmla="*/ 38179 w 541547"/>
                      <a:gd name="connsiteY1" fmla="*/ 167973 h 384611"/>
                      <a:gd name="connsiteX2" fmla="*/ 26900 w 541547"/>
                      <a:gd name="connsiteY2" fmla="*/ 349284 h 384611"/>
                      <a:gd name="connsiteX3" fmla="*/ 147043 w 541547"/>
                      <a:gd name="connsiteY3" fmla="*/ 382684 h 384611"/>
                      <a:gd name="connsiteX4" fmla="*/ 303499 w 541547"/>
                      <a:gd name="connsiteY4" fmla="*/ 367488 h 384611"/>
                      <a:gd name="connsiteX5" fmla="*/ 528538 w 541547"/>
                      <a:gd name="connsiteY5" fmla="*/ 243619 h 384611"/>
                      <a:gd name="connsiteX6" fmla="*/ 518881 w 541547"/>
                      <a:gd name="connsiteY6" fmla="*/ 40661 h 384611"/>
                      <a:gd name="connsiteX7" fmla="*/ 427441 w 541547"/>
                      <a:gd name="connsiteY7" fmla="*/ 10181 h 384611"/>
                      <a:gd name="connsiteX0" fmla="*/ 400497 w 514603"/>
                      <a:gd name="connsiteY0" fmla="*/ 10183 h 384613"/>
                      <a:gd name="connsiteX1" fmla="*/ 11235 w 514603"/>
                      <a:gd name="connsiteY1" fmla="*/ 167975 h 384613"/>
                      <a:gd name="connsiteX2" fmla="*/ 120099 w 514603"/>
                      <a:gd name="connsiteY2" fmla="*/ 382686 h 384613"/>
                      <a:gd name="connsiteX3" fmla="*/ 276555 w 514603"/>
                      <a:gd name="connsiteY3" fmla="*/ 367490 h 384613"/>
                      <a:gd name="connsiteX4" fmla="*/ 501594 w 514603"/>
                      <a:gd name="connsiteY4" fmla="*/ 243621 h 384613"/>
                      <a:gd name="connsiteX5" fmla="*/ 491937 w 514603"/>
                      <a:gd name="connsiteY5" fmla="*/ 40663 h 384613"/>
                      <a:gd name="connsiteX6" fmla="*/ 400497 w 514603"/>
                      <a:gd name="connsiteY6" fmla="*/ 10183 h 384613"/>
                      <a:gd name="connsiteX0" fmla="*/ 400497 w 514603"/>
                      <a:gd name="connsiteY0" fmla="*/ 10183 h 383828"/>
                      <a:gd name="connsiteX1" fmla="*/ 11235 w 514603"/>
                      <a:gd name="connsiteY1" fmla="*/ 167975 h 383828"/>
                      <a:gd name="connsiteX2" fmla="*/ 120099 w 514603"/>
                      <a:gd name="connsiteY2" fmla="*/ 382686 h 383828"/>
                      <a:gd name="connsiteX3" fmla="*/ 501594 w 514603"/>
                      <a:gd name="connsiteY3" fmla="*/ 243621 h 383828"/>
                      <a:gd name="connsiteX4" fmla="*/ 491937 w 514603"/>
                      <a:gd name="connsiteY4" fmla="*/ 40663 h 383828"/>
                      <a:gd name="connsiteX5" fmla="*/ 400497 w 514603"/>
                      <a:gd name="connsiteY5" fmla="*/ 10183 h 383828"/>
                      <a:gd name="connsiteX0" fmla="*/ 400497 w 517116"/>
                      <a:gd name="connsiteY0" fmla="*/ 1010 h 374655"/>
                      <a:gd name="connsiteX1" fmla="*/ 11235 w 517116"/>
                      <a:gd name="connsiteY1" fmla="*/ 158802 h 374655"/>
                      <a:gd name="connsiteX2" fmla="*/ 120099 w 517116"/>
                      <a:gd name="connsiteY2" fmla="*/ 373513 h 374655"/>
                      <a:gd name="connsiteX3" fmla="*/ 501594 w 517116"/>
                      <a:gd name="connsiteY3" fmla="*/ 234448 h 374655"/>
                      <a:gd name="connsiteX4" fmla="*/ 400497 w 517116"/>
                      <a:gd name="connsiteY4" fmla="*/ 1010 h 374655"/>
                      <a:gd name="connsiteX0" fmla="*/ 508809 w 628017"/>
                      <a:gd name="connsiteY0" fmla="*/ 2356 h 376001"/>
                      <a:gd name="connsiteX1" fmla="*/ 6361 w 628017"/>
                      <a:gd name="connsiteY1" fmla="*/ 130721 h 376001"/>
                      <a:gd name="connsiteX2" fmla="*/ 228411 w 628017"/>
                      <a:gd name="connsiteY2" fmla="*/ 374859 h 376001"/>
                      <a:gd name="connsiteX3" fmla="*/ 609906 w 628017"/>
                      <a:gd name="connsiteY3" fmla="*/ 235794 h 376001"/>
                      <a:gd name="connsiteX4" fmla="*/ 508809 w 628017"/>
                      <a:gd name="connsiteY4" fmla="*/ 2356 h 376001"/>
                      <a:gd name="connsiteX0" fmla="*/ 504040 w 616834"/>
                      <a:gd name="connsiteY0" fmla="*/ 2903 h 376548"/>
                      <a:gd name="connsiteX1" fmla="*/ 351553 w 616834"/>
                      <a:gd name="connsiteY1" fmla="*/ 107249 h 376548"/>
                      <a:gd name="connsiteX2" fmla="*/ 1592 w 616834"/>
                      <a:gd name="connsiteY2" fmla="*/ 131268 h 376548"/>
                      <a:gd name="connsiteX3" fmla="*/ 223642 w 616834"/>
                      <a:gd name="connsiteY3" fmla="*/ 375406 h 376548"/>
                      <a:gd name="connsiteX4" fmla="*/ 605137 w 616834"/>
                      <a:gd name="connsiteY4" fmla="*/ 236341 h 376548"/>
                      <a:gd name="connsiteX5" fmla="*/ 504040 w 616834"/>
                      <a:gd name="connsiteY5" fmla="*/ 2903 h 376548"/>
                      <a:gd name="connsiteX0" fmla="*/ 495452 w 616175"/>
                      <a:gd name="connsiteY0" fmla="*/ 51280 h 274874"/>
                      <a:gd name="connsiteX1" fmla="*/ 351553 w 616175"/>
                      <a:gd name="connsiteY1" fmla="*/ 5575 h 274874"/>
                      <a:gd name="connsiteX2" fmla="*/ 1592 w 616175"/>
                      <a:gd name="connsiteY2" fmla="*/ 29594 h 274874"/>
                      <a:gd name="connsiteX3" fmla="*/ 223642 w 616175"/>
                      <a:gd name="connsiteY3" fmla="*/ 273732 h 274874"/>
                      <a:gd name="connsiteX4" fmla="*/ 605137 w 616175"/>
                      <a:gd name="connsiteY4" fmla="*/ 134667 h 274874"/>
                      <a:gd name="connsiteX5" fmla="*/ 495452 w 616175"/>
                      <a:gd name="connsiteY5" fmla="*/ 51280 h 274874"/>
                      <a:gd name="connsiteX0" fmla="*/ 495452 w 532377"/>
                      <a:gd name="connsiteY0" fmla="*/ 51265 h 274847"/>
                      <a:gd name="connsiteX1" fmla="*/ 351553 w 532377"/>
                      <a:gd name="connsiteY1" fmla="*/ 5560 h 274847"/>
                      <a:gd name="connsiteX2" fmla="*/ 1592 w 532377"/>
                      <a:gd name="connsiteY2" fmla="*/ 29579 h 274847"/>
                      <a:gd name="connsiteX3" fmla="*/ 223642 w 532377"/>
                      <a:gd name="connsiteY3" fmla="*/ 273717 h 274847"/>
                      <a:gd name="connsiteX4" fmla="*/ 509239 w 532377"/>
                      <a:gd name="connsiteY4" fmla="*/ 133533 h 274847"/>
                      <a:gd name="connsiteX5" fmla="*/ 495452 w 532377"/>
                      <a:gd name="connsiteY5" fmla="*/ 51265 h 274847"/>
                      <a:gd name="connsiteX0" fmla="*/ 497505 w 534430"/>
                      <a:gd name="connsiteY0" fmla="*/ 51265 h 274847"/>
                      <a:gd name="connsiteX1" fmla="*/ 353606 w 534430"/>
                      <a:gd name="connsiteY1" fmla="*/ 5560 h 274847"/>
                      <a:gd name="connsiteX2" fmla="*/ 3645 w 534430"/>
                      <a:gd name="connsiteY2" fmla="*/ 29579 h 274847"/>
                      <a:gd name="connsiteX3" fmla="*/ 173951 w 534430"/>
                      <a:gd name="connsiteY3" fmla="*/ 138081 h 274847"/>
                      <a:gd name="connsiteX4" fmla="*/ 225695 w 534430"/>
                      <a:gd name="connsiteY4" fmla="*/ 273717 h 274847"/>
                      <a:gd name="connsiteX5" fmla="*/ 511292 w 534430"/>
                      <a:gd name="connsiteY5" fmla="*/ 133533 h 274847"/>
                      <a:gd name="connsiteX6" fmla="*/ 497505 w 534430"/>
                      <a:gd name="connsiteY6" fmla="*/ 51265 h 274847"/>
                      <a:gd name="connsiteX0" fmla="*/ 493884 w 530809"/>
                      <a:gd name="connsiteY0" fmla="*/ 51265 h 274847"/>
                      <a:gd name="connsiteX1" fmla="*/ 349985 w 530809"/>
                      <a:gd name="connsiteY1" fmla="*/ 5560 h 274847"/>
                      <a:gd name="connsiteX2" fmla="*/ 24 w 530809"/>
                      <a:gd name="connsiteY2" fmla="*/ 29579 h 274847"/>
                      <a:gd name="connsiteX3" fmla="*/ 170330 w 530809"/>
                      <a:gd name="connsiteY3" fmla="*/ 138081 h 274847"/>
                      <a:gd name="connsiteX4" fmla="*/ 222074 w 530809"/>
                      <a:gd name="connsiteY4" fmla="*/ 273717 h 274847"/>
                      <a:gd name="connsiteX5" fmla="*/ 507671 w 530809"/>
                      <a:gd name="connsiteY5" fmla="*/ 133533 h 274847"/>
                      <a:gd name="connsiteX6" fmla="*/ 493884 w 530809"/>
                      <a:gd name="connsiteY6" fmla="*/ 51265 h 274847"/>
                      <a:gd name="connsiteX0" fmla="*/ 493884 w 530809"/>
                      <a:gd name="connsiteY0" fmla="*/ 51265 h 186504"/>
                      <a:gd name="connsiteX1" fmla="*/ 349985 w 530809"/>
                      <a:gd name="connsiteY1" fmla="*/ 5560 h 186504"/>
                      <a:gd name="connsiteX2" fmla="*/ 24 w 530809"/>
                      <a:gd name="connsiteY2" fmla="*/ 29579 h 186504"/>
                      <a:gd name="connsiteX3" fmla="*/ 170330 w 530809"/>
                      <a:gd name="connsiteY3" fmla="*/ 138081 h 186504"/>
                      <a:gd name="connsiteX4" fmla="*/ 390510 w 530809"/>
                      <a:gd name="connsiteY4" fmla="*/ 180265 h 186504"/>
                      <a:gd name="connsiteX5" fmla="*/ 507671 w 530809"/>
                      <a:gd name="connsiteY5" fmla="*/ 133533 h 186504"/>
                      <a:gd name="connsiteX6" fmla="*/ 493884 w 530809"/>
                      <a:gd name="connsiteY6" fmla="*/ 51265 h 186504"/>
                      <a:gd name="connsiteX0" fmla="*/ 495721 w 532646"/>
                      <a:gd name="connsiteY0" fmla="*/ 51265 h 186504"/>
                      <a:gd name="connsiteX1" fmla="*/ 351822 w 532646"/>
                      <a:gd name="connsiteY1" fmla="*/ 5560 h 186504"/>
                      <a:gd name="connsiteX2" fmla="*/ 1861 w 532646"/>
                      <a:gd name="connsiteY2" fmla="*/ 29579 h 186504"/>
                      <a:gd name="connsiteX3" fmla="*/ 213626 w 532646"/>
                      <a:gd name="connsiteY3" fmla="*/ 107499 h 186504"/>
                      <a:gd name="connsiteX4" fmla="*/ 392347 w 532646"/>
                      <a:gd name="connsiteY4" fmla="*/ 180265 h 186504"/>
                      <a:gd name="connsiteX5" fmla="*/ 509508 w 532646"/>
                      <a:gd name="connsiteY5" fmla="*/ 133533 h 186504"/>
                      <a:gd name="connsiteX6" fmla="*/ 495721 w 532646"/>
                      <a:gd name="connsiteY6" fmla="*/ 51265 h 186504"/>
                      <a:gd name="connsiteX0" fmla="*/ 496902 w 533827"/>
                      <a:gd name="connsiteY0" fmla="*/ 70457 h 205696"/>
                      <a:gd name="connsiteX1" fmla="*/ 353003 w 533827"/>
                      <a:gd name="connsiteY1" fmla="*/ 24752 h 205696"/>
                      <a:gd name="connsiteX2" fmla="*/ 107632 w 533827"/>
                      <a:gd name="connsiteY2" fmla="*/ 439 h 205696"/>
                      <a:gd name="connsiteX3" fmla="*/ 3042 w 533827"/>
                      <a:gd name="connsiteY3" fmla="*/ 48771 h 205696"/>
                      <a:gd name="connsiteX4" fmla="*/ 214807 w 533827"/>
                      <a:gd name="connsiteY4" fmla="*/ 126691 h 205696"/>
                      <a:gd name="connsiteX5" fmla="*/ 393528 w 533827"/>
                      <a:gd name="connsiteY5" fmla="*/ 199457 h 205696"/>
                      <a:gd name="connsiteX6" fmla="*/ 510689 w 533827"/>
                      <a:gd name="connsiteY6" fmla="*/ 152725 h 205696"/>
                      <a:gd name="connsiteX7" fmla="*/ 496902 w 533827"/>
                      <a:gd name="connsiteY7" fmla="*/ 70457 h 205696"/>
                      <a:gd name="connsiteX0" fmla="*/ 472353 w 509278"/>
                      <a:gd name="connsiteY0" fmla="*/ 70457 h 205696"/>
                      <a:gd name="connsiteX1" fmla="*/ 328454 w 509278"/>
                      <a:gd name="connsiteY1" fmla="*/ 24752 h 205696"/>
                      <a:gd name="connsiteX2" fmla="*/ 83083 w 509278"/>
                      <a:gd name="connsiteY2" fmla="*/ 439 h 205696"/>
                      <a:gd name="connsiteX3" fmla="*/ 4427 w 509278"/>
                      <a:gd name="connsiteY3" fmla="*/ 91234 h 205696"/>
                      <a:gd name="connsiteX4" fmla="*/ 190258 w 509278"/>
                      <a:gd name="connsiteY4" fmla="*/ 126691 h 205696"/>
                      <a:gd name="connsiteX5" fmla="*/ 368979 w 509278"/>
                      <a:gd name="connsiteY5" fmla="*/ 199457 h 205696"/>
                      <a:gd name="connsiteX6" fmla="*/ 486140 w 509278"/>
                      <a:gd name="connsiteY6" fmla="*/ 152725 h 205696"/>
                      <a:gd name="connsiteX7" fmla="*/ 472353 w 509278"/>
                      <a:gd name="connsiteY7" fmla="*/ 70457 h 205696"/>
                      <a:gd name="connsiteX0" fmla="*/ 471911 w 508836"/>
                      <a:gd name="connsiteY0" fmla="*/ 51265 h 186504"/>
                      <a:gd name="connsiteX1" fmla="*/ 328012 w 508836"/>
                      <a:gd name="connsiteY1" fmla="*/ 5560 h 186504"/>
                      <a:gd name="connsiteX2" fmla="*/ 86111 w 508836"/>
                      <a:gd name="connsiteY2" fmla="*/ 19749 h 186504"/>
                      <a:gd name="connsiteX3" fmla="*/ 3985 w 508836"/>
                      <a:gd name="connsiteY3" fmla="*/ 72042 h 186504"/>
                      <a:gd name="connsiteX4" fmla="*/ 189816 w 508836"/>
                      <a:gd name="connsiteY4" fmla="*/ 107499 h 186504"/>
                      <a:gd name="connsiteX5" fmla="*/ 368537 w 508836"/>
                      <a:gd name="connsiteY5" fmla="*/ 180265 h 186504"/>
                      <a:gd name="connsiteX6" fmla="*/ 485698 w 508836"/>
                      <a:gd name="connsiteY6" fmla="*/ 133533 h 186504"/>
                      <a:gd name="connsiteX7" fmla="*/ 471911 w 508836"/>
                      <a:gd name="connsiteY7" fmla="*/ 51265 h 186504"/>
                      <a:gd name="connsiteX0" fmla="*/ 437213 w 474138"/>
                      <a:gd name="connsiteY0" fmla="*/ 51265 h 186504"/>
                      <a:gd name="connsiteX1" fmla="*/ 293314 w 474138"/>
                      <a:gd name="connsiteY1" fmla="*/ 5560 h 186504"/>
                      <a:gd name="connsiteX2" fmla="*/ 51413 w 474138"/>
                      <a:gd name="connsiteY2" fmla="*/ 19749 h 186504"/>
                      <a:gd name="connsiteX3" fmla="*/ 9907 w 474138"/>
                      <a:gd name="connsiteY3" fmla="*/ 113936 h 186504"/>
                      <a:gd name="connsiteX4" fmla="*/ 155118 w 474138"/>
                      <a:gd name="connsiteY4" fmla="*/ 107499 h 186504"/>
                      <a:gd name="connsiteX5" fmla="*/ 333839 w 474138"/>
                      <a:gd name="connsiteY5" fmla="*/ 180265 h 186504"/>
                      <a:gd name="connsiteX6" fmla="*/ 451000 w 474138"/>
                      <a:gd name="connsiteY6" fmla="*/ 133533 h 186504"/>
                      <a:gd name="connsiteX7" fmla="*/ 437213 w 474138"/>
                      <a:gd name="connsiteY7" fmla="*/ 51265 h 1865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74138" h="186504">
                        <a:moveTo>
                          <a:pt x="437213" y="51265"/>
                        </a:moveTo>
                        <a:cubicBezTo>
                          <a:pt x="410932" y="29936"/>
                          <a:pt x="377055" y="-15834"/>
                          <a:pt x="293314" y="5560"/>
                        </a:cubicBezTo>
                        <a:lnTo>
                          <a:pt x="51413" y="19749"/>
                        </a:lnTo>
                        <a:cubicBezTo>
                          <a:pt x="-6914" y="23752"/>
                          <a:pt x="-7377" y="99311"/>
                          <a:pt x="9907" y="113936"/>
                        </a:cubicBezTo>
                        <a:cubicBezTo>
                          <a:pt x="27191" y="128561"/>
                          <a:pt x="118110" y="66809"/>
                          <a:pt x="155118" y="107499"/>
                        </a:cubicBezTo>
                        <a:cubicBezTo>
                          <a:pt x="192126" y="148189"/>
                          <a:pt x="263073" y="183196"/>
                          <a:pt x="333839" y="180265"/>
                        </a:cubicBezTo>
                        <a:cubicBezTo>
                          <a:pt x="415566" y="192873"/>
                          <a:pt x="389027" y="190537"/>
                          <a:pt x="451000" y="133533"/>
                        </a:cubicBezTo>
                        <a:cubicBezTo>
                          <a:pt x="497733" y="71449"/>
                          <a:pt x="463494" y="72594"/>
                          <a:pt x="437213" y="5126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8" name="Freeform 157"/>
                  <p:cNvSpPr/>
                  <p:nvPr/>
                </p:nvSpPr>
                <p:spPr bwMode="auto">
                  <a:xfrm rot="4450231">
                    <a:off x="5034757" y="2677319"/>
                    <a:ext cx="223837" cy="320675"/>
                  </a:xfrm>
                  <a:custGeom>
                    <a:avLst/>
                    <a:gdLst>
                      <a:gd name="connsiteX0" fmla="*/ 175260 w 541020"/>
                      <a:gd name="connsiteY0" fmla="*/ 45720 h 281940"/>
                      <a:gd name="connsiteX1" fmla="*/ 0 w 541020"/>
                      <a:gd name="connsiteY1" fmla="*/ 121920 h 281940"/>
                      <a:gd name="connsiteX2" fmla="*/ 7620 w 541020"/>
                      <a:gd name="connsiteY2" fmla="*/ 251460 h 281940"/>
                      <a:gd name="connsiteX3" fmla="*/ 160020 w 541020"/>
                      <a:gd name="connsiteY3" fmla="*/ 281940 h 281940"/>
                      <a:gd name="connsiteX4" fmla="*/ 327660 w 541020"/>
                      <a:gd name="connsiteY4" fmla="*/ 236220 h 281940"/>
                      <a:gd name="connsiteX5" fmla="*/ 495300 w 541020"/>
                      <a:gd name="connsiteY5" fmla="*/ 114300 h 281940"/>
                      <a:gd name="connsiteX6" fmla="*/ 541020 w 541020"/>
                      <a:gd name="connsiteY6" fmla="*/ 30480 h 281940"/>
                      <a:gd name="connsiteX7" fmla="*/ 518160 w 541020"/>
                      <a:gd name="connsiteY7" fmla="*/ 0 h 281940"/>
                      <a:gd name="connsiteX8" fmla="*/ 449580 w 541020"/>
                      <a:gd name="connsiteY8" fmla="*/ 0 h 281940"/>
                      <a:gd name="connsiteX9" fmla="*/ 175260 w 541020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64165"/>
                      <a:gd name="connsiteY0" fmla="*/ 50529 h 287263"/>
                      <a:gd name="connsiteX1" fmla="*/ 17128 w 564165"/>
                      <a:gd name="connsiteY1" fmla="*/ 126729 h 287263"/>
                      <a:gd name="connsiteX2" fmla="*/ 24748 w 564165"/>
                      <a:gd name="connsiteY2" fmla="*/ 256269 h 287263"/>
                      <a:gd name="connsiteX3" fmla="*/ 177148 w 564165"/>
                      <a:gd name="connsiteY3" fmla="*/ 286749 h 287263"/>
                      <a:gd name="connsiteX4" fmla="*/ 344788 w 564165"/>
                      <a:gd name="connsiteY4" fmla="*/ 241029 h 287263"/>
                      <a:gd name="connsiteX5" fmla="*/ 545402 w 564165"/>
                      <a:gd name="connsiteY5" fmla="*/ 181894 h 287263"/>
                      <a:gd name="connsiteX6" fmla="*/ 558148 w 564165"/>
                      <a:gd name="connsiteY6" fmla="*/ 35289 h 287263"/>
                      <a:gd name="connsiteX7" fmla="*/ 535288 w 564165"/>
                      <a:gd name="connsiteY7" fmla="*/ 4809 h 287263"/>
                      <a:gd name="connsiteX8" fmla="*/ 466708 w 564165"/>
                      <a:gd name="connsiteY8" fmla="*/ 4809 h 287263"/>
                      <a:gd name="connsiteX9" fmla="*/ 192388 w 564165"/>
                      <a:gd name="connsiteY9" fmla="*/ 50529 h 287263"/>
                      <a:gd name="connsiteX0" fmla="*/ 192388 w 564165"/>
                      <a:gd name="connsiteY0" fmla="*/ 50529 h 310225"/>
                      <a:gd name="connsiteX1" fmla="*/ 17128 w 564165"/>
                      <a:gd name="connsiteY1" fmla="*/ 126729 h 310225"/>
                      <a:gd name="connsiteX2" fmla="*/ 24748 w 564165"/>
                      <a:gd name="connsiteY2" fmla="*/ 256269 h 310225"/>
                      <a:gd name="connsiteX3" fmla="*/ 177148 w 564165"/>
                      <a:gd name="connsiteY3" fmla="*/ 286749 h 310225"/>
                      <a:gd name="connsiteX4" fmla="*/ 338214 w 564165"/>
                      <a:gd name="connsiteY4" fmla="*/ 301010 h 310225"/>
                      <a:gd name="connsiteX5" fmla="*/ 545402 w 564165"/>
                      <a:gd name="connsiteY5" fmla="*/ 181894 h 310225"/>
                      <a:gd name="connsiteX6" fmla="*/ 558148 w 564165"/>
                      <a:gd name="connsiteY6" fmla="*/ 35289 h 310225"/>
                      <a:gd name="connsiteX7" fmla="*/ 535288 w 564165"/>
                      <a:gd name="connsiteY7" fmla="*/ 4809 h 310225"/>
                      <a:gd name="connsiteX8" fmla="*/ 466708 w 564165"/>
                      <a:gd name="connsiteY8" fmla="*/ 4809 h 310225"/>
                      <a:gd name="connsiteX9" fmla="*/ 192388 w 564165"/>
                      <a:gd name="connsiteY9" fmla="*/ 50529 h 310225"/>
                      <a:gd name="connsiteX0" fmla="*/ 192388 w 564165"/>
                      <a:gd name="connsiteY0" fmla="*/ 50529 h 353427"/>
                      <a:gd name="connsiteX1" fmla="*/ 17128 w 564165"/>
                      <a:gd name="connsiteY1" fmla="*/ 126729 h 353427"/>
                      <a:gd name="connsiteX2" fmla="*/ 24748 w 564165"/>
                      <a:gd name="connsiteY2" fmla="*/ 256269 h 353427"/>
                      <a:gd name="connsiteX3" fmla="*/ 193096 w 564165"/>
                      <a:gd name="connsiteY3" fmla="*/ 353363 h 353427"/>
                      <a:gd name="connsiteX4" fmla="*/ 338214 w 564165"/>
                      <a:gd name="connsiteY4" fmla="*/ 301010 h 353427"/>
                      <a:gd name="connsiteX5" fmla="*/ 545402 w 564165"/>
                      <a:gd name="connsiteY5" fmla="*/ 181894 h 353427"/>
                      <a:gd name="connsiteX6" fmla="*/ 558148 w 564165"/>
                      <a:gd name="connsiteY6" fmla="*/ 35289 h 353427"/>
                      <a:gd name="connsiteX7" fmla="*/ 535288 w 564165"/>
                      <a:gd name="connsiteY7" fmla="*/ 4809 h 353427"/>
                      <a:gd name="connsiteX8" fmla="*/ 466708 w 564165"/>
                      <a:gd name="connsiteY8" fmla="*/ 4809 h 353427"/>
                      <a:gd name="connsiteX9" fmla="*/ 192388 w 564165"/>
                      <a:gd name="connsiteY9" fmla="*/ 50529 h 353427"/>
                      <a:gd name="connsiteX0" fmla="*/ 183456 w 555233"/>
                      <a:gd name="connsiteY0" fmla="*/ 50529 h 359674"/>
                      <a:gd name="connsiteX1" fmla="*/ 8196 w 555233"/>
                      <a:gd name="connsiteY1" fmla="*/ 126729 h 359674"/>
                      <a:gd name="connsiteX2" fmla="*/ 57235 w 555233"/>
                      <a:gd name="connsiteY2" fmla="*/ 343912 h 359674"/>
                      <a:gd name="connsiteX3" fmla="*/ 184164 w 555233"/>
                      <a:gd name="connsiteY3" fmla="*/ 353363 h 359674"/>
                      <a:gd name="connsiteX4" fmla="*/ 329282 w 555233"/>
                      <a:gd name="connsiteY4" fmla="*/ 301010 h 359674"/>
                      <a:gd name="connsiteX5" fmla="*/ 536470 w 555233"/>
                      <a:gd name="connsiteY5" fmla="*/ 181894 h 359674"/>
                      <a:gd name="connsiteX6" fmla="*/ 549216 w 555233"/>
                      <a:gd name="connsiteY6" fmla="*/ 35289 h 359674"/>
                      <a:gd name="connsiteX7" fmla="*/ 526356 w 555233"/>
                      <a:gd name="connsiteY7" fmla="*/ 4809 h 359674"/>
                      <a:gd name="connsiteX8" fmla="*/ 457776 w 555233"/>
                      <a:gd name="connsiteY8" fmla="*/ 4809 h 359674"/>
                      <a:gd name="connsiteX9" fmla="*/ 183456 w 555233"/>
                      <a:gd name="connsiteY9" fmla="*/ 50529 h 359674"/>
                      <a:gd name="connsiteX0" fmla="*/ 141822 w 513599"/>
                      <a:gd name="connsiteY0" fmla="*/ 50529 h 359674"/>
                      <a:gd name="connsiteX1" fmla="*/ 26880 w 513599"/>
                      <a:gd name="connsiteY1" fmla="*/ 162601 h 359674"/>
                      <a:gd name="connsiteX2" fmla="*/ 15601 w 513599"/>
                      <a:gd name="connsiteY2" fmla="*/ 343912 h 359674"/>
                      <a:gd name="connsiteX3" fmla="*/ 142530 w 513599"/>
                      <a:gd name="connsiteY3" fmla="*/ 353363 h 359674"/>
                      <a:gd name="connsiteX4" fmla="*/ 287648 w 513599"/>
                      <a:gd name="connsiteY4" fmla="*/ 301010 h 359674"/>
                      <a:gd name="connsiteX5" fmla="*/ 494836 w 513599"/>
                      <a:gd name="connsiteY5" fmla="*/ 181894 h 359674"/>
                      <a:gd name="connsiteX6" fmla="*/ 507582 w 513599"/>
                      <a:gd name="connsiteY6" fmla="*/ 35289 h 359674"/>
                      <a:gd name="connsiteX7" fmla="*/ 484722 w 513599"/>
                      <a:gd name="connsiteY7" fmla="*/ 4809 h 359674"/>
                      <a:gd name="connsiteX8" fmla="*/ 416142 w 513599"/>
                      <a:gd name="connsiteY8" fmla="*/ 4809 h 359674"/>
                      <a:gd name="connsiteX9" fmla="*/ 141822 w 513599"/>
                      <a:gd name="connsiteY9" fmla="*/ 50529 h 359674"/>
                      <a:gd name="connsiteX0" fmla="*/ 141822 w 530249"/>
                      <a:gd name="connsiteY0" fmla="*/ 50529 h 359674"/>
                      <a:gd name="connsiteX1" fmla="*/ 26880 w 530249"/>
                      <a:gd name="connsiteY1" fmla="*/ 162601 h 359674"/>
                      <a:gd name="connsiteX2" fmla="*/ 15601 w 530249"/>
                      <a:gd name="connsiteY2" fmla="*/ 343912 h 359674"/>
                      <a:gd name="connsiteX3" fmla="*/ 142530 w 530249"/>
                      <a:gd name="connsiteY3" fmla="*/ 353363 h 359674"/>
                      <a:gd name="connsiteX4" fmla="*/ 287648 w 530249"/>
                      <a:gd name="connsiteY4" fmla="*/ 301010 h 359674"/>
                      <a:gd name="connsiteX5" fmla="*/ 517239 w 530249"/>
                      <a:gd name="connsiteY5" fmla="*/ 238247 h 359674"/>
                      <a:gd name="connsiteX6" fmla="*/ 507582 w 530249"/>
                      <a:gd name="connsiteY6" fmla="*/ 35289 h 359674"/>
                      <a:gd name="connsiteX7" fmla="*/ 484722 w 530249"/>
                      <a:gd name="connsiteY7" fmla="*/ 4809 h 359674"/>
                      <a:gd name="connsiteX8" fmla="*/ 416142 w 530249"/>
                      <a:gd name="connsiteY8" fmla="*/ 4809 h 359674"/>
                      <a:gd name="connsiteX9" fmla="*/ 141822 w 530249"/>
                      <a:gd name="connsiteY9" fmla="*/ 50529 h 35967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47613 h 369288"/>
                      <a:gd name="connsiteX1" fmla="*/ 26880 w 530248"/>
                      <a:gd name="connsiteY1" fmla="*/ 159685 h 369288"/>
                      <a:gd name="connsiteX2" fmla="*/ 15601 w 530248"/>
                      <a:gd name="connsiteY2" fmla="*/ 340996 h 369288"/>
                      <a:gd name="connsiteX3" fmla="*/ 142530 w 530248"/>
                      <a:gd name="connsiteY3" fmla="*/ 350447 h 369288"/>
                      <a:gd name="connsiteX4" fmla="*/ 292200 w 530248"/>
                      <a:gd name="connsiteY4" fmla="*/ 359200 h 369288"/>
                      <a:gd name="connsiteX5" fmla="*/ 517239 w 530248"/>
                      <a:gd name="connsiteY5" fmla="*/ 235331 h 369288"/>
                      <a:gd name="connsiteX6" fmla="*/ 507582 w 530248"/>
                      <a:gd name="connsiteY6" fmla="*/ 32373 h 369288"/>
                      <a:gd name="connsiteX7" fmla="*/ 416142 w 530248"/>
                      <a:gd name="connsiteY7" fmla="*/ 1893 h 369288"/>
                      <a:gd name="connsiteX8" fmla="*/ 141822 w 530248"/>
                      <a:gd name="connsiteY8" fmla="*/ 47613 h 369288"/>
                      <a:gd name="connsiteX0" fmla="*/ 138197 w 526623"/>
                      <a:gd name="connsiteY0" fmla="*/ 47613 h 376324"/>
                      <a:gd name="connsiteX1" fmla="*/ 23255 w 526623"/>
                      <a:gd name="connsiteY1" fmla="*/ 159685 h 376324"/>
                      <a:gd name="connsiteX2" fmla="*/ 11976 w 526623"/>
                      <a:gd name="connsiteY2" fmla="*/ 340996 h 376324"/>
                      <a:gd name="connsiteX3" fmla="*/ 132119 w 526623"/>
                      <a:gd name="connsiteY3" fmla="*/ 374396 h 376324"/>
                      <a:gd name="connsiteX4" fmla="*/ 288575 w 526623"/>
                      <a:gd name="connsiteY4" fmla="*/ 359200 h 376324"/>
                      <a:gd name="connsiteX5" fmla="*/ 513614 w 526623"/>
                      <a:gd name="connsiteY5" fmla="*/ 235331 h 376324"/>
                      <a:gd name="connsiteX6" fmla="*/ 503957 w 526623"/>
                      <a:gd name="connsiteY6" fmla="*/ 32373 h 376324"/>
                      <a:gd name="connsiteX7" fmla="*/ 412517 w 526623"/>
                      <a:gd name="connsiteY7" fmla="*/ 1893 h 376324"/>
                      <a:gd name="connsiteX8" fmla="*/ 138197 w 526623"/>
                      <a:gd name="connsiteY8" fmla="*/ 47613 h 376324"/>
                      <a:gd name="connsiteX0" fmla="*/ 427441 w 541547"/>
                      <a:gd name="connsiteY0" fmla="*/ 10181 h 384611"/>
                      <a:gd name="connsiteX1" fmla="*/ 38179 w 541547"/>
                      <a:gd name="connsiteY1" fmla="*/ 167973 h 384611"/>
                      <a:gd name="connsiteX2" fmla="*/ 26900 w 541547"/>
                      <a:gd name="connsiteY2" fmla="*/ 349284 h 384611"/>
                      <a:gd name="connsiteX3" fmla="*/ 147043 w 541547"/>
                      <a:gd name="connsiteY3" fmla="*/ 382684 h 384611"/>
                      <a:gd name="connsiteX4" fmla="*/ 303499 w 541547"/>
                      <a:gd name="connsiteY4" fmla="*/ 367488 h 384611"/>
                      <a:gd name="connsiteX5" fmla="*/ 528538 w 541547"/>
                      <a:gd name="connsiteY5" fmla="*/ 243619 h 384611"/>
                      <a:gd name="connsiteX6" fmla="*/ 518881 w 541547"/>
                      <a:gd name="connsiteY6" fmla="*/ 40661 h 384611"/>
                      <a:gd name="connsiteX7" fmla="*/ 427441 w 541547"/>
                      <a:gd name="connsiteY7" fmla="*/ 10181 h 384611"/>
                      <a:gd name="connsiteX0" fmla="*/ 400497 w 514603"/>
                      <a:gd name="connsiteY0" fmla="*/ 10183 h 384613"/>
                      <a:gd name="connsiteX1" fmla="*/ 11235 w 514603"/>
                      <a:gd name="connsiteY1" fmla="*/ 167975 h 384613"/>
                      <a:gd name="connsiteX2" fmla="*/ 120099 w 514603"/>
                      <a:gd name="connsiteY2" fmla="*/ 382686 h 384613"/>
                      <a:gd name="connsiteX3" fmla="*/ 276555 w 514603"/>
                      <a:gd name="connsiteY3" fmla="*/ 367490 h 384613"/>
                      <a:gd name="connsiteX4" fmla="*/ 501594 w 514603"/>
                      <a:gd name="connsiteY4" fmla="*/ 243621 h 384613"/>
                      <a:gd name="connsiteX5" fmla="*/ 491937 w 514603"/>
                      <a:gd name="connsiteY5" fmla="*/ 40663 h 384613"/>
                      <a:gd name="connsiteX6" fmla="*/ 400497 w 514603"/>
                      <a:gd name="connsiteY6" fmla="*/ 10183 h 384613"/>
                      <a:gd name="connsiteX0" fmla="*/ 400497 w 514603"/>
                      <a:gd name="connsiteY0" fmla="*/ 10183 h 383828"/>
                      <a:gd name="connsiteX1" fmla="*/ 11235 w 514603"/>
                      <a:gd name="connsiteY1" fmla="*/ 167975 h 383828"/>
                      <a:gd name="connsiteX2" fmla="*/ 120099 w 514603"/>
                      <a:gd name="connsiteY2" fmla="*/ 382686 h 383828"/>
                      <a:gd name="connsiteX3" fmla="*/ 501594 w 514603"/>
                      <a:gd name="connsiteY3" fmla="*/ 243621 h 383828"/>
                      <a:gd name="connsiteX4" fmla="*/ 491937 w 514603"/>
                      <a:gd name="connsiteY4" fmla="*/ 40663 h 383828"/>
                      <a:gd name="connsiteX5" fmla="*/ 400497 w 514603"/>
                      <a:gd name="connsiteY5" fmla="*/ 10183 h 383828"/>
                      <a:gd name="connsiteX0" fmla="*/ 400497 w 517116"/>
                      <a:gd name="connsiteY0" fmla="*/ 1010 h 374655"/>
                      <a:gd name="connsiteX1" fmla="*/ 11235 w 517116"/>
                      <a:gd name="connsiteY1" fmla="*/ 158802 h 374655"/>
                      <a:gd name="connsiteX2" fmla="*/ 120099 w 517116"/>
                      <a:gd name="connsiteY2" fmla="*/ 373513 h 374655"/>
                      <a:gd name="connsiteX3" fmla="*/ 501594 w 517116"/>
                      <a:gd name="connsiteY3" fmla="*/ 234448 h 374655"/>
                      <a:gd name="connsiteX4" fmla="*/ 400497 w 517116"/>
                      <a:gd name="connsiteY4" fmla="*/ 1010 h 374655"/>
                      <a:gd name="connsiteX0" fmla="*/ 229268 w 499490"/>
                      <a:gd name="connsiteY0" fmla="*/ 680 h 443283"/>
                      <a:gd name="connsiteX1" fmla="*/ 2905 w 499490"/>
                      <a:gd name="connsiteY1" fmla="*/ 227430 h 443283"/>
                      <a:gd name="connsiteX2" fmla="*/ 111769 w 499490"/>
                      <a:gd name="connsiteY2" fmla="*/ 442141 h 443283"/>
                      <a:gd name="connsiteX3" fmla="*/ 493264 w 499490"/>
                      <a:gd name="connsiteY3" fmla="*/ 303076 h 443283"/>
                      <a:gd name="connsiteX4" fmla="*/ 229268 w 499490"/>
                      <a:gd name="connsiteY4" fmla="*/ 680 h 443283"/>
                      <a:gd name="connsiteX0" fmla="*/ 229268 w 512732"/>
                      <a:gd name="connsiteY0" fmla="*/ 46 h 442649"/>
                      <a:gd name="connsiteX1" fmla="*/ 2905 w 512732"/>
                      <a:gd name="connsiteY1" fmla="*/ 226796 h 442649"/>
                      <a:gd name="connsiteX2" fmla="*/ 111769 w 512732"/>
                      <a:gd name="connsiteY2" fmla="*/ 441507 h 442649"/>
                      <a:gd name="connsiteX3" fmla="*/ 493264 w 512732"/>
                      <a:gd name="connsiteY3" fmla="*/ 302442 h 442649"/>
                      <a:gd name="connsiteX4" fmla="*/ 444422 w 512732"/>
                      <a:gd name="connsiteY4" fmla="*/ 245432 h 442649"/>
                      <a:gd name="connsiteX5" fmla="*/ 229268 w 512732"/>
                      <a:gd name="connsiteY5" fmla="*/ 46 h 442649"/>
                      <a:gd name="connsiteX0" fmla="*/ 230315 w 513779"/>
                      <a:gd name="connsiteY0" fmla="*/ 44 h 400286"/>
                      <a:gd name="connsiteX1" fmla="*/ 3952 w 513779"/>
                      <a:gd name="connsiteY1" fmla="*/ 226794 h 400286"/>
                      <a:gd name="connsiteX2" fmla="*/ 99654 w 513779"/>
                      <a:gd name="connsiteY2" fmla="*/ 398368 h 400286"/>
                      <a:gd name="connsiteX3" fmla="*/ 494311 w 513779"/>
                      <a:gd name="connsiteY3" fmla="*/ 302440 h 400286"/>
                      <a:gd name="connsiteX4" fmla="*/ 445469 w 513779"/>
                      <a:gd name="connsiteY4" fmla="*/ 245430 h 400286"/>
                      <a:gd name="connsiteX5" fmla="*/ 230315 w 513779"/>
                      <a:gd name="connsiteY5" fmla="*/ 44 h 400286"/>
                      <a:gd name="connsiteX0" fmla="*/ 231156 w 514620"/>
                      <a:gd name="connsiteY0" fmla="*/ 44 h 400286"/>
                      <a:gd name="connsiteX1" fmla="*/ 4793 w 514620"/>
                      <a:gd name="connsiteY1" fmla="*/ 226794 h 400286"/>
                      <a:gd name="connsiteX2" fmla="*/ 100495 w 514620"/>
                      <a:gd name="connsiteY2" fmla="*/ 398368 h 400286"/>
                      <a:gd name="connsiteX3" fmla="*/ 495152 w 514620"/>
                      <a:gd name="connsiteY3" fmla="*/ 302440 h 400286"/>
                      <a:gd name="connsiteX4" fmla="*/ 446310 w 514620"/>
                      <a:gd name="connsiteY4" fmla="*/ 245430 h 400286"/>
                      <a:gd name="connsiteX5" fmla="*/ 231156 w 514620"/>
                      <a:gd name="connsiteY5" fmla="*/ 44 h 400286"/>
                      <a:gd name="connsiteX0" fmla="*/ 168188 w 451652"/>
                      <a:gd name="connsiteY0" fmla="*/ 2 h 400244"/>
                      <a:gd name="connsiteX1" fmla="*/ 25423 w 451652"/>
                      <a:gd name="connsiteY1" fmla="*/ 241481 h 400244"/>
                      <a:gd name="connsiteX2" fmla="*/ 37527 w 451652"/>
                      <a:gd name="connsiteY2" fmla="*/ 398326 h 400244"/>
                      <a:gd name="connsiteX3" fmla="*/ 432184 w 451652"/>
                      <a:gd name="connsiteY3" fmla="*/ 302398 h 400244"/>
                      <a:gd name="connsiteX4" fmla="*/ 383342 w 451652"/>
                      <a:gd name="connsiteY4" fmla="*/ 245388 h 400244"/>
                      <a:gd name="connsiteX5" fmla="*/ 168188 w 451652"/>
                      <a:gd name="connsiteY5" fmla="*/ 2 h 4002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51652" h="400244">
                        <a:moveTo>
                          <a:pt x="168188" y="2"/>
                        </a:moveTo>
                        <a:cubicBezTo>
                          <a:pt x="108535" y="-649"/>
                          <a:pt x="47200" y="175094"/>
                          <a:pt x="25423" y="241481"/>
                        </a:cubicBezTo>
                        <a:cubicBezTo>
                          <a:pt x="3646" y="307868"/>
                          <a:pt x="-23934" y="402853"/>
                          <a:pt x="37527" y="398326"/>
                        </a:cubicBezTo>
                        <a:cubicBezTo>
                          <a:pt x="119254" y="410934"/>
                          <a:pt x="370211" y="359402"/>
                          <a:pt x="432184" y="302398"/>
                        </a:cubicBezTo>
                        <a:cubicBezTo>
                          <a:pt x="481235" y="250735"/>
                          <a:pt x="427341" y="295787"/>
                          <a:pt x="383342" y="245388"/>
                        </a:cubicBezTo>
                        <a:cubicBezTo>
                          <a:pt x="339343" y="194989"/>
                          <a:pt x="227841" y="653"/>
                          <a:pt x="168188" y="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</p:grpSp>
          </p:grpSp>
          <p:sp>
            <p:nvSpPr>
              <p:cNvPr id="268" name="Freeform 153"/>
              <p:cNvSpPr/>
              <p:nvPr/>
            </p:nvSpPr>
            <p:spPr bwMode="auto">
              <a:xfrm rot="8302761">
                <a:off x="4002088" y="4259263"/>
                <a:ext cx="487362" cy="279400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400455 w 517074"/>
                  <a:gd name="connsiteY0" fmla="*/ 1010 h 421811"/>
                  <a:gd name="connsiteX1" fmla="*/ 11193 w 517074"/>
                  <a:gd name="connsiteY1" fmla="*/ 158802 h 421811"/>
                  <a:gd name="connsiteX2" fmla="*/ 120057 w 517074"/>
                  <a:gd name="connsiteY2" fmla="*/ 373513 h 421811"/>
                  <a:gd name="connsiteX3" fmla="*/ 331053 w 517074"/>
                  <a:gd name="connsiteY3" fmla="*/ 413816 h 421811"/>
                  <a:gd name="connsiteX4" fmla="*/ 501552 w 517074"/>
                  <a:gd name="connsiteY4" fmla="*/ 234448 h 421811"/>
                  <a:gd name="connsiteX5" fmla="*/ 400455 w 517074"/>
                  <a:gd name="connsiteY5" fmla="*/ 1010 h 421811"/>
                  <a:gd name="connsiteX0" fmla="*/ 400455 w 517074"/>
                  <a:gd name="connsiteY0" fmla="*/ 1010 h 413815"/>
                  <a:gd name="connsiteX1" fmla="*/ 11193 w 517074"/>
                  <a:gd name="connsiteY1" fmla="*/ 158802 h 413815"/>
                  <a:gd name="connsiteX2" fmla="*/ 120057 w 517074"/>
                  <a:gd name="connsiteY2" fmla="*/ 373513 h 413815"/>
                  <a:gd name="connsiteX3" fmla="*/ 331053 w 517074"/>
                  <a:gd name="connsiteY3" fmla="*/ 413816 h 413815"/>
                  <a:gd name="connsiteX4" fmla="*/ 501552 w 517074"/>
                  <a:gd name="connsiteY4" fmla="*/ 234448 h 413815"/>
                  <a:gd name="connsiteX5" fmla="*/ 400455 w 517074"/>
                  <a:gd name="connsiteY5" fmla="*/ 1010 h 413815"/>
                  <a:gd name="connsiteX0" fmla="*/ 400455 w 517074"/>
                  <a:gd name="connsiteY0" fmla="*/ 1010 h 436945"/>
                  <a:gd name="connsiteX1" fmla="*/ 11193 w 517074"/>
                  <a:gd name="connsiteY1" fmla="*/ 158802 h 436945"/>
                  <a:gd name="connsiteX2" fmla="*/ 120057 w 517074"/>
                  <a:gd name="connsiteY2" fmla="*/ 373513 h 436945"/>
                  <a:gd name="connsiteX3" fmla="*/ 338006 w 517074"/>
                  <a:gd name="connsiteY3" fmla="*/ 436944 h 436945"/>
                  <a:gd name="connsiteX4" fmla="*/ 501552 w 517074"/>
                  <a:gd name="connsiteY4" fmla="*/ 234448 h 436945"/>
                  <a:gd name="connsiteX5" fmla="*/ 400455 w 517074"/>
                  <a:gd name="connsiteY5" fmla="*/ 1010 h 436945"/>
                  <a:gd name="connsiteX0" fmla="*/ 399893 w 516512"/>
                  <a:gd name="connsiteY0" fmla="*/ 1010 h 443156"/>
                  <a:gd name="connsiteX1" fmla="*/ 10631 w 516512"/>
                  <a:gd name="connsiteY1" fmla="*/ 158802 h 443156"/>
                  <a:gd name="connsiteX2" fmla="*/ 119495 w 516512"/>
                  <a:gd name="connsiteY2" fmla="*/ 373513 h 443156"/>
                  <a:gd name="connsiteX3" fmla="*/ 242095 w 516512"/>
                  <a:gd name="connsiteY3" fmla="*/ 380788 h 443156"/>
                  <a:gd name="connsiteX4" fmla="*/ 337444 w 516512"/>
                  <a:gd name="connsiteY4" fmla="*/ 436944 h 443156"/>
                  <a:gd name="connsiteX5" fmla="*/ 500990 w 516512"/>
                  <a:gd name="connsiteY5" fmla="*/ 234448 h 443156"/>
                  <a:gd name="connsiteX6" fmla="*/ 399893 w 516512"/>
                  <a:gd name="connsiteY6" fmla="*/ 1010 h 443156"/>
                  <a:gd name="connsiteX0" fmla="*/ 413302 w 529921"/>
                  <a:gd name="connsiteY0" fmla="*/ 1010 h 443156"/>
                  <a:gd name="connsiteX1" fmla="*/ 24040 w 529921"/>
                  <a:gd name="connsiteY1" fmla="*/ 158802 h 443156"/>
                  <a:gd name="connsiteX2" fmla="*/ 62827 w 529921"/>
                  <a:gd name="connsiteY2" fmla="*/ 372425 h 443156"/>
                  <a:gd name="connsiteX3" fmla="*/ 255504 w 529921"/>
                  <a:gd name="connsiteY3" fmla="*/ 380788 h 443156"/>
                  <a:gd name="connsiteX4" fmla="*/ 350853 w 529921"/>
                  <a:gd name="connsiteY4" fmla="*/ 436944 h 443156"/>
                  <a:gd name="connsiteX5" fmla="*/ 514399 w 529921"/>
                  <a:gd name="connsiteY5" fmla="*/ 234448 h 443156"/>
                  <a:gd name="connsiteX6" fmla="*/ 413302 w 529921"/>
                  <a:gd name="connsiteY6" fmla="*/ 1010 h 443156"/>
                  <a:gd name="connsiteX0" fmla="*/ 488995 w 605614"/>
                  <a:gd name="connsiteY0" fmla="*/ 988 h 443134"/>
                  <a:gd name="connsiteX1" fmla="*/ 99733 w 605614"/>
                  <a:gd name="connsiteY1" fmla="*/ 158780 h 443134"/>
                  <a:gd name="connsiteX2" fmla="*/ 1000 w 605614"/>
                  <a:gd name="connsiteY2" fmla="*/ 355496 h 443134"/>
                  <a:gd name="connsiteX3" fmla="*/ 138520 w 605614"/>
                  <a:gd name="connsiteY3" fmla="*/ 372403 h 443134"/>
                  <a:gd name="connsiteX4" fmla="*/ 331197 w 605614"/>
                  <a:gd name="connsiteY4" fmla="*/ 380766 h 443134"/>
                  <a:gd name="connsiteX5" fmla="*/ 426546 w 605614"/>
                  <a:gd name="connsiteY5" fmla="*/ 436922 h 443134"/>
                  <a:gd name="connsiteX6" fmla="*/ 590092 w 605614"/>
                  <a:gd name="connsiteY6" fmla="*/ 234426 h 443134"/>
                  <a:gd name="connsiteX7" fmla="*/ 488995 w 605614"/>
                  <a:gd name="connsiteY7" fmla="*/ 988 h 443134"/>
                  <a:gd name="connsiteX0" fmla="*/ 641557 w 764235"/>
                  <a:gd name="connsiteY0" fmla="*/ 91 h 442237"/>
                  <a:gd name="connsiteX1" fmla="*/ 18713 w 764235"/>
                  <a:gd name="connsiteY1" fmla="*/ 207495 h 442237"/>
                  <a:gd name="connsiteX2" fmla="*/ 153562 w 764235"/>
                  <a:gd name="connsiteY2" fmla="*/ 354599 h 442237"/>
                  <a:gd name="connsiteX3" fmla="*/ 291082 w 764235"/>
                  <a:gd name="connsiteY3" fmla="*/ 371506 h 442237"/>
                  <a:gd name="connsiteX4" fmla="*/ 483759 w 764235"/>
                  <a:gd name="connsiteY4" fmla="*/ 379869 h 442237"/>
                  <a:gd name="connsiteX5" fmla="*/ 579108 w 764235"/>
                  <a:gd name="connsiteY5" fmla="*/ 436025 h 442237"/>
                  <a:gd name="connsiteX6" fmla="*/ 742654 w 764235"/>
                  <a:gd name="connsiteY6" fmla="*/ 233529 h 442237"/>
                  <a:gd name="connsiteX7" fmla="*/ 641557 w 764235"/>
                  <a:gd name="connsiteY7" fmla="*/ 91 h 442237"/>
                  <a:gd name="connsiteX0" fmla="*/ 634007 w 756685"/>
                  <a:gd name="connsiteY0" fmla="*/ 108 h 442254"/>
                  <a:gd name="connsiteX1" fmla="*/ 11163 w 756685"/>
                  <a:gd name="connsiteY1" fmla="*/ 207512 h 442254"/>
                  <a:gd name="connsiteX2" fmla="*/ 146012 w 756685"/>
                  <a:gd name="connsiteY2" fmla="*/ 354616 h 442254"/>
                  <a:gd name="connsiteX3" fmla="*/ 283532 w 756685"/>
                  <a:gd name="connsiteY3" fmla="*/ 371523 h 442254"/>
                  <a:gd name="connsiteX4" fmla="*/ 476209 w 756685"/>
                  <a:gd name="connsiteY4" fmla="*/ 379886 h 442254"/>
                  <a:gd name="connsiteX5" fmla="*/ 571558 w 756685"/>
                  <a:gd name="connsiteY5" fmla="*/ 436042 h 442254"/>
                  <a:gd name="connsiteX6" fmla="*/ 735104 w 756685"/>
                  <a:gd name="connsiteY6" fmla="*/ 233546 h 442254"/>
                  <a:gd name="connsiteX7" fmla="*/ 634007 w 756685"/>
                  <a:gd name="connsiteY7" fmla="*/ 108 h 442254"/>
                  <a:gd name="connsiteX0" fmla="*/ 626214 w 741511"/>
                  <a:gd name="connsiteY0" fmla="*/ 8302 h 450448"/>
                  <a:gd name="connsiteX1" fmla="*/ 306711 w 741511"/>
                  <a:gd name="connsiteY1" fmla="*/ 67573 h 450448"/>
                  <a:gd name="connsiteX2" fmla="*/ 3370 w 741511"/>
                  <a:gd name="connsiteY2" fmla="*/ 215706 h 450448"/>
                  <a:gd name="connsiteX3" fmla="*/ 138219 w 741511"/>
                  <a:gd name="connsiteY3" fmla="*/ 362810 h 450448"/>
                  <a:gd name="connsiteX4" fmla="*/ 275739 w 741511"/>
                  <a:gd name="connsiteY4" fmla="*/ 379717 h 450448"/>
                  <a:gd name="connsiteX5" fmla="*/ 468416 w 741511"/>
                  <a:gd name="connsiteY5" fmla="*/ 388080 h 450448"/>
                  <a:gd name="connsiteX6" fmla="*/ 563765 w 741511"/>
                  <a:gd name="connsiteY6" fmla="*/ 444236 h 450448"/>
                  <a:gd name="connsiteX7" fmla="*/ 727311 w 741511"/>
                  <a:gd name="connsiteY7" fmla="*/ 241740 h 450448"/>
                  <a:gd name="connsiteX8" fmla="*/ 626214 w 741511"/>
                  <a:gd name="connsiteY8" fmla="*/ 8302 h 450448"/>
                  <a:gd name="connsiteX0" fmla="*/ 636890 w 752187"/>
                  <a:gd name="connsiteY0" fmla="*/ 8302 h 450448"/>
                  <a:gd name="connsiteX1" fmla="*/ 317387 w 752187"/>
                  <a:gd name="connsiteY1" fmla="*/ 67573 h 450448"/>
                  <a:gd name="connsiteX2" fmla="*/ 14046 w 752187"/>
                  <a:gd name="connsiteY2" fmla="*/ 215706 h 450448"/>
                  <a:gd name="connsiteX3" fmla="*/ 148895 w 752187"/>
                  <a:gd name="connsiteY3" fmla="*/ 362810 h 450448"/>
                  <a:gd name="connsiteX4" fmla="*/ 286415 w 752187"/>
                  <a:gd name="connsiteY4" fmla="*/ 379717 h 450448"/>
                  <a:gd name="connsiteX5" fmla="*/ 479092 w 752187"/>
                  <a:gd name="connsiteY5" fmla="*/ 388080 h 450448"/>
                  <a:gd name="connsiteX6" fmla="*/ 574441 w 752187"/>
                  <a:gd name="connsiteY6" fmla="*/ 444236 h 450448"/>
                  <a:gd name="connsiteX7" fmla="*/ 737987 w 752187"/>
                  <a:gd name="connsiteY7" fmla="*/ 241740 h 450448"/>
                  <a:gd name="connsiteX8" fmla="*/ 636890 w 752187"/>
                  <a:gd name="connsiteY8" fmla="*/ 8302 h 450448"/>
                  <a:gd name="connsiteX0" fmla="*/ 636890 w 1242660"/>
                  <a:gd name="connsiteY0" fmla="*/ 204853 h 646999"/>
                  <a:gd name="connsiteX1" fmla="*/ 317387 w 1242660"/>
                  <a:gd name="connsiteY1" fmla="*/ 264124 h 646999"/>
                  <a:gd name="connsiteX2" fmla="*/ 14046 w 1242660"/>
                  <a:gd name="connsiteY2" fmla="*/ 412257 h 646999"/>
                  <a:gd name="connsiteX3" fmla="*/ 148895 w 1242660"/>
                  <a:gd name="connsiteY3" fmla="*/ 559361 h 646999"/>
                  <a:gd name="connsiteX4" fmla="*/ 286415 w 1242660"/>
                  <a:gd name="connsiteY4" fmla="*/ 576268 h 646999"/>
                  <a:gd name="connsiteX5" fmla="*/ 479092 w 1242660"/>
                  <a:gd name="connsiteY5" fmla="*/ 584631 h 646999"/>
                  <a:gd name="connsiteX6" fmla="*/ 574441 w 1242660"/>
                  <a:gd name="connsiteY6" fmla="*/ 640787 h 646999"/>
                  <a:gd name="connsiteX7" fmla="*/ 737987 w 1242660"/>
                  <a:gd name="connsiteY7" fmla="*/ 438291 h 646999"/>
                  <a:gd name="connsiteX8" fmla="*/ 1242241 w 1242660"/>
                  <a:gd name="connsiteY8" fmla="*/ 5091 h 646999"/>
                  <a:gd name="connsiteX9" fmla="*/ 636890 w 1242660"/>
                  <a:gd name="connsiteY9" fmla="*/ 204853 h 646999"/>
                  <a:gd name="connsiteX0" fmla="*/ 636890 w 1256529"/>
                  <a:gd name="connsiteY0" fmla="*/ 204853 h 646999"/>
                  <a:gd name="connsiteX1" fmla="*/ 317387 w 1256529"/>
                  <a:gd name="connsiteY1" fmla="*/ 264124 h 646999"/>
                  <a:gd name="connsiteX2" fmla="*/ 14046 w 1256529"/>
                  <a:gd name="connsiteY2" fmla="*/ 412257 h 646999"/>
                  <a:gd name="connsiteX3" fmla="*/ 148895 w 1256529"/>
                  <a:gd name="connsiteY3" fmla="*/ 559361 h 646999"/>
                  <a:gd name="connsiteX4" fmla="*/ 286415 w 1256529"/>
                  <a:gd name="connsiteY4" fmla="*/ 576268 h 646999"/>
                  <a:gd name="connsiteX5" fmla="*/ 479092 w 1256529"/>
                  <a:gd name="connsiteY5" fmla="*/ 584631 h 646999"/>
                  <a:gd name="connsiteX6" fmla="*/ 574441 w 1256529"/>
                  <a:gd name="connsiteY6" fmla="*/ 640787 h 646999"/>
                  <a:gd name="connsiteX7" fmla="*/ 737987 w 1256529"/>
                  <a:gd name="connsiteY7" fmla="*/ 438291 h 646999"/>
                  <a:gd name="connsiteX8" fmla="*/ 1073746 w 1256529"/>
                  <a:gd name="connsiteY8" fmla="*/ 300323 h 646999"/>
                  <a:gd name="connsiteX9" fmla="*/ 1242241 w 1256529"/>
                  <a:gd name="connsiteY9" fmla="*/ 5091 h 646999"/>
                  <a:gd name="connsiteX10" fmla="*/ 636890 w 1256529"/>
                  <a:gd name="connsiteY10" fmla="*/ 204853 h 646999"/>
                  <a:gd name="connsiteX0" fmla="*/ 636890 w 1275413"/>
                  <a:gd name="connsiteY0" fmla="*/ 204853 h 646999"/>
                  <a:gd name="connsiteX1" fmla="*/ 317387 w 1275413"/>
                  <a:gd name="connsiteY1" fmla="*/ 264124 h 646999"/>
                  <a:gd name="connsiteX2" fmla="*/ 14046 w 1275413"/>
                  <a:gd name="connsiteY2" fmla="*/ 412257 h 646999"/>
                  <a:gd name="connsiteX3" fmla="*/ 148895 w 1275413"/>
                  <a:gd name="connsiteY3" fmla="*/ 559361 h 646999"/>
                  <a:gd name="connsiteX4" fmla="*/ 286415 w 1275413"/>
                  <a:gd name="connsiteY4" fmla="*/ 576268 h 646999"/>
                  <a:gd name="connsiteX5" fmla="*/ 479092 w 1275413"/>
                  <a:gd name="connsiteY5" fmla="*/ 584631 h 646999"/>
                  <a:gd name="connsiteX6" fmla="*/ 574441 w 1275413"/>
                  <a:gd name="connsiteY6" fmla="*/ 640787 h 646999"/>
                  <a:gd name="connsiteX7" fmla="*/ 737987 w 1275413"/>
                  <a:gd name="connsiteY7" fmla="*/ 438291 h 646999"/>
                  <a:gd name="connsiteX8" fmla="*/ 1073746 w 1275413"/>
                  <a:gd name="connsiteY8" fmla="*/ 300323 h 646999"/>
                  <a:gd name="connsiteX9" fmla="*/ 1174711 w 1275413"/>
                  <a:gd name="connsiteY9" fmla="*/ 121314 h 646999"/>
                  <a:gd name="connsiteX10" fmla="*/ 1242241 w 1275413"/>
                  <a:gd name="connsiteY10" fmla="*/ 5091 h 646999"/>
                  <a:gd name="connsiteX11" fmla="*/ 636890 w 1275413"/>
                  <a:gd name="connsiteY11" fmla="*/ 204853 h 646999"/>
                  <a:gd name="connsiteX0" fmla="*/ 636890 w 1282047"/>
                  <a:gd name="connsiteY0" fmla="*/ 207145 h 649291"/>
                  <a:gd name="connsiteX1" fmla="*/ 317387 w 1282047"/>
                  <a:gd name="connsiteY1" fmla="*/ 266416 h 649291"/>
                  <a:gd name="connsiteX2" fmla="*/ 14046 w 1282047"/>
                  <a:gd name="connsiteY2" fmla="*/ 414549 h 649291"/>
                  <a:gd name="connsiteX3" fmla="*/ 148895 w 1282047"/>
                  <a:gd name="connsiteY3" fmla="*/ 561653 h 649291"/>
                  <a:gd name="connsiteX4" fmla="*/ 286415 w 1282047"/>
                  <a:gd name="connsiteY4" fmla="*/ 578560 h 649291"/>
                  <a:gd name="connsiteX5" fmla="*/ 479092 w 1282047"/>
                  <a:gd name="connsiteY5" fmla="*/ 586923 h 649291"/>
                  <a:gd name="connsiteX6" fmla="*/ 574441 w 1282047"/>
                  <a:gd name="connsiteY6" fmla="*/ 643079 h 649291"/>
                  <a:gd name="connsiteX7" fmla="*/ 737987 w 1282047"/>
                  <a:gd name="connsiteY7" fmla="*/ 440583 h 649291"/>
                  <a:gd name="connsiteX8" fmla="*/ 1073746 w 1282047"/>
                  <a:gd name="connsiteY8" fmla="*/ 302615 h 649291"/>
                  <a:gd name="connsiteX9" fmla="*/ 1174711 w 1282047"/>
                  <a:gd name="connsiteY9" fmla="*/ 123606 h 649291"/>
                  <a:gd name="connsiteX10" fmla="*/ 1207524 w 1282047"/>
                  <a:gd name="connsiteY10" fmla="*/ 51451 h 649291"/>
                  <a:gd name="connsiteX11" fmla="*/ 1242241 w 1282047"/>
                  <a:gd name="connsiteY11" fmla="*/ 7383 h 649291"/>
                  <a:gd name="connsiteX12" fmla="*/ 636890 w 1282047"/>
                  <a:gd name="connsiteY12" fmla="*/ 207145 h 649291"/>
                  <a:gd name="connsiteX0" fmla="*/ 636890 w 1215280"/>
                  <a:gd name="connsiteY0" fmla="*/ 190023 h 632169"/>
                  <a:gd name="connsiteX1" fmla="*/ 317387 w 1215280"/>
                  <a:gd name="connsiteY1" fmla="*/ 249294 h 632169"/>
                  <a:gd name="connsiteX2" fmla="*/ 14046 w 1215280"/>
                  <a:gd name="connsiteY2" fmla="*/ 397427 h 632169"/>
                  <a:gd name="connsiteX3" fmla="*/ 148895 w 1215280"/>
                  <a:gd name="connsiteY3" fmla="*/ 544531 h 632169"/>
                  <a:gd name="connsiteX4" fmla="*/ 286415 w 1215280"/>
                  <a:gd name="connsiteY4" fmla="*/ 561438 h 632169"/>
                  <a:gd name="connsiteX5" fmla="*/ 479092 w 1215280"/>
                  <a:gd name="connsiteY5" fmla="*/ 569801 h 632169"/>
                  <a:gd name="connsiteX6" fmla="*/ 574441 w 1215280"/>
                  <a:gd name="connsiteY6" fmla="*/ 625957 h 632169"/>
                  <a:gd name="connsiteX7" fmla="*/ 737987 w 1215280"/>
                  <a:gd name="connsiteY7" fmla="*/ 423461 h 632169"/>
                  <a:gd name="connsiteX8" fmla="*/ 1073746 w 1215280"/>
                  <a:gd name="connsiteY8" fmla="*/ 285493 h 632169"/>
                  <a:gd name="connsiteX9" fmla="*/ 1174711 w 1215280"/>
                  <a:gd name="connsiteY9" fmla="*/ 106484 h 632169"/>
                  <a:gd name="connsiteX10" fmla="*/ 1207524 w 1215280"/>
                  <a:gd name="connsiteY10" fmla="*/ 34329 h 632169"/>
                  <a:gd name="connsiteX11" fmla="*/ 1130499 w 1215280"/>
                  <a:gd name="connsiteY11" fmla="*/ 10111 h 632169"/>
                  <a:gd name="connsiteX12" fmla="*/ 636890 w 1215280"/>
                  <a:gd name="connsiteY12" fmla="*/ 190023 h 632169"/>
                  <a:gd name="connsiteX0" fmla="*/ 642988 w 1221378"/>
                  <a:gd name="connsiteY0" fmla="*/ 190023 h 632169"/>
                  <a:gd name="connsiteX1" fmla="*/ 323485 w 1221378"/>
                  <a:gd name="connsiteY1" fmla="*/ 249294 h 632169"/>
                  <a:gd name="connsiteX2" fmla="*/ 33062 w 1221378"/>
                  <a:gd name="connsiteY2" fmla="*/ 254856 h 632169"/>
                  <a:gd name="connsiteX3" fmla="*/ 20144 w 1221378"/>
                  <a:gd name="connsiteY3" fmla="*/ 397427 h 632169"/>
                  <a:gd name="connsiteX4" fmla="*/ 154993 w 1221378"/>
                  <a:gd name="connsiteY4" fmla="*/ 544531 h 632169"/>
                  <a:gd name="connsiteX5" fmla="*/ 292513 w 1221378"/>
                  <a:gd name="connsiteY5" fmla="*/ 561438 h 632169"/>
                  <a:gd name="connsiteX6" fmla="*/ 485190 w 1221378"/>
                  <a:gd name="connsiteY6" fmla="*/ 569801 h 632169"/>
                  <a:gd name="connsiteX7" fmla="*/ 580539 w 1221378"/>
                  <a:gd name="connsiteY7" fmla="*/ 625957 h 632169"/>
                  <a:gd name="connsiteX8" fmla="*/ 744085 w 1221378"/>
                  <a:gd name="connsiteY8" fmla="*/ 423461 h 632169"/>
                  <a:gd name="connsiteX9" fmla="*/ 1079844 w 1221378"/>
                  <a:gd name="connsiteY9" fmla="*/ 285493 h 632169"/>
                  <a:gd name="connsiteX10" fmla="*/ 1180809 w 1221378"/>
                  <a:gd name="connsiteY10" fmla="*/ 106484 h 632169"/>
                  <a:gd name="connsiteX11" fmla="*/ 1213622 w 1221378"/>
                  <a:gd name="connsiteY11" fmla="*/ 34329 h 632169"/>
                  <a:gd name="connsiteX12" fmla="*/ 1136597 w 1221378"/>
                  <a:gd name="connsiteY12" fmla="*/ 10111 h 632169"/>
                  <a:gd name="connsiteX13" fmla="*/ 642988 w 1221378"/>
                  <a:gd name="connsiteY13" fmla="*/ 190023 h 632169"/>
                  <a:gd name="connsiteX0" fmla="*/ 682608 w 1260998"/>
                  <a:gd name="connsiteY0" fmla="*/ 190023 h 632169"/>
                  <a:gd name="connsiteX1" fmla="*/ 363105 w 1260998"/>
                  <a:gd name="connsiteY1" fmla="*/ 249294 h 632169"/>
                  <a:gd name="connsiteX2" fmla="*/ 72682 w 1260998"/>
                  <a:gd name="connsiteY2" fmla="*/ 254856 h 632169"/>
                  <a:gd name="connsiteX3" fmla="*/ 112 w 1260998"/>
                  <a:gd name="connsiteY3" fmla="*/ 376034 h 632169"/>
                  <a:gd name="connsiteX4" fmla="*/ 59764 w 1260998"/>
                  <a:gd name="connsiteY4" fmla="*/ 397427 h 632169"/>
                  <a:gd name="connsiteX5" fmla="*/ 194613 w 1260998"/>
                  <a:gd name="connsiteY5" fmla="*/ 544531 h 632169"/>
                  <a:gd name="connsiteX6" fmla="*/ 332133 w 1260998"/>
                  <a:gd name="connsiteY6" fmla="*/ 561438 h 632169"/>
                  <a:gd name="connsiteX7" fmla="*/ 524810 w 1260998"/>
                  <a:gd name="connsiteY7" fmla="*/ 569801 h 632169"/>
                  <a:gd name="connsiteX8" fmla="*/ 620159 w 1260998"/>
                  <a:gd name="connsiteY8" fmla="*/ 625957 h 632169"/>
                  <a:gd name="connsiteX9" fmla="*/ 783705 w 1260998"/>
                  <a:gd name="connsiteY9" fmla="*/ 423461 h 632169"/>
                  <a:gd name="connsiteX10" fmla="*/ 1119464 w 1260998"/>
                  <a:gd name="connsiteY10" fmla="*/ 285493 h 632169"/>
                  <a:gd name="connsiteX11" fmla="*/ 1220429 w 1260998"/>
                  <a:gd name="connsiteY11" fmla="*/ 106484 h 632169"/>
                  <a:gd name="connsiteX12" fmla="*/ 1253242 w 1260998"/>
                  <a:gd name="connsiteY12" fmla="*/ 34329 h 632169"/>
                  <a:gd name="connsiteX13" fmla="*/ 1176217 w 1260998"/>
                  <a:gd name="connsiteY13" fmla="*/ 10111 h 632169"/>
                  <a:gd name="connsiteX14" fmla="*/ 682608 w 1260998"/>
                  <a:gd name="connsiteY14" fmla="*/ 190023 h 632169"/>
                  <a:gd name="connsiteX0" fmla="*/ 682582 w 1260972"/>
                  <a:gd name="connsiteY0" fmla="*/ 190023 h 632169"/>
                  <a:gd name="connsiteX1" fmla="*/ 363079 w 1260972"/>
                  <a:gd name="connsiteY1" fmla="*/ 249294 h 632169"/>
                  <a:gd name="connsiteX2" fmla="*/ 72656 w 1260972"/>
                  <a:gd name="connsiteY2" fmla="*/ 254856 h 632169"/>
                  <a:gd name="connsiteX3" fmla="*/ 86 w 1260972"/>
                  <a:gd name="connsiteY3" fmla="*/ 376034 h 632169"/>
                  <a:gd name="connsiteX4" fmla="*/ 69856 w 1260972"/>
                  <a:gd name="connsiteY4" fmla="*/ 467370 h 632169"/>
                  <a:gd name="connsiteX5" fmla="*/ 194587 w 1260972"/>
                  <a:gd name="connsiteY5" fmla="*/ 544531 h 632169"/>
                  <a:gd name="connsiteX6" fmla="*/ 332107 w 1260972"/>
                  <a:gd name="connsiteY6" fmla="*/ 561438 h 632169"/>
                  <a:gd name="connsiteX7" fmla="*/ 524784 w 1260972"/>
                  <a:gd name="connsiteY7" fmla="*/ 569801 h 632169"/>
                  <a:gd name="connsiteX8" fmla="*/ 620133 w 1260972"/>
                  <a:gd name="connsiteY8" fmla="*/ 625957 h 632169"/>
                  <a:gd name="connsiteX9" fmla="*/ 783679 w 1260972"/>
                  <a:gd name="connsiteY9" fmla="*/ 423461 h 632169"/>
                  <a:gd name="connsiteX10" fmla="*/ 1119438 w 1260972"/>
                  <a:gd name="connsiteY10" fmla="*/ 285493 h 632169"/>
                  <a:gd name="connsiteX11" fmla="*/ 1220403 w 1260972"/>
                  <a:gd name="connsiteY11" fmla="*/ 106484 h 632169"/>
                  <a:gd name="connsiteX12" fmla="*/ 1253216 w 1260972"/>
                  <a:gd name="connsiteY12" fmla="*/ 34329 h 632169"/>
                  <a:gd name="connsiteX13" fmla="*/ 1176191 w 1260972"/>
                  <a:gd name="connsiteY13" fmla="*/ 10111 h 632169"/>
                  <a:gd name="connsiteX14" fmla="*/ 682582 w 1260972"/>
                  <a:gd name="connsiteY14" fmla="*/ 190023 h 632169"/>
                  <a:gd name="connsiteX0" fmla="*/ 682582 w 1260972"/>
                  <a:gd name="connsiteY0" fmla="*/ 190023 h 632169"/>
                  <a:gd name="connsiteX1" fmla="*/ 363079 w 1260972"/>
                  <a:gd name="connsiteY1" fmla="*/ 249294 h 632169"/>
                  <a:gd name="connsiteX2" fmla="*/ 72656 w 1260972"/>
                  <a:gd name="connsiteY2" fmla="*/ 254856 h 632169"/>
                  <a:gd name="connsiteX3" fmla="*/ 86 w 1260972"/>
                  <a:gd name="connsiteY3" fmla="*/ 376034 h 632169"/>
                  <a:gd name="connsiteX4" fmla="*/ 69856 w 1260972"/>
                  <a:gd name="connsiteY4" fmla="*/ 467370 h 632169"/>
                  <a:gd name="connsiteX5" fmla="*/ 194587 w 1260972"/>
                  <a:gd name="connsiteY5" fmla="*/ 544531 h 632169"/>
                  <a:gd name="connsiteX6" fmla="*/ 332107 w 1260972"/>
                  <a:gd name="connsiteY6" fmla="*/ 561438 h 632169"/>
                  <a:gd name="connsiteX7" fmla="*/ 524784 w 1260972"/>
                  <a:gd name="connsiteY7" fmla="*/ 569801 h 632169"/>
                  <a:gd name="connsiteX8" fmla="*/ 620133 w 1260972"/>
                  <a:gd name="connsiteY8" fmla="*/ 625957 h 632169"/>
                  <a:gd name="connsiteX9" fmla="*/ 783679 w 1260972"/>
                  <a:gd name="connsiteY9" fmla="*/ 423461 h 632169"/>
                  <a:gd name="connsiteX10" fmla="*/ 1119438 w 1260972"/>
                  <a:gd name="connsiteY10" fmla="*/ 285493 h 632169"/>
                  <a:gd name="connsiteX11" fmla="*/ 1220403 w 1260972"/>
                  <a:gd name="connsiteY11" fmla="*/ 106484 h 632169"/>
                  <a:gd name="connsiteX12" fmla="*/ 1253216 w 1260972"/>
                  <a:gd name="connsiteY12" fmla="*/ 34329 h 632169"/>
                  <a:gd name="connsiteX13" fmla="*/ 1176191 w 1260972"/>
                  <a:gd name="connsiteY13" fmla="*/ 10111 h 632169"/>
                  <a:gd name="connsiteX14" fmla="*/ 682582 w 1260972"/>
                  <a:gd name="connsiteY14" fmla="*/ 190023 h 632169"/>
                  <a:gd name="connsiteX0" fmla="*/ 682582 w 1260972"/>
                  <a:gd name="connsiteY0" fmla="*/ 190023 h 632169"/>
                  <a:gd name="connsiteX1" fmla="*/ 363079 w 1260972"/>
                  <a:gd name="connsiteY1" fmla="*/ 249294 h 632169"/>
                  <a:gd name="connsiteX2" fmla="*/ 72656 w 1260972"/>
                  <a:gd name="connsiteY2" fmla="*/ 254856 h 632169"/>
                  <a:gd name="connsiteX3" fmla="*/ 86 w 1260972"/>
                  <a:gd name="connsiteY3" fmla="*/ 376034 h 632169"/>
                  <a:gd name="connsiteX4" fmla="*/ 69856 w 1260972"/>
                  <a:gd name="connsiteY4" fmla="*/ 467370 h 632169"/>
                  <a:gd name="connsiteX5" fmla="*/ 194587 w 1260972"/>
                  <a:gd name="connsiteY5" fmla="*/ 544531 h 632169"/>
                  <a:gd name="connsiteX6" fmla="*/ 332107 w 1260972"/>
                  <a:gd name="connsiteY6" fmla="*/ 561438 h 632169"/>
                  <a:gd name="connsiteX7" fmla="*/ 524784 w 1260972"/>
                  <a:gd name="connsiteY7" fmla="*/ 569801 h 632169"/>
                  <a:gd name="connsiteX8" fmla="*/ 620133 w 1260972"/>
                  <a:gd name="connsiteY8" fmla="*/ 625957 h 632169"/>
                  <a:gd name="connsiteX9" fmla="*/ 783679 w 1260972"/>
                  <a:gd name="connsiteY9" fmla="*/ 423461 h 632169"/>
                  <a:gd name="connsiteX10" fmla="*/ 1119438 w 1260972"/>
                  <a:gd name="connsiteY10" fmla="*/ 285493 h 632169"/>
                  <a:gd name="connsiteX11" fmla="*/ 1220403 w 1260972"/>
                  <a:gd name="connsiteY11" fmla="*/ 106484 h 632169"/>
                  <a:gd name="connsiteX12" fmla="*/ 1253216 w 1260972"/>
                  <a:gd name="connsiteY12" fmla="*/ 34329 h 632169"/>
                  <a:gd name="connsiteX13" fmla="*/ 1176191 w 1260972"/>
                  <a:gd name="connsiteY13" fmla="*/ 10111 h 632169"/>
                  <a:gd name="connsiteX14" fmla="*/ 682582 w 1260972"/>
                  <a:gd name="connsiteY14" fmla="*/ 190023 h 6321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260972" h="632169">
                    <a:moveTo>
                      <a:pt x="682582" y="190023"/>
                    </a:moveTo>
                    <a:cubicBezTo>
                      <a:pt x="547063" y="229887"/>
                      <a:pt x="466886" y="214727"/>
                      <a:pt x="363079" y="249294"/>
                    </a:cubicBezTo>
                    <a:cubicBezTo>
                      <a:pt x="293309" y="267069"/>
                      <a:pt x="123213" y="230167"/>
                      <a:pt x="72656" y="254856"/>
                    </a:cubicBezTo>
                    <a:cubicBezTo>
                      <a:pt x="-51706" y="313720"/>
                      <a:pt x="31901" y="313168"/>
                      <a:pt x="86" y="376034"/>
                    </a:cubicBezTo>
                    <a:cubicBezTo>
                      <a:pt x="-2067" y="399796"/>
                      <a:pt x="37439" y="439287"/>
                      <a:pt x="69856" y="467370"/>
                    </a:cubicBezTo>
                    <a:cubicBezTo>
                      <a:pt x="102273" y="495453"/>
                      <a:pt x="188123" y="508927"/>
                      <a:pt x="194587" y="544531"/>
                    </a:cubicBezTo>
                    <a:cubicBezTo>
                      <a:pt x="201051" y="580135"/>
                      <a:pt x="290328" y="540884"/>
                      <a:pt x="332107" y="561438"/>
                    </a:cubicBezTo>
                    <a:cubicBezTo>
                      <a:pt x="373886" y="581992"/>
                      <a:pt x="488459" y="559229"/>
                      <a:pt x="524784" y="569801"/>
                    </a:cubicBezTo>
                    <a:cubicBezTo>
                      <a:pt x="561109" y="580373"/>
                      <a:pt x="573618" y="653652"/>
                      <a:pt x="620133" y="625957"/>
                    </a:cubicBezTo>
                    <a:cubicBezTo>
                      <a:pt x="683716" y="602780"/>
                      <a:pt x="762428" y="481800"/>
                      <a:pt x="783679" y="423461"/>
                    </a:cubicBezTo>
                    <a:cubicBezTo>
                      <a:pt x="854371" y="354053"/>
                      <a:pt x="1035396" y="357693"/>
                      <a:pt x="1119438" y="285493"/>
                    </a:cubicBezTo>
                    <a:cubicBezTo>
                      <a:pt x="1196856" y="234774"/>
                      <a:pt x="1192320" y="155689"/>
                      <a:pt x="1220403" y="106484"/>
                    </a:cubicBezTo>
                    <a:cubicBezTo>
                      <a:pt x="1249855" y="64254"/>
                      <a:pt x="1241961" y="53699"/>
                      <a:pt x="1253216" y="34329"/>
                    </a:cubicBezTo>
                    <a:cubicBezTo>
                      <a:pt x="1264471" y="14959"/>
                      <a:pt x="1278452" y="-16207"/>
                      <a:pt x="1176191" y="10111"/>
                    </a:cubicBezTo>
                    <a:cubicBezTo>
                      <a:pt x="1159342" y="-28795"/>
                      <a:pt x="818101" y="150159"/>
                      <a:pt x="682582" y="1900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41" name="Group 199"/>
            <p:cNvGrpSpPr>
              <a:grpSpLocks noChangeAspect="1"/>
            </p:cNvGrpSpPr>
            <p:nvPr/>
          </p:nvGrpSpPr>
          <p:grpSpPr>
            <a:xfrm>
              <a:off x="7118413" y="2570776"/>
              <a:ext cx="964429" cy="2589553"/>
              <a:chOff x="7400449" y="2421915"/>
              <a:chExt cx="856269" cy="2299136"/>
            </a:xfrm>
            <a:grpFill/>
          </p:grpSpPr>
          <p:sp>
            <p:nvSpPr>
              <p:cNvPr id="243" name="Freeform 201"/>
              <p:cNvSpPr/>
              <p:nvPr/>
            </p:nvSpPr>
            <p:spPr>
              <a:xfrm rot="4450231">
                <a:off x="8181972" y="2427897"/>
                <a:ext cx="80727" cy="68764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229268 w 499490"/>
                  <a:gd name="connsiteY0" fmla="*/ 680 h 443283"/>
                  <a:gd name="connsiteX1" fmla="*/ 2905 w 499490"/>
                  <a:gd name="connsiteY1" fmla="*/ 227430 h 443283"/>
                  <a:gd name="connsiteX2" fmla="*/ 111769 w 499490"/>
                  <a:gd name="connsiteY2" fmla="*/ 442141 h 443283"/>
                  <a:gd name="connsiteX3" fmla="*/ 493264 w 499490"/>
                  <a:gd name="connsiteY3" fmla="*/ 303076 h 443283"/>
                  <a:gd name="connsiteX4" fmla="*/ 229268 w 499490"/>
                  <a:gd name="connsiteY4" fmla="*/ 680 h 443283"/>
                  <a:gd name="connsiteX0" fmla="*/ 229268 w 512732"/>
                  <a:gd name="connsiteY0" fmla="*/ 46 h 442649"/>
                  <a:gd name="connsiteX1" fmla="*/ 2905 w 512732"/>
                  <a:gd name="connsiteY1" fmla="*/ 226796 h 442649"/>
                  <a:gd name="connsiteX2" fmla="*/ 111769 w 512732"/>
                  <a:gd name="connsiteY2" fmla="*/ 441507 h 442649"/>
                  <a:gd name="connsiteX3" fmla="*/ 493264 w 512732"/>
                  <a:gd name="connsiteY3" fmla="*/ 302442 h 442649"/>
                  <a:gd name="connsiteX4" fmla="*/ 444422 w 512732"/>
                  <a:gd name="connsiteY4" fmla="*/ 245432 h 442649"/>
                  <a:gd name="connsiteX5" fmla="*/ 229268 w 512732"/>
                  <a:gd name="connsiteY5" fmla="*/ 46 h 442649"/>
                  <a:gd name="connsiteX0" fmla="*/ 230315 w 513779"/>
                  <a:gd name="connsiteY0" fmla="*/ 44 h 400286"/>
                  <a:gd name="connsiteX1" fmla="*/ 3952 w 513779"/>
                  <a:gd name="connsiteY1" fmla="*/ 226794 h 400286"/>
                  <a:gd name="connsiteX2" fmla="*/ 99654 w 513779"/>
                  <a:gd name="connsiteY2" fmla="*/ 398368 h 400286"/>
                  <a:gd name="connsiteX3" fmla="*/ 494311 w 513779"/>
                  <a:gd name="connsiteY3" fmla="*/ 302440 h 400286"/>
                  <a:gd name="connsiteX4" fmla="*/ 445469 w 513779"/>
                  <a:gd name="connsiteY4" fmla="*/ 245430 h 400286"/>
                  <a:gd name="connsiteX5" fmla="*/ 230315 w 513779"/>
                  <a:gd name="connsiteY5" fmla="*/ 44 h 400286"/>
                  <a:gd name="connsiteX0" fmla="*/ 231156 w 514620"/>
                  <a:gd name="connsiteY0" fmla="*/ 44 h 400286"/>
                  <a:gd name="connsiteX1" fmla="*/ 4793 w 514620"/>
                  <a:gd name="connsiteY1" fmla="*/ 226794 h 400286"/>
                  <a:gd name="connsiteX2" fmla="*/ 100495 w 514620"/>
                  <a:gd name="connsiteY2" fmla="*/ 398368 h 400286"/>
                  <a:gd name="connsiteX3" fmla="*/ 495152 w 514620"/>
                  <a:gd name="connsiteY3" fmla="*/ 302440 h 400286"/>
                  <a:gd name="connsiteX4" fmla="*/ 446310 w 514620"/>
                  <a:gd name="connsiteY4" fmla="*/ 245430 h 400286"/>
                  <a:gd name="connsiteX5" fmla="*/ 231156 w 514620"/>
                  <a:gd name="connsiteY5" fmla="*/ 44 h 400286"/>
                  <a:gd name="connsiteX0" fmla="*/ 168188 w 451652"/>
                  <a:gd name="connsiteY0" fmla="*/ 2 h 400244"/>
                  <a:gd name="connsiteX1" fmla="*/ 25423 w 451652"/>
                  <a:gd name="connsiteY1" fmla="*/ 241481 h 400244"/>
                  <a:gd name="connsiteX2" fmla="*/ 37527 w 451652"/>
                  <a:gd name="connsiteY2" fmla="*/ 398326 h 400244"/>
                  <a:gd name="connsiteX3" fmla="*/ 432184 w 451652"/>
                  <a:gd name="connsiteY3" fmla="*/ 302398 h 400244"/>
                  <a:gd name="connsiteX4" fmla="*/ 383342 w 451652"/>
                  <a:gd name="connsiteY4" fmla="*/ 245388 h 400244"/>
                  <a:gd name="connsiteX5" fmla="*/ 168188 w 451652"/>
                  <a:gd name="connsiteY5" fmla="*/ 2 h 400244"/>
                  <a:gd name="connsiteX0" fmla="*/ 168188 w 392477"/>
                  <a:gd name="connsiteY0" fmla="*/ 2 h 400466"/>
                  <a:gd name="connsiteX1" fmla="*/ 25423 w 392477"/>
                  <a:gd name="connsiteY1" fmla="*/ 241481 h 400466"/>
                  <a:gd name="connsiteX2" fmla="*/ 37527 w 392477"/>
                  <a:gd name="connsiteY2" fmla="*/ 398326 h 400466"/>
                  <a:gd name="connsiteX3" fmla="*/ 251696 w 392477"/>
                  <a:gd name="connsiteY3" fmla="*/ 309130 h 400466"/>
                  <a:gd name="connsiteX4" fmla="*/ 383342 w 392477"/>
                  <a:gd name="connsiteY4" fmla="*/ 245388 h 400466"/>
                  <a:gd name="connsiteX5" fmla="*/ 168188 w 392477"/>
                  <a:gd name="connsiteY5" fmla="*/ 2 h 400466"/>
                  <a:gd name="connsiteX0" fmla="*/ 168188 w 274413"/>
                  <a:gd name="connsiteY0" fmla="*/ 265 h 400729"/>
                  <a:gd name="connsiteX1" fmla="*/ 25423 w 274413"/>
                  <a:gd name="connsiteY1" fmla="*/ 241744 h 400729"/>
                  <a:gd name="connsiteX2" fmla="*/ 37527 w 274413"/>
                  <a:gd name="connsiteY2" fmla="*/ 398589 h 400729"/>
                  <a:gd name="connsiteX3" fmla="*/ 251696 w 274413"/>
                  <a:gd name="connsiteY3" fmla="*/ 309393 h 400729"/>
                  <a:gd name="connsiteX4" fmla="*/ 217501 w 274413"/>
                  <a:gd name="connsiteY4" fmla="*/ 196748 h 400729"/>
                  <a:gd name="connsiteX5" fmla="*/ 168188 w 274413"/>
                  <a:gd name="connsiteY5" fmla="*/ 265 h 400729"/>
                  <a:gd name="connsiteX0" fmla="*/ 168188 w 237096"/>
                  <a:gd name="connsiteY0" fmla="*/ 265 h 401953"/>
                  <a:gd name="connsiteX1" fmla="*/ 25423 w 237096"/>
                  <a:gd name="connsiteY1" fmla="*/ 241744 h 401953"/>
                  <a:gd name="connsiteX2" fmla="*/ 37527 w 237096"/>
                  <a:gd name="connsiteY2" fmla="*/ 398589 h 401953"/>
                  <a:gd name="connsiteX3" fmla="*/ 175329 w 237096"/>
                  <a:gd name="connsiteY3" fmla="*/ 331285 h 401953"/>
                  <a:gd name="connsiteX4" fmla="*/ 217501 w 237096"/>
                  <a:gd name="connsiteY4" fmla="*/ 196748 h 401953"/>
                  <a:gd name="connsiteX5" fmla="*/ 168188 w 237096"/>
                  <a:gd name="connsiteY5" fmla="*/ 265 h 401953"/>
                  <a:gd name="connsiteX0" fmla="*/ 168188 w 237096"/>
                  <a:gd name="connsiteY0" fmla="*/ 3688 h 405376"/>
                  <a:gd name="connsiteX1" fmla="*/ 25423 w 237096"/>
                  <a:gd name="connsiteY1" fmla="*/ 245167 h 405376"/>
                  <a:gd name="connsiteX2" fmla="*/ 37527 w 237096"/>
                  <a:gd name="connsiteY2" fmla="*/ 402012 h 405376"/>
                  <a:gd name="connsiteX3" fmla="*/ 175329 w 237096"/>
                  <a:gd name="connsiteY3" fmla="*/ 334708 h 405376"/>
                  <a:gd name="connsiteX4" fmla="*/ 217501 w 237096"/>
                  <a:gd name="connsiteY4" fmla="*/ 200171 h 405376"/>
                  <a:gd name="connsiteX5" fmla="*/ 168188 w 237096"/>
                  <a:gd name="connsiteY5" fmla="*/ 3688 h 405376"/>
                  <a:gd name="connsiteX0" fmla="*/ 168188 w 235421"/>
                  <a:gd name="connsiteY0" fmla="*/ 3688 h 402167"/>
                  <a:gd name="connsiteX1" fmla="*/ 25423 w 235421"/>
                  <a:gd name="connsiteY1" fmla="*/ 245167 h 402167"/>
                  <a:gd name="connsiteX2" fmla="*/ 37527 w 235421"/>
                  <a:gd name="connsiteY2" fmla="*/ 402012 h 402167"/>
                  <a:gd name="connsiteX3" fmla="*/ 217501 w 235421"/>
                  <a:gd name="connsiteY3" fmla="*/ 200171 h 402167"/>
                  <a:gd name="connsiteX4" fmla="*/ 168188 w 235421"/>
                  <a:gd name="connsiteY4" fmla="*/ 3688 h 402167"/>
                  <a:gd name="connsiteX0" fmla="*/ 168188 w 235421"/>
                  <a:gd name="connsiteY0" fmla="*/ 3688 h 402595"/>
                  <a:gd name="connsiteX1" fmla="*/ 25423 w 235421"/>
                  <a:gd name="connsiteY1" fmla="*/ 245167 h 402595"/>
                  <a:gd name="connsiteX2" fmla="*/ 37527 w 235421"/>
                  <a:gd name="connsiteY2" fmla="*/ 402012 h 402595"/>
                  <a:gd name="connsiteX3" fmla="*/ 217501 w 235421"/>
                  <a:gd name="connsiteY3" fmla="*/ 200171 h 402595"/>
                  <a:gd name="connsiteX4" fmla="*/ 168188 w 235421"/>
                  <a:gd name="connsiteY4" fmla="*/ 3688 h 402595"/>
                  <a:gd name="connsiteX0" fmla="*/ 171350 w 236788"/>
                  <a:gd name="connsiteY0" fmla="*/ 3140 h 451128"/>
                  <a:gd name="connsiteX1" fmla="*/ 25592 w 236788"/>
                  <a:gd name="connsiteY1" fmla="*/ 293700 h 451128"/>
                  <a:gd name="connsiteX2" fmla="*/ 37696 w 236788"/>
                  <a:gd name="connsiteY2" fmla="*/ 450545 h 451128"/>
                  <a:gd name="connsiteX3" fmla="*/ 217670 w 236788"/>
                  <a:gd name="connsiteY3" fmla="*/ 248704 h 451128"/>
                  <a:gd name="connsiteX4" fmla="*/ 171350 w 236788"/>
                  <a:gd name="connsiteY4" fmla="*/ 3140 h 451128"/>
                  <a:gd name="connsiteX0" fmla="*/ 171350 w 284643"/>
                  <a:gd name="connsiteY0" fmla="*/ 18721 h 466709"/>
                  <a:gd name="connsiteX1" fmla="*/ 25592 w 284643"/>
                  <a:gd name="connsiteY1" fmla="*/ 309281 h 466709"/>
                  <a:gd name="connsiteX2" fmla="*/ 37696 w 284643"/>
                  <a:gd name="connsiteY2" fmla="*/ 466126 h 466709"/>
                  <a:gd name="connsiteX3" fmla="*/ 217670 w 284643"/>
                  <a:gd name="connsiteY3" fmla="*/ 264285 h 466709"/>
                  <a:gd name="connsiteX4" fmla="*/ 283687 w 284643"/>
                  <a:gd name="connsiteY4" fmla="*/ 54630 h 466709"/>
                  <a:gd name="connsiteX5" fmla="*/ 171350 w 284643"/>
                  <a:gd name="connsiteY5" fmla="*/ 18721 h 466709"/>
                  <a:gd name="connsiteX0" fmla="*/ 171350 w 284643"/>
                  <a:gd name="connsiteY0" fmla="*/ 13405 h 461393"/>
                  <a:gd name="connsiteX1" fmla="*/ 25592 w 284643"/>
                  <a:gd name="connsiteY1" fmla="*/ 303965 h 461393"/>
                  <a:gd name="connsiteX2" fmla="*/ 37696 w 284643"/>
                  <a:gd name="connsiteY2" fmla="*/ 460810 h 461393"/>
                  <a:gd name="connsiteX3" fmla="*/ 217670 w 284643"/>
                  <a:gd name="connsiteY3" fmla="*/ 258969 h 461393"/>
                  <a:gd name="connsiteX4" fmla="*/ 283687 w 284643"/>
                  <a:gd name="connsiteY4" fmla="*/ 49314 h 461393"/>
                  <a:gd name="connsiteX5" fmla="*/ 171350 w 284643"/>
                  <a:gd name="connsiteY5" fmla="*/ 13405 h 461393"/>
                  <a:gd name="connsiteX0" fmla="*/ 171350 w 284643"/>
                  <a:gd name="connsiteY0" fmla="*/ 11721 h 459709"/>
                  <a:gd name="connsiteX1" fmla="*/ 25592 w 284643"/>
                  <a:gd name="connsiteY1" fmla="*/ 302281 h 459709"/>
                  <a:gd name="connsiteX2" fmla="*/ 37696 w 284643"/>
                  <a:gd name="connsiteY2" fmla="*/ 459126 h 459709"/>
                  <a:gd name="connsiteX3" fmla="*/ 217670 w 284643"/>
                  <a:gd name="connsiteY3" fmla="*/ 257285 h 459709"/>
                  <a:gd name="connsiteX4" fmla="*/ 283687 w 284643"/>
                  <a:gd name="connsiteY4" fmla="*/ 47630 h 459709"/>
                  <a:gd name="connsiteX5" fmla="*/ 171350 w 284643"/>
                  <a:gd name="connsiteY5" fmla="*/ 11721 h 459709"/>
                  <a:gd name="connsiteX0" fmla="*/ 171350 w 284643"/>
                  <a:gd name="connsiteY0" fmla="*/ 10902 h 458890"/>
                  <a:gd name="connsiteX1" fmla="*/ 25592 w 284643"/>
                  <a:gd name="connsiteY1" fmla="*/ 301462 h 458890"/>
                  <a:gd name="connsiteX2" fmla="*/ 37696 w 284643"/>
                  <a:gd name="connsiteY2" fmla="*/ 458307 h 458890"/>
                  <a:gd name="connsiteX3" fmla="*/ 217670 w 284643"/>
                  <a:gd name="connsiteY3" fmla="*/ 256466 h 458890"/>
                  <a:gd name="connsiteX4" fmla="*/ 283687 w 284643"/>
                  <a:gd name="connsiteY4" fmla="*/ 46811 h 458890"/>
                  <a:gd name="connsiteX5" fmla="*/ 171350 w 284643"/>
                  <a:gd name="connsiteY5" fmla="*/ 10902 h 458890"/>
                  <a:gd name="connsiteX0" fmla="*/ 139949 w 282991"/>
                  <a:gd name="connsiteY0" fmla="*/ 10529 h 462849"/>
                  <a:gd name="connsiteX1" fmla="*/ 23940 w 282991"/>
                  <a:gd name="connsiteY1" fmla="*/ 305421 h 462849"/>
                  <a:gd name="connsiteX2" fmla="*/ 36044 w 282991"/>
                  <a:gd name="connsiteY2" fmla="*/ 462266 h 462849"/>
                  <a:gd name="connsiteX3" fmla="*/ 216018 w 282991"/>
                  <a:gd name="connsiteY3" fmla="*/ 260425 h 462849"/>
                  <a:gd name="connsiteX4" fmla="*/ 282035 w 282991"/>
                  <a:gd name="connsiteY4" fmla="*/ 50770 h 462849"/>
                  <a:gd name="connsiteX5" fmla="*/ 139949 w 282991"/>
                  <a:gd name="connsiteY5" fmla="*/ 10529 h 462849"/>
                  <a:gd name="connsiteX0" fmla="*/ 139949 w 283971"/>
                  <a:gd name="connsiteY0" fmla="*/ 13151 h 465471"/>
                  <a:gd name="connsiteX1" fmla="*/ 23940 w 283971"/>
                  <a:gd name="connsiteY1" fmla="*/ 308043 h 465471"/>
                  <a:gd name="connsiteX2" fmla="*/ 36044 w 283971"/>
                  <a:gd name="connsiteY2" fmla="*/ 464888 h 465471"/>
                  <a:gd name="connsiteX3" fmla="*/ 216018 w 283971"/>
                  <a:gd name="connsiteY3" fmla="*/ 263047 h 465471"/>
                  <a:gd name="connsiteX4" fmla="*/ 283035 w 283971"/>
                  <a:gd name="connsiteY4" fmla="*/ 37033 h 465471"/>
                  <a:gd name="connsiteX5" fmla="*/ 139949 w 283971"/>
                  <a:gd name="connsiteY5" fmla="*/ 13151 h 465471"/>
                  <a:gd name="connsiteX0" fmla="*/ 120318 w 264340"/>
                  <a:gd name="connsiteY0" fmla="*/ 13153 h 348654"/>
                  <a:gd name="connsiteX1" fmla="*/ 4309 w 264340"/>
                  <a:gd name="connsiteY1" fmla="*/ 308045 h 348654"/>
                  <a:gd name="connsiteX2" fmla="*/ 59472 w 264340"/>
                  <a:gd name="connsiteY2" fmla="*/ 343243 h 348654"/>
                  <a:gd name="connsiteX3" fmla="*/ 196387 w 264340"/>
                  <a:gd name="connsiteY3" fmla="*/ 263049 h 348654"/>
                  <a:gd name="connsiteX4" fmla="*/ 263404 w 264340"/>
                  <a:gd name="connsiteY4" fmla="*/ 37035 h 348654"/>
                  <a:gd name="connsiteX5" fmla="*/ 120318 w 264340"/>
                  <a:gd name="connsiteY5" fmla="*/ 13153 h 348654"/>
                  <a:gd name="connsiteX0" fmla="*/ 119325 w 263347"/>
                  <a:gd name="connsiteY0" fmla="*/ 523 h 333116"/>
                  <a:gd name="connsiteX1" fmla="*/ 4514 w 263347"/>
                  <a:gd name="connsiteY1" fmla="*/ 60391 h 333116"/>
                  <a:gd name="connsiteX2" fmla="*/ 58479 w 263347"/>
                  <a:gd name="connsiteY2" fmla="*/ 330613 h 333116"/>
                  <a:gd name="connsiteX3" fmla="*/ 195394 w 263347"/>
                  <a:gd name="connsiteY3" fmla="*/ 250419 h 333116"/>
                  <a:gd name="connsiteX4" fmla="*/ 262411 w 263347"/>
                  <a:gd name="connsiteY4" fmla="*/ 24405 h 333116"/>
                  <a:gd name="connsiteX5" fmla="*/ 119325 w 263347"/>
                  <a:gd name="connsiteY5" fmla="*/ 523 h 333116"/>
                  <a:gd name="connsiteX0" fmla="*/ 122870 w 266892"/>
                  <a:gd name="connsiteY0" fmla="*/ 523 h 264618"/>
                  <a:gd name="connsiteX1" fmla="*/ 8059 w 266892"/>
                  <a:gd name="connsiteY1" fmla="*/ 60391 h 264618"/>
                  <a:gd name="connsiteX2" fmla="*/ 50577 w 266892"/>
                  <a:gd name="connsiteY2" fmla="*/ 118507 h 264618"/>
                  <a:gd name="connsiteX3" fmla="*/ 198939 w 266892"/>
                  <a:gd name="connsiteY3" fmla="*/ 250419 h 264618"/>
                  <a:gd name="connsiteX4" fmla="*/ 265956 w 266892"/>
                  <a:gd name="connsiteY4" fmla="*/ 24405 h 264618"/>
                  <a:gd name="connsiteX5" fmla="*/ 122870 w 266892"/>
                  <a:gd name="connsiteY5" fmla="*/ 523 h 264618"/>
                  <a:gd name="connsiteX0" fmla="*/ 122870 w 266593"/>
                  <a:gd name="connsiteY0" fmla="*/ 523 h 140228"/>
                  <a:gd name="connsiteX1" fmla="*/ 8059 w 266593"/>
                  <a:gd name="connsiteY1" fmla="*/ 60391 h 140228"/>
                  <a:gd name="connsiteX2" fmla="*/ 50577 w 266593"/>
                  <a:gd name="connsiteY2" fmla="*/ 118507 h 140228"/>
                  <a:gd name="connsiteX3" fmla="*/ 176057 w 266593"/>
                  <a:gd name="connsiteY3" fmla="*/ 102668 h 140228"/>
                  <a:gd name="connsiteX4" fmla="*/ 265956 w 266593"/>
                  <a:gd name="connsiteY4" fmla="*/ 24405 h 140228"/>
                  <a:gd name="connsiteX5" fmla="*/ 122870 w 266593"/>
                  <a:gd name="connsiteY5" fmla="*/ 523 h 140228"/>
                  <a:gd name="connsiteX0" fmla="*/ 122870 w 266856"/>
                  <a:gd name="connsiteY0" fmla="*/ 1708 h 120023"/>
                  <a:gd name="connsiteX1" fmla="*/ 8059 w 266856"/>
                  <a:gd name="connsiteY1" fmla="*/ 61576 h 120023"/>
                  <a:gd name="connsiteX2" fmla="*/ 50577 w 266856"/>
                  <a:gd name="connsiteY2" fmla="*/ 119692 h 120023"/>
                  <a:gd name="connsiteX3" fmla="*/ 265956 w 266856"/>
                  <a:gd name="connsiteY3" fmla="*/ 25590 h 120023"/>
                  <a:gd name="connsiteX4" fmla="*/ 122870 w 266856"/>
                  <a:gd name="connsiteY4" fmla="*/ 1708 h 120023"/>
                  <a:gd name="connsiteX0" fmla="*/ 162732 w 306777"/>
                  <a:gd name="connsiteY0" fmla="*/ 599 h 118818"/>
                  <a:gd name="connsiteX1" fmla="*/ 2188 w 306777"/>
                  <a:gd name="connsiteY1" fmla="*/ 41428 h 118818"/>
                  <a:gd name="connsiteX2" fmla="*/ 90439 w 306777"/>
                  <a:gd name="connsiteY2" fmla="*/ 118583 h 118818"/>
                  <a:gd name="connsiteX3" fmla="*/ 305818 w 306777"/>
                  <a:gd name="connsiteY3" fmla="*/ 24481 h 118818"/>
                  <a:gd name="connsiteX4" fmla="*/ 162732 w 306777"/>
                  <a:gd name="connsiteY4" fmla="*/ 599 h 118818"/>
                  <a:gd name="connsiteX0" fmla="*/ 161930 w 305975"/>
                  <a:gd name="connsiteY0" fmla="*/ 599 h 119285"/>
                  <a:gd name="connsiteX1" fmla="*/ 1386 w 305975"/>
                  <a:gd name="connsiteY1" fmla="*/ 41428 h 119285"/>
                  <a:gd name="connsiteX2" fmla="*/ 89637 w 305975"/>
                  <a:gd name="connsiteY2" fmla="*/ 118583 h 119285"/>
                  <a:gd name="connsiteX3" fmla="*/ 144843 w 305975"/>
                  <a:gd name="connsiteY3" fmla="*/ 67180 h 119285"/>
                  <a:gd name="connsiteX4" fmla="*/ 305016 w 305975"/>
                  <a:gd name="connsiteY4" fmla="*/ 24481 h 119285"/>
                  <a:gd name="connsiteX5" fmla="*/ 161930 w 305975"/>
                  <a:gd name="connsiteY5" fmla="*/ 599 h 119285"/>
                  <a:gd name="connsiteX0" fmla="*/ 161930 w 271336"/>
                  <a:gd name="connsiteY0" fmla="*/ 7 h 118692"/>
                  <a:gd name="connsiteX1" fmla="*/ 1386 w 271336"/>
                  <a:gd name="connsiteY1" fmla="*/ 40836 h 118692"/>
                  <a:gd name="connsiteX2" fmla="*/ 89637 w 271336"/>
                  <a:gd name="connsiteY2" fmla="*/ 117991 h 118692"/>
                  <a:gd name="connsiteX3" fmla="*/ 144843 w 271336"/>
                  <a:gd name="connsiteY3" fmla="*/ 66588 h 118692"/>
                  <a:gd name="connsiteX4" fmla="*/ 270050 w 271336"/>
                  <a:gd name="connsiteY4" fmla="*/ 43555 h 118692"/>
                  <a:gd name="connsiteX5" fmla="*/ 161930 w 271336"/>
                  <a:gd name="connsiteY5" fmla="*/ 7 h 118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1336" h="118692">
                    <a:moveTo>
                      <a:pt x="161930" y="7"/>
                    </a:moveTo>
                    <a:cubicBezTo>
                      <a:pt x="117153" y="-446"/>
                      <a:pt x="13435" y="21172"/>
                      <a:pt x="1386" y="40836"/>
                    </a:cubicBezTo>
                    <a:cubicBezTo>
                      <a:pt x="-10663" y="60500"/>
                      <a:pt x="58993" y="111343"/>
                      <a:pt x="89637" y="117991"/>
                    </a:cubicBezTo>
                    <a:cubicBezTo>
                      <a:pt x="120281" y="124639"/>
                      <a:pt x="108947" y="82272"/>
                      <a:pt x="144843" y="66588"/>
                    </a:cubicBezTo>
                    <a:cubicBezTo>
                      <a:pt x="180739" y="50904"/>
                      <a:pt x="273937" y="57008"/>
                      <a:pt x="270050" y="43555"/>
                    </a:cubicBezTo>
                    <a:cubicBezTo>
                      <a:pt x="282099" y="23891"/>
                      <a:pt x="206707" y="460"/>
                      <a:pt x="161930" y="7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244" name="Freeform 202"/>
              <p:cNvSpPr/>
              <p:nvPr/>
            </p:nvSpPr>
            <p:spPr>
              <a:xfrm rot="4450231">
                <a:off x="7727809" y="4616260"/>
                <a:ext cx="108525" cy="101058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229268 w 499490"/>
                  <a:gd name="connsiteY0" fmla="*/ 680 h 443283"/>
                  <a:gd name="connsiteX1" fmla="*/ 2905 w 499490"/>
                  <a:gd name="connsiteY1" fmla="*/ 227430 h 443283"/>
                  <a:gd name="connsiteX2" fmla="*/ 111769 w 499490"/>
                  <a:gd name="connsiteY2" fmla="*/ 442141 h 443283"/>
                  <a:gd name="connsiteX3" fmla="*/ 493264 w 499490"/>
                  <a:gd name="connsiteY3" fmla="*/ 303076 h 443283"/>
                  <a:gd name="connsiteX4" fmla="*/ 229268 w 499490"/>
                  <a:gd name="connsiteY4" fmla="*/ 680 h 443283"/>
                  <a:gd name="connsiteX0" fmla="*/ 229268 w 512732"/>
                  <a:gd name="connsiteY0" fmla="*/ 46 h 442649"/>
                  <a:gd name="connsiteX1" fmla="*/ 2905 w 512732"/>
                  <a:gd name="connsiteY1" fmla="*/ 226796 h 442649"/>
                  <a:gd name="connsiteX2" fmla="*/ 111769 w 512732"/>
                  <a:gd name="connsiteY2" fmla="*/ 441507 h 442649"/>
                  <a:gd name="connsiteX3" fmla="*/ 493264 w 512732"/>
                  <a:gd name="connsiteY3" fmla="*/ 302442 h 442649"/>
                  <a:gd name="connsiteX4" fmla="*/ 444422 w 512732"/>
                  <a:gd name="connsiteY4" fmla="*/ 245432 h 442649"/>
                  <a:gd name="connsiteX5" fmla="*/ 229268 w 512732"/>
                  <a:gd name="connsiteY5" fmla="*/ 46 h 442649"/>
                  <a:gd name="connsiteX0" fmla="*/ 230315 w 513779"/>
                  <a:gd name="connsiteY0" fmla="*/ 44 h 400286"/>
                  <a:gd name="connsiteX1" fmla="*/ 3952 w 513779"/>
                  <a:gd name="connsiteY1" fmla="*/ 226794 h 400286"/>
                  <a:gd name="connsiteX2" fmla="*/ 99654 w 513779"/>
                  <a:gd name="connsiteY2" fmla="*/ 398368 h 400286"/>
                  <a:gd name="connsiteX3" fmla="*/ 494311 w 513779"/>
                  <a:gd name="connsiteY3" fmla="*/ 302440 h 400286"/>
                  <a:gd name="connsiteX4" fmla="*/ 445469 w 513779"/>
                  <a:gd name="connsiteY4" fmla="*/ 245430 h 400286"/>
                  <a:gd name="connsiteX5" fmla="*/ 230315 w 513779"/>
                  <a:gd name="connsiteY5" fmla="*/ 44 h 400286"/>
                  <a:gd name="connsiteX0" fmla="*/ 231156 w 514620"/>
                  <a:gd name="connsiteY0" fmla="*/ 44 h 400286"/>
                  <a:gd name="connsiteX1" fmla="*/ 4793 w 514620"/>
                  <a:gd name="connsiteY1" fmla="*/ 226794 h 400286"/>
                  <a:gd name="connsiteX2" fmla="*/ 100495 w 514620"/>
                  <a:gd name="connsiteY2" fmla="*/ 398368 h 400286"/>
                  <a:gd name="connsiteX3" fmla="*/ 495152 w 514620"/>
                  <a:gd name="connsiteY3" fmla="*/ 302440 h 400286"/>
                  <a:gd name="connsiteX4" fmla="*/ 446310 w 514620"/>
                  <a:gd name="connsiteY4" fmla="*/ 245430 h 400286"/>
                  <a:gd name="connsiteX5" fmla="*/ 231156 w 514620"/>
                  <a:gd name="connsiteY5" fmla="*/ 44 h 400286"/>
                  <a:gd name="connsiteX0" fmla="*/ 168188 w 451652"/>
                  <a:gd name="connsiteY0" fmla="*/ 2 h 400244"/>
                  <a:gd name="connsiteX1" fmla="*/ 25423 w 451652"/>
                  <a:gd name="connsiteY1" fmla="*/ 241481 h 400244"/>
                  <a:gd name="connsiteX2" fmla="*/ 37527 w 451652"/>
                  <a:gd name="connsiteY2" fmla="*/ 398326 h 400244"/>
                  <a:gd name="connsiteX3" fmla="*/ 432184 w 451652"/>
                  <a:gd name="connsiteY3" fmla="*/ 302398 h 400244"/>
                  <a:gd name="connsiteX4" fmla="*/ 383342 w 451652"/>
                  <a:gd name="connsiteY4" fmla="*/ 245388 h 400244"/>
                  <a:gd name="connsiteX5" fmla="*/ 168188 w 451652"/>
                  <a:gd name="connsiteY5" fmla="*/ 2 h 400244"/>
                  <a:gd name="connsiteX0" fmla="*/ 168188 w 392477"/>
                  <a:gd name="connsiteY0" fmla="*/ 2 h 400466"/>
                  <a:gd name="connsiteX1" fmla="*/ 25423 w 392477"/>
                  <a:gd name="connsiteY1" fmla="*/ 241481 h 400466"/>
                  <a:gd name="connsiteX2" fmla="*/ 37527 w 392477"/>
                  <a:gd name="connsiteY2" fmla="*/ 398326 h 400466"/>
                  <a:gd name="connsiteX3" fmla="*/ 251696 w 392477"/>
                  <a:gd name="connsiteY3" fmla="*/ 309130 h 400466"/>
                  <a:gd name="connsiteX4" fmla="*/ 383342 w 392477"/>
                  <a:gd name="connsiteY4" fmla="*/ 245388 h 400466"/>
                  <a:gd name="connsiteX5" fmla="*/ 168188 w 392477"/>
                  <a:gd name="connsiteY5" fmla="*/ 2 h 400466"/>
                  <a:gd name="connsiteX0" fmla="*/ 168188 w 274413"/>
                  <a:gd name="connsiteY0" fmla="*/ 265 h 400729"/>
                  <a:gd name="connsiteX1" fmla="*/ 25423 w 274413"/>
                  <a:gd name="connsiteY1" fmla="*/ 241744 h 400729"/>
                  <a:gd name="connsiteX2" fmla="*/ 37527 w 274413"/>
                  <a:gd name="connsiteY2" fmla="*/ 398589 h 400729"/>
                  <a:gd name="connsiteX3" fmla="*/ 251696 w 274413"/>
                  <a:gd name="connsiteY3" fmla="*/ 309393 h 400729"/>
                  <a:gd name="connsiteX4" fmla="*/ 217501 w 274413"/>
                  <a:gd name="connsiteY4" fmla="*/ 196748 h 400729"/>
                  <a:gd name="connsiteX5" fmla="*/ 168188 w 274413"/>
                  <a:gd name="connsiteY5" fmla="*/ 265 h 400729"/>
                  <a:gd name="connsiteX0" fmla="*/ 168188 w 237096"/>
                  <a:gd name="connsiteY0" fmla="*/ 265 h 401953"/>
                  <a:gd name="connsiteX1" fmla="*/ 25423 w 237096"/>
                  <a:gd name="connsiteY1" fmla="*/ 241744 h 401953"/>
                  <a:gd name="connsiteX2" fmla="*/ 37527 w 237096"/>
                  <a:gd name="connsiteY2" fmla="*/ 398589 h 401953"/>
                  <a:gd name="connsiteX3" fmla="*/ 175329 w 237096"/>
                  <a:gd name="connsiteY3" fmla="*/ 331285 h 401953"/>
                  <a:gd name="connsiteX4" fmla="*/ 217501 w 237096"/>
                  <a:gd name="connsiteY4" fmla="*/ 196748 h 401953"/>
                  <a:gd name="connsiteX5" fmla="*/ 168188 w 237096"/>
                  <a:gd name="connsiteY5" fmla="*/ 265 h 401953"/>
                  <a:gd name="connsiteX0" fmla="*/ 168188 w 237096"/>
                  <a:gd name="connsiteY0" fmla="*/ 3688 h 405376"/>
                  <a:gd name="connsiteX1" fmla="*/ 25423 w 237096"/>
                  <a:gd name="connsiteY1" fmla="*/ 245167 h 405376"/>
                  <a:gd name="connsiteX2" fmla="*/ 37527 w 237096"/>
                  <a:gd name="connsiteY2" fmla="*/ 402012 h 405376"/>
                  <a:gd name="connsiteX3" fmla="*/ 175329 w 237096"/>
                  <a:gd name="connsiteY3" fmla="*/ 334708 h 405376"/>
                  <a:gd name="connsiteX4" fmla="*/ 217501 w 237096"/>
                  <a:gd name="connsiteY4" fmla="*/ 200171 h 405376"/>
                  <a:gd name="connsiteX5" fmla="*/ 168188 w 237096"/>
                  <a:gd name="connsiteY5" fmla="*/ 3688 h 405376"/>
                  <a:gd name="connsiteX0" fmla="*/ 168188 w 235421"/>
                  <a:gd name="connsiteY0" fmla="*/ 3688 h 402167"/>
                  <a:gd name="connsiteX1" fmla="*/ 25423 w 235421"/>
                  <a:gd name="connsiteY1" fmla="*/ 245167 h 402167"/>
                  <a:gd name="connsiteX2" fmla="*/ 37527 w 235421"/>
                  <a:gd name="connsiteY2" fmla="*/ 402012 h 402167"/>
                  <a:gd name="connsiteX3" fmla="*/ 217501 w 235421"/>
                  <a:gd name="connsiteY3" fmla="*/ 200171 h 402167"/>
                  <a:gd name="connsiteX4" fmla="*/ 168188 w 235421"/>
                  <a:gd name="connsiteY4" fmla="*/ 3688 h 402167"/>
                  <a:gd name="connsiteX0" fmla="*/ 168188 w 235421"/>
                  <a:gd name="connsiteY0" fmla="*/ 3688 h 402595"/>
                  <a:gd name="connsiteX1" fmla="*/ 25423 w 235421"/>
                  <a:gd name="connsiteY1" fmla="*/ 245167 h 402595"/>
                  <a:gd name="connsiteX2" fmla="*/ 37527 w 235421"/>
                  <a:gd name="connsiteY2" fmla="*/ 402012 h 402595"/>
                  <a:gd name="connsiteX3" fmla="*/ 217501 w 235421"/>
                  <a:gd name="connsiteY3" fmla="*/ 200171 h 402595"/>
                  <a:gd name="connsiteX4" fmla="*/ 168188 w 235421"/>
                  <a:gd name="connsiteY4" fmla="*/ 3688 h 402595"/>
                  <a:gd name="connsiteX0" fmla="*/ 171350 w 236788"/>
                  <a:gd name="connsiteY0" fmla="*/ 3140 h 451128"/>
                  <a:gd name="connsiteX1" fmla="*/ 25592 w 236788"/>
                  <a:gd name="connsiteY1" fmla="*/ 293700 h 451128"/>
                  <a:gd name="connsiteX2" fmla="*/ 37696 w 236788"/>
                  <a:gd name="connsiteY2" fmla="*/ 450545 h 451128"/>
                  <a:gd name="connsiteX3" fmla="*/ 217670 w 236788"/>
                  <a:gd name="connsiteY3" fmla="*/ 248704 h 451128"/>
                  <a:gd name="connsiteX4" fmla="*/ 171350 w 236788"/>
                  <a:gd name="connsiteY4" fmla="*/ 3140 h 451128"/>
                  <a:gd name="connsiteX0" fmla="*/ 171350 w 284643"/>
                  <a:gd name="connsiteY0" fmla="*/ 18721 h 466709"/>
                  <a:gd name="connsiteX1" fmla="*/ 25592 w 284643"/>
                  <a:gd name="connsiteY1" fmla="*/ 309281 h 466709"/>
                  <a:gd name="connsiteX2" fmla="*/ 37696 w 284643"/>
                  <a:gd name="connsiteY2" fmla="*/ 466126 h 466709"/>
                  <a:gd name="connsiteX3" fmla="*/ 217670 w 284643"/>
                  <a:gd name="connsiteY3" fmla="*/ 264285 h 466709"/>
                  <a:gd name="connsiteX4" fmla="*/ 283687 w 284643"/>
                  <a:gd name="connsiteY4" fmla="*/ 54630 h 466709"/>
                  <a:gd name="connsiteX5" fmla="*/ 171350 w 284643"/>
                  <a:gd name="connsiteY5" fmla="*/ 18721 h 466709"/>
                  <a:gd name="connsiteX0" fmla="*/ 171350 w 284643"/>
                  <a:gd name="connsiteY0" fmla="*/ 13405 h 461393"/>
                  <a:gd name="connsiteX1" fmla="*/ 25592 w 284643"/>
                  <a:gd name="connsiteY1" fmla="*/ 303965 h 461393"/>
                  <a:gd name="connsiteX2" fmla="*/ 37696 w 284643"/>
                  <a:gd name="connsiteY2" fmla="*/ 460810 h 461393"/>
                  <a:gd name="connsiteX3" fmla="*/ 217670 w 284643"/>
                  <a:gd name="connsiteY3" fmla="*/ 258969 h 461393"/>
                  <a:gd name="connsiteX4" fmla="*/ 283687 w 284643"/>
                  <a:gd name="connsiteY4" fmla="*/ 49314 h 461393"/>
                  <a:gd name="connsiteX5" fmla="*/ 171350 w 284643"/>
                  <a:gd name="connsiteY5" fmla="*/ 13405 h 461393"/>
                  <a:gd name="connsiteX0" fmla="*/ 171350 w 284643"/>
                  <a:gd name="connsiteY0" fmla="*/ 11721 h 459709"/>
                  <a:gd name="connsiteX1" fmla="*/ 25592 w 284643"/>
                  <a:gd name="connsiteY1" fmla="*/ 302281 h 459709"/>
                  <a:gd name="connsiteX2" fmla="*/ 37696 w 284643"/>
                  <a:gd name="connsiteY2" fmla="*/ 459126 h 459709"/>
                  <a:gd name="connsiteX3" fmla="*/ 217670 w 284643"/>
                  <a:gd name="connsiteY3" fmla="*/ 257285 h 459709"/>
                  <a:gd name="connsiteX4" fmla="*/ 283687 w 284643"/>
                  <a:gd name="connsiteY4" fmla="*/ 47630 h 459709"/>
                  <a:gd name="connsiteX5" fmla="*/ 171350 w 284643"/>
                  <a:gd name="connsiteY5" fmla="*/ 11721 h 459709"/>
                  <a:gd name="connsiteX0" fmla="*/ 171350 w 284643"/>
                  <a:gd name="connsiteY0" fmla="*/ 10902 h 458890"/>
                  <a:gd name="connsiteX1" fmla="*/ 25592 w 284643"/>
                  <a:gd name="connsiteY1" fmla="*/ 301462 h 458890"/>
                  <a:gd name="connsiteX2" fmla="*/ 37696 w 284643"/>
                  <a:gd name="connsiteY2" fmla="*/ 458307 h 458890"/>
                  <a:gd name="connsiteX3" fmla="*/ 217670 w 284643"/>
                  <a:gd name="connsiteY3" fmla="*/ 256466 h 458890"/>
                  <a:gd name="connsiteX4" fmla="*/ 283687 w 284643"/>
                  <a:gd name="connsiteY4" fmla="*/ 46811 h 458890"/>
                  <a:gd name="connsiteX5" fmla="*/ 171350 w 284643"/>
                  <a:gd name="connsiteY5" fmla="*/ 10902 h 458890"/>
                  <a:gd name="connsiteX0" fmla="*/ 139949 w 282991"/>
                  <a:gd name="connsiteY0" fmla="*/ 10529 h 462849"/>
                  <a:gd name="connsiteX1" fmla="*/ 23940 w 282991"/>
                  <a:gd name="connsiteY1" fmla="*/ 305421 h 462849"/>
                  <a:gd name="connsiteX2" fmla="*/ 36044 w 282991"/>
                  <a:gd name="connsiteY2" fmla="*/ 462266 h 462849"/>
                  <a:gd name="connsiteX3" fmla="*/ 216018 w 282991"/>
                  <a:gd name="connsiteY3" fmla="*/ 260425 h 462849"/>
                  <a:gd name="connsiteX4" fmla="*/ 282035 w 282991"/>
                  <a:gd name="connsiteY4" fmla="*/ 50770 h 462849"/>
                  <a:gd name="connsiteX5" fmla="*/ 139949 w 282991"/>
                  <a:gd name="connsiteY5" fmla="*/ 10529 h 462849"/>
                  <a:gd name="connsiteX0" fmla="*/ 139949 w 283971"/>
                  <a:gd name="connsiteY0" fmla="*/ 13151 h 465471"/>
                  <a:gd name="connsiteX1" fmla="*/ 23940 w 283971"/>
                  <a:gd name="connsiteY1" fmla="*/ 308043 h 465471"/>
                  <a:gd name="connsiteX2" fmla="*/ 36044 w 283971"/>
                  <a:gd name="connsiteY2" fmla="*/ 464888 h 465471"/>
                  <a:gd name="connsiteX3" fmla="*/ 216018 w 283971"/>
                  <a:gd name="connsiteY3" fmla="*/ 263047 h 465471"/>
                  <a:gd name="connsiteX4" fmla="*/ 283035 w 283971"/>
                  <a:gd name="connsiteY4" fmla="*/ 37033 h 465471"/>
                  <a:gd name="connsiteX5" fmla="*/ 139949 w 283971"/>
                  <a:gd name="connsiteY5" fmla="*/ 13151 h 465471"/>
                  <a:gd name="connsiteX0" fmla="*/ 120318 w 264340"/>
                  <a:gd name="connsiteY0" fmla="*/ 13153 h 348654"/>
                  <a:gd name="connsiteX1" fmla="*/ 4309 w 264340"/>
                  <a:gd name="connsiteY1" fmla="*/ 308045 h 348654"/>
                  <a:gd name="connsiteX2" fmla="*/ 59472 w 264340"/>
                  <a:gd name="connsiteY2" fmla="*/ 343243 h 348654"/>
                  <a:gd name="connsiteX3" fmla="*/ 196387 w 264340"/>
                  <a:gd name="connsiteY3" fmla="*/ 263049 h 348654"/>
                  <a:gd name="connsiteX4" fmla="*/ 263404 w 264340"/>
                  <a:gd name="connsiteY4" fmla="*/ 37035 h 348654"/>
                  <a:gd name="connsiteX5" fmla="*/ 120318 w 264340"/>
                  <a:gd name="connsiteY5" fmla="*/ 13153 h 348654"/>
                  <a:gd name="connsiteX0" fmla="*/ 119325 w 263347"/>
                  <a:gd name="connsiteY0" fmla="*/ 523 h 333116"/>
                  <a:gd name="connsiteX1" fmla="*/ 4514 w 263347"/>
                  <a:gd name="connsiteY1" fmla="*/ 60391 h 333116"/>
                  <a:gd name="connsiteX2" fmla="*/ 58479 w 263347"/>
                  <a:gd name="connsiteY2" fmla="*/ 330613 h 333116"/>
                  <a:gd name="connsiteX3" fmla="*/ 195394 w 263347"/>
                  <a:gd name="connsiteY3" fmla="*/ 250419 h 333116"/>
                  <a:gd name="connsiteX4" fmla="*/ 262411 w 263347"/>
                  <a:gd name="connsiteY4" fmla="*/ 24405 h 333116"/>
                  <a:gd name="connsiteX5" fmla="*/ 119325 w 263347"/>
                  <a:gd name="connsiteY5" fmla="*/ 523 h 333116"/>
                  <a:gd name="connsiteX0" fmla="*/ 122870 w 266892"/>
                  <a:gd name="connsiteY0" fmla="*/ 523 h 264618"/>
                  <a:gd name="connsiteX1" fmla="*/ 8059 w 266892"/>
                  <a:gd name="connsiteY1" fmla="*/ 60391 h 264618"/>
                  <a:gd name="connsiteX2" fmla="*/ 50577 w 266892"/>
                  <a:gd name="connsiteY2" fmla="*/ 118507 h 264618"/>
                  <a:gd name="connsiteX3" fmla="*/ 198939 w 266892"/>
                  <a:gd name="connsiteY3" fmla="*/ 250419 h 264618"/>
                  <a:gd name="connsiteX4" fmla="*/ 265956 w 266892"/>
                  <a:gd name="connsiteY4" fmla="*/ 24405 h 264618"/>
                  <a:gd name="connsiteX5" fmla="*/ 122870 w 266892"/>
                  <a:gd name="connsiteY5" fmla="*/ 523 h 264618"/>
                  <a:gd name="connsiteX0" fmla="*/ 122870 w 266593"/>
                  <a:gd name="connsiteY0" fmla="*/ 523 h 140228"/>
                  <a:gd name="connsiteX1" fmla="*/ 8059 w 266593"/>
                  <a:gd name="connsiteY1" fmla="*/ 60391 h 140228"/>
                  <a:gd name="connsiteX2" fmla="*/ 50577 w 266593"/>
                  <a:gd name="connsiteY2" fmla="*/ 118507 h 140228"/>
                  <a:gd name="connsiteX3" fmla="*/ 176057 w 266593"/>
                  <a:gd name="connsiteY3" fmla="*/ 102668 h 140228"/>
                  <a:gd name="connsiteX4" fmla="*/ 265956 w 266593"/>
                  <a:gd name="connsiteY4" fmla="*/ 24405 h 140228"/>
                  <a:gd name="connsiteX5" fmla="*/ 122870 w 266593"/>
                  <a:gd name="connsiteY5" fmla="*/ 523 h 140228"/>
                  <a:gd name="connsiteX0" fmla="*/ 122870 w 266856"/>
                  <a:gd name="connsiteY0" fmla="*/ 1708 h 120023"/>
                  <a:gd name="connsiteX1" fmla="*/ 8059 w 266856"/>
                  <a:gd name="connsiteY1" fmla="*/ 61576 h 120023"/>
                  <a:gd name="connsiteX2" fmla="*/ 50577 w 266856"/>
                  <a:gd name="connsiteY2" fmla="*/ 119692 h 120023"/>
                  <a:gd name="connsiteX3" fmla="*/ 265956 w 266856"/>
                  <a:gd name="connsiteY3" fmla="*/ 25590 h 120023"/>
                  <a:gd name="connsiteX4" fmla="*/ 122870 w 266856"/>
                  <a:gd name="connsiteY4" fmla="*/ 1708 h 120023"/>
                  <a:gd name="connsiteX0" fmla="*/ 162732 w 306777"/>
                  <a:gd name="connsiteY0" fmla="*/ 599 h 118818"/>
                  <a:gd name="connsiteX1" fmla="*/ 2188 w 306777"/>
                  <a:gd name="connsiteY1" fmla="*/ 41428 h 118818"/>
                  <a:gd name="connsiteX2" fmla="*/ 90439 w 306777"/>
                  <a:gd name="connsiteY2" fmla="*/ 118583 h 118818"/>
                  <a:gd name="connsiteX3" fmla="*/ 305818 w 306777"/>
                  <a:gd name="connsiteY3" fmla="*/ 24481 h 118818"/>
                  <a:gd name="connsiteX4" fmla="*/ 162732 w 306777"/>
                  <a:gd name="connsiteY4" fmla="*/ 599 h 118818"/>
                  <a:gd name="connsiteX0" fmla="*/ 161930 w 305975"/>
                  <a:gd name="connsiteY0" fmla="*/ 599 h 119285"/>
                  <a:gd name="connsiteX1" fmla="*/ 1386 w 305975"/>
                  <a:gd name="connsiteY1" fmla="*/ 41428 h 119285"/>
                  <a:gd name="connsiteX2" fmla="*/ 89637 w 305975"/>
                  <a:gd name="connsiteY2" fmla="*/ 118583 h 119285"/>
                  <a:gd name="connsiteX3" fmla="*/ 144843 w 305975"/>
                  <a:gd name="connsiteY3" fmla="*/ 67180 h 119285"/>
                  <a:gd name="connsiteX4" fmla="*/ 305016 w 305975"/>
                  <a:gd name="connsiteY4" fmla="*/ 24481 h 119285"/>
                  <a:gd name="connsiteX5" fmla="*/ 161930 w 305975"/>
                  <a:gd name="connsiteY5" fmla="*/ 599 h 119285"/>
                  <a:gd name="connsiteX0" fmla="*/ 161930 w 271336"/>
                  <a:gd name="connsiteY0" fmla="*/ 7 h 118692"/>
                  <a:gd name="connsiteX1" fmla="*/ 1386 w 271336"/>
                  <a:gd name="connsiteY1" fmla="*/ 40836 h 118692"/>
                  <a:gd name="connsiteX2" fmla="*/ 89637 w 271336"/>
                  <a:gd name="connsiteY2" fmla="*/ 117991 h 118692"/>
                  <a:gd name="connsiteX3" fmla="*/ 144843 w 271336"/>
                  <a:gd name="connsiteY3" fmla="*/ 66588 h 118692"/>
                  <a:gd name="connsiteX4" fmla="*/ 270050 w 271336"/>
                  <a:gd name="connsiteY4" fmla="*/ 43555 h 118692"/>
                  <a:gd name="connsiteX5" fmla="*/ 161930 w 271336"/>
                  <a:gd name="connsiteY5" fmla="*/ 7 h 118692"/>
                  <a:gd name="connsiteX0" fmla="*/ 161930 w 278196"/>
                  <a:gd name="connsiteY0" fmla="*/ 7 h 119052"/>
                  <a:gd name="connsiteX1" fmla="*/ 1386 w 278196"/>
                  <a:gd name="connsiteY1" fmla="*/ 40836 h 119052"/>
                  <a:gd name="connsiteX2" fmla="*/ 89637 w 278196"/>
                  <a:gd name="connsiteY2" fmla="*/ 117991 h 119052"/>
                  <a:gd name="connsiteX3" fmla="*/ 256402 w 278196"/>
                  <a:gd name="connsiteY3" fmla="*/ 82830 h 119052"/>
                  <a:gd name="connsiteX4" fmla="*/ 270050 w 278196"/>
                  <a:gd name="connsiteY4" fmla="*/ 43555 h 119052"/>
                  <a:gd name="connsiteX5" fmla="*/ 161930 w 278196"/>
                  <a:gd name="connsiteY5" fmla="*/ 7 h 119052"/>
                  <a:gd name="connsiteX0" fmla="*/ 161135 w 277401"/>
                  <a:gd name="connsiteY0" fmla="*/ 5 h 118292"/>
                  <a:gd name="connsiteX1" fmla="*/ 591 w 277401"/>
                  <a:gd name="connsiteY1" fmla="*/ 40834 h 118292"/>
                  <a:gd name="connsiteX2" fmla="*/ 106268 w 277401"/>
                  <a:gd name="connsiteY2" fmla="*/ 76938 h 118292"/>
                  <a:gd name="connsiteX3" fmla="*/ 88842 w 277401"/>
                  <a:gd name="connsiteY3" fmla="*/ 117989 h 118292"/>
                  <a:gd name="connsiteX4" fmla="*/ 255607 w 277401"/>
                  <a:gd name="connsiteY4" fmla="*/ 82828 h 118292"/>
                  <a:gd name="connsiteX5" fmla="*/ 269255 w 277401"/>
                  <a:gd name="connsiteY5" fmla="*/ 43553 h 118292"/>
                  <a:gd name="connsiteX6" fmla="*/ 161135 w 277401"/>
                  <a:gd name="connsiteY6" fmla="*/ 5 h 118292"/>
                  <a:gd name="connsiteX0" fmla="*/ 162232 w 278498"/>
                  <a:gd name="connsiteY0" fmla="*/ 5 h 118385"/>
                  <a:gd name="connsiteX1" fmla="*/ 1688 w 278498"/>
                  <a:gd name="connsiteY1" fmla="*/ 40834 h 118385"/>
                  <a:gd name="connsiteX2" fmla="*/ 78729 w 278498"/>
                  <a:gd name="connsiteY2" fmla="*/ 85148 h 118385"/>
                  <a:gd name="connsiteX3" fmla="*/ 89939 w 278498"/>
                  <a:gd name="connsiteY3" fmla="*/ 117989 h 118385"/>
                  <a:gd name="connsiteX4" fmla="*/ 256704 w 278498"/>
                  <a:gd name="connsiteY4" fmla="*/ 82828 h 118385"/>
                  <a:gd name="connsiteX5" fmla="*/ 270352 w 278498"/>
                  <a:gd name="connsiteY5" fmla="*/ 43553 h 118385"/>
                  <a:gd name="connsiteX6" fmla="*/ 162232 w 278498"/>
                  <a:gd name="connsiteY6" fmla="*/ 5 h 118385"/>
                  <a:gd name="connsiteX0" fmla="*/ 162232 w 278498"/>
                  <a:gd name="connsiteY0" fmla="*/ 5 h 124242"/>
                  <a:gd name="connsiteX1" fmla="*/ 1688 w 278498"/>
                  <a:gd name="connsiteY1" fmla="*/ 40834 h 124242"/>
                  <a:gd name="connsiteX2" fmla="*/ 78729 w 278498"/>
                  <a:gd name="connsiteY2" fmla="*/ 85148 h 124242"/>
                  <a:gd name="connsiteX3" fmla="*/ 158983 w 278498"/>
                  <a:gd name="connsiteY3" fmla="*/ 123917 h 124242"/>
                  <a:gd name="connsiteX4" fmla="*/ 256704 w 278498"/>
                  <a:gd name="connsiteY4" fmla="*/ 82828 h 124242"/>
                  <a:gd name="connsiteX5" fmla="*/ 270352 w 278498"/>
                  <a:gd name="connsiteY5" fmla="*/ 43553 h 124242"/>
                  <a:gd name="connsiteX6" fmla="*/ 162232 w 278498"/>
                  <a:gd name="connsiteY6" fmla="*/ 5 h 124242"/>
                  <a:gd name="connsiteX0" fmla="*/ 102869 w 219135"/>
                  <a:gd name="connsiteY0" fmla="*/ 3 h 124240"/>
                  <a:gd name="connsiteX1" fmla="*/ 6044 w 219135"/>
                  <a:gd name="connsiteY1" fmla="*/ 41855 h 124240"/>
                  <a:gd name="connsiteX2" fmla="*/ 19366 w 219135"/>
                  <a:gd name="connsiteY2" fmla="*/ 85146 h 124240"/>
                  <a:gd name="connsiteX3" fmla="*/ 99620 w 219135"/>
                  <a:gd name="connsiteY3" fmla="*/ 123915 h 124240"/>
                  <a:gd name="connsiteX4" fmla="*/ 197341 w 219135"/>
                  <a:gd name="connsiteY4" fmla="*/ 82826 h 124240"/>
                  <a:gd name="connsiteX5" fmla="*/ 210989 w 219135"/>
                  <a:gd name="connsiteY5" fmla="*/ 43551 h 124240"/>
                  <a:gd name="connsiteX6" fmla="*/ 102869 w 219135"/>
                  <a:gd name="connsiteY6" fmla="*/ 3 h 124240"/>
                  <a:gd name="connsiteX0" fmla="*/ 143329 w 259595"/>
                  <a:gd name="connsiteY0" fmla="*/ 3 h 124240"/>
                  <a:gd name="connsiteX1" fmla="*/ 46504 w 259595"/>
                  <a:gd name="connsiteY1" fmla="*/ 41855 h 124240"/>
                  <a:gd name="connsiteX2" fmla="*/ 3541 w 259595"/>
                  <a:gd name="connsiteY2" fmla="*/ 85205 h 124240"/>
                  <a:gd name="connsiteX3" fmla="*/ 140080 w 259595"/>
                  <a:gd name="connsiteY3" fmla="*/ 123915 h 124240"/>
                  <a:gd name="connsiteX4" fmla="*/ 237801 w 259595"/>
                  <a:gd name="connsiteY4" fmla="*/ 82826 h 124240"/>
                  <a:gd name="connsiteX5" fmla="*/ 251449 w 259595"/>
                  <a:gd name="connsiteY5" fmla="*/ 43551 h 124240"/>
                  <a:gd name="connsiteX6" fmla="*/ 143329 w 259595"/>
                  <a:gd name="connsiteY6" fmla="*/ 3 h 124240"/>
                  <a:gd name="connsiteX0" fmla="*/ 140138 w 256404"/>
                  <a:gd name="connsiteY0" fmla="*/ 3 h 124588"/>
                  <a:gd name="connsiteX1" fmla="*/ 43313 w 256404"/>
                  <a:gd name="connsiteY1" fmla="*/ 41855 h 124588"/>
                  <a:gd name="connsiteX2" fmla="*/ 350 w 256404"/>
                  <a:gd name="connsiteY2" fmla="*/ 85205 h 124588"/>
                  <a:gd name="connsiteX3" fmla="*/ 91709 w 256404"/>
                  <a:gd name="connsiteY3" fmla="*/ 94380 h 124588"/>
                  <a:gd name="connsiteX4" fmla="*/ 136889 w 256404"/>
                  <a:gd name="connsiteY4" fmla="*/ 123915 h 124588"/>
                  <a:gd name="connsiteX5" fmla="*/ 234610 w 256404"/>
                  <a:gd name="connsiteY5" fmla="*/ 82826 h 124588"/>
                  <a:gd name="connsiteX6" fmla="*/ 248258 w 256404"/>
                  <a:gd name="connsiteY6" fmla="*/ 43551 h 124588"/>
                  <a:gd name="connsiteX7" fmla="*/ 140138 w 256404"/>
                  <a:gd name="connsiteY7" fmla="*/ 3 h 124588"/>
                  <a:gd name="connsiteX0" fmla="*/ 139995 w 256261"/>
                  <a:gd name="connsiteY0" fmla="*/ 18228 h 142813"/>
                  <a:gd name="connsiteX1" fmla="*/ 27805 w 256261"/>
                  <a:gd name="connsiteY1" fmla="*/ 1943 h 142813"/>
                  <a:gd name="connsiteX2" fmla="*/ 43170 w 256261"/>
                  <a:gd name="connsiteY2" fmla="*/ 60080 h 142813"/>
                  <a:gd name="connsiteX3" fmla="*/ 207 w 256261"/>
                  <a:gd name="connsiteY3" fmla="*/ 103430 h 142813"/>
                  <a:gd name="connsiteX4" fmla="*/ 91566 w 256261"/>
                  <a:gd name="connsiteY4" fmla="*/ 112605 h 142813"/>
                  <a:gd name="connsiteX5" fmla="*/ 136746 w 256261"/>
                  <a:gd name="connsiteY5" fmla="*/ 142140 h 142813"/>
                  <a:gd name="connsiteX6" fmla="*/ 234467 w 256261"/>
                  <a:gd name="connsiteY6" fmla="*/ 101051 h 142813"/>
                  <a:gd name="connsiteX7" fmla="*/ 248115 w 256261"/>
                  <a:gd name="connsiteY7" fmla="*/ 61776 h 142813"/>
                  <a:gd name="connsiteX8" fmla="*/ 139995 w 256261"/>
                  <a:gd name="connsiteY8" fmla="*/ 18228 h 142813"/>
                  <a:gd name="connsiteX0" fmla="*/ 156016 w 272282"/>
                  <a:gd name="connsiteY0" fmla="*/ 18228 h 142813"/>
                  <a:gd name="connsiteX1" fmla="*/ 43826 w 272282"/>
                  <a:gd name="connsiteY1" fmla="*/ 1943 h 142813"/>
                  <a:gd name="connsiteX2" fmla="*/ 801 w 272282"/>
                  <a:gd name="connsiteY2" fmla="*/ 63958 h 142813"/>
                  <a:gd name="connsiteX3" fmla="*/ 16228 w 272282"/>
                  <a:gd name="connsiteY3" fmla="*/ 103430 h 142813"/>
                  <a:gd name="connsiteX4" fmla="*/ 107587 w 272282"/>
                  <a:gd name="connsiteY4" fmla="*/ 112605 h 142813"/>
                  <a:gd name="connsiteX5" fmla="*/ 152767 w 272282"/>
                  <a:gd name="connsiteY5" fmla="*/ 142140 h 142813"/>
                  <a:gd name="connsiteX6" fmla="*/ 250488 w 272282"/>
                  <a:gd name="connsiteY6" fmla="*/ 101051 h 142813"/>
                  <a:gd name="connsiteX7" fmla="*/ 264136 w 272282"/>
                  <a:gd name="connsiteY7" fmla="*/ 61776 h 142813"/>
                  <a:gd name="connsiteX8" fmla="*/ 156016 w 272282"/>
                  <a:gd name="connsiteY8" fmla="*/ 18228 h 142813"/>
                  <a:gd name="connsiteX0" fmla="*/ 190067 w 306333"/>
                  <a:gd name="connsiteY0" fmla="*/ 18228 h 142813"/>
                  <a:gd name="connsiteX1" fmla="*/ 77877 w 306333"/>
                  <a:gd name="connsiteY1" fmla="*/ 1943 h 142813"/>
                  <a:gd name="connsiteX2" fmla="*/ 34852 w 306333"/>
                  <a:gd name="connsiteY2" fmla="*/ 63958 h 142813"/>
                  <a:gd name="connsiteX3" fmla="*/ 326 w 306333"/>
                  <a:gd name="connsiteY3" fmla="*/ 92029 h 142813"/>
                  <a:gd name="connsiteX4" fmla="*/ 141638 w 306333"/>
                  <a:gd name="connsiteY4" fmla="*/ 112605 h 142813"/>
                  <a:gd name="connsiteX5" fmla="*/ 186818 w 306333"/>
                  <a:gd name="connsiteY5" fmla="*/ 142140 h 142813"/>
                  <a:gd name="connsiteX6" fmla="*/ 284539 w 306333"/>
                  <a:gd name="connsiteY6" fmla="*/ 101051 h 142813"/>
                  <a:gd name="connsiteX7" fmla="*/ 298187 w 306333"/>
                  <a:gd name="connsiteY7" fmla="*/ 61776 h 142813"/>
                  <a:gd name="connsiteX8" fmla="*/ 190067 w 306333"/>
                  <a:gd name="connsiteY8" fmla="*/ 18228 h 142813"/>
                  <a:gd name="connsiteX0" fmla="*/ 190067 w 306333"/>
                  <a:gd name="connsiteY0" fmla="*/ 18228 h 174497"/>
                  <a:gd name="connsiteX1" fmla="*/ 77877 w 306333"/>
                  <a:gd name="connsiteY1" fmla="*/ 1943 h 174497"/>
                  <a:gd name="connsiteX2" fmla="*/ 34852 w 306333"/>
                  <a:gd name="connsiteY2" fmla="*/ 63958 h 174497"/>
                  <a:gd name="connsiteX3" fmla="*/ 326 w 306333"/>
                  <a:gd name="connsiteY3" fmla="*/ 92029 h 174497"/>
                  <a:gd name="connsiteX4" fmla="*/ 164181 w 306333"/>
                  <a:gd name="connsiteY4" fmla="*/ 173655 h 174497"/>
                  <a:gd name="connsiteX5" fmla="*/ 186818 w 306333"/>
                  <a:gd name="connsiteY5" fmla="*/ 142140 h 174497"/>
                  <a:gd name="connsiteX6" fmla="*/ 284539 w 306333"/>
                  <a:gd name="connsiteY6" fmla="*/ 101051 h 174497"/>
                  <a:gd name="connsiteX7" fmla="*/ 298187 w 306333"/>
                  <a:gd name="connsiteY7" fmla="*/ 61776 h 174497"/>
                  <a:gd name="connsiteX8" fmla="*/ 190067 w 306333"/>
                  <a:gd name="connsiteY8" fmla="*/ 18228 h 174497"/>
                  <a:gd name="connsiteX0" fmla="*/ 190067 w 362113"/>
                  <a:gd name="connsiteY0" fmla="*/ 18228 h 174495"/>
                  <a:gd name="connsiteX1" fmla="*/ 77877 w 362113"/>
                  <a:gd name="connsiteY1" fmla="*/ 1943 h 174495"/>
                  <a:gd name="connsiteX2" fmla="*/ 34852 w 362113"/>
                  <a:gd name="connsiteY2" fmla="*/ 63958 h 174495"/>
                  <a:gd name="connsiteX3" fmla="*/ 326 w 362113"/>
                  <a:gd name="connsiteY3" fmla="*/ 92029 h 174495"/>
                  <a:gd name="connsiteX4" fmla="*/ 164181 w 362113"/>
                  <a:gd name="connsiteY4" fmla="*/ 173655 h 174495"/>
                  <a:gd name="connsiteX5" fmla="*/ 186818 w 362113"/>
                  <a:gd name="connsiteY5" fmla="*/ 142140 h 174495"/>
                  <a:gd name="connsiteX6" fmla="*/ 353472 w 362113"/>
                  <a:gd name="connsiteY6" fmla="*/ 78078 h 174495"/>
                  <a:gd name="connsiteX7" fmla="*/ 298187 w 362113"/>
                  <a:gd name="connsiteY7" fmla="*/ 61776 h 174495"/>
                  <a:gd name="connsiteX8" fmla="*/ 190067 w 362113"/>
                  <a:gd name="connsiteY8" fmla="*/ 18228 h 174495"/>
                  <a:gd name="connsiteX0" fmla="*/ 190067 w 364772"/>
                  <a:gd name="connsiteY0" fmla="*/ 18165 h 174433"/>
                  <a:gd name="connsiteX1" fmla="*/ 77877 w 364772"/>
                  <a:gd name="connsiteY1" fmla="*/ 1880 h 174433"/>
                  <a:gd name="connsiteX2" fmla="*/ 34852 w 364772"/>
                  <a:gd name="connsiteY2" fmla="*/ 63895 h 174433"/>
                  <a:gd name="connsiteX3" fmla="*/ 326 w 364772"/>
                  <a:gd name="connsiteY3" fmla="*/ 91966 h 174433"/>
                  <a:gd name="connsiteX4" fmla="*/ 164181 w 364772"/>
                  <a:gd name="connsiteY4" fmla="*/ 173592 h 174433"/>
                  <a:gd name="connsiteX5" fmla="*/ 186818 w 364772"/>
                  <a:gd name="connsiteY5" fmla="*/ 142077 h 174433"/>
                  <a:gd name="connsiteX6" fmla="*/ 353472 w 364772"/>
                  <a:gd name="connsiteY6" fmla="*/ 78015 h 174433"/>
                  <a:gd name="connsiteX7" fmla="*/ 324720 w 364772"/>
                  <a:gd name="connsiteY7" fmla="*/ 57322 h 174433"/>
                  <a:gd name="connsiteX8" fmla="*/ 190067 w 364772"/>
                  <a:gd name="connsiteY8" fmla="*/ 18165 h 1744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4772" h="174433">
                    <a:moveTo>
                      <a:pt x="190067" y="18165"/>
                    </a:moveTo>
                    <a:cubicBezTo>
                      <a:pt x="148927" y="8925"/>
                      <a:pt x="94014" y="-5095"/>
                      <a:pt x="77877" y="1880"/>
                    </a:cubicBezTo>
                    <a:cubicBezTo>
                      <a:pt x="61740" y="8855"/>
                      <a:pt x="47777" y="48881"/>
                      <a:pt x="34852" y="63895"/>
                    </a:cubicBezTo>
                    <a:cubicBezTo>
                      <a:pt x="21927" y="78909"/>
                      <a:pt x="-3153" y="79754"/>
                      <a:pt x="326" y="91966"/>
                    </a:cubicBezTo>
                    <a:cubicBezTo>
                      <a:pt x="3805" y="104178"/>
                      <a:pt x="141425" y="167140"/>
                      <a:pt x="164181" y="173592"/>
                    </a:cubicBezTo>
                    <a:cubicBezTo>
                      <a:pt x="186937" y="180044"/>
                      <a:pt x="158414" y="147461"/>
                      <a:pt x="186818" y="142077"/>
                    </a:cubicBezTo>
                    <a:cubicBezTo>
                      <a:pt x="215222" y="136693"/>
                      <a:pt x="317576" y="93699"/>
                      <a:pt x="353472" y="78015"/>
                    </a:cubicBezTo>
                    <a:cubicBezTo>
                      <a:pt x="389368" y="62331"/>
                      <a:pt x="328607" y="70775"/>
                      <a:pt x="324720" y="57322"/>
                    </a:cubicBezTo>
                    <a:cubicBezTo>
                      <a:pt x="336769" y="37658"/>
                      <a:pt x="231207" y="27405"/>
                      <a:pt x="190067" y="18165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247" name="Oval 88"/>
              <p:cNvSpPr/>
              <p:nvPr/>
            </p:nvSpPr>
            <p:spPr>
              <a:xfrm>
                <a:off x="7400449" y="4612312"/>
                <a:ext cx="171753" cy="106869"/>
              </a:xfrm>
              <a:custGeom>
                <a:avLst/>
                <a:gdLst>
                  <a:gd name="connsiteX0" fmla="*/ 0 w 156136"/>
                  <a:gd name="connsiteY0" fmla="*/ 83677 h 167353"/>
                  <a:gd name="connsiteX1" fmla="*/ 78068 w 156136"/>
                  <a:gd name="connsiteY1" fmla="*/ 0 h 167353"/>
                  <a:gd name="connsiteX2" fmla="*/ 156136 w 156136"/>
                  <a:gd name="connsiteY2" fmla="*/ 83677 h 167353"/>
                  <a:gd name="connsiteX3" fmla="*/ 78068 w 156136"/>
                  <a:gd name="connsiteY3" fmla="*/ 167354 h 167353"/>
                  <a:gd name="connsiteX4" fmla="*/ 0 w 156136"/>
                  <a:gd name="connsiteY4" fmla="*/ 83677 h 167353"/>
                  <a:gd name="connsiteX0" fmla="*/ 0 w 114861"/>
                  <a:gd name="connsiteY0" fmla="*/ 122392 h 170110"/>
                  <a:gd name="connsiteX1" fmla="*/ 36793 w 114861"/>
                  <a:gd name="connsiteY1" fmla="*/ 615 h 170110"/>
                  <a:gd name="connsiteX2" fmla="*/ 114861 w 114861"/>
                  <a:gd name="connsiteY2" fmla="*/ 84292 h 170110"/>
                  <a:gd name="connsiteX3" fmla="*/ 36793 w 114861"/>
                  <a:gd name="connsiteY3" fmla="*/ 167969 h 170110"/>
                  <a:gd name="connsiteX4" fmla="*/ 0 w 114861"/>
                  <a:gd name="connsiteY4" fmla="*/ 122392 h 170110"/>
                  <a:gd name="connsiteX0" fmla="*/ 13 w 114874"/>
                  <a:gd name="connsiteY0" fmla="*/ 122392 h 156828"/>
                  <a:gd name="connsiteX1" fmla="*/ 36806 w 114874"/>
                  <a:gd name="connsiteY1" fmla="*/ 615 h 156828"/>
                  <a:gd name="connsiteX2" fmla="*/ 114874 w 114874"/>
                  <a:gd name="connsiteY2" fmla="*/ 84292 h 156828"/>
                  <a:gd name="connsiteX3" fmla="*/ 33631 w 114874"/>
                  <a:gd name="connsiteY3" fmla="*/ 155269 h 156828"/>
                  <a:gd name="connsiteX4" fmla="*/ 13 w 114874"/>
                  <a:gd name="connsiteY4" fmla="*/ 122392 h 156828"/>
                  <a:gd name="connsiteX0" fmla="*/ 9 w 115771"/>
                  <a:gd name="connsiteY0" fmla="*/ 122194 h 155137"/>
                  <a:gd name="connsiteX1" fmla="*/ 36802 w 115771"/>
                  <a:gd name="connsiteY1" fmla="*/ 417 h 155137"/>
                  <a:gd name="connsiteX2" fmla="*/ 114870 w 115771"/>
                  <a:gd name="connsiteY2" fmla="*/ 84094 h 155137"/>
                  <a:gd name="connsiteX3" fmla="*/ 66479 w 115771"/>
                  <a:gd name="connsiteY3" fmla="*/ 129367 h 155137"/>
                  <a:gd name="connsiteX4" fmla="*/ 33627 w 115771"/>
                  <a:gd name="connsiteY4" fmla="*/ 155071 h 155137"/>
                  <a:gd name="connsiteX5" fmla="*/ 9 w 115771"/>
                  <a:gd name="connsiteY5" fmla="*/ 122194 h 155137"/>
                  <a:gd name="connsiteX0" fmla="*/ 9 w 125148"/>
                  <a:gd name="connsiteY0" fmla="*/ 121780 h 154723"/>
                  <a:gd name="connsiteX1" fmla="*/ 36802 w 125148"/>
                  <a:gd name="connsiteY1" fmla="*/ 3 h 154723"/>
                  <a:gd name="connsiteX2" fmla="*/ 124395 w 125148"/>
                  <a:gd name="connsiteY2" fmla="*/ 118605 h 154723"/>
                  <a:gd name="connsiteX3" fmla="*/ 66479 w 125148"/>
                  <a:gd name="connsiteY3" fmla="*/ 128953 h 154723"/>
                  <a:gd name="connsiteX4" fmla="*/ 33627 w 125148"/>
                  <a:gd name="connsiteY4" fmla="*/ 154657 h 154723"/>
                  <a:gd name="connsiteX5" fmla="*/ 9 w 125148"/>
                  <a:gd name="connsiteY5" fmla="*/ 121780 h 154723"/>
                  <a:gd name="connsiteX0" fmla="*/ 3247 w 131427"/>
                  <a:gd name="connsiteY0" fmla="*/ 77331 h 110274"/>
                  <a:gd name="connsiteX1" fmla="*/ 122590 w 131427"/>
                  <a:gd name="connsiteY1" fmla="*/ 4 h 110274"/>
                  <a:gd name="connsiteX2" fmla="*/ 127633 w 131427"/>
                  <a:gd name="connsiteY2" fmla="*/ 74156 h 110274"/>
                  <a:gd name="connsiteX3" fmla="*/ 69717 w 131427"/>
                  <a:gd name="connsiteY3" fmla="*/ 84504 h 110274"/>
                  <a:gd name="connsiteX4" fmla="*/ 36865 w 131427"/>
                  <a:gd name="connsiteY4" fmla="*/ 110208 h 110274"/>
                  <a:gd name="connsiteX5" fmla="*/ 3247 w 131427"/>
                  <a:gd name="connsiteY5" fmla="*/ 77331 h 110274"/>
                  <a:gd name="connsiteX0" fmla="*/ 5118 w 160910"/>
                  <a:gd name="connsiteY0" fmla="*/ 124954 h 157897"/>
                  <a:gd name="connsiteX1" fmla="*/ 156211 w 160910"/>
                  <a:gd name="connsiteY1" fmla="*/ 2 h 157897"/>
                  <a:gd name="connsiteX2" fmla="*/ 129504 w 160910"/>
                  <a:gd name="connsiteY2" fmla="*/ 121779 h 157897"/>
                  <a:gd name="connsiteX3" fmla="*/ 71588 w 160910"/>
                  <a:gd name="connsiteY3" fmla="*/ 132127 h 157897"/>
                  <a:gd name="connsiteX4" fmla="*/ 38736 w 160910"/>
                  <a:gd name="connsiteY4" fmla="*/ 157831 h 157897"/>
                  <a:gd name="connsiteX5" fmla="*/ 5118 w 160910"/>
                  <a:gd name="connsiteY5" fmla="*/ 124954 h 157897"/>
                  <a:gd name="connsiteX0" fmla="*/ 1646 w 153341"/>
                  <a:gd name="connsiteY0" fmla="*/ 125884 h 158827"/>
                  <a:gd name="connsiteX1" fmla="*/ 90340 w 153341"/>
                  <a:gd name="connsiteY1" fmla="*/ 69558 h 158827"/>
                  <a:gd name="connsiteX2" fmla="*/ 152739 w 153341"/>
                  <a:gd name="connsiteY2" fmla="*/ 932 h 158827"/>
                  <a:gd name="connsiteX3" fmla="*/ 126032 w 153341"/>
                  <a:gd name="connsiteY3" fmla="*/ 122709 h 158827"/>
                  <a:gd name="connsiteX4" fmla="*/ 68116 w 153341"/>
                  <a:gd name="connsiteY4" fmla="*/ 133057 h 158827"/>
                  <a:gd name="connsiteX5" fmla="*/ 35264 w 153341"/>
                  <a:gd name="connsiteY5" fmla="*/ 158761 h 158827"/>
                  <a:gd name="connsiteX6" fmla="*/ 1646 w 153341"/>
                  <a:gd name="connsiteY6" fmla="*/ 125884 h 158827"/>
                  <a:gd name="connsiteX0" fmla="*/ 1646 w 189305"/>
                  <a:gd name="connsiteY0" fmla="*/ 126728 h 159671"/>
                  <a:gd name="connsiteX1" fmla="*/ 90340 w 189305"/>
                  <a:gd name="connsiteY1" fmla="*/ 70402 h 159671"/>
                  <a:gd name="connsiteX2" fmla="*/ 152739 w 189305"/>
                  <a:gd name="connsiteY2" fmla="*/ 1776 h 159671"/>
                  <a:gd name="connsiteX3" fmla="*/ 188766 w 189305"/>
                  <a:gd name="connsiteY3" fmla="*/ 29127 h 159671"/>
                  <a:gd name="connsiteX4" fmla="*/ 126032 w 189305"/>
                  <a:gd name="connsiteY4" fmla="*/ 123553 h 159671"/>
                  <a:gd name="connsiteX5" fmla="*/ 68116 w 189305"/>
                  <a:gd name="connsiteY5" fmla="*/ 133901 h 159671"/>
                  <a:gd name="connsiteX6" fmla="*/ 35264 w 189305"/>
                  <a:gd name="connsiteY6" fmla="*/ 159605 h 159671"/>
                  <a:gd name="connsiteX7" fmla="*/ 1646 w 189305"/>
                  <a:gd name="connsiteY7" fmla="*/ 126728 h 159671"/>
                  <a:gd name="connsiteX0" fmla="*/ 1540 w 192374"/>
                  <a:gd name="connsiteY0" fmla="*/ 117203 h 159913"/>
                  <a:gd name="connsiteX1" fmla="*/ 93409 w 192374"/>
                  <a:gd name="connsiteY1" fmla="*/ 70402 h 159913"/>
                  <a:gd name="connsiteX2" fmla="*/ 155808 w 192374"/>
                  <a:gd name="connsiteY2" fmla="*/ 1776 h 159913"/>
                  <a:gd name="connsiteX3" fmla="*/ 191835 w 192374"/>
                  <a:gd name="connsiteY3" fmla="*/ 29127 h 159913"/>
                  <a:gd name="connsiteX4" fmla="*/ 129101 w 192374"/>
                  <a:gd name="connsiteY4" fmla="*/ 123553 h 159913"/>
                  <a:gd name="connsiteX5" fmla="*/ 71185 w 192374"/>
                  <a:gd name="connsiteY5" fmla="*/ 133901 h 159913"/>
                  <a:gd name="connsiteX6" fmla="*/ 38333 w 192374"/>
                  <a:gd name="connsiteY6" fmla="*/ 159605 h 159913"/>
                  <a:gd name="connsiteX7" fmla="*/ 1540 w 192374"/>
                  <a:gd name="connsiteY7" fmla="*/ 117203 h 159913"/>
                  <a:gd name="connsiteX0" fmla="*/ 1578 w 192412"/>
                  <a:gd name="connsiteY0" fmla="*/ 117203 h 160098"/>
                  <a:gd name="connsiteX1" fmla="*/ 93447 w 192412"/>
                  <a:gd name="connsiteY1" fmla="*/ 70402 h 160098"/>
                  <a:gd name="connsiteX2" fmla="*/ 155846 w 192412"/>
                  <a:gd name="connsiteY2" fmla="*/ 1776 h 160098"/>
                  <a:gd name="connsiteX3" fmla="*/ 191873 w 192412"/>
                  <a:gd name="connsiteY3" fmla="*/ 29127 h 160098"/>
                  <a:gd name="connsiteX4" fmla="*/ 129139 w 192412"/>
                  <a:gd name="connsiteY4" fmla="*/ 123553 h 160098"/>
                  <a:gd name="connsiteX5" fmla="*/ 77573 w 192412"/>
                  <a:gd name="connsiteY5" fmla="*/ 137076 h 160098"/>
                  <a:gd name="connsiteX6" fmla="*/ 38371 w 192412"/>
                  <a:gd name="connsiteY6" fmla="*/ 159605 h 160098"/>
                  <a:gd name="connsiteX7" fmla="*/ 1578 w 192412"/>
                  <a:gd name="connsiteY7" fmla="*/ 117203 h 160098"/>
                  <a:gd name="connsiteX0" fmla="*/ 1578 w 192412"/>
                  <a:gd name="connsiteY0" fmla="*/ 117203 h 172587"/>
                  <a:gd name="connsiteX1" fmla="*/ 93447 w 192412"/>
                  <a:gd name="connsiteY1" fmla="*/ 70402 h 172587"/>
                  <a:gd name="connsiteX2" fmla="*/ 155846 w 192412"/>
                  <a:gd name="connsiteY2" fmla="*/ 1776 h 172587"/>
                  <a:gd name="connsiteX3" fmla="*/ 191873 w 192412"/>
                  <a:gd name="connsiteY3" fmla="*/ 29127 h 172587"/>
                  <a:gd name="connsiteX4" fmla="*/ 129139 w 192412"/>
                  <a:gd name="connsiteY4" fmla="*/ 123553 h 172587"/>
                  <a:gd name="connsiteX5" fmla="*/ 77573 w 192412"/>
                  <a:gd name="connsiteY5" fmla="*/ 137076 h 172587"/>
                  <a:gd name="connsiteX6" fmla="*/ 38371 w 192412"/>
                  <a:gd name="connsiteY6" fmla="*/ 172305 h 172587"/>
                  <a:gd name="connsiteX7" fmla="*/ 1578 w 192412"/>
                  <a:gd name="connsiteY7" fmla="*/ 117203 h 172587"/>
                  <a:gd name="connsiteX0" fmla="*/ 1639 w 192473"/>
                  <a:gd name="connsiteY0" fmla="*/ 117203 h 172884"/>
                  <a:gd name="connsiteX1" fmla="*/ 93508 w 192473"/>
                  <a:gd name="connsiteY1" fmla="*/ 70402 h 172884"/>
                  <a:gd name="connsiteX2" fmla="*/ 155907 w 192473"/>
                  <a:gd name="connsiteY2" fmla="*/ 1776 h 172884"/>
                  <a:gd name="connsiteX3" fmla="*/ 191934 w 192473"/>
                  <a:gd name="connsiteY3" fmla="*/ 29127 h 172884"/>
                  <a:gd name="connsiteX4" fmla="*/ 129200 w 192473"/>
                  <a:gd name="connsiteY4" fmla="*/ 123553 h 172884"/>
                  <a:gd name="connsiteX5" fmla="*/ 87159 w 192473"/>
                  <a:gd name="connsiteY5" fmla="*/ 143426 h 172884"/>
                  <a:gd name="connsiteX6" fmla="*/ 38432 w 192473"/>
                  <a:gd name="connsiteY6" fmla="*/ 172305 h 172884"/>
                  <a:gd name="connsiteX7" fmla="*/ 1639 w 192473"/>
                  <a:gd name="connsiteY7" fmla="*/ 117203 h 172884"/>
                  <a:gd name="connsiteX0" fmla="*/ 1639 w 192473"/>
                  <a:gd name="connsiteY0" fmla="*/ 117203 h 172884"/>
                  <a:gd name="connsiteX1" fmla="*/ 93508 w 192473"/>
                  <a:gd name="connsiteY1" fmla="*/ 70402 h 172884"/>
                  <a:gd name="connsiteX2" fmla="*/ 155907 w 192473"/>
                  <a:gd name="connsiteY2" fmla="*/ 1776 h 172884"/>
                  <a:gd name="connsiteX3" fmla="*/ 191934 w 192473"/>
                  <a:gd name="connsiteY3" fmla="*/ 29127 h 172884"/>
                  <a:gd name="connsiteX4" fmla="*/ 129200 w 192473"/>
                  <a:gd name="connsiteY4" fmla="*/ 120378 h 172884"/>
                  <a:gd name="connsiteX5" fmla="*/ 87159 w 192473"/>
                  <a:gd name="connsiteY5" fmla="*/ 143426 h 172884"/>
                  <a:gd name="connsiteX6" fmla="*/ 38432 w 192473"/>
                  <a:gd name="connsiteY6" fmla="*/ 172305 h 172884"/>
                  <a:gd name="connsiteX7" fmla="*/ 1639 w 192473"/>
                  <a:gd name="connsiteY7" fmla="*/ 117203 h 172884"/>
                  <a:gd name="connsiteX0" fmla="*/ 1639 w 192473"/>
                  <a:gd name="connsiteY0" fmla="*/ 117203 h 172884"/>
                  <a:gd name="connsiteX1" fmla="*/ 93508 w 192473"/>
                  <a:gd name="connsiteY1" fmla="*/ 70402 h 172884"/>
                  <a:gd name="connsiteX2" fmla="*/ 155907 w 192473"/>
                  <a:gd name="connsiteY2" fmla="*/ 1776 h 172884"/>
                  <a:gd name="connsiteX3" fmla="*/ 191934 w 192473"/>
                  <a:gd name="connsiteY3" fmla="*/ 29127 h 172884"/>
                  <a:gd name="connsiteX4" fmla="*/ 145075 w 192473"/>
                  <a:gd name="connsiteY4" fmla="*/ 139428 h 172884"/>
                  <a:gd name="connsiteX5" fmla="*/ 87159 w 192473"/>
                  <a:gd name="connsiteY5" fmla="*/ 143426 h 172884"/>
                  <a:gd name="connsiteX6" fmla="*/ 38432 w 192473"/>
                  <a:gd name="connsiteY6" fmla="*/ 172305 h 172884"/>
                  <a:gd name="connsiteX7" fmla="*/ 1639 w 192473"/>
                  <a:gd name="connsiteY7" fmla="*/ 117203 h 172884"/>
                  <a:gd name="connsiteX0" fmla="*/ 1639 w 174103"/>
                  <a:gd name="connsiteY0" fmla="*/ 115867 h 171548"/>
                  <a:gd name="connsiteX1" fmla="*/ 93508 w 174103"/>
                  <a:gd name="connsiteY1" fmla="*/ 69066 h 171548"/>
                  <a:gd name="connsiteX2" fmla="*/ 155907 w 174103"/>
                  <a:gd name="connsiteY2" fmla="*/ 440 h 171548"/>
                  <a:gd name="connsiteX3" fmla="*/ 172884 w 174103"/>
                  <a:gd name="connsiteY3" fmla="*/ 103991 h 171548"/>
                  <a:gd name="connsiteX4" fmla="*/ 145075 w 174103"/>
                  <a:gd name="connsiteY4" fmla="*/ 138092 h 171548"/>
                  <a:gd name="connsiteX5" fmla="*/ 87159 w 174103"/>
                  <a:gd name="connsiteY5" fmla="*/ 142090 h 171548"/>
                  <a:gd name="connsiteX6" fmla="*/ 38432 w 174103"/>
                  <a:gd name="connsiteY6" fmla="*/ 170969 h 171548"/>
                  <a:gd name="connsiteX7" fmla="*/ 1639 w 174103"/>
                  <a:gd name="connsiteY7" fmla="*/ 115867 h 171548"/>
                  <a:gd name="connsiteX0" fmla="*/ 1639 w 173324"/>
                  <a:gd name="connsiteY0" fmla="*/ 52930 h 108611"/>
                  <a:gd name="connsiteX1" fmla="*/ 93508 w 173324"/>
                  <a:gd name="connsiteY1" fmla="*/ 6129 h 108611"/>
                  <a:gd name="connsiteX2" fmla="*/ 133682 w 173324"/>
                  <a:gd name="connsiteY2" fmla="*/ 29578 h 108611"/>
                  <a:gd name="connsiteX3" fmla="*/ 172884 w 173324"/>
                  <a:gd name="connsiteY3" fmla="*/ 41054 h 108611"/>
                  <a:gd name="connsiteX4" fmla="*/ 145075 w 173324"/>
                  <a:gd name="connsiteY4" fmla="*/ 75155 h 108611"/>
                  <a:gd name="connsiteX5" fmla="*/ 87159 w 173324"/>
                  <a:gd name="connsiteY5" fmla="*/ 79153 h 108611"/>
                  <a:gd name="connsiteX6" fmla="*/ 38432 w 173324"/>
                  <a:gd name="connsiteY6" fmla="*/ 108032 h 108611"/>
                  <a:gd name="connsiteX7" fmla="*/ 1639 w 173324"/>
                  <a:gd name="connsiteY7" fmla="*/ 52930 h 108611"/>
                  <a:gd name="connsiteX0" fmla="*/ 1791 w 173470"/>
                  <a:gd name="connsiteY0" fmla="*/ 47258 h 102939"/>
                  <a:gd name="connsiteX1" fmla="*/ 96835 w 173470"/>
                  <a:gd name="connsiteY1" fmla="*/ 6807 h 102939"/>
                  <a:gd name="connsiteX2" fmla="*/ 133834 w 173470"/>
                  <a:gd name="connsiteY2" fmla="*/ 23906 h 102939"/>
                  <a:gd name="connsiteX3" fmla="*/ 173036 w 173470"/>
                  <a:gd name="connsiteY3" fmla="*/ 35382 h 102939"/>
                  <a:gd name="connsiteX4" fmla="*/ 145227 w 173470"/>
                  <a:gd name="connsiteY4" fmla="*/ 69483 h 102939"/>
                  <a:gd name="connsiteX5" fmla="*/ 87311 w 173470"/>
                  <a:gd name="connsiteY5" fmla="*/ 73481 h 102939"/>
                  <a:gd name="connsiteX6" fmla="*/ 38584 w 173470"/>
                  <a:gd name="connsiteY6" fmla="*/ 102360 h 102939"/>
                  <a:gd name="connsiteX7" fmla="*/ 1791 w 173470"/>
                  <a:gd name="connsiteY7" fmla="*/ 47258 h 102939"/>
                  <a:gd name="connsiteX0" fmla="*/ 1791 w 173470"/>
                  <a:gd name="connsiteY0" fmla="*/ 40451 h 96132"/>
                  <a:gd name="connsiteX1" fmla="*/ 96835 w 173470"/>
                  <a:gd name="connsiteY1" fmla="*/ 0 h 96132"/>
                  <a:gd name="connsiteX2" fmla="*/ 133834 w 173470"/>
                  <a:gd name="connsiteY2" fmla="*/ 17099 h 96132"/>
                  <a:gd name="connsiteX3" fmla="*/ 173036 w 173470"/>
                  <a:gd name="connsiteY3" fmla="*/ 28575 h 96132"/>
                  <a:gd name="connsiteX4" fmla="*/ 145227 w 173470"/>
                  <a:gd name="connsiteY4" fmla="*/ 62676 h 96132"/>
                  <a:gd name="connsiteX5" fmla="*/ 87311 w 173470"/>
                  <a:gd name="connsiteY5" fmla="*/ 66674 h 96132"/>
                  <a:gd name="connsiteX6" fmla="*/ 38584 w 173470"/>
                  <a:gd name="connsiteY6" fmla="*/ 95553 h 96132"/>
                  <a:gd name="connsiteX7" fmla="*/ 1791 w 173470"/>
                  <a:gd name="connsiteY7" fmla="*/ 40451 h 96132"/>
                  <a:gd name="connsiteX0" fmla="*/ 1791 w 192729"/>
                  <a:gd name="connsiteY0" fmla="*/ 40451 h 96132"/>
                  <a:gd name="connsiteX1" fmla="*/ 96835 w 192729"/>
                  <a:gd name="connsiteY1" fmla="*/ 0 h 96132"/>
                  <a:gd name="connsiteX2" fmla="*/ 133834 w 192729"/>
                  <a:gd name="connsiteY2" fmla="*/ 17099 h 96132"/>
                  <a:gd name="connsiteX3" fmla="*/ 173036 w 192729"/>
                  <a:gd name="connsiteY3" fmla="*/ 28575 h 96132"/>
                  <a:gd name="connsiteX4" fmla="*/ 189677 w 192729"/>
                  <a:gd name="connsiteY4" fmla="*/ 91251 h 96132"/>
                  <a:gd name="connsiteX5" fmla="*/ 87311 w 192729"/>
                  <a:gd name="connsiteY5" fmla="*/ 66674 h 96132"/>
                  <a:gd name="connsiteX6" fmla="*/ 38584 w 192729"/>
                  <a:gd name="connsiteY6" fmla="*/ 95553 h 96132"/>
                  <a:gd name="connsiteX7" fmla="*/ 1791 w 192729"/>
                  <a:gd name="connsiteY7" fmla="*/ 40451 h 96132"/>
                  <a:gd name="connsiteX0" fmla="*/ 1791 w 273343"/>
                  <a:gd name="connsiteY0" fmla="*/ 40451 h 96132"/>
                  <a:gd name="connsiteX1" fmla="*/ 96835 w 273343"/>
                  <a:gd name="connsiteY1" fmla="*/ 0 h 96132"/>
                  <a:gd name="connsiteX2" fmla="*/ 133834 w 273343"/>
                  <a:gd name="connsiteY2" fmla="*/ 17099 h 96132"/>
                  <a:gd name="connsiteX3" fmla="*/ 173036 w 273343"/>
                  <a:gd name="connsiteY3" fmla="*/ 28575 h 96132"/>
                  <a:gd name="connsiteX4" fmla="*/ 273264 w 273343"/>
                  <a:gd name="connsiteY4" fmla="*/ 44816 h 96132"/>
                  <a:gd name="connsiteX5" fmla="*/ 189677 w 273343"/>
                  <a:gd name="connsiteY5" fmla="*/ 91251 h 96132"/>
                  <a:gd name="connsiteX6" fmla="*/ 87311 w 273343"/>
                  <a:gd name="connsiteY6" fmla="*/ 66674 h 96132"/>
                  <a:gd name="connsiteX7" fmla="*/ 38584 w 273343"/>
                  <a:gd name="connsiteY7" fmla="*/ 95553 h 96132"/>
                  <a:gd name="connsiteX8" fmla="*/ 1791 w 273343"/>
                  <a:gd name="connsiteY8" fmla="*/ 40451 h 96132"/>
                  <a:gd name="connsiteX0" fmla="*/ 1791 w 273378"/>
                  <a:gd name="connsiteY0" fmla="*/ 40451 h 97753"/>
                  <a:gd name="connsiteX1" fmla="*/ 96835 w 273378"/>
                  <a:gd name="connsiteY1" fmla="*/ 0 h 97753"/>
                  <a:gd name="connsiteX2" fmla="*/ 133834 w 273378"/>
                  <a:gd name="connsiteY2" fmla="*/ 17099 h 97753"/>
                  <a:gd name="connsiteX3" fmla="*/ 173036 w 273378"/>
                  <a:gd name="connsiteY3" fmla="*/ 28575 h 97753"/>
                  <a:gd name="connsiteX4" fmla="*/ 273264 w 273378"/>
                  <a:gd name="connsiteY4" fmla="*/ 44816 h 97753"/>
                  <a:gd name="connsiteX5" fmla="*/ 211902 w 273378"/>
                  <a:gd name="connsiteY5" fmla="*/ 97601 h 97753"/>
                  <a:gd name="connsiteX6" fmla="*/ 87311 w 273378"/>
                  <a:gd name="connsiteY6" fmla="*/ 66674 h 97753"/>
                  <a:gd name="connsiteX7" fmla="*/ 38584 w 273378"/>
                  <a:gd name="connsiteY7" fmla="*/ 95553 h 97753"/>
                  <a:gd name="connsiteX8" fmla="*/ 1791 w 273378"/>
                  <a:gd name="connsiteY8" fmla="*/ 40451 h 97753"/>
                  <a:gd name="connsiteX0" fmla="*/ 1791 w 273378"/>
                  <a:gd name="connsiteY0" fmla="*/ 40451 h 104803"/>
                  <a:gd name="connsiteX1" fmla="*/ 96835 w 273378"/>
                  <a:gd name="connsiteY1" fmla="*/ 0 h 104803"/>
                  <a:gd name="connsiteX2" fmla="*/ 133834 w 273378"/>
                  <a:gd name="connsiteY2" fmla="*/ 17099 h 104803"/>
                  <a:gd name="connsiteX3" fmla="*/ 173036 w 273378"/>
                  <a:gd name="connsiteY3" fmla="*/ 28575 h 104803"/>
                  <a:gd name="connsiteX4" fmla="*/ 273264 w 273378"/>
                  <a:gd name="connsiteY4" fmla="*/ 44816 h 104803"/>
                  <a:gd name="connsiteX5" fmla="*/ 211902 w 273378"/>
                  <a:gd name="connsiteY5" fmla="*/ 97601 h 104803"/>
                  <a:gd name="connsiteX6" fmla="*/ 184363 w 273378"/>
                  <a:gd name="connsiteY6" fmla="*/ 101966 h 104803"/>
                  <a:gd name="connsiteX7" fmla="*/ 87311 w 273378"/>
                  <a:gd name="connsiteY7" fmla="*/ 66674 h 104803"/>
                  <a:gd name="connsiteX8" fmla="*/ 38584 w 273378"/>
                  <a:gd name="connsiteY8" fmla="*/ 95553 h 104803"/>
                  <a:gd name="connsiteX9" fmla="*/ 1791 w 273378"/>
                  <a:gd name="connsiteY9" fmla="*/ 40451 h 104803"/>
                  <a:gd name="connsiteX0" fmla="*/ 1791 w 273378"/>
                  <a:gd name="connsiteY0" fmla="*/ 40451 h 104803"/>
                  <a:gd name="connsiteX1" fmla="*/ 96835 w 273378"/>
                  <a:gd name="connsiteY1" fmla="*/ 0 h 104803"/>
                  <a:gd name="connsiteX2" fmla="*/ 124309 w 273378"/>
                  <a:gd name="connsiteY2" fmla="*/ 36149 h 104803"/>
                  <a:gd name="connsiteX3" fmla="*/ 173036 w 273378"/>
                  <a:gd name="connsiteY3" fmla="*/ 28575 h 104803"/>
                  <a:gd name="connsiteX4" fmla="*/ 273264 w 273378"/>
                  <a:gd name="connsiteY4" fmla="*/ 44816 h 104803"/>
                  <a:gd name="connsiteX5" fmla="*/ 211902 w 273378"/>
                  <a:gd name="connsiteY5" fmla="*/ 97601 h 104803"/>
                  <a:gd name="connsiteX6" fmla="*/ 184363 w 273378"/>
                  <a:gd name="connsiteY6" fmla="*/ 101966 h 104803"/>
                  <a:gd name="connsiteX7" fmla="*/ 87311 w 273378"/>
                  <a:gd name="connsiteY7" fmla="*/ 66674 h 104803"/>
                  <a:gd name="connsiteX8" fmla="*/ 38584 w 273378"/>
                  <a:gd name="connsiteY8" fmla="*/ 95553 h 104803"/>
                  <a:gd name="connsiteX9" fmla="*/ 1791 w 273378"/>
                  <a:gd name="connsiteY9" fmla="*/ 40451 h 104803"/>
                  <a:gd name="connsiteX0" fmla="*/ 1348 w 272935"/>
                  <a:gd name="connsiteY0" fmla="*/ 30926 h 95278"/>
                  <a:gd name="connsiteX1" fmla="*/ 86867 w 272935"/>
                  <a:gd name="connsiteY1" fmla="*/ 0 h 95278"/>
                  <a:gd name="connsiteX2" fmla="*/ 123866 w 272935"/>
                  <a:gd name="connsiteY2" fmla="*/ 26624 h 95278"/>
                  <a:gd name="connsiteX3" fmla="*/ 172593 w 272935"/>
                  <a:gd name="connsiteY3" fmla="*/ 19050 h 95278"/>
                  <a:gd name="connsiteX4" fmla="*/ 272821 w 272935"/>
                  <a:gd name="connsiteY4" fmla="*/ 35291 h 95278"/>
                  <a:gd name="connsiteX5" fmla="*/ 211459 w 272935"/>
                  <a:gd name="connsiteY5" fmla="*/ 88076 h 95278"/>
                  <a:gd name="connsiteX6" fmla="*/ 183920 w 272935"/>
                  <a:gd name="connsiteY6" fmla="*/ 92441 h 95278"/>
                  <a:gd name="connsiteX7" fmla="*/ 86868 w 272935"/>
                  <a:gd name="connsiteY7" fmla="*/ 57149 h 95278"/>
                  <a:gd name="connsiteX8" fmla="*/ 38141 w 272935"/>
                  <a:gd name="connsiteY8" fmla="*/ 86028 h 95278"/>
                  <a:gd name="connsiteX9" fmla="*/ 1348 w 272935"/>
                  <a:gd name="connsiteY9" fmla="*/ 30926 h 95278"/>
                  <a:gd name="connsiteX0" fmla="*/ 1348 w 272935"/>
                  <a:gd name="connsiteY0" fmla="*/ 30926 h 95278"/>
                  <a:gd name="connsiteX1" fmla="*/ 86867 w 272935"/>
                  <a:gd name="connsiteY1" fmla="*/ 0 h 95278"/>
                  <a:gd name="connsiteX2" fmla="*/ 123866 w 272935"/>
                  <a:gd name="connsiteY2" fmla="*/ 26624 h 95278"/>
                  <a:gd name="connsiteX3" fmla="*/ 178943 w 272935"/>
                  <a:gd name="connsiteY3" fmla="*/ 41275 h 95278"/>
                  <a:gd name="connsiteX4" fmla="*/ 272821 w 272935"/>
                  <a:gd name="connsiteY4" fmla="*/ 35291 h 95278"/>
                  <a:gd name="connsiteX5" fmla="*/ 211459 w 272935"/>
                  <a:gd name="connsiteY5" fmla="*/ 88076 h 95278"/>
                  <a:gd name="connsiteX6" fmla="*/ 183920 w 272935"/>
                  <a:gd name="connsiteY6" fmla="*/ 92441 h 95278"/>
                  <a:gd name="connsiteX7" fmla="*/ 86868 w 272935"/>
                  <a:gd name="connsiteY7" fmla="*/ 57149 h 95278"/>
                  <a:gd name="connsiteX8" fmla="*/ 38141 w 272935"/>
                  <a:gd name="connsiteY8" fmla="*/ 86028 h 95278"/>
                  <a:gd name="connsiteX9" fmla="*/ 1348 w 272935"/>
                  <a:gd name="connsiteY9" fmla="*/ 30926 h 95278"/>
                  <a:gd name="connsiteX0" fmla="*/ 1348 w 215636"/>
                  <a:gd name="connsiteY0" fmla="*/ 30926 h 95278"/>
                  <a:gd name="connsiteX1" fmla="*/ 86867 w 215636"/>
                  <a:gd name="connsiteY1" fmla="*/ 0 h 95278"/>
                  <a:gd name="connsiteX2" fmla="*/ 123866 w 215636"/>
                  <a:gd name="connsiteY2" fmla="*/ 26624 h 95278"/>
                  <a:gd name="connsiteX3" fmla="*/ 178943 w 215636"/>
                  <a:gd name="connsiteY3" fmla="*/ 41275 h 95278"/>
                  <a:gd name="connsiteX4" fmla="*/ 190271 w 215636"/>
                  <a:gd name="connsiteY4" fmla="*/ 38466 h 95278"/>
                  <a:gd name="connsiteX5" fmla="*/ 211459 w 215636"/>
                  <a:gd name="connsiteY5" fmla="*/ 88076 h 95278"/>
                  <a:gd name="connsiteX6" fmla="*/ 183920 w 215636"/>
                  <a:gd name="connsiteY6" fmla="*/ 92441 h 95278"/>
                  <a:gd name="connsiteX7" fmla="*/ 86868 w 215636"/>
                  <a:gd name="connsiteY7" fmla="*/ 57149 h 95278"/>
                  <a:gd name="connsiteX8" fmla="*/ 38141 w 215636"/>
                  <a:gd name="connsiteY8" fmla="*/ 86028 h 95278"/>
                  <a:gd name="connsiteX9" fmla="*/ 1348 w 215636"/>
                  <a:gd name="connsiteY9" fmla="*/ 30926 h 95278"/>
                  <a:gd name="connsiteX0" fmla="*/ 1348 w 211519"/>
                  <a:gd name="connsiteY0" fmla="*/ 30926 h 95587"/>
                  <a:gd name="connsiteX1" fmla="*/ 86867 w 211519"/>
                  <a:gd name="connsiteY1" fmla="*/ 0 h 95587"/>
                  <a:gd name="connsiteX2" fmla="*/ 123866 w 211519"/>
                  <a:gd name="connsiteY2" fmla="*/ 26624 h 95587"/>
                  <a:gd name="connsiteX3" fmla="*/ 178943 w 211519"/>
                  <a:gd name="connsiteY3" fmla="*/ 41275 h 95587"/>
                  <a:gd name="connsiteX4" fmla="*/ 211459 w 211519"/>
                  <a:gd name="connsiteY4" fmla="*/ 88076 h 95587"/>
                  <a:gd name="connsiteX5" fmla="*/ 183920 w 211519"/>
                  <a:gd name="connsiteY5" fmla="*/ 92441 h 95587"/>
                  <a:gd name="connsiteX6" fmla="*/ 86868 w 211519"/>
                  <a:gd name="connsiteY6" fmla="*/ 57149 h 95587"/>
                  <a:gd name="connsiteX7" fmla="*/ 38141 w 211519"/>
                  <a:gd name="connsiteY7" fmla="*/ 86028 h 95587"/>
                  <a:gd name="connsiteX8" fmla="*/ 1348 w 211519"/>
                  <a:gd name="connsiteY8" fmla="*/ 30926 h 95587"/>
                  <a:gd name="connsiteX0" fmla="*/ 1348 w 191731"/>
                  <a:gd name="connsiteY0" fmla="*/ 30926 h 92441"/>
                  <a:gd name="connsiteX1" fmla="*/ 86867 w 191731"/>
                  <a:gd name="connsiteY1" fmla="*/ 0 h 92441"/>
                  <a:gd name="connsiteX2" fmla="*/ 123866 w 191731"/>
                  <a:gd name="connsiteY2" fmla="*/ 26624 h 92441"/>
                  <a:gd name="connsiteX3" fmla="*/ 178943 w 191731"/>
                  <a:gd name="connsiteY3" fmla="*/ 41275 h 92441"/>
                  <a:gd name="connsiteX4" fmla="*/ 183920 w 191731"/>
                  <a:gd name="connsiteY4" fmla="*/ 92441 h 92441"/>
                  <a:gd name="connsiteX5" fmla="*/ 86868 w 191731"/>
                  <a:gd name="connsiteY5" fmla="*/ 57149 h 92441"/>
                  <a:gd name="connsiteX6" fmla="*/ 38141 w 191731"/>
                  <a:gd name="connsiteY6" fmla="*/ 86028 h 92441"/>
                  <a:gd name="connsiteX7" fmla="*/ 1348 w 191731"/>
                  <a:gd name="connsiteY7" fmla="*/ 30926 h 92441"/>
                  <a:gd name="connsiteX0" fmla="*/ 1348 w 187823"/>
                  <a:gd name="connsiteY0" fmla="*/ 30926 h 93844"/>
                  <a:gd name="connsiteX1" fmla="*/ 86867 w 187823"/>
                  <a:gd name="connsiteY1" fmla="*/ 0 h 93844"/>
                  <a:gd name="connsiteX2" fmla="*/ 123866 w 187823"/>
                  <a:gd name="connsiteY2" fmla="*/ 26624 h 93844"/>
                  <a:gd name="connsiteX3" fmla="*/ 178943 w 187823"/>
                  <a:gd name="connsiteY3" fmla="*/ 41275 h 93844"/>
                  <a:gd name="connsiteX4" fmla="*/ 183920 w 187823"/>
                  <a:gd name="connsiteY4" fmla="*/ 92441 h 93844"/>
                  <a:gd name="connsiteX5" fmla="*/ 124559 w 187823"/>
                  <a:gd name="connsiteY5" fmla="*/ 81554 h 93844"/>
                  <a:gd name="connsiteX6" fmla="*/ 86868 w 187823"/>
                  <a:gd name="connsiteY6" fmla="*/ 57149 h 93844"/>
                  <a:gd name="connsiteX7" fmla="*/ 38141 w 187823"/>
                  <a:gd name="connsiteY7" fmla="*/ 86028 h 93844"/>
                  <a:gd name="connsiteX8" fmla="*/ 1348 w 187823"/>
                  <a:gd name="connsiteY8" fmla="*/ 30926 h 93844"/>
                  <a:gd name="connsiteX0" fmla="*/ 1348 w 182367"/>
                  <a:gd name="connsiteY0" fmla="*/ 30926 h 86450"/>
                  <a:gd name="connsiteX1" fmla="*/ 86867 w 182367"/>
                  <a:gd name="connsiteY1" fmla="*/ 0 h 86450"/>
                  <a:gd name="connsiteX2" fmla="*/ 123866 w 182367"/>
                  <a:gd name="connsiteY2" fmla="*/ 26624 h 86450"/>
                  <a:gd name="connsiteX3" fmla="*/ 178943 w 182367"/>
                  <a:gd name="connsiteY3" fmla="*/ 41275 h 86450"/>
                  <a:gd name="connsiteX4" fmla="*/ 168045 w 182367"/>
                  <a:gd name="connsiteY4" fmla="*/ 70216 h 86450"/>
                  <a:gd name="connsiteX5" fmla="*/ 124559 w 182367"/>
                  <a:gd name="connsiteY5" fmla="*/ 81554 h 86450"/>
                  <a:gd name="connsiteX6" fmla="*/ 86868 w 182367"/>
                  <a:gd name="connsiteY6" fmla="*/ 57149 h 86450"/>
                  <a:gd name="connsiteX7" fmla="*/ 38141 w 182367"/>
                  <a:gd name="connsiteY7" fmla="*/ 86028 h 86450"/>
                  <a:gd name="connsiteX8" fmla="*/ 1348 w 182367"/>
                  <a:gd name="connsiteY8" fmla="*/ 30926 h 86450"/>
                  <a:gd name="connsiteX0" fmla="*/ 5340 w 151434"/>
                  <a:gd name="connsiteY0" fmla="*/ 18226 h 86870"/>
                  <a:gd name="connsiteX1" fmla="*/ 55934 w 151434"/>
                  <a:gd name="connsiteY1" fmla="*/ 0 h 86870"/>
                  <a:gd name="connsiteX2" fmla="*/ 92933 w 151434"/>
                  <a:gd name="connsiteY2" fmla="*/ 26624 h 86870"/>
                  <a:gd name="connsiteX3" fmla="*/ 148010 w 151434"/>
                  <a:gd name="connsiteY3" fmla="*/ 41275 h 86870"/>
                  <a:gd name="connsiteX4" fmla="*/ 137112 w 151434"/>
                  <a:gd name="connsiteY4" fmla="*/ 70216 h 86870"/>
                  <a:gd name="connsiteX5" fmla="*/ 93626 w 151434"/>
                  <a:gd name="connsiteY5" fmla="*/ 81554 h 86870"/>
                  <a:gd name="connsiteX6" fmla="*/ 55935 w 151434"/>
                  <a:gd name="connsiteY6" fmla="*/ 57149 h 86870"/>
                  <a:gd name="connsiteX7" fmla="*/ 7208 w 151434"/>
                  <a:gd name="connsiteY7" fmla="*/ 86028 h 86870"/>
                  <a:gd name="connsiteX8" fmla="*/ 5340 w 151434"/>
                  <a:gd name="connsiteY8" fmla="*/ 18226 h 86870"/>
                  <a:gd name="connsiteX0" fmla="*/ 869 w 146963"/>
                  <a:gd name="connsiteY0" fmla="*/ 18226 h 83131"/>
                  <a:gd name="connsiteX1" fmla="*/ 51463 w 146963"/>
                  <a:gd name="connsiteY1" fmla="*/ 0 h 83131"/>
                  <a:gd name="connsiteX2" fmla="*/ 88462 w 146963"/>
                  <a:gd name="connsiteY2" fmla="*/ 26624 h 83131"/>
                  <a:gd name="connsiteX3" fmla="*/ 143539 w 146963"/>
                  <a:gd name="connsiteY3" fmla="*/ 41275 h 83131"/>
                  <a:gd name="connsiteX4" fmla="*/ 132641 w 146963"/>
                  <a:gd name="connsiteY4" fmla="*/ 70216 h 83131"/>
                  <a:gd name="connsiteX5" fmla="*/ 89155 w 146963"/>
                  <a:gd name="connsiteY5" fmla="*/ 81554 h 83131"/>
                  <a:gd name="connsiteX6" fmla="*/ 51464 w 146963"/>
                  <a:gd name="connsiteY6" fmla="*/ 57149 h 83131"/>
                  <a:gd name="connsiteX7" fmla="*/ 21787 w 146963"/>
                  <a:gd name="connsiteY7" fmla="*/ 70153 h 83131"/>
                  <a:gd name="connsiteX8" fmla="*/ 869 w 146963"/>
                  <a:gd name="connsiteY8" fmla="*/ 18226 h 83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6963" h="83131">
                    <a:moveTo>
                      <a:pt x="869" y="18226"/>
                    </a:moveTo>
                    <a:cubicBezTo>
                      <a:pt x="5815" y="6534"/>
                      <a:pt x="26281" y="20825"/>
                      <a:pt x="51463" y="0"/>
                    </a:cubicBezTo>
                    <a:cubicBezTo>
                      <a:pt x="82995" y="1400"/>
                      <a:pt x="73116" y="19745"/>
                      <a:pt x="88462" y="26624"/>
                    </a:cubicBezTo>
                    <a:cubicBezTo>
                      <a:pt x="103808" y="33503"/>
                      <a:pt x="133530" y="30306"/>
                      <a:pt x="143539" y="41275"/>
                    </a:cubicBezTo>
                    <a:cubicBezTo>
                      <a:pt x="153548" y="52245"/>
                      <a:pt x="139059" y="65090"/>
                      <a:pt x="132641" y="70216"/>
                    </a:cubicBezTo>
                    <a:cubicBezTo>
                      <a:pt x="126223" y="75342"/>
                      <a:pt x="105330" y="87436"/>
                      <a:pt x="89155" y="81554"/>
                    </a:cubicBezTo>
                    <a:cubicBezTo>
                      <a:pt x="72980" y="75672"/>
                      <a:pt x="68513" y="54816"/>
                      <a:pt x="51464" y="57149"/>
                    </a:cubicBezTo>
                    <a:cubicBezTo>
                      <a:pt x="34415" y="59482"/>
                      <a:pt x="30220" y="76640"/>
                      <a:pt x="21787" y="70153"/>
                    </a:cubicBezTo>
                    <a:cubicBezTo>
                      <a:pt x="13355" y="63666"/>
                      <a:pt x="-4077" y="29918"/>
                      <a:pt x="869" y="18226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253" name="Freeform 204"/>
              <p:cNvSpPr/>
              <p:nvPr/>
            </p:nvSpPr>
            <p:spPr bwMode="auto">
              <a:xfrm rot="8302761">
                <a:off x="7499168" y="4238535"/>
                <a:ext cx="159462" cy="136463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508809 w 628017"/>
                  <a:gd name="connsiteY0" fmla="*/ 2356 h 376001"/>
                  <a:gd name="connsiteX1" fmla="*/ 6361 w 628017"/>
                  <a:gd name="connsiteY1" fmla="*/ 130721 h 376001"/>
                  <a:gd name="connsiteX2" fmla="*/ 228411 w 628017"/>
                  <a:gd name="connsiteY2" fmla="*/ 374859 h 376001"/>
                  <a:gd name="connsiteX3" fmla="*/ 609906 w 628017"/>
                  <a:gd name="connsiteY3" fmla="*/ 235794 h 376001"/>
                  <a:gd name="connsiteX4" fmla="*/ 508809 w 628017"/>
                  <a:gd name="connsiteY4" fmla="*/ 2356 h 376001"/>
                  <a:gd name="connsiteX0" fmla="*/ 504040 w 616834"/>
                  <a:gd name="connsiteY0" fmla="*/ 2903 h 376548"/>
                  <a:gd name="connsiteX1" fmla="*/ 351553 w 616834"/>
                  <a:gd name="connsiteY1" fmla="*/ 107249 h 376548"/>
                  <a:gd name="connsiteX2" fmla="*/ 1592 w 616834"/>
                  <a:gd name="connsiteY2" fmla="*/ 131268 h 376548"/>
                  <a:gd name="connsiteX3" fmla="*/ 223642 w 616834"/>
                  <a:gd name="connsiteY3" fmla="*/ 375406 h 376548"/>
                  <a:gd name="connsiteX4" fmla="*/ 605137 w 616834"/>
                  <a:gd name="connsiteY4" fmla="*/ 236341 h 376548"/>
                  <a:gd name="connsiteX5" fmla="*/ 504040 w 616834"/>
                  <a:gd name="connsiteY5" fmla="*/ 2903 h 376548"/>
                  <a:gd name="connsiteX0" fmla="*/ 495452 w 616175"/>
                  <a:gd name="connsiteY0" fmla="*/ 51280 h 274874"/>
                  <a:gd name="connsiteX1" fmla="*/ 351553 w 616175"/>
                  <a:gd name="connsiteY1" fmla="*/ 5575 h 274874"/>
                  <a:gd name="connsiteX2" fmla="*/ 1592 w 616175"/>
                  <a:gd name="connsiteY2" fmla="*/ 29594 h 274874"/>
                  <a:gd name="connsiteX3" fmla="*/ 223642 w 616175"/>
                  <a:gd name="connsiteY3" fmla="*/ 273732 h 274874"/>
                  <a:gd name="connsiteX4" fmla="*/ 605137 w 616175"/>
                  <a:gd name="connsiteY4" fmla="*/ 134667 h 274874"/>
                  <a:gd name="connsiteX5" fmla="*/ 495452 w 616175"/>
                  <a:gd name="connsiteY5" fmla="*/ 51280 h 274874"/>
                  <a:gd name="connsiteX0" fmla="*/ 495452 w 532377"/>
                  <a:gd name="connsiteY0" fmla="*/ 51265 h 274847"/>
                  <a:gd name="connsiteX1" fmla="*/ 351553 w 532377"/>
                  <a:gd name="connsiteY1" fmla="*/ 5560 h 274847"/>
                  <a:gd name="connsiteX2" fmla="*/ 1592 w 532377"/>
                  <a:gd name="connsiteY2" fmla="*/ 29579 h 274847"/>
                  <a:gd name="connsiteX3" fmla="*/ 223642 w 532377"/>
                  <a:gd name="connsiteY3" fmla="*/ 273717 h 274847"/>
                  <a:gd name="connsiteX4" fmla="*/ 509239 w 532377"/>
                  <a:gd name="connsiteY4" fmla="*/ 133533 h 274847"/>
                  <a:gd name="connsiteX5" fmla="*/ 495452 w 532377"/>
                  <a:gd name="connsiteY5" fmla="*/ 51265 h 274847"/>
                  <a:gd name="connsiteX0" fmla="*/ 497505 w 534430"/>
                  <a:gd name="connsiteY0" fmla="*/ 51265 h 274847"/>
                  <a:gd name="connsiteX1" fmla="*/ 353606 w 534430"/>
                  <a:gd name="connsiteY1" fmla="*/ 5560 h 274847"/>
                  <a:gd name="connsiteX2" fmla="*/ 3645 w 534430"/>
                  <a:gd name="connsiteY2" fmla="*/ 29579 h 274847"/>
                  <a:gd name="connsiteX3" fmla="*/ 173951 w 534430"/>
                  <a:gd name="connsiteY3" fmla="*/ 138081 h 274847"/>
                  <a:gd name="connsiteX4" fmla="*/ 225695 w 534430"/>
                  <a:gd name="connsiteY4" fmla="*/ 273717 h 274847"/>
                  <a:gd name="connsiteX5" fmla="*/ 511292 w 534430"/>
                  <a:gd name="connsiteY5" fmla="*/ 133533 h 274847"/>
                  <a:gd name="connsiteX6" fmla="*/ 497505 w 534430"/>
                  <a:gd name="connsiteY6" fmla="*/ 51265 h 274847"/>
                  <a:gd name="connsiteX0" fmla="*/ 493884 w 530809"/>
                  <a:gd name="connsiteY0" fmla="*/ 51265 h 274847"/>
                  <a:gd name="connsiteX1" fmla="*/ 349985 w 530809"/>
                  <a:gd name="connsiteY1" fmla="*/ 5560 h 274847"/>
                  <a:gd name="connsiteX2" fmla="*/ 24 w 530809"/>
                  <a:gd name="connsiteY2" fmla="*/ 29579 h 274847"/>
                  <a:gd name="connsiteX3" fmla="*/ 170330 w 530809"/>
                  <a:gd name="connsiteY3" fmla="*/ 138081 h 274847"/>
                  <a:gd name="connsiteX4" fmla="*/ 222074 w 530809"/>
                  <a:gd name="connsiteY4" fmla="*/ 273717 h 274847"/>
                  <a:gd name="connsiteX5" fmla="*/ 507671 w 530809"/>
                  <a:gd name="connsiteY5" fmla="*/ 133533 h 274847"/>
                  <a:gd name="connsiteX6" fmla="*/ 493884 w 530809"/>
                  <a:gd name="connsiteY6" fmla="*/ 51265 h 274847"/>
                  <a:gd name="connsiteX0" fmla="*/ 493884 w 530809"/>
                  <a:gd name="connsiteY0" fmla="*/ 51265 h 186504"/>
                  <a:gd name="connsiteX1" fmla="*/ 349985 w 530809"/>
                  <a:gd name="connsiteY1" fmla="*/ 5560 h 186504"/>
                  <a:gd name="connsiteX2" fmla="*/ 24 w 530809"/>
                  <a:gd name="connsiteY2" fmla="*/ 29579 h 186504"/>
                  <a:gd name="connsiteX3" fmla="*/ 170330 w 530809"/>
                  <a:gd name="connsiteY3" fmla="*/ 138081 h 186504"/>
                  <a:gd name="connsiteX4" fmla="*/ 390510 w 530809"/>
                  <a:gd name="connsiteY4" fmla="*/ 180265 h 186504"/>
                  <a:gd name="connsiteX5" fmla="*/ 507671 w 530809"/>
                  <a:gd name="connsiteY5" fmla="*/ 133533 h 186504"/>
                  <a:gd name="connsiteX6" fmla="*/ 493884 w 530809"/>
                  <a:gd name="connsiteY6" fmla="*/ 51265 h 186504"/>
                  <a:gd name="connsiteX0" fmla="*/ 495721 w 532646"/>
                  <a:gd name="connsiteY0" fmla="*/ 51265 h 186504"/>
                  <a:gd name="connsiteX1" fmla="*/ 351822 w 532646"/>
                  <a:gd name="connsiteY1" fmla="*/ 5560 h 186504"/>
                  <a:gd name="connsiteX2" fmla="*/ 1861 w 532646"/>
                  <a:gd name="connsiteY2" fmla="*/ 29579 h 186504"/>
                  <a:gd name="connsiteX3" fmla="*/ 213626 w 532646"/>
                  <a:gd name="connsiteY3" fmla="*/ 107499 h 186504"/>
                  <a:gd name="connsiteX4" fmla="*/ 392347 w 532646"/>
                  <a:gd name="connsiteY4" fmla="*/ 180265 h 186504"/>
                  <a:gd name="connsiteX5" fmla="*/ 509508 w 532646"/>
                  <a:gd name="connsiteY5" fmla="*/ 133533 h 186504"/>
                  <a:gd name="connsiteX6" fmla="*/ 495721 w 532646"/>
                  <a:gd name="connsiteY6" fmla="*/ 51265 h 186504"/>
                  <a:gd name="connsiteX0" fmla="*/ 496902 w 533827"/>
                  <a:gd name="connsiteY0" fmla="*/ 70457 h 205696"/>
                  <a:gd name="connsiteX1" fmla="*/ 353003 w 533827"/>
                  <a:gd name="connsiteY1" fmla="*/ 24752 h 205696"/>
                  <a:gd name="connsiteX2" fmla="*/ 107632 w 533827"/>
                  <a:gd name="connsiteY2" fmla="*/ 439 h 205696"/>
                  <a:gd name="connsiteX3" fmla="*/ 3042 w 533827"/>
                  <a:gd name="connsiteY3" fmla="*/ 48771 h 205696"/>
                  <a:gd name="connsiteX4" fmla="*/ 214807 w 533827"/>
                  <a:gd name="connsiteY4" fmla="*/ 126691 h 205696"/>
                  <a:gd name="connsiteX5" fmla="*/ 393528 w 533827"/>
                  <a:gd name="connsiteY5" fmla="*/ 199457 h 205696"/>
                  <a:gd name="connsiteX6" fmla="*/ 510689 w 533827"/>
                  <a:gd name="connsiteY6" fmla="*/ 152725 h 205696"/>
                  <a:gd name="connsiteX7" fmla="*/ 496902 w 533827"/>
                  <a:gd name="connsiteY7" fmla="*/ 70457 h 205696"/>
                  <a:gd name="connsiteX0" fmla="*/ 472353 w 509278"/>
                  <a:gd name="connsiteY0" fmla="*/ 70457 h 205696"/>
                  <a:gd name="connsiteX1" fmla="*/ 328454 w 509278"/>
                  <a:gd name="connsiteY1" fmla="*/ 24752 h 205696"/>
                  <a:gd name="connsiteX2" fmla="*/ 83083 w 509278"/>
                  <a:gd name="connsiteY2" fmla="*/ 439 h 205696"/>
                  <a:gd name="connsiteX3" fmla="*/ 4427 w 509278"/>
                  <a:gd name="connsiteY3" fmla="*/ 91234 h 205696"/>
                  <a:gd name="connsiteX4" fmla="*/ 190258 w 509278"/>
                  <a:gd name="connsiteY4" fmla="*/ 126691 h 205696"/>
                  <a:gd name="connsiteX5" fmla="*/ 368979 w 509278"/>
                  <a:gd name="connsiteY5" fmla="*/ 199457 h 205696"/>
                  <a:gd name="connsiteX6" fmla="*/ 486140 w 509278"/>
                  <a:gd name="connsiteY6" fmla="*/ 152725 h 205696"/>
                  <a:gd name="connsiteX7" fmla="*/ 472353 w 509278"/>
                  <a:gd name="connsiteY7" fmla="*/ 70457 h 205696"/>
                  <a:gd name="connsiteX0" fmla="*/ 471911 w 508836"/>
                  <a:gd name="connsiteY0" fmla="*/ 51265 h 186504"/>
                  <a:gd name="connsiteX1" fmla="*/ 328012 w 508836"/>
                  <a:gd name="connsiteY1" fmla="*/ 5560 h 186504"/>
                  <a:gd name="connsiteX2" fmla="*/ 86111 w 508836"/>
                  <a:gd name="connsiteY2" fmla="*/ 19749 h 186504"/>
                  <a:gd name="connsiteX3" fmla="*/ 3985 w 508836"/>
                  <a:gd name="connsiteY3" fmla="*/ 72042 h 186504"/>
                  <a:gd name="connsiteX4" fmla="*/ 189816 w 508836"/>
                  <a:gd name="connsiteY4" fmla="*/ 107499 h 186504"/>
                  <a:gd name="connsiteX5" fmla="*/ 368537 w 508836"/>
                  <a:gd name="connsiteY5" fmla="*/ 180265 h 186504"/>
                  <a:gd name="connsiteX6" fmla="*/ 485698 w 508836"/>
                  <a:gd name="connsiteY6" fmla="*/ 133533 h 186504"/>
                  <a:gd name="connsiteX7" fmla="*/ 471911 w 508836"/>
                  <a:gd name="connsiteY7" fmla="*/ 51265 h 186504"/>
                  <a:gd name="connsiteX0" fmla="*/ 437213 w 474138"/>
                  <a:gd name="connsiteY0" fmla="*/ 51265 h 186504"/>
                  <a:gd name="connsiteX1" fmla="*/ 293314 w 474138"/>
                  <a:gd name="connsiteY1" fmla="*/ 5560 h 186504"/>
                  <a:gd name="connsiteX2" fmla="*/ 51413 w 474138"/>
                  <a:gd name="connsiteY2" fmla="*/ 19749 h 186504"/>
                  <a:gd name="connsiteX3" fmla="*/ 9907 w 474138"/>
                  <a:gd name="connsiteY3" fmla="*/ 113936 h 186504"/>
                  <a:gd name="connsiteX4" fmla="*/ 155118 w 474138"/>
                  <a:gd name="connsiteY4" fmla="*/ 107499 h 186504"/>
                  <a:gd name="connsiteX5" fmla="*/ 333839 w 474138"/>
                  <a:gd name="connsiteY5" fmla="*/ 180265 h 186504"/>
                  <a:gd name="connsiteX6" fmla="*/ 451000 w 474138"/>
                  <a:gd name="connsiteY6" fmla="*/ 133533 h 186504"/>
                  <a:gd name="connsiteX7" fmla="*/ 437213 w 474138"/>
                  <a:gd name="connsiteY7" fmla="*/ 51265 h 186504"/>
                  <a:gd name="connsiteX0" fmla="*/ 437213 w 477998"/>
                  <a:gd name="connsiteY0" fmla="*/ 94179 h 229418"/>
                  <a:gd name="connsiteX1" fmla="*/ 208200 w 477998"/>
                  <a:gd name="connsiteY1" fmla="*/ 3473 h 229418"/>
                  <a:gd name="connsiteX2" fmla="*/ 51413 w 477998"/>
                  <a:gd name="connsiteY2" fmla="*/ 62663 h 229418"/>
                  <a:gd name="connsiteX3" fmla="*/ 9907 w 477998"/>
                  <a:gd name="connsiteY3" fmla="*/ 156850 h 229418"/>
                  <a:gd name="connsiteX4" fmla="*/ 155118 w 477998"/>
                  <a:gd name="connsiteY4" fmla="*/ 150413 h 229418"/>
                  <a:gd name="connsiteX5" fmla="*/ 333839 w 477998"/>
                  <a:gd name="connsiteY5" fmla="*/ 223179 h 229418"/>
                  <a:gd name="connsiteX6" fmla="*/ 451000 w 477998"/>
                  <a:gd name="connsiteY6" fmla="*/ 176447 h 229418"/>
                  <a:gd name="connsiteX7" fmla="*/ 437213 w 477998"/>
                  <a:gd name="connsiteY7" fmla="*/ 94179 h 229418"/>
                  <a:gd name="connsiteX0" fmla="*/ 437213 w 474159"/>
                  <a:gd name="connsiteY0" fmla="*/ 108861 h 244100"/>
                  <a:gd name="connsiteX1" fmla="*/ 292826 w 474159"/>
                  <a:gd name="connsiteY1" fmla="*/ 5528 h 244100"/>
                  <a:gd name="connsiteX2" fmla="*/ 208200 w 474159"/>
                  <a:gd name="connsiteY2" fmla="*/ 18155 h 244100"/>
                  <a:gd name="connsiteX3" fmla="*/ 51413 w 474159"/>
                  <a:gd name="connsiteY3" fmla="*/ 77345 h 244100"/>
                  <a:gd name="connsiteX4" fmla="*/ 9907 w 474159"/>
                  <a:gd name="connsiteY4" fmla="*/ 171532 h 244100"/>
                  <a:gd name="connsiteX5" fmla="*/ 155118 w 474159"/>
                  <a:gd name="connsiteY5" fmla="*/ 165095 h 244100"/>
                  <a:gd name="connsiteX6" fmla="*/ 333839 w 474159"/>
                  <a:gd name="connsiteY6" fmla="*/ 237861 h 244100"/>
                  <a:gd name="connsiteX7" fmla="*/ 451000 w 474159"/>
                  <a:gd name="connsiteY7" fmla="*/ 191129 h 244100"/>
                  <a:gd name="connsiteX8" fmla="*/ 437213 w 474159"/>
                  <a:gd name="connsiteY8" fmla="*/ 108861 h 244100"/>
                  <a:gd name="connsiteX0" fmla="*/ 437213 w 437377"/>
                  <a:gd name="connsiteY0" fmla="*/ 108861 h 239065"/>
                  <a:gd name="connsiteX1" fmla="*/ 292826 w 437377"/>
                  <a:gd name="connsiteY1" fmla="*/ 5528 h 239065"/>
                  <a:gd name="connsiteX2" fmla="*/ 208200 w 437377"/>
                  <a:gd name="connsiteY2" fmla="*/ 18155 h 239065"/>
                  <a:gd name="connsiteX3" fmla="*/ 51413 w 437377"/>
                  <a:gd name="connsiteY3" fmla="*/ 77345 h 239065"/>
                  <a:gd name="connsiteX4" fmla="*/ 9907 w 437377"/>
                  <a:gd name="connsiteY4" fmla="*/ 171532 h 239065"/>
                  <a:gd name="connsiteX5" fmla="*/ 155118 w 437377"/>
                  <a:gd name="connsiteY5" fmla="*/ 165095 h 239065"/>
                  <a:gd name="connsiteX6" fmla="*/ 333839 w 437377"/>
                  <a:gd name="connsiteY6" fmla="*/ 237861 h 239065"/>
                  <a:gd name="connsiteX7" fmla="*/ 262630 w 437377"/>
                  <a:gd name="connsiteY7" fmla="*/ 104242 h 239065"/>
                  <a:gd name="connsiteX8" fmla="*/ 437213 w 437377"/>
                  <a:gd name="connsiteY8" fmla="*/ 108861 h 239065"/>
                  <a:gd name="connsiteX0" fmla="*/ 371961 w 372339"/>
                  <a:gd name="connsiteY0" fmla="*/ 38942 h 239065"/>
                  <a:gd name="connsiteX1" fmla="*/ 292826 w 372339"/>
                  <a:gd name="connsiteY1" fmla="*/ 5528 h 239065"/>
                  <a:gd name="connsiteX2" fmla="*/ 208200 w 372339"/>
                  <a:gd name="connsiteY2" fmla="*/ 18155 h 239065"/>
                  <a:gd name="connsiteX3" fmla="*/ 51413 w 372339"/>
                  <a:gd name="connsiteY3" fmla="*/ 77345 h 239065"/>
                  <a:gd name="connsiteX4" fmla="*/ 9907 w 372339"/>
                  <a:gd name="connsiteY4" fmla="*/ 171532 h 239065"/>
                  <a:gd name="connsiteX5" fmla="*/ 155118 w 372339"/>
                  <a:gd name="connsiteY5" fmla="*/ 165095 h 239065"/>
                  <a:gd name="connsiteX6" fmla="*/ 333839 w 372339"/>
                  <a:gd name="connsiteY6" fmla="*/ 237861 h 239065"/>
                  <a:gd name="connsiteX7" fmla="*/ 262630 w 372339"/>
                  <a:gd name="connsiteY7" fmla="*/ 104242 h 239065"/>
                  <a:gd name="connsiteX8" fmla="*/ 371961 w 372339"/>
                  <a:gd name="connsiteY8" fmla="*/ 38942 h 239065"/>
                  <a:gd name="connsiteX0" fmla="*/ 371961 w 372341"/>
                  <a:gd name="connsiteY0" fmla="*/ 38942 h 178890"/>
                  <a:gd name="connsiteX1" fmla="*/ 292826 w 372341"/>
                  <a:gd name="connsiteY1" fmla="*/ 5528 h 178890"/>
                  <a:gd name="connsiteX2" fmla="*/ 208200 w 372341"/>
                  <a:gd name="connsiteY2" fmla="*/ 18155 h 178890"/>
                  <a:gd name="connsiteX3" fmla="*/ 51413 w 372341"/>
                  <a:gd name="connsiteY3" fmla="*/ 77345 h 178890"/>
                  <a:gd name="connsiteX4" fmla="*/ 9907 w 372341"/>
                  <a:gd name="connsiteY4" fmla="*/ 171532 h 178890"/>
                  <a:gd name="connsiteX5" fmla="*/ 155118 w 372341"/>
                  <a:gd name="connsiteY5" fmla="*/ 165095 h 178890"/>
                  <a:gd name="connsiteX6" fmla="*/ 262630 w 372341"/>
                  <a:gd name="connsiteY6" fmla="*/ 104242 h 178890"/>
                  <a:gd name="connsiteX7" fmla="*/ 371961 w 372341"/>
                  <a:gd name="connsiteY7" fmla="*/ 38942 h 178890"/>
                  <a:gd name="connsiteX0" fmla="*/ 335241 w 335620"/>
                  <a:gd name="connsiteY0" fmla="*/ 38942 h 166425"/>
                  <a:gd name="connsiteX1" fmla="*/ 256106 w 335620"/>
                  <a:gd name="connsiteY1" fmla="*/ 5528 h 166425"/>
                  <a:gd name="connsiteX2" fmla="*/ 171480 w 335620"/>
                  <a:gd name="connsiteY2" fmla="*/ 18155 h 166425"/>
                  <a:gd name="connsiteX3" fmla="*/ 14693 w 335620"/>
                  <a:gd name="connsiteY3" fmla="*/ 77345 h 166425"/>
                  <a:gd name="connsiteX4" fmla="*/ 106641 w 335620"/>
                  <a:gd name="connsiteY4" fmla="*/ 98752 h 166425"/>
                  <a:gd name="connsiteX5" fmla="*/ 118398 w 335620"/>
                  <a:gd name="connsiteY5" fmla="*/ 165095 h 166425"/>
                  <a:gd name="connsiteX6" fmla="*/ 225910 w 335620"/>
                  <a:gd name="connsiteY6" fmla="*/ 104242 h 166425"/>
                  <a:gd name="connsiteX7" fmla="*/ 335241 w 335620"/>
                  <a:gd name="connsiteY7" fmla="*/ 38942 h 166425"/>
                  <a:gd name="connsiteX0" fmla="*/ 244401 w 244780"/>
                  <a:gd name="connsiteY0" fmla="*/ 38942 h 166445"/>
                  <a:gd name="connsiteX1" fmla="*/ 165266 w 244780"/>
                  <a:gd name="connsiteY1" fmla="*/ 5528 h 166445"/>
                  <a:gd name="connsiteX2" fmla="*/ 80640 w 244780"/>
                  <a:gd name="connsiteY2" fmla="*/ 18155 h 166445"/>
                  <a:gd name="connsiteX3" fmla="*/ 30115 w 244780"/>
                  <a:gd name="connsiteY3" fmla="*/ 70817 h 166445"/>
                  <a:gd name="connsiteX4" fmla="*/ 15801 w 244780"/>
                  <a:gd name="connsiteY4" fmla="*/ 98752 h 166445"/>
                  <a:gd name="connsiteX5" fmla="*/ 27558 w 244780"/>
                  <a:gd name="connsiteY5" fmla="*/ 165095 h 166445"/>
                  <a:gd name="connsiteX6" fmla="*/ 135070 w 244780"/>
                  <a:gd name="connsiteY6" fmla="*/ 104242 h 166445"/>
                  <a:gd name="connsiteX7" fmla="*/ 244401 w 244780"/>
                  <a:gd name="connsiteY7" fmla="*/ 38942 h 166445"/>
                  <a:gd name="connsiteX0" fmla="*/ 242420 w 242799"/>
                  <a:gd name="connsiteY0" fmla="*/ 38942 h 166360"/>
                  <a:gd name="connsiteX1" fmla="*/ 163285 w 242799"/>
                  <a:gd name="connsiteY1" fmla="*/ 5528 h 166360"/>
                  <a:gd name="connsiteX2" fmla="*/ 78659 w 242799"/>
                  <a:gd name="connsiteY2" fmla="*/ 18155 h 166360"/>
                  <a:gd name="connsiteX3" fmla="*/ 86029 w 242799"/>
                  <a:gd name="connsiteY3" fmla="*/ 99969 h 166360"/>
                  <a:gd name="connsiteX4" fmla="*/ 13820 w 242799"/>
                  <a:gd name="connsiteY4" fmla="*/ 98752 h 166360"/>
                  <a:gd name="connsiteX5" fmla="*/ 25577 w 242799"/>
                  <a:gd name="connsiteY5" fmla="*/ 165095 h 166360"/>
                  <a:gd name="connsiteX6" fmla="*/ 133089 w 242799"/>
                  <a:gd name="connsiteY6" fmla="*/ 104242 h 166360"/>
                  <a:gd name="connsiteX7" fmla="*/ 242420 w 242799"/>
                  <a:gd name="connsiteY7" fmla="*/ 38942 h 166360"/>
                  <a:gd name="connsiteX0" fmla="*/ 243410 w 243789"/>
                  <a:gd name="connsiteY0" fmla="*/ 38942 h 166052"/>
                  <a:gd name="connsiteX1" fmla="*/ 164275 w 243789"/>
                  <a:gd name="connsiteY1" fmla="*/ 5528 h 166052"/>
                  <a:gd name="connsiteX2" fmla="*/ 79649 w 243789"/>
                  <a:gd name="connsiteY2" fmla="*/ 18155 h 166052"/>
                  <a:gd name="connsiteX3" fmla="*/ 87019 w 243789"/>
                  <a:gd name="connsiteY3" fmla="*/ 99969 h 166052"/>
                  <a:gd name="connsiteX4" fmla="*/ 12642 w 243789"/>
                  <a:gd name="connsiteY4" fmla="*/ 74688 h 166052"/>
                  <a:gd name="connsiteX5" fmla="*/ 26567 w 243789"/>
                  <a:gd name="connsiteY5" fmla="*/ 165095 h 166052"/>
                  <a:gd name="connsiteX6" fmla="*/ 134079 w 243789"/>
                  <a:gd name="connsiteY6" fmla="*/ 104242 h 166052"/>
                  <a:gd name="connsiteX7" fmla="*/ 243410 w 243789"/>
                  <a:gd name="connsiteY7" fmla="*/ 38942 h 166052"/>
                  <a:gd name="connsiteX0" fmla="*/ 232217 w 232596"/>
                  <a:gd name="connsiteY0" fmla="*/ 38942 h 104928"/>
                  <a:gd name="connsiteX1" fmla="*/ 153082 w 232596"/>
                  <a:gd name="connsiteY1" fmla="*/ 5528 h 104928"/>
                  <a:gd name="connsiteX2" fmla="*/ 68456 w 232596"/>
                  <a:gd name="connsiteY2" fmla="*/ 18155 h 104928"/>
                  <a:gd name="connsiteX3" fmla="*/ 75826 w 232596"/>
                  <a:gd name="connsiteY3" fmla="*/ 99969 h 104928"/>
                  <a:gd name="connsiteX4" fmla="*/ 1449 w 232596"/>
                  <a:gd name="connsiteY4" fmla="*/ 74688 h 104928"/>
                  <a:gd name="connsiteX5" fmla="*/ 122886 w 232596"/>
                  <a:gd name="connsiteY5" fmla="*/ 104242 h 104928"/>
                  <a:gd name="connsiteX6" fmla="*/ 232217 w 232596"/>
                  <a:gd name="connsiteY6" fmla="*/ 38942 h 104928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1478 w 231857"/>
                  <a:gd name="connsiteY0" fmla="*/ 38942 h 138375"/>
                  <a:gd name="connsiteX1" fmla="*/ 152343 w 231857"/>
                  <a:gd name="connsiteY1" fmla="*/ 5528 h 138375"/>
                  <a:gd name="connsiteX2" fmla="*/ 67717 w 231857"/>
                  <a:gd name="connsiteY2" fmla="*/ 18155 h 138375"/>
                  <a:gd name="connsiteX3" fmla="*/ 85899 w 231857"/>
                  <a:gd name="connsiteY3" fmla="*/ 138189 h 138375"/>
                  <a:gd name="connsiteX4" fmla="*/ 710 w 231857"/>
                  <a:gd name="connsiteY4" fmla="*/ 74688 h 138375"/>
                  <a:gd name="connsiteX5" fmla="*/ 122147 w 231857"/>
                  <a:gd name="connsiteY5" fmla="*/ 104242 h 138375"/>
                  <a:gd name="connsiteX6" fmla="*/ 231478 w 231857"/>
                  <a:gd name="connsiteY6" fmla="*/ 38942 h 138375"/>
                  <a:gd name="connsiteX0" fmla="*/ 282292 w 282671"/>
                  <a:gd name="connsiteY0" fmla="*/ 38942 h 105067"/>
                  <a:gd name="connsiteX1" fmla="*/ 203157 w 282671"/>
                  <a:gd name="connsiteY1" fmla="*/ 5528 h 105067"/>
                  <a:gd name="connsiteX2" fmla="*/ 118531 w 282671"/>
                  <a:gd name="connsiteY2" fmla="*/ 18155 h 105067"/>
                  <a:gd name="connsiteX3" fmla="*/ 24586 w 282671"/>
                  <a:gd name="connsiteY3" fmla="*/ 59217 h 105067"/>
                  <a:gd name="connsiteX4" fmla="*/ 51524 w 282671"/>
                  <a:gd name="connsiteY4" fmla="*/ 74688 h 105067"/>
                  <a:gd name="connsiteX5" fmla="*/ 172961 w 282671"/>
                  <a:gd name="connsiteY5" fmla="*/ 104242 h 105067"/>
                  <a:gd name="connsiteX6" fmla="*/ 282292 w 282671"/>
                  <a:gd name="connsiteY6" fmla="*/ 38942 h 105067"/>
                  <a:gd name="connsiteX0" fmla="*/ 276661 w 277040"/>
                  <a:gd name="connsiteY0" fmla="*/ 38942 h 106138"/>
                  <a:gd name="connsiteX1" fmla="*/ 197526 w 277040"/>
                  <a:gd name="connsiteY1" fmla="*/ 5528 h 106138"/>
                  <a:gd name="connsiteX2" fmla="*/ 112900 w 277040"/>
                  <a:gd name="connsiteY2" fmla="*/ 18155 h 106138"/>
                  <a:gd name="connsiteX3" fmla="*/ 18955 w 277040"/>
                  <a:gd name="connsiteY3" fmla="*/ 59217 h 106138"/>
                  <a:gd name="connsiteX4" fmla="*/ 77974 w 277040"/>
                  <a:gd name="connsiteY4" fmla="*/ 93368 h 106138"/>
                  <a:gd name="connsiteX5" fmla="*/ 167330 w 277040"/>
                  <a:gd name="connsiteY5" fmla="*/ 104242 h 106138"/>
                  <a:gd name="connsiteX6" fmla="*/ 276661 w 277040"/>
                  <a:gd name="connsiteY6" fmla="*/ 38942 h 106138"/>
                  <a:gd name="connsiteX0" fmla="*/ 200660 w 201039"/>
                  <a:gd name="connsiteY0" fmla="*/ 38942 h 107259"/>
                  <a:gd name="connsiteX1" fmla="*/ 121525 w 201039"/>
                  <a:gd name="connsiteY1" fmla="*/ 5528 h 107259"/>
                  <a:gd name="connsiteX2" fmla="*/ 36899 w 201039"/>
                  <a:gd name="connsiteY2" fmla="*/ 18155 h 107259"/>
                  <a:gd name="connsiteX3" fmla="*/ 1973 w 201039"/>
                  <a:gd name="connsiteY3" fmla="*/ 93368 h 107259"/>
                  <a:gd name="connsiteX4" fmla="*/ 91329 w 201039"/>
                  <a:gd name="connsiteY4" fmla="*/ 104242 h 107259"/>
                  <a:gd name="connsiteX5" fmla="*/ 200660 w 201039"/>
                  <a:gd name="connsiteY5" fmla="*/ 38942 h 107259"/>
                  <a:gd name="connsiteX0" fmla="*/ 223149 w 223528"/>
                  <a:gd name="connsiteY0" fmla="*/ 38942 h 116661"/>
                  <a:gd name="connsiteX1" fmla="*/ 144014 w 223528"/>
                  <a:gd name="connsiteY1" fmla="*/ 5528 h 116661"/>
                  <a:gd name="connsiteX2" fmla="*/ 59388 w 223528"/>
                  <a:gd name="connsiteY2" fmla="*/ 18155 h 116661"/>
                  <a:gd name="connsiteX3" fmla="*/ 1141 w 223528"/>
                  <a:gd name="connsiteY3" fmla="*/ 110571 h 116661"/>
                  <a:gd name="connsiteX4" fmla="*/ 113818 w 223528"/>
                  <a:gd name="connsiteY4" fmla="*/ 104242 h 116661"/>
                  <a:gd name="connsiteX5" fmla="*/ 223149 w 223528"/>
                  <a:gd name="connsiteY5" fmla="*/ 38942 h 116661"/>
                  <a:gd name="connsiteX0" fmla="*/ 222489 w 222868"/>
                  <a:gd name="connsiteY0" fmla="*/ 38942 h 130877"/>
                  <a:gd name="connsiteX1" fmla="*/ 143354 w 222868"/>
                  <a:gd name="connsiteY1" fmla="*/ 5528 h 130877"/>
                  <a:gd name="connsiteX2" fmla="*/ 58728 w 222868"/>
                  <a:gd name="connsiteY2" fmla="*/ 18155 h 130877"/>
                  <a:gd name="connsiteX3" fmla="*/ 481 w 222868"/>
                  <a:gd name="connsiteY3" fmla="*/ 110571 h 130877"/>
                  <a:gd name="connsiteX4" fmla="*/ 91990 w 222868"/>
                  <a:gd name="connsiteY4" fmla="*/ 130670 h 130877"/>
                  <a:gd name="connsiteX5" fmla="*/ 113158 w 222868"/>
                  <a:gd name="connsiteY5" fmla="*/ 104242 h 130877"/>
                  <a:gd name="connsiteX6" fmla="*/ 222489 w 222868"/>
                  <a:gd name="connsiteY6" fmla="*/ 38942 h 130877"/>
                  <a:gd name="connsiteX0" fmla="*/ 222256 w 222635"/>
                  <a:gd name="connsiteY0" fmla="*/ 39140 h 130934"/>
                  <a:gd name="connsiteX1" fmla="*/ 143121 w 222635"/>
                  <a:gd name="connsiteY1" fmla="*/ 5726 h 130934"/>
                  <a:gd name="connsiteX2" fmla="*/ 58495 w 222635"/>
                  <a:gd name="connsiteY2" fmla="*/ 18353 h 130934"/>
                  <a:gd name="connsiteX3" fmla="*/ 64522 w 222635"/>
                  <a:gd name="connsiteY3" fmla="*/ 73965 h 130934"/>
                  <a:gd name="connsiteX4" fmla="*/ 248 w 222635"/>
                  <a:gd name="connsiteY4" fmla="*/ 110769 h 130934"/>
                  <a:gd name="connsiteX5" fmla="*/ 91757 w 222635"/>
                  <a:gd name="connsiteY5" fmla="*/ 130868 h 130934"/>
                  <a:gd name="connsiteX6" fmla="*/ 112925 w 222635"/>
                  <a:gd name="connsiteY6" fmla="*/ 104440 h 130934"/>
                  <a:gd name="connsiteX7" fmla="*/ 222256 w 222635"/>
                  <a:gd name="connsiteY7" fmla="*/ 39140 h 130934"/>
                  <a:gd name="connsiteX0" fmla="*/ 222254 w 222633"/>
                  <a:gd name="connsiteY0" fmla="*/ 38748 h 130542"/>
                  <a:gd name="connsiteX1" fmla="*/ 143119 w 222633"/>
                  <a:gd name="connsiteY1" fmla="*/ 5334 h 130542"/>
                  <a:gd name="connsiteX2" fmla="*/ 58493 w 222633"/>
                  <a:gd name="connsiteY2" fmla="*/ 17961 h 130542"/>
                  <a:gd name="connsiteX3" fmla="*/ 98206 w 222633"/>
                  <a:gd name="connsiteY3" fmla="*/ 48725 h 130542"/>
                  <a:gd name="connsiteX4" fmla="*/ 64520 w 222633"/>
                  <a:gd name="connsiteY4" fmla="*/ 73573 h 130542"/>
                  <a:gd name="connsiteX5" fmla="*/ 246 w 222633"/>
                  <a:gd name="connsiteY5" fmla="*/ 110377 h 130542"/>
                  <a:gd name="connsiteX6" fmla="*/ 91755 w 222633"/>
                  <a:gd name="connsiteY6" fmla="*/ 130476 h 130542"/>
                  <a:gd name="connsiteX7" fmla="*/ 112923 w 222633"/>
                  <a:gd name="connsiteY7" fmla="*/ 104048 h 130542"/>
                  <a:gd name="connsiteX8" fmla="*/ 222254 w 222633"/>
                  <a:gd name="connsiteY8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12923 w 222376"/>
                  <a:gd name="connsiteY7" fmla="*/ 104048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59574 w 222376"/>
                  <a:gd name="connsiteY7" fmla="*/ 100432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70 w 222392"/>
                  <a:gd name="connsiteY0" fmla="*/ 38748 h 113405"/>
                  <a:gd name="connsiteX1" fmla="*/ 143135 w 222392"/>
                  <a:gd name="connsiteY1" fmla="*/ 5334 h 113405"/>
                  <a:gd name="connsiteX2" fmla="*/ 58509 w 222392"/>
                  <a:gd name="connsiteY2" fmla="*/ 17961 h 113405"/>
                  <a:gd name="connsiteX3" fmla="*/ 98222 w 222392"/>
                  <a:gd name="connsiteY3" fmla="*/ 48725 h 113405"/>
                  <a:gd name="connsiteX4" fmla="*/ 64536 w 222392"/>
                  <a:gd name="connsiteY4" fmla="*/ 73573 h 113405"/>
                  <a:gd name="connsiteX5" fmla="*/ 262 w 222392"/>
                  <a:gd name="connsiteY5" fmla="*/ 110377 h 113405"/>
                  <a:gd name="connsiteX6" fmla="*/ 92736 w 222392"/>
                  <a:gd name="connsiteY6" fmla="*/ 110516 h 113405"/>
                  <a:gd name="connsiteX7" fmla="*/ 159590 w 222392"/>
                  <a:gd name="connsiteY7" fmla="*/ 100432 h 113405"/>
                  <a:gd name="connsiteX8" fmla="*/ 160107 w 222392"/>
                  <a:gd name="connsiteY8" fmla="*/ 60819 h 113405"/>
                  <a:gd name="connsiteX9" fmla="*/ 222270 w 222392"/>
                  <a:gd name="connsiteY9" fmla="*/ 38748 h 113405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59615 w 222417"/>
                  <a:gd name="connsiteY7" fmla="*/ 100432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41793 w 222417"/>
                  <a:gd name="connsiteY7" fmla="*/ 86633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41519 w 222143"/>
                  <a:gd name="connsiteY7" fmla="*/ 86633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69705 w 222143"/>
                  <a:gd name="connsiteY7" fmla="*/ 92786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844"/>
                  <a:gd name="connsiteY0" fmla="*/ 38748 h 125046"/>
                  <a:gd name="connsiteX1" fmla="*/ 142886 w 222844"/>
                  <a:gd name="connsiteY1" fmla="*/ 5334 h 125046"/>
                  <a:gd name="connsiteX2" fmla="*/ 58260 w 222844"/>
                  <a:gd name="connsiteY2" fmla="*/ 17961 h 125046"/>
                  <a:gd name="connsiteX3" fmla="*/ 97973 w 222844"/>
                  <a:gd name="connsiteY3" fmla="*/ 48725 h 125046"/>
                  <a:gd name="connsiteX4" fmla="*/ 86967 w 222844"/>
                  <a:gd name="connsiteY4" fmla="*/ 79940 h 125046"/>
                  <a:gd name="connsiteX5" fmla="*/ 13 w 222844"/>
                  <a:gd name="connsiteY5" fmla="*/ 110377 h 125046"/>
                  <a:gd name="connsiteX6" fmla="*/ 93789 w 222844"/>
                  <a:gd name="connsiteY6" fmla="*/ 124954 h 125046"/>
                  <a:gd name="connsiteX7" fmla="*/ 169705 w 222844"/>
                  <a:gd name="connsiteY7" fmla="*/ 92786 h 125046"/>
                  <a:gd name="connsiteX8" fmla="*/ 179946 w 222844"/>
                  <a:gd name="connsiteY8" fmla="*/ 69097 h 125046"/>
                  <a:gd name="connsiteX9" fmla="*/ 222021 w 222844"/>
                  <a:gd name="connsiteY9" fmla="*/ 38748 h 125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2844" h="125046">
                    <a:moveTo>
                      <a:pt x="222021" y="38748"/>
                    </a:moveTo>
                    <a:cubicBezTo>
                      <a:pt x="215844" y="28121"/>
                      <a:pt x="181055" y="20452"/>
                      <a:pt x="142886" y="5334"/>
                    </a:cubicBezTo>
                    <a:cubicBezTo>
                      <a:pt x="104717" y="-9784"/>
                      <a:pt x="72711" y="11365"/>
                      <a:pt x="58260" y="17961"/>
                    </a:cubicBezTo>
                    <a:cubicBezTo>
                      <a:pt x="43809" y="24557"/>
                      <a:pt x="96969" y="39456"/>
                      <a:pt x="97973" y="48725"/>
                    </a:cubicBezTo>
                    <a:cubicBezTo>
                      <a:pt x="98978" y="57994"/>
                      <a:pt x="96328" y="69029"/>
                      <a:pt x="86967" y="79940"/>
                    </a:cubicBezTo>
                    <a:cubicBezTo>
                      <a:pt x="77606" y="90851"/>
                      <a:pt x="-1124" y="102875"/>
                      <a:pt x="13" y="110377"/>
                    </a:cubicBezTo>
                    <a:cubicBezTo>
                      <a:pt x="1150" y="117879"/>
                      <a:pt x="75010" y="126009"/>
                      <a:pt x="93789" y="124954"/>
                    </a:cubicBezTo>
                    <a:cubicBezTo>
                      <a:pt x="112568" y="123899"/>
                      <a:pt x="154427" y="102131"/>
                      <a:pt x="169705" y="92786"/>
                    </a:cubicBezTo>
                    <a:cubicBezTo>
                      <a:pt x="184983" y="83441"/>
                      <a:pt x="161724" y="79980"/>
                      <a:pt x="179946" y="69097"/>
                    </a:cubicBezTo>
                    <a:cubicBezTo>
                      <a:pt x="198168" y="58214"/>
                      <a:pt x="228198" y="49375"/>
                      <a:pt x="222021" y="38748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205"/>
              <p:cNvSpPr/>
              <p:nvPr/>
            </p:nvSpPr>
            <p:spPr bwMode="auto">
              <a:xfrm rot="8302761">
                <a:off x="7545167" y="3770881"/>
                <a:ext cx="277525" cy="236127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508809 w 628017"/>
                  <a:gd name="connsiteY0" fmla="*/ 2356 h 376001"/>
                  <a:gd name="connsiteX1" fmla="*/ 6361 w 628017"/>
                  <a:gd name="connsiteY1" fmla="*/ 130721 h 376001"/>
                  <a:gd name="connsiteX2" fmla="*/ 228411 w 628017"/>
                  <a:gd name="connsiteY2" fmla="*/ 374859 h 376001"/>
                  <a:gd name="connsiteX3" fmla="*/ 609906 w 628017"/>
                  <a:gd name="connsiteY3" fmla="*/ 235794 h 376001"/>
                  <a:gd name="connsiteX4" fmla="*/ 508809 w 628017"/>
                  <a:gd name="connsiteY4" fmla="*/ 2356 h 376001"/>
                  <a:gd name="connsiteX0" fmla="*/ 504040 w 616834"/>
                  <a:gd name="connsiteY0" fmla="*/ 2903 h 376548"/>
                  <a:gd name="connsiteX1" fmla="*/ 351553 w 616834"/>
                  <a:gd name="connsiteY1" fmla="*/ 107249 h 376548"/>
                  <a:gd name="connsiteX2" fmla="*/ 1592 w 616834"/>
                  <a:gd name="connsiteY2" fmla="*/ 131268 h 376548"/>
                  <a:gd name="connsiteX3" fmla="*/ 223642 w 616834"/>
                  <a:gd name="connsiteY3" fmla="*/ 375406 h 376548"/>
                  <a:gd name="connsiteX4" fmla="*/ 605137 w 616834"/>
                  <a:gd name="connsiteY4" fmla="*/ 236341 h 376548"/>
                  <a:gd name="connsiteX5" fmla="*/ 504040 w 616834"/>
                  <a:gd name="connsiteY5" fmla="*/ 2903 h 376548"/>
                  <a:gd name="connsiteX0" fmla="*/ 495452 w 616175"/>
                  <a:gd name="connsiteY0" fmla="*/ 51280 h 274874"/>
                  <a:gd name="connsiteX1" fmla="*/ 351553 w 616175"/>
                  <a:gd name="connsiteY1" fmla="*/ 5575 h 274874"/>
                  <a:gd name="connsiteX2" fmla="*/ 1592 w 616175"/>
                  <a:gd name="connsiteY2" fmla="*/ 29594 h 274874"/>
                  <a:gd name="connsiteX3" fmla="*/ 223642 w 616175"/>
                  <a:gd name="connsiteY3" fmla="*/ 273732 h 274874"/>
                  <a:gd name="connsiteX4" fmla="*/ 605137 w 616175"/>
                  <a:gd name="connsiteY4" fmla="*/ 134667 h 274874"/>
                  <a:gd name="connsiteX5" fmla="*/ 495452 w 616175"/>
                  <a:gd name="connsiteY5" fmla="*/ 51280 h 274874"/>
                  <a:gd name="connsiteX0" fmla="*/ 495452 w 532377"/>
                  <a:gd name="connsiteY0" fmla="*/ 51265 h 274847"/>
                  <a:gd name="connsiteX1" fmla="*/ 351553 w 532377"/>
                  <a:gd name="connsiteY1" fmla="*/ 5560 h 274847"/>
                  <a:gd name="connsiteX2" fmla="*/ 1592 w 532377"/>
                  <a:gd name="connsiteY2" fmla="*/ 29579 h 274847"/>
                  <a:gd name="connsiteX3" fmla="*/ 223642 w 532377"/>
                  <a:gd name="connsiteY3" fmla="*/ 273717 h 274847"/>
                  <a:gd name="connsiteX4" fmla="*/ 509239 w 532377"/>
                  <a:gd name="connsiteY4" fmla="*/ 133533 h 274847"/>
                  <a:gd name="connsiteX5" fmla="*/ 495452 w 532377"/>
                  <a:gd name="connsiteY5" fmla="*/ 51265 h 274847"/>
                  <a:gd name="connsiteX0" fmla="*/ 497505 w 534430"/>
                  <a:gd name="connsiteY0" fmla="*/ 51265 h 274847"/>
                  <a:gd name="connsiteX1" fmla="*/ 353606 w 534430"/>
                  <a:gd name="connsiteY1" fmla="*/ 5560 h 274847"/>
                  <a:gd name="connsiteX2" fmla="*/ 3645 w 534430"/>
                  <a:gd name="connsiteY2" fmla="*/ 29579 h 274847"/>
                  <a:gd name="connsiteX3" fmla="*/ 173951 w 534430"/>
                  <a:gd name="connsiteY3" fmla="*/ 138081 h 274847"/>
                  <a:gd name="connsiteX4" fmla="*/ 225695 w 534430"/>
                  <a:gd name="connsiteY4" fmla="*/ 273717 h 274847"/>
                  <a:gd name="connsiteX5" fmla="*/ 511292 w 534430"/>
                  <a:gd name="connsiteY5" fmla="*/ 133533 h 274847"/>
                  <a:gd name="connsiteX6" fmla="*/ 497505 w 534430"/>
                  <a:gd name="connsiteY6" fmla="*/ 51265 h 274847"/>
                  <a:gd name="connsiteX0" fmla="*/ 493884 w 530809"/>
                  <a:gd name="connsiteY0" fmla="*/ 51265 h 274847"/>
                  <a:gd name="connsiteX1" fmla="*/ 349985 w 530809"/>
                  <a:gd name="connsiteY1" fmla="*/ 5560 h 274847"/>
                  <a:gd name="connsiteX2" fmla="*/ 24 w 530809"/>
                  <a:gd name="connsiteY2" fmla="*/ 29579 h 274847"/>
                  <a:gd name="connsiteX3" fmla="*/ 170330 w 530809"/>
                  <a:gd name="connsiteY3" fmla="*/ 138081 h 274847"/>
                  <a:gd name="connsiteX4" fmla="*/ 222074 w 530809"/>
                  <a:gd name="connsiteY4" fmla="*/ 273717 h 274847"/>
                  <a:gd name="connsiteX5" fmla="*/ 507671 w 530809"/>
                  <a:gd name="connsiteY5" fmla="*/ 133533 h 274847"/>
                  <a:gd name="connsiteX6" fmla="*/ 493884 w 530809"/>
                  <a:gd name="connsiteY6" fmla="*/ 51265 h 274847"/>
                  <a:gd name="connsiteX0" fmla="*/ 493884 w 530809"/>
                  <a:gd name="connsiteY0" fmla="*/ 51265 h 186504"/>
                  <a:gd name="connsiteX1" fmla="*/ 349985 w 530809"/>
                  <a:gd name="connsiteY1" fmla="*/ 5560 h 186504"/>
                  <a:gd name="connsiteX2" fmla="*/ 24 w 530809"/>
                  <a:gd name="connsiteY2" fmla="*/ 29579 h 186504"/>
                  <a:gd name="connsiteX3" fmla="*/ 170330 w 530809"/>
                  <a:gd name="connsiteY3" fmla="*/ 138081 h 186504"/>
                  <a:gd name="connsiteX4" fmla="*/ 390510 w 530809"/>
                  <a:gd name="connsiteY4" fmla="*/ 180265 h 186504"/>
                  <a:gd name="connsiteX5" fmla="*/ 507671 w 530809"/>
                  <a:gd name="connsiteY5" fmla="*/ 133533 h 186504"/>
                  <a:gd name="connsiteX6" fmla="*/ 493884 w 530809"/>
                  <a:gd name="connsiteY6" fmla="*/ 51265 h 186504"/>
                  <a:gd name="connsiteX0" fmla="*/ 495721 w 532646"/>
                  <a:gd name="connsiteY0" fmla="*/ 51265 h 186504"/>
                  <a:gd name="connsiteX1" fmla="*/ 351822 w 532646"/>
                  <a:gd name="connsiteY1" fmla="*/ 5560 h 186504"/>
                  <a:gd name="connsiteX2" fmla="*/ 1861 w 532646"/>
                  <a:gd name="connsiteY2" fmla="*/ 29579 h 186504"/>
                  <a:gd name="connsiteX3" fmla="*/ 213626 w 532646"/>
                  <a:gd name="connsiteY3" fmla="*/ 107499 h 186504"/>
                  <a:gd name="connsiteX4" fmla="*/ 392347 w 532646"/>
                  <a:gd name="connsiteY4" fmla="*/ 180265 h 186504"/>
                  <a:gd name="connsiteX5" fmla="*/ 509508 w 532646"/>
                  <a:gd name="connsiteY5" fmla="*/ 133533 h 186504"/>
                  <a:gd name="connsiteX6" fmla="*/ 495721 w 532646"/>
                  <a:gd name="connsiteY6" fmla="*/ 51265 h 186504"/>
                  <a:gd name="connsiteX0" fmla="*/ 496902 w 533827"/>
                  <a:gd name="connsiteY0" fmla="*/ 70457 h 205696"/>
                  <a:gd name="connsiteX1" fmla="*/ 353003 w 533827"/>
                  <a:gd name="connsiteY1" fmla="*/ 24752 h 205696"/>
                  <a:gd name="connsiteX2" fmla="*/ 107632 w 533827"/>
                  <a:gd name="connsiteY2" fmla="*/ 439 h 205696"/>
                  <a:gd name="connsiteX3" fmla="*/ 3042 w 533827"/>
                  <a:gd name="connsiteY3" fmla="*/ 48771 h 205696"/>
                  <a:gd name="connsiteX4" fmla="*/ 214807 w 533827"/>
                  <a:gd name="connsiteY4" fmla="*/ 126691 h 205696"/>
                  <a:gd name="connsiteX5" fmla="*/ 393528 w 533827"/>
                  <a:gd name="connsiteY5" fmla="*/ 199457 h 205696"/>
                  <a:gd name="connsiteX6" fmla="*/ 510689 w 533827"/>
                  <a:gd name="connsiteY6" fmla="*/ 152725 h 205696"/>
                  <a:gd name="connsiteX7" fmla="*/ 496902 w 533827"/>
                  <a:gd name="connsiteY7" fmla="*/ 70457 h 205696"/>
                  <a:gd name="connsiteX0" fmla="*/ 472353 w 509278"/>
                  <a:gd name="connsiteY0" fmla="*/ 70457 h 205696"/>
                  <a:gd name="connsiteX1" fmla="*/ 328454 w 509278"/>
                  <a:gd name="connsiteY1" fmla="*/ 24752 h 205696"/>
                  <a:gd name="connsiteX2" fmla="*/ 83083 w 509278"/>
                  <a:gd name="connsiteY2" fmla="*/ 439 h 205696"/>
                  <a:gd name="connsiteX3" fmla="*/ 4427 w 509278"/>
                  <a:gd name="connsiteY3" fmla="*/ 91234 h 205696"/>
                  <a:gd name="connsiteX4" fmla="*/ 190258 w 509278"/>
                  <a:gd name="connsiteY4" fmla="*/ 126691 h 205696"/>
                  <a:gd name="connsiteX5" fmla="*/ 368979 w 509278"/>
                  <a:gd name="connsiteY5" fmla="*/ 199457 h 205696"/>
                  <a:gd name="connsiteX6" fmla="*/ 486140 w 509278"/>
                  <a:gd name="connsiteY6" fmla="*/ 152725 h 205696"/>
                  <a:gd name="connsiteX7" fmla="*/ 472353 w 509278"/>
                  <a:gd name="connsiteY7" fmla="*/ 70457 h 205696"/>
                  <a:gd name="connsiteX0" fmla="*/ 471911 w 508836"/>
                  <a:gd name="connsiteY0" fmla="*/ 51265 h 186504"/>
                  <a:gd name="connsiteX1" fmla="*/ 328012 w 508836"/>
                  <a:gd name="connsiteY1" fmla="*/ 5560 h 186504"/>
                  <a:gd name="connsiteX2" fmla="*/ 86111 w 508836"/>
                  <a:gd name="connsiteY2" fmla="*/ 19749 h 186504"/>
                  <a:gd name="connsiteX3" fmla="*/ 3985 w 508836"/>
                  <a:gd name="connsiteY3" fmla="*/ 72042 h 186504"/>
                  <a:gd name="connsiteX4" fmla="*/ 189816 w 508836"/>
                  <a:gd name="connsiteY4" fmla="*/ 107499 h 186504"/>
                  <a:gd name="connsiteX5" fmla="*/ 368537 w 508836"/>
                  <a:gd name="connsiteY5" fmla="*/ 180265 h 186504"/>
                  <a:gd name="connsiteX6" fmla="*/ 485698 w 508836"/>
                  <a:gd name="connsiteY6" fmla="*/ 133533 h 186504"/>
                  <a:gd name="connsiteX7" fmla="*/ 471911 w 508836"/>
                  <a:gd name="connsiteY7" fmla="*/ 51265 h 186504"/>
                  <a:gd name="connsiteX0" fmla="*/ 437213 w 474138"/>
                  <a:gd name="connsiteY0" fmla="*/ 51265 h 186504"/>
                  <a:gd name="connsiteX1" fmla="*/ 293314 w 474138"/>
                  <a:gd name="connsiteY1" fmla="*/ 5560 h 186504"/>
                  <a:gd name="connsiteX2" fmla="*/ 51413 w 474138"/>
                  <a:gd name="connsiteY2" fmla="*/ 19749 h 186504"/>
                  <a:gd name="connsiteX3" fmla="*/ 9907 w 474138"/>
                  <a:gd name="connsiteY3" fmla="*/ 113936 h 186504"/>
                  <a:gd name="connsiteX4" fmla="*/ 155118 w 474138"/>
                  <a:gd name="connsiteY4" fmla="*/ 107499 h 186504"/>
                  <a:gd name="connsiteX5" fmla="*/ 333839 w 474138"/>
                  <a:gd name="connsiteY5" fmla="*/ 180265 h 186504"/>
                  <a:gd name="connsiteX6" fmla="*/ 451000 w 474138"/>
                  <a:gd name="connsiteY6" fmla="*/ 133533 h 186504"/>
                  <a:gd name="connsiteX7" fmla="*/ 437213 w 474138"/>
                  <a:gd name="connsiteY7" fmla="*/ 51265 h 186504"/>
                  <a:gd name="connsiteX0" fmla="*/ 437213 w 477998"/>
                  <a:gd name="connsiteY0" fmla="*/ 94179 h 229418"/>
                  <a:gd name="connsiteX1" fmla="*/ 208200 w 477998"/>
                  <a:gd name="connsiteY1" fmla="*/ 3473 h 229418"/>
                  <a:gd name="connsiteX2" fmla="*/ 51413 w 477998"/>
                  <a:gd name="connsiteY2" fmla="*/ 62663 h 229418"/>
                  <a:gd name="connsiteX3" fmla="*/ 9907 w 477998"/>
                  <a:gd name="connsiteY3" fmla="*/ 156850 h 229418"/>
                  <a:gd name="connsiteX4" fmla="*/ 155118 w 477998"/>
                  <a:gd name="connsiteY4" fmla="*/ 150413 h 229418"/>
                  <a:gd name="connsiteX5" fmla="*/ 333839 w 477998"/>
                  <a:gd name="connsiteY5" fmla="*/ 223179 h 229418"/>
                  <a:gd name="connsiteX6" fmla="*/ 451000 w 477998"/>
                  <a:gd name="connsiteY6" fmla="*/ 176447 h 229418"/>
                  <a:gd name="connsiteX7" fmla="*/ 437213 w 477998"/>
                  <a:gd name="connsiteY7" fmla="*/ 94179 h 229418"/>
                  <a:gd name="connsiteX0" fmla="*/ 437213 w 474159"/>
                  <a:gd name="connsiteY0" fmla="*/ 108861 h 244100"/>
                  <a:gd name="connsiteX1" fmla="*/ 292826 w 474159"/>
                  <a:gd name="connsiteY1" fmla="*/ 5528 h 244100"/>
                  <a:gd name="connsiteX2" fmla="*/ 208200 w 474159"/>
                  <a:gd name="connsiteY2" fmla="*/ 18155 h 244100"/>
                  <a:gd name="connsiteX3" fmla="*/ 51413 w 474159"/>
                  <a:gd name="connsiteY3" fmla="*/ 77345 h 244100"/>
                  <a:gd name="connsiteX4" fmla="*/ 9907 w 474159"/>
                  <a:gd name="connsiteY4" fmla="*/ 171532 h 244100"/>
                  <a:gd name="connsiteX5" fmla="*/ 155118 w 474159"/>
                  <a:gd name="connsiteY5" fmla="*/ 165095 h 244100"/>
                  <a:gd name="connsiteX6" fmla="*/ 333839 w 474159"/>
                  <a:gd name="connsiteY6" fmla="*/ 237861 h 244100"/>
                  <a:gd name="connsiteX7" fmla="*/ 451000 w 474159"/>
                  <a:gd name="connsiteY7" fmla="*/ 191129 h 244100"/>
                  <a:gd name="connsiteX8" fmla="*/ 437213 w 474159"/>
                  <a:gd name="connsiteY8" fmla="*/ 108861 h 244100"/>
                  <a:gd name="connsiteX0" fmla="*/ 437213 w 437377"/>
                  <a:gd name="connsiteY0" fmla="*/ 108861 h 239065"/>
                  <a:gd name="connsiteX1" fmla="*/ 292826 w 437377"/>
                  <a:gd name="connsiteY1" fmla="*/ 5528 h 239065"/>
                  <a:gd name="connsiteX2" fmla="*/ 208200 w 437377"/>
                  <a:gd name="connsiteY2" fmla="*/ 18155 h 239065"/>
                  <a:gd name="connsiteX3" fmla="*/ 51413 w 437377"/>
                  <a:gd name="connsiteY3" fmla="*/ 77345 h 239065"/>
                  <a:gd name="connsiteX4" fmla="*/ 9907 w 437377"/>
                  <a:gd name="connsiteY4" fmla="*/ 171532 h 239065"/>
                  <a:gd name="connsiteX5" fmla="*/ 155118 w 437377"/>
                  <a:gd name="connsiteY5" fmla="*/ 165095 h 239065"/>
                  <a:gd name="connsiteX6" fmla="*/ 333839 w 437377"/>
                  <a:gd name="connsiteY6" fmla="*/ 237861 h 239065"/>
                  <a:gd name="connsiteX7" fmla="*/ 262630 w 437377"/>
                  <a:gd name="connsiteY7" fmla="*/ 104242 h 239065"/>
                  <a:gd name="connsiteX8" fmla="*/ 437213 w 437377"/>
                  <a:gd name="connsiteY8" fmla="*/ 108861 h 239065"/>
                  <a:gd name="connsiteX0" fmla="*/ 371961 w 372339"/>
                  <a:gd name="connsiteY0" fmla="*/ 38942 h 239065"/>
                  <a:gd name="connsiteX1" fmla="*/ 292826 w 372339"/>
                  <a:gd name="connsiteY1" fmla="*/ 5528 h 239065"/>
                  <a:gd name="connsiteX2" fmla="*/ 208200 w 372339"/>
                  <a:gd name="connsiteY2" fmla="*/ 18155 h 239065"/>
                  <a:gd name="connsiteX3" fmla="*/ 51413 w 372339"/>
                  <a:gd name="connsiteY3" fmla="*/ 77345 h 239065"/>
                  <a:gd name="connsiteX4" fmla="*/ 9907 w 372339"/>
                  <a:gd name="connsiteY4" fmla="*/ 171532 h 239065"/>
                  <a:gd name="connsiteX5" fmla="*/ 155118 w 372339"/>
                  <a:gd name="connsiteY5" fmla="*/ 165095 h 239065"/>
                  <a:gd name="connsiteX6" fmla="*/ 333839 w 372339"/>
                  <a:gd name="connsiteY6" fmla="*/ 237861 h 239065"/>
                  <a:gd name="connsiteX7" fmla="*/ 262630 w 372339"/>
                  <a:gd name="connsiteY7" fmla="*/ 104242 h 239065"/>
                  <a:gd name="connsiteX8" fmla="*/ 371961 w 372339"/>
                  <a:gd name="connsiteY8" fmla="*/ 38942 h 239065"/>
                  <a:gd name="connsiteX0" fmla="*/ 371961 w 372341"/>
                  <a:gd name="connsiteY0" fmla="*/ 38942 h 178890"/>
                  <a:gd name="connsiteX1" fmla="*/ 292826 w 372341"/>
                  <a:gd name="connsiteY1" fmla="*/ 5528 h 178890"/>
                  <a:gd name="connsiteX2" fmla="*/ 208200 w 372341"/>
                  <a:gd name="connsiteY2" fmla="*/ 18155 h 178890"/>
                  <a:gd name="connsiteX3" fmla="*/ 51413 w 372341"/>
                  <a:gd name="connsiteY3" fmla="*/ 77345 h 178890"/>
                  <a:gd name="connsiteX4" fmla="*/ 9907 w 372341"/>
                  <a:gd name="connsiteY4" fmla="*/ 171532 h 178890"/>
                  <a:gd name="connsiteX5" fmla="*/ 155118 w 372341"/>
                  <a:gd name="connsiteY5" fmla="*/ 165095 h 178890"/>
                  <a:gd name="connsiteX6" fmla="*/ 262630 w 372341"/>
                  <a:gd name="connsiteY6" fmla="*/ 104242 h 178890"/>
                  <a:gd name="connsiteX7" fmla="*/ 371961 w 372341"/>
                  <a:gd name="connsiteY7" fmla="*/ 38942 h 178890"/>
                  <a:gd name="connsiteX0" fmla="*/ 335241 w 335620"/>
                  <a:gd name="connsiteY0" fmla="*/ 38942 h 166425"/>
                  <a:gd name="connsiteX1" fmla="*/ 256106 w 335620"/>
                  <a:gd name="connsiteY1" fmla="*/ 5528 h 166425"/>
                  <a:gd name="connsiteX2" fmla="*/ 171480 w 335620"/>
                  <a:gd name="connsiteY2" fmla="*/ 18155 h 166425"/>
                  <a:gd name="connsiteX3" fmla="*/ 14693 w 335620"/>
                  <a:gd name="connsiteY3" fmla="*/ 77345 h 166425"/>
                  <a:gd name="connsiteX4" fmla="*/ 106641 w 335620"/>
                  <a:gd name="connsiteY4" fmla="*/ 98752 h 166425"/>
                  <a:gd name="connsiteX5" fmla="*/ 118398 w 335620"/>
                  <a:gd name="connsiteY5" fmla="*/ 165095 h 166425"/>
                  <a:gd name="connsiteX6" fmla="*/ 225910 w 335620"/>
                  <a:gd name="connsiteY6" fmla="*/ 104242 h 166425"/>
                  <a:gd name="connsiteX7" fmla="*/ 335241 w 335620"/>
                  <a:gd name="connsiteY7" fmla="*/ 38942 h 166425"/>
                  <a:gd name="connsiteX0" fmla="*/ 244401 w 244780"/>
                  <a:gd name="connsiteY0" fmla="*/ 38942 h 166445"/>
                  <a:gd name="connsiteX1" fmla="*/ 165266 w 244780"/>
                  <a:gd name="connsiteY1" fmla="*/ 5528 h 166445"/>
                  <a:gd name="connsiteX2" fmla="*/ 80640 w 244780"/>
                  <a:gd name="connsiteY2" fmla="*/ 18155 h 166445"/>
                  <a:gd name="connsiteX3" fmla="*/ 30115 w 244780"/>
                  <a:gd name="connsiteY3" fmla="*/ 70817 h 166445"/>
                  <a:gd name="connsiteX4" fmla="*/ 15801 w 244780"/>
                  <a:gd name="connsiteY4" fmla="*/ 98752 h 166445"/>
                  <a:gd name="connsiteX5" fmla="*/ 27558 w 244780"/>
                  <a:gd name="connsiteY5" fmla="*/ 165095 h 166445"/>
                  <a:gd name="connsiteX6" fmla="*/ 135070 w 244780"/>
                  <a:gd name="connsiteY6" fmla="*/ 104242 h 166445"/>
                  <a:gd name="connsiteX7" fmla="*/ 244401 w 244780"/>
                  <a:gd name="connsiteY7" fmla="*/ 38942 h 166445"/>
                  <a:gd name="connsiteX0" fmla="*/ 242420 w 242799"/>
                  <a:gd name="connsiteY0" fmla="*/ 38942 h 166360"/>
                  <a:gd name="connsiteX1" fmla="*/ 163285 w 242799"/>
                  <a:gd name="connsiteY1" fmla="*/ 5528 h 166360"/>
                  <a:gd name="connsiteX2" fmla="*/ 78659 w 242799"/>
                  <a:gd name="connsiteY2" fmla="*/ 18155 h 166360"/>
                  <a:gd name="connsiteX3" fmla="*/ 86029 w 242799"/>
                  <a:gd name="connsiteY3" fmla="*/ 99969 h 166360"/>
                  <a:gd name="connsiteX4" fmla="*/ 13820 w 242799"/>
                  <a:gd name="connsiteY4" fmla="*/ 98752 h 166360"/>
                  <a:gd name="connsiteX5" fmla="*/ 25577 w 242799"/>
                  <a:gd name="connsiteY5" fmla="*/ 165095 h 166360"/>
                  <a:gd name="connsiteX6" fmla="*/ 133089 w 242799"/>
                  <a:gd name="connsiteY6" fmla="*/ 104242 h 166360"/>
                  <a:gd name="connsiteX7" fmla="*/ 242420 w 242799"/>
                  <a:gd name="connsiteY7" fmla="*/ 38942 h 166360"/>
                  <a:gd name="connsiteX0" fmla="*/ 243410 w 243789"/>
                  <a:gd name="connsiteY0" fmla="*/ 38942 h 166052"/>
                  <a:gd name="connsiteX1" fmla="*/ 164275 w 243789"/>
                  <a:gd name="connsiteY1" fmla="*/ 5528 h 166052"/>
                  <a:gd name="connsiteX2" fmla="*/ 79649 w 243789"/>
                  <a:gd name="connsiteY2" fmla="*/ 18155 h 166052"/>
                  <a:gd name="connsiteX3" fmla="*/ 87019 w 243789"/>
                  <a:gd name="connsiteY3" fmla="*/ 99969 h 166052"/>
                  <a:gd name="connsiteX4" fmla="*/ 12642 w 243789"/>
                  <a:gd name="connsiteY4" fmla="*/ 74688 h 166052"/>
                  <a:gd name="connsiteX5" fmla="*/ 26567 w 243789"/>
                  <a:gd name="connsiteY5" fmla="*/ 165095 h 166052"/>
                  <a:gd name="connsiteX6" fmla="*/ 134079 w 243789"/>
                  <a:gd name="connsiteY6" fmla="*/ 104242 h 166052"/>
                  <a:gd name="connsiteX7" fmla="*/ 243410 w 243789"/>
                  <a:gd name="connsiteY7" fmla="*/ 38942 h 166052"/>
                  <a:gd name="connsiteX0" fmla="*/ 232217 w 232596"/>
                  <a:gd name="connsiteY0" fmla="*/ 38942 h 104928"/>
                  <a:gd name="connsiteX1" fmla="*/ 153082 w 232596"/>
                  <a:gd name="connsiteY1" fmla="*/ 5528 h 104928"/>
                  <a:gd name="connsiteX2" fmla="*/ 68456 w 232596"/>
                  <a:gd name="connsiteY2" fmla="*/ 18155 h 104928"/>
                  <a:gd name="connsiteX3" fmla="*/ 75826 w 232596"/>
                  <a:gd name="connsiteY3" fmla="*/ 99969 h 104928"/>
                  <a:gd name="connsiteX4" fmla="*/ 1449 w 232596"/>
                  <a:gd name="connsiteY4" fmla="*/ 74688 h 104928"/>
                  <a:gd name="connsiteX5" fmla="*/ 122886 w 232596"/>
                  <a:gd name="connsiteY5" fmla="*/ 104242 h 104928"/>
                  <a:gd name="connsiteX6" fmla="*/ 232217 w 232596"/>
                  <a:gd name="connsiteY6" fmla="*/ 38942 h 104928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1478 w 231857"/>
                  <a:gd name="connsiteY0" fmla="*/ 38942 h 138375"/>
                  <a:gd name="connsiteX1" fmla="*/ 152343 w 231857"/>
                  <a:gd name="connsiteY1" fmla="*/ 5528 h 138375"/>
                  <a:gd name="connsiteX2" fmla="*/ 67717 w 231857"/>
                  <a:gd name="connsiteY2" fmla="*/ 18155 h 138375"/>
                  <a:gd name="connsiteX3" fmla="*/ 85899 w 231857"/>
                  <a:gd name="connsiteY3" fmla="*/ 138189 h 138375"/>
                  <a:gd name="connsiteX4" fmla="*/ 710 w 231857"/>
                  <a:gd name="connsiteY4" fmla="*/ 74688 h 138375"/>
                  <a:gd name="connsiteX5" fmla="*/ 122147 w 231857"/>
                  <a:gd name="connsiteY5" fmla="*/ 104242 h 138375"/>
                  <a:gd name="connsiteX6" fmla="*/ 231478 w 231857"/>
                  <a:gd name="connsiteY6" fmla="*/ 38942 h 138375"/>
                  <a:gd name="connsiteX0" fmla="*/ 282292 w 282671"/>
                  <a:gd name="connsiteY0" fmla="*/ 38942 h 105067"/>
                  <a:gd name="connsiteX1" fmla="*/ 203157 w 282671"/>
                  <a:gd name="connsiteY1" fmla="*/ 5528 h 105067"/>
                  <a:gd name="connsiteX2" fmla="*/ 118531 w 282671"/>
                  <a:gd name="connsiteY2" fmla="*/ 18155 h 105067"/>
                  <a:gd name="connsiteX3" fmla="*/ 24586 w 282671"/>
                  <a:gd name="connsiteY3" fmla="*/ 59217 h 105067"/>
                  <a:gd name="connsiteX4" fmla="*/ 51524 w 282671"/>
                  <a:gd name="connsiteY4" fmla="*/ 74688 h 105067"/>
                  <a:gd name="connsiteX5" fmla="*/ 172961 w 282671"/>
                  <a:gd name="connsiteY5" fmla="*/ 104242 h 105067"/>
                  <a:gd name="connsiteX6" fmla="*/ 282292 w 282671"/>
                  <a:gd name="connsiteY6" fmla="*/ 38942 h 105067"/>
                  <a:gd name="connsiteX0" fmla="*/ 276661 w 277040"/>
                  <a:gd name="connsiteY0" fmla="*/ 38942 h 106138"/>
                  <a:gd name="connsiteX1" fmla="*/ 197526 w 277040"/>
                  <a:gd name="connsiteY1" fmla="*/ 5528 h 106138"/>
                  <a:gd name="connsiteX2" fmla="*/ 112900 w 277040"/>
                  <a:gd name="connsiteY2" fmla="*/ 18155 h 106138"/>
                  <a:gd name="connsiteX3" fmla="*/ 18955 w 277040"/>
                  <a:gd name="connsiteY3" fmla="*/ 59217 h 106138"/>
                  <a:gd name="connsiteX4" fmla="*/ 77974 w 277040"/>
                  <a:gd name="connsiteY4" fmla="*/ 93368 h 106138"/>
                  <a:gd name="connsiteX5" fmla="*/ 167330 w 277040"/>
                  <a:gd name="connsiteY5" fmla="*/ 104242 h 106138"/>
                  <a:gd name="connsiteX6" fmla="*/ 276661 w 277040"/>
                  <a:gd name="connsiteY6" fmla="*/ 38942 h 106138"/>
                  <a:gd name="connsiteX0" fmla="*/ 200660 w 201039"/>
                  <a:gd name="connsiteY0" fmla="*/ 38942 h 107259"/>
                  <a:gd name="connsiteX1" fmla="*/ 121525 w 201039"/>
                  <a:gd name="connsiteY1" fmla="*/ 5528 h 107259"/>
                  <a:gd name="connsiteX2" fmla="*/ 36899 w 201039"/>
                  <a:gd name="connsiteY2" fmla="*/ 18155 h 107259"/>
                  <a:gd name="connsiteX3" fmla="*/ 1973 w 201039"/>
                  <a:gd name="connsiteY3" fmla="*/ 93368 h 107259"/>
                  <a:gd name="connsiteX4" fmla="*/ 91329 w 201039"/>
                  <a:gd name="connsiteY4" fmla="*/ 104242 h 107259"/>
                  <a:gd name="connsiteX5" fmla="*/ 200660 w 201039"/>
                  <a:gd name="connsiteY5" fmla="*/ 38942 h 107259"/>
                  <a:gd name="connsiteX0" fmla="*/ 223149 w 223528"/>
                  <a:gd name="connsiteY0" fmla="*/ 38942 h 116661"/>
                  <a:gd name="connsiteX1" fmla="*/ 144014 w 223528"/>
                  <a:gd name="connsiteY1" fmla="*/ 5528 h 116661"/>
                  <a:gd name="connsiteX2" fmla="*/ 59388 w 223528"/>
                  <a:gd name="connsiteY2" fmla="*/ 18155 h 116661"/>
                  <a:gd name="connsiteX3" fmla="*/ 1141 w 223528"/>
                  <a:gd name="connsiteY3" fmla="*/ 110571 h 116661"/>
                  <a:gd name="connsiteX4" fmla="*/ 113818 w 223528"/>
                  <a:gd name="connsiteY4" fmla="*/ 104242 h 116661"/>
                  <a:gd name="connsiteX5" fmla="*/ 223149 w 223528"/>
                  <a:gd name="connsiteY5" fmla="*/ 38942 h 116661"/>
                  <a:gd name="connsiteX0" fmla="*/ 222489 w 222868"/>
                  <a:gd name="connsiteY0" fmla="*/ 38942 h 130877"/>
                  <a:gd name="connsiteX1" fmla="*/ 143354 w 222868"/>
                  <a:gd name="connsiteY1" fmla="*/ 5528 h 130877"/>
                  <a:gd name="connsiteX2" fmla="*/ 58728 w 222868"/>
                  <a:gd name="connsiteY2" fmla="*/ 18155 h 130877"/>
                  <a:gd name="connsiteX3" fmla="*/ 481 w 222868"/>
                  <a:gd name="connsiteY3" fmla="*/ 110571 h 130877"/>
                  <a:gd name="connsiteX4" fmla="*/ 91990 w 222868"/>
                  <a:gd name="connsiteY4" fmla="*/ 130670 h 130877"/>
                  <a:gd name="connsiteX5" fmla="*/ 113158 w 222868"/>
                  <a:gd name="connsiteY5" fmla="*/ 104242 h 130877"/>
                  <a:gd name="connsiteX6" fmla="*/ 222489 w 222868"/>
                  <a:gd name="connsiteY6" fmla="*/ 38942 h 130877"/>
                  <a:gd name="connsiteX0" fmla="*/ 222256 w 222635"/>
                  <a:gd name="connsiteY0" fmla="*/ 39140 h 130934"/>
                  <a:gd name="connsiteX1" fmla="*/ 143121 w 222635"/>
                  <a:gd name="connsiteY1" fmla="*/ 5726 h 130934"/>
                  <a:gd name="connsiteX2" fmla="*/ 58495 w 222635"/>
                  <a:gd name="connsiteY2" fmla="*/ 18353 h 130934"/>
                  <a:gd name="connsiteX3" fmla="*/ 64522 w 222635"/>
                  <a:gd name="connsiteY3" fmla="*/ 73965 h 130934"/>
                  <a:gd name="connsiteX4" fmla="*/ 248 w 222635"/>
                  <a:gd name="connsiteY4" fmla="*/ 110769 h 130934"/>
                  <a:gd name="connsiteX5" fmla="*/ 91757 w 222635"/>
                  <a:gd name="connsiteY5" fmla="*/ 130868 h 130934"/>
                  <a:gd name="connsiteX6" fmla="*/ 112925 w 222635"/>
                  <a:gd name="connsiteY6" fmla="*/ 104440 h 130934"/>
                  <a:gd name="connsiteX7" fmla="*/ 222256 w 222635"/>
                  <a:gd name="connsiteY7" fmla="*/ 39140 h 130934"/>
                  <a:gd name="connsiteX0" fmla="*/ 222254 w 222633"/>
                  <a:gd name="connsiteY0" fmla="*/ 38748 h 130542"/>
                  <a:gd name="connsiteX1" fmla="*/ 143119 w 222633"/>
                  <a:gd name="connsiteY1" fmla="*/ 5334 h 130542"/>
                  <a:gd name="connsiteX2" fmla="*/ 58493 w 222633"/>
                  <a:gd name="connsiteY2" fmla="*/ 17961 h 130542"/>
                  <a:gd name="connsiteX3" fmla="*/ 98206 w 222633"/>
                  <a:gd name="connsiteY3" fmla="*/ 48725 h 130542"/>
                  <a:gd name="connsiteX4" fmla="*/ 64520 w 222633"/>
                  <a:gd name="connsiteY4" fmla="*/ 73573 h 130542"/>
                  <a:gd name="connsiteX5" fmla="*/ 246 w 222633"/>
                  <a:gd name="connsiteY5" fmla="*/ 110377 h 130542"/>
                  <a:gd name="connsiteX6" fmla="*/ 91755 w 222633"/>
                  <a:gd name="connsiteY6" fmla="*/ 130476 h 130542"/>
                  <a:gd name="connsiteX7" fmla="*/ 112923 w 222633"/>
                  <a:gd name="connsiteY7" fmla="*/ 104048 h 130542"/>
                  <a:gd name="connsiteX8" fmla="*/ 222254 w 222633"/>
                  <a:gd name="connsiteY8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12923 w 222376"/>
                  <a:gd name="connsiteY7" fmla="*/ 104048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59574 w 222376"/>
                  <a:gd name="connsiteY7" fmla="*/ 100432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70 w 222392"/>
                  <a:gd name="connsiteY0" fmla="*/ 38748 h 113405"/>
                  <a:gd name="connsiteX1" fmla="*/ 143135 w 222392"/>
                  <a:gd name="connsiteY1" fmla="*/ 5334 h 113405"/>
                  <a:gd name="connsiteX2" fmla="*/ 58509 w 222392"/>
                  <a:gd name="connsiteY2" fmla="*/ 17961 h 113405"/>
                  <a:gd name="connsiteX3" fmla="*/ 98222 w 222392"/>
                  <a:gd name="connsiteY3" fmla="*/ 48725 h 113405"/>
                  <a:gd name="connsiteX4" fmla="*/ 64536 w 222392"/>
                  <a:gd name="connsiteY4" fmla="*/ 73573 h 113405"/>
                  <a:gd name="connsiteX5" fmla="*/ 262 w 222392"/>
                  <a:gd name="connsiteY5" fmla="*/ 110377 h 113405"/>
                  <a:gd name="connsiteX6" fmla="*/ 92736 w 222392"/>
                  <a:gd name="connsiteY6" fmla="*/ 110516 h 113405"/>
                  <a:gd name="connsiteX7" fmla="*/ 159590 w 222392"/>
                  <a:gd name="connsiteY7" fmla="*/ 100432 h 113405"/>
                  <a:gd name="connsiteX8" fmla="*/ 160107 w 222392"/>
                  <a:gd name="connsiteY8" fmla="*/ 60819 h 113405"/>
                  <a:gd name="connsiteX9" fmla="*/ 222270 w 222392"/>
                  <a:gd name="connsiteY9" fmla="*/ 38748 h 113405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59615 w 222417"/>
                  <a:gd name="connsiteY7" fmla="*/ 100432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41793 w 222417"/>
                  <a:gd name="connsiteY7" fmla="*/ 86633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41519 w 222143"/>
                  <a:gd name="connsiteY7" fmla="*/ 86633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69705 w 222143"/>
                  <a:gd name="connsiteY7" fmla="*/ 92786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844"/>
                  <a:gd name="connsiteY0" fmla="*/ 38748 h 125046"/>
                  <a:gd name="connsiteX1" fmla="*/ 142886 w 222844"/>
                  <a:gd name="connsiteY1" fmla="*/ 5334 h 125046"/>
                  <a:gd name="connsiteX2" fmla="*/ 58260 w 222844"/>
                  <a:gd name="connsiteY2" fmla="*/ 17961 h 125046"/>
                  <a:gd name="connsiteX3" fmla="*/ 97973 w 222844"/>
                  <a:gd name="connsiteY3" fmla="*/ 48725 h 125046"/>
                  <a:gd name="connsiteX4" fmla="*/ 86967 w 222844"/>
                  <a:gd name="connsiteY4" fmla="*/ 79940 h 125046"/>
                  <a:gd name="connsiteX5" fmla="*/ 13 w 222844"/>
                  <a:gd name="connsiteY5" fmla="*/ 110377 h 125046"/>
                  <a:gd name="connsiteX6" fmla="*/ 93789 w 222844"/>
                  <a:gd name="connsiteY6" fmla="*/ 124954 h 125046"/>
                  <a:gd name="connsiteX7" fmla="*/ 169705 w 222844"/>
                  <a:gd name="connsiteY7" fmla="*/ 92786 h 125046"/>
                  <a:gd name="connsiteX8" fmla="*/ 179946 w 222844"/>
                  <a:gd name="connsiteY8" fmla="*/ 69097 h 125046"/>
                  <a:gd name="connsiteX9" fmla="*/ 222021 w 222844"/>
                  <a:gd name="connsiteY9" fmla="*/ 38748 h 125046"/>
                  <a:gd name="connsiteX0" fmla="*/ 279570 w 280393"/>
                  <a:gd name="connsiteY0" fmla="*/ 38748 h 125046"/>
                  <a:gd name="connsiteX1" fmla="*/ 200435 w 280393"/>
                  <a:gd name="connsiteY1" fmla="*/ 5334 h 125046"/>
                  <a:gd name="connsiteX2" fmla="*/ 115809 w 280393"/>
                  <a:gd name="connsiteY2" fmla="*/ 17961 h 125046"/>
                  <a:gd name="connsiteX3" fmla="*/ 8 w 280393"/>
                  <a:gd name="connsiteY3" fmla="*/ 40255 h 125046"/>
                  <a:gd name="connsiteX4" fmla="*/ 144516 w 280393"/>
                  <a:gd name="connsiteY4" fmla="*/ 79940 h 125046"/>
                  <a:gd name="connsiteX5" fmla="*/ 57562 w 280393"/>
                  <a:gd name="connsiteY5" fmla="*/ 110377 h 125046"/>
                  <a:gd name="connsiteX6" fmla="*/ 151338 w 280393"/>
                  <a:gd name="connsiteY6" fmla="*/ 124954 h 125046"/>
                  <a:gd name="connsiteX7" fmla="*/ 227254 w 280393"/>
                  <a:gd name="connsiteY7" fmla="*/ 92786 h 125046"/>
                  <a:gd name="connsiteX8" fmla="*/ 237495 w 280393"/>
                  <a:gd name="connsiteY8" fmla="*/ 69097 h 125046"/>
                  <a:gd name="connsiteX9" fmla="*/ 279570 w 280393"/>
                  <a:gd name="connsiteY9" fmla="*/ 38748 h 125046"/>
                  <a:gd name="connsiteX0" fmla="*/ 334029 w 334852"/>
                  <a:gd name="connsiteY0" fmla="*/ 38748 h 125035"/>
                  <a:gd name="connsiteX1" fmla="*/ 254894 w 334852"/>
                  <a:gd name="connsiteY1" fmla="*/ 5334 h 125035"/>
                  <a:gd name="connsiteX2" fmla="*/ 170268 w 334852"/>
                  <a:gd name="connsiteY2" fmla="*/ 17961 h 125035"/>
                  <a:gd name="connsiteX3" fmla="*/ 54467 w 334852"/>
                  <a:gd name="connsiteY3" fmla="*/ 40255 h 125035"/>
                  <a:gd name="connsiteX4" fmla="*/ 703 w 334852"/>
                  <a:gd name="connsiteY4" fmla="*/ 87614 h 125035"/>
                  <a:gd name="connsiteX5" fmla="*/ 112021 w 334852"/>
                  <a:gd name="connsiteY5" fmla="*/ 110377 h 125035"/>
                  <a:gd name="connsiteX6" fmla="*/ 205797 w 334852"/>
                  <a:gd name="connsiteY6" fmla="*/ 124954 h 125035"/>
                  <a:gd name="connsiteX7" fmla="*/ 281713 w 334852"/>
                  <a:gd name="connsiteY7" fmla="*/ 92786 h 125035"/>
                  <a:gd name="connsiteX8" fmla="*/ 291954 w 334852"/>
                  <a:gd name="connsiteY8" fmla="*/ 69097 h 125035"/>
                  <a:gd name="connsiteX9" fmla="*/ 334029 w 334852"/>
                  <a:gd name="connsiteY9" fmla="*/ 38748 h 125035"/>
                  <a:gd name="connsiteX0" fmla="*/ 333998 w 334821"/>
                  <a:gd name="connsiteY0" fmla="*/ 38748 h 161553"/>
                  <a:gd name="connsiteX1" fmla="*/ 254863 w 334821"/>
                  <a:gd name="connsiteY1" fmla="*/ 5334 h 161553"/>
                  <a:gd name="connsiteX2" fmla="*/ 170237 w 334821"/>
                  <a:gd name="connsiteY2" fmla="*/ 17961 h 161553"/>
                  <a:gd name="connsiteX3" fmla="*/ 54436 w 334821"/>
                  <a:gd name="connsiteY3" fmla="*/ 40255 h 161553"/>
                  <a:gd name="connsiteX4" fmla="*/ 672 w 334821"/>
                  <a:gd name="connsiteY4" fmla="*/ 87614 h 161553"/>
                  <a:gd name="connsiteX5" fmla="*/ 116543 w 334821"/>
                  <a:gd name="connsiteY5" fmla="*/ 160913 h 161553"/>
                  <a:gd name="connsiteX6" fmla="*/ 205766 w 334821"/>
                  <a:gd name="connsiteY6" fmla="*/ 124954 h 161553"/>
                  <a:gd name="connsiteX7" fmla="*/ 281682 w 334821"/>
                  <a:gd name="connsiteY7" fmla="*/ 92786 h 161553"/>
                  <a:gd name="connsiteX8" fmla="*/ 291923 w 334821"/>
                  <a:gd name="connsiteY8" fmla="*/ 69097 h 161553"/>
                  <a:gd name="connsiteX9" fmla="*/ 333998 w 334821"/>
                  <a:gd name="connsiteY9" fmla="*/ 38748 h 161553"/>
                  <a:gd name="connsiteX0" fmla="*/ 333998 w 348414"/>
                  <a:gd name="connsiteY0" fmla="*/ 38748 h 161553"/>
                  <a:gd name="connsiteX1" fmla="*/ 254863 w 348414"/>
                  <a:gd name="connsiteY1" fmla="*/ 5334 h 161553"/>
                  <a:gd name="connsiteX2" fmla="*/ 170237 w 348414"/>
                  <a:gd name="connsiteY2" fmla="*/ 17961 h 161553"/>
                  <a:gd name="connsiteX3" fmla="*/ 54436 w 348414"/>
                  <a:gd name="connsiteY3" fmla="*/ 40255 h 161553"/>
                  <a:gd name="connsiteX4" fmla="*/ 672 w 348414"/>
                  <a:gd name="connsiteY4" fmla="*/ 87614 h 161553"/>
                  <a:gd name="connsiteX5" fmla="*/ 116543 w 348414"/>
                  <a:gd name="connsiteY5" fmla="*/ 160913 h 161553"/>
                  <a:gd name="connsiteX6" fmla="*/ 205766 w 348414"/>
                  <a:gd name="connsiteY6" fmla="*/ 124954 h 161553"/>
                  <a:gd name="connsiteX7" fmla="*/ 281682 w 348414"/>
                  <a:gd name="connsiteY7" fmla="*/ 92786 h 161553"/>
                  <a:gd name="connsiteX8" fmla="*/ 337936 w 348414"/>
                  <a:gd name="connsiteY8" fmla="*/ 89051 h 161553"/>
                  <a:gd name="connsiteX9" fmla="*/ 333998 w 348414"/>
                  <a:gd name="connsiteY9" fmla="*/ 38748 h 161553"/>
                  <a:gd name="connsiteX0" fmla="*/ 414315 w 416071"/>
                  <a:gd name="connsiteY0" fmla="*/ 1542 h 214388"/>
                  <a:gd name="connsiteX1" fmla="*/ 254863 w 416071"/>
                  <a:gd name="connsiteY1" fmla="*/ 58169 h 214388"/>
                  <a:gd name="connsiteX2" fmla="*/ 170237 w 416071"/>
                  <a:gd name="connsiteY2" fmla="*/ 70796 h 214388"/>
                  <a:gd name="connsiteX3" fmla="*/ 54436 w 416071"/>
                  <a:gd name="connsiteY3" fmla="*/ 93090 h 214388"/>
                  <a:gd name="connsiteX4" fmla="*/ 672 w 416071"/>
                  <a:gd name="connsiteY4" fmla="*/ 140449 h 214388"/>
                  <a:gd name="connsiteX5" fmla="*/ 116543 w 416071"/>
                  <a:gd name="connsiteY5" fmla="*/ 213748 h 214388"/>
                  <a:gd name="connsiteX6" fmla="*/ 205766 w 416071"/>
                  <a:gd name="connsiteY6" fmla="*/ 177789 h 214388"/>
                  <a:gd name="connsiteX7" fmla="*/ 281682 w 416071"/>
                  <a:gd name="connsiteY7" fmla="*/ 145621 h 214388"/>
                  <a:gd name="connsiteX8" fmla="*/ 337936 w 416071"/>
                  <a:gd name="connsiteY8" fmla="*/ 141886 h 214388"/>
                  <a:gd name="connsiteX9" fmla="*/ 414315 w 416071"/>
                  <a:gd name="connsiteY9" fmla="*/ 1542 h 214388"/>
                  <a:gd name="connsiteX0" fmla="*/ 414315 w 471279"/>
                  <a:gd name="connsiteY0" fmla="*/ 406 h 213252"/>
                  <a:gd name="connsiteX1" fmla="*/ 254863 w 471279"/>
                  <a:gd name="connsiteY1" fmla="*/ 57033 h 213252"/>
                  <a:gd name="connsiteX2" fmla="*/ 170237 w 471279"/>
                  <a:gd name="connsiteY2" fmla="*/ 69660 h 213252"/>
                  <a:gd name="connsiteX3" fmla="*/ 54436 w 471279"/>
                  <a:gd name="connsiteY3" fmla="*/ 91954 h 213252"/>
                  <a:gd name="connsiteX4" fmla="*/ 672 w 471279"/>
                  <a:gd name="connsiteY4" fmla="*/ 139313 h 213252"/>
                  <a:gd name="connsiteX5" fmla="*/ 116543 w 471279"/>
                  <a:gd name="connsiteY5" fmla="*/ 212612 h 213252"/>
                  <a:gd name="connsiteX6" fmla="*/ 205766 w 471279"/>
                  <a:gd name="connsiteY6" fmla="*/ 176653 h 213252"/>
                  <a:gd name="connsiteX7" fmla="*/ 281682 w 471279"/>
                  <a:gd name="connsiteY7" fmla="*/ 144485 h 213252"/>
                  <a:gd name="connsiteX8" fmla="*/ 337936 w 471279"/>
                  <a:gd name="connsiteY8" fmla="*/ 140750 h 213252"/>
                  <a:gd name="connsiteX9" fmla="*/ 468379 w 471279"/>
                  <a:gd name="connsiteY9" fmla="*/ 97130 h 213252"/>
                  <a:gd name="connsiteX10" fmla="*/ 414315 w 471279"/>
                  <a:gd name="connsiteY10" fmla="*/ 406 h 213252"/>
                  <a:gd name="connsiteX0" fmla="*/ 414315 w 483666"/>
                  <a:gd name="connsiteY0" fmla="*/ 885 h 213731"/>
                  <a:gd name="connsiteX1" fmla="*/ 254863 w 483666"/>
                  <a:gd name="connsiteY1" fmla="*/ 57512 h 213731"/>
                  <a:gd name="connsiteX2" fmla="*/ 170237 w 483666"/>
                  <a:gd name="connsiteY2" fmla="*/ 70139 h 213731"/>
                  <a:gd name="connsiteX3" fmla="*/ 54436 w 483666"/>
                  <a:gd name="connsiteY3" fmla="*/ 92433 h 213731"/>
                  <a:gd name="connsiteX4" fmla="*/ 672 w 483666"/>
                  <a:gd name="connsiteY4" fmla="*/ 139792 h 213731"/>
                  <a:gd name="connsiteX5" fmla="*/ 116543 w 483666"/>
                  <a:gd name="connsiteY5" fmla="*/ 213091 h 213731"/>
                  <a:gd name="connsiteX6" fmla="*/ 205766 w 483666"/>
                  <a:gd name="connsiteY6" fmla="*/ 177132 h 213731"/>
                  <a:gd name="connsiteX7" fmla="*/ 281682 w 483666"/>
                  <a:gd name="connsiteY7" fmla="*/ 144964 h 213731"/>
                  <a:gd name="connsiteX8" fmla="*/ 337936 w 483666"/>
                  <a:gd name="connsiteY8" fmla="*/ 141229 h 213731"/>
                  <a:gd name="connsiteX9" fmla="*/ 481345 w 483666"/>
                  <a:gd name="connsiteY9" fmla="*/ 118840 h 213731"/>
                  <a:gd name="connsiteX10" fmla="*/ 414315 w 483666"/>
                  <a:gd name="connsiteY10" fmla="*/ 885 h 213731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70237 w 483827"/>
                  <a:gd name="connsiteY2" fmla="*/ 76360 h 219952"/>
                  <a:gd name="connsiteX3" fmla="*/ 54436 w 483827"/>
                  <a:gd name="connsiteY3" fmla="*/ 98654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39771 w 483827"/>
                  <a:gd name="connsiteY2" fmla="*/ 44939 h 219952"/>
                  <a:gd name="connsiteX3" fmla="*/ 54436 w 483827"/>
                  <a:gd name="connsiteY3" fmla="*/ 98654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39771 w 483827"/>
                  <a:gd name="connsiteY2" fmla="*/ 44939 h 219952"/>
                  <a:gd name="connsiteX3" fmla="*/ 79069 w 483827"/>
                  <a:gd name="connsiteY3" fmla="*/ 126679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47193 w 516705"/>
                  <a:gd name="connsiteY0" fmla="*/ 7106 h 221017"/>
                  <a:gd name="connsiteX1" fmla="*/ 265691 w 516705"/>
                  <a:gd name="connsiteY1" fmla="*/ 3009 h 221017"/>
                  <a:gd name="connsiteX2" fmla="*/ 172649 w 516705"/>
                  <a:gd name="connsiteY2" fmla="*/ 44939 h 221017"/>
                  <a:gd name="connsiteX3" fmla="*/ 111947 w 516705"/>
                  <a:gd name="connsiteY3" fmla="*/ 126679 h 221017"/>
                  <a:gd name="connsiteX4" fmla="*/ 525 w 516705"/>
                  <a:gd name="connsiteY4" fmla="*/ 208869 h 221017"/>
                  <a:gd name="connsiteX5" fmla="*/ 149421 w 516705"/>
                  <a:gd name="connsiteY5" fmla="*/ 219312 h 221017"/>
                  <a:gd name="connsiteX6" fmla="*/ 238644 w 516705"/>
                  <a:gd name="connsiteY6" fmla="*/ 183353 h 221017"/>
                  <a:gd name="connsiteX7" fmla="*/ 314560 w 516705"/>
                  <a:gd name="connsiteY7" fmla="*/ 151185 h 221017"/>
                  <a:gd name="connsiteX8" fmla="*/ 370814 w 516705"/>
                  <a:gd name="connsiteY8" fmla="*/ 147450 h 221017"/>
                  <a:gd name="connsiteX9" fmla="*/ 514223 w 516705"/>
                  <a:gd name="connsiteY9" fmla="*/ 125061 h 221017"/>
                  <a:gd name="connsiteX10" fmla="*/ 447193 w 516705"/>
                  <a:gd name="connsiteY10" fmla="*/ 7106 h 221017"/>
                  <a:gd name="connsiteX0" fmla="*/ 447383 w 516895"/>
                  <a:gd name="connsiteY0" fmla="*/ 7106 h 275165"/>
                  <a:gd name="connsiteX1" fmla="*/ 265881 w 516895"/>
                  <a:gd name="connsiteY1" fmla="*/ 3009 h 275165"/>
                  <a:gd name="connsiteX2" fmla="*/ 172839 w 516895"/>
                  <a:gd name="connsiteY2" fmla="*/ 44939 h 275165"/>
                  <a:gd name="connsiteX3" fmla="*/ 112137 w 516895"/>
                  <a:gd name="connsiteY3" fmla="*/ 126679 h 275165"/>
                  <a:gd name="connsiteX4" fmla="*/ 715 w 516895"/>
                  <a:gd name="connsiteY4" fmla="*/ 208869 h 275165"/>
                  <a:gd name="connsiteX5" fmla="*/ 115937 w 516895"/>
                  <a:gd name="connsiteY5" fmla="*/ 274948 h 275165"/>
                  <a:gd name="connsiteX6" fmla="*/ 238834 w 516895"/>
                  <a:gd name="connsiteY6" fmla="*/ 183353 h 275165"/>
                  <a:gd name="connsiteX7" fmla="*/ 314750 w 516895"/>
                  <a:gd name="connsiteY7" fmla="*/ 151185 h 275165"/>
                  <a:gd name="connsiteX8" fmla="*/ 371004 w 516895"/>
                  <a:gd name="connsiteY8" fmla="*/ 147450 h 275165"/>
                  <a:gd name="connsiteX9" fmla="*/ 514413 w 516895"/>
                  <a:gd name="connsiteY9" fmla="*/ 125061 h 275165"/>
                  <a:gd name="connsiteX10" fmla="*/ 447383 w 516895"/>
                  <a:gd name="connsiteY10" fmla="*/ 7106 h 275165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71309 w 517200"/>
                  <a:gd name="connsiteY8" fmla="*/ 14745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71309 w 517200"/>
                  <a:gd name="connsiteY8" fmla="*/ 14745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38892 w 517200"/>
                  <a:gd name="connsiteY8" fmla="*/ 9437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55234 w 517200"/>
                  <a:gd name="connsiteY7" fmla="*/ 167742 h 275176"/>
                  <a:gd name="connsiteX8" fmla="*/ 338892 w 517200"/>
                  <a:gd name="connsiteY8" fmla="*/ 9437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447 w 516959"/>
                  <a:gd name="connsiteY0" fmla="*/ 7106 h 274959"/>
                  <a:gd name="connsiteX1" fmla="*/ 265945 w 516959"/>
                  <a:gd name="connsiteY1" fmla="*/ 3009 h 274959"/>
                  <a:gd name="connsiteX2" fmla="*/ 172903 w 516959"/>
                  <a:gd name="connsiteY2" fmla="*/ 44939 h 274959"/>
                  <a:gd name="connsiteX3" fmla="*/ 112201 w 516959"/>
                  <a:gd name="connsiteY3" fmla="*/ 126679 h 274959"/>
                  <a:gd name="connsiteX4" fmla="*/ 779 w 516959"/>
                  <a:gd name="connsiteY4" fmla="*/ 208869 h 274959"/>
                  <a:gd name="connsiteX5" fmla="*/ 116001 w 516959"/>
                  <a:gd name="connsiteY5" fmla="*/ 274948 h 274959"/>
                  <a:gd name="connsiteX6" fmla="*/ 284911 w 516959"/>
                  <a:gd name="connsiteY6" fmla="*/ 203306 h 274959"/>
                  <a:gd name="connsiteX7" fmla="*/ 354993 w 516959"/>
                  <a:gd name="connsiteY7" fmla="*/ 167742 h 274959"/>
                  <a:gd name="connsiteX8" fmla="*/ 338651 w 516959"/>
                  <a:gd name="connsiteY8" fmla="*/ 94370 h 274959"/>
                  <a:gd name="connsiteX9" fmla="*/ 514477 w 516959"/>
                  <a:gd name="connsiteY9" fmla="*/ 125061 h 274959"/>
                  <a:gd name="connsiteX10" fmla="*/ 447447 w 516959"/>
                  <a:gd name="connsiteY10" fmla="*/ 7106 h 274959"/>
                  <a:gd name="connsiteX0" fmla="*/ 447447 w 516959"/>
                  <a:gd name="connsiteY0" fmla="*/ 7106 h 274959"/>
                  <a:gd name="connsiteX1" fmla="*/ 265945 w 516959"/>
                  <a:gd name="connsiteY1" fmla="*/ 3009 h 274959"/>
                  <a:gd name="connsiteX2" fmla="*/ 172903 w 516959"/>
                  <a:gd name="connsiteY2" fmla="*/ 44939 h 274959"/>
                  <a:gd name="connsiteX3" fmla="*/ 112201 w 516959"/>
                  <a:gd name="connsiteY3" fmla="*/ 126679 h 274959"/>
                  <a:gd name="connsiteX4" fmla="*/ 779 w 516959"/>
                  <a:gd name="connsiteY4" fmla="*/ 208869 h 274959"/>
                  <a:gd name="connsiteX5" fmla="*/ 116001 w 516959"/>
                  <a:gd name="connsiteY5" fmla="*/ 274948 h 274959"/>
                  <a:gd name="connsiteX6" fmla="*/ 284911 w 516959"/>
                  <a:gd name="connsiteY6" fmla="*/ 203306 h 274959"/>
                  <a:gd name="connsiteX7" fmla="*/ 354993 w 516959"/>
                  <a:gd name="connsiteY7" fmla="*/ 167742 h 274959"/>
                  <a:gd name="connsiteX8" fmla="*/ 385312 w 516959"/>
                  <a:gd name="connsiteY8" fmla="*/ 121542 h 274959"/>
                  <a:gd name="connsiteX9" fmla="*/ 514477 w 516959"/>
                  <a:gd name="connsiteY9" fmla="*/ 125061 h 274959"/>
                  <a:gd name="connsiteX10" fmla="*/ 447447 w 516959"/>
                  <a:gd name="connsiteY10" fmla="*/ 7106 h 274959"/>
                  <a:gd name="connsiteX0" fmla="*/ 447375 w 516887"/>
                  <a:gd name="connsiteY0" fmla="*/ 7106 h 275528"/>
                  <a:gd name="connsiteX1" fmla="*/ 265873 w 516887"/>
                  <a:gd name="connsiteY1" fmla="*/ 3009 h 275528"/>
                  <a:gd name="connsiteX2" fmla="*/ 172831 w 516887"/>
                  <a:gd name="connsiteY2" fmla="*/ 44939 h 275528"/>
                  <a:gd name="connsiteX3" fmla="*/ 112129 w 516887"/>
                  <a:gd name="connsiteY3" fmla="*/ 126679 h 275528"/>
                  <a:gd name="connsiteX4" fmla="*/ 707 w 516887"/>
                  <a:gd name="connsiteY4" fmla="*/ 208869 h 275528"/>
                  <a:gd name="connsiteX5" fmla="*/ 115929 w 516887"/>
                  <a:gd name="connsiteY5" fmla="*/ 274948 h 275528"/>
                  <a:gd name="connsiteX6" fmla="*/ 231693 w 516887"/>
                  <a:gd name="connsiteY6" fmla="*/ 165518 h 275528"/>
                  <a:gd name="connsiteX7" fmla="*/ 354921 w 516887"/>
                  <a:gd name="connsiteY7" fmla="*/ 167742 h 275528"/>
                  <a:gd name="connsiteX8" fmla="*/ 385240 w 516887"/>
                  <a:gd name="connsiteY8" fmla="*/ 121542 h 275528"/>
                  <a:gd name="connsiteX9" fmla="*/ 514405 w 516887"/>
                  <a:gd name="connsiteY9" fmla="*/ 125061 h 275528"/>
                  <a:gd name="connsiteX10" fmla="*/ 447375 w 516887"/>
                  <a:gd name="connsiteY10" fmla="*/ 7106 h 275528"/>
                  <a:gd name="connsiteX0" fmla="*/ 447205 w 516717"/>
                  <a:gd name="connsiteY0" fmla="*/ 7106 h 238862"/>
                  <a:gd name="connsiteX1" fmla="*/ 265703 w 516717"/>
                  <a:gd name="connsiteY1" fmla="*/ 3009 h 238862"/>
                  <a:gd name="connsiteX2" fmla="*/ 172661 w 516717"/>
                  <a:gd name="connsiteY2" fmla="*/ 44939 h 238862"/>
                  <a:gd name="connsiteX3" fmla="*/ 111959 w 516717"/>
                  <a:gd name="connsiteY3" fmla="*/ 126679 h 238862"/>
                  <a:gd name="connsiteX4" fmla="*/ 537 w 516717"/>
                  <a:gd name="connsiteY4" fmla="*/ 208869 h 238862"/>
                  <a:gd name="connsiteX5" fmla="*/ 145551 w 516717"/>
                  <a:gd name="connsiteY5" fmla="*/ 237574 h 238862"/>
                  <a:gd name="connsiteX6" fmla="*/ 231523 w 516717"/>
                  <a:gd name="connsiteY6" fmla="*/ 165518 h 238862"/>
                  <a:gd name="connsiteX7" fmla="*/ 354751 w 516717"/>
                  <a:gd name="connsiteY7" fmla="*/ 167742 h 238862"/>
                  <a:gd name="connsiteX8" fmla="*/ 385070 w 516717"/>
                  <a:gd name="connsiteY8" fmla="*/ 121542 h 238862"/>
                  <a:gd name="connsiteX9" fmla="*/ 514235 w 516717"/>
                  <a:gd name="connsiteY9" fmla="*/ 125061 h 238862"/>
                  <a:gd name="connsiteX10" fmla="*/ 447205 w 516717"/>
                  <a:gd name="connsiteY10" fmla="*/ 7106 h 238862"/>
                  <a:gd name="connsiteX0" fmla="*/ 393737 w 463249"/>
                  <a:gd name="connsiteY0" fmla="*/ 7106 h 237929"/>
                  <a:gd name="connsiteX1" fmla="*/ 212235 w 463249"/>
                  <a:gd name="connsiteY1" fmla="*/ 3009 h 237929"/>
                  <a:gd name="connsiteX2" fmla="*/ 119193 w 463249"/>
                  <a:gd name="connsiteY2" fmla="*/ 44939 h 237929"/>
                  <a:gd name="connsiteX3" fmla="*/ 58491 w 463249"/>
                  <a:gd name="connsiteY3" fmla="*/ 126679 h 237929"/>
                  <a:gd name="connsiteX4" fmla="*/ 843 w 463249"/>
                  <a:gd name="connsiteY4" fmla="*/ 192299 h 237929"/>
                  <a:gd name="connsiteX5" fmla="*/ 92083 w 463249"/>
                  <a:gd name="connsiteY5" fmla="*/ 237574 h 237929"/>
                  <a:gd name="connsiteX6" fmla="*/ 178055 w 463249"/>
                  <a:gd name="connsiteY6" fmla="*/ 165518 h 237929"/>
                  <a:gd name="connsiteX7" fmla="*/ 301283 w 463249"/>
                  <a:gd name="connsiteY7" fmla="*/ 167742 h 237929"/>
                  <a:gd name="connsiteX8" fmla="*/ 331602 w 463249"/>
                  <a:gd name="connsiteY8" fmla="*/ 121542 h 237929"/>
                  <a:gd name="connsiteX9" fmla="*/ 460767 w 463249"/>
                  <a:gd name="connsiteY9" fmla="*/ 125061 h 237929"/>
                  <a:gd name="connsiteX10" fmla="*/ 393737 w 463249"/>
                  <a:gd name="connsiteY10" fmla="*/ 7106 h 237929"/>
                  <a:gd name="connsiteX0" fmla="*/ 393737 w 463249"/>
                  <a:gd name="connsiteY0" fmla="*/ 7324 h 238147"/>
                  <a:gd name="connsiteX1" fmla="*/ 212235 w 463249"/>
                  <a:gd name="connsiteY1" fmla="*/ 3227 h 238147"/>
                  <a:gd name="connsiteX2" fmla="*/ 119193 w 463249"/>
                  <a:gd name="connsiteY2" fmla="*/ 45157 h 238147"/>
                  <a:gd name="connsiteX3" fmla="*/ 51884 w 463249"/>
                  <a:gd name="connsiteY3" fmla="*/ 65039 h 238147"/>
                  <a:gd name="connsiteX4" fmla="*/ 58491 w 463249"/>
                  <a:gd name="connsiteY4" fmla="*/ 126897 h 238147"/>
                  <a:gd name="connsiteX5" fmla="*/ 843 w 463249"/>
                  <a:gd name="connsiteY5" fmla="*/ 192517 h 238147"/>
                  <a:gd name="connsiteX6" fmla="*/ 92083 w 463249"/>
                  <a:gd name="connsiteY6" fmla="*/ 237792 h 238147"/>
                  <a:gd name="connsiteX7" fmla="*/ 178055 w 463249"/>
                  <a:gd name="connsiteY7" fmla="*/ 165736 h 238147"/>
                  <a:gd name="connsiteX8" fmla="*/ 301283 w 463249"/>
                  <a:gd name="connsiteY8" fmla="*/ 167960 h 238147"/>
                  <a:gd name="connsiteX9" fmla="*/ 331602 w 463249"/>
                  <a:gd name="connsiteY9" fmla="*/ 121760 h 238147"/>
                  <a:gd name="connsiteX10" fmla="*/ 460767 w 463249"/>
                  <a:gd name="connsiteY10" fmla="*/ 125279 h 238147"/>
                  <a:gd name="connsiteX11" fmla="*/ 393737 w 463249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302338 w 464304"/>
                  <a:gd name="connsiteY8" fmla="*/ 167960 h 238147"/>
                  <a:gd name="connsiteX9" fmla="*/ 332657 w 464304"/>
                  <a:gd name="connsiteY9" fmla="*/ 121760 h 238147"/>
                  <a:gd name="connsiteX10" fmla="*/ 461822 w 464304"/>
                  <a:gd name="connsiteY10" fmla="*/ 125279 h 238147"/>
                  <a:gd name="connsiteX11" fmla="*/ 394792 w 464304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234315 w 464304"/>
                  <a:gd name="connsiteY8" fmla="*/ 210436 h 238147"/>
                  <a:gd name="connsiteX9" fmla="*/ 332657 w 464304"/>
                  <a:gd name="connsiteY9" fmla="*/ 121760 h 238147"/>
                  <a:gd name="connsiteX10" fmla="*/ 461822 w 464304"/>
                  <a:gd name="connsiteY10" fmla="*/ 125279 h 238147"/>
                  <a:gd name="connsiteX11" fmla="*/ 394792 w 464304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195863 w 464304"/>
                  <a:gd name="connsiteY8" fmla="*/ 209831 h 238147"/>
                  <a:gd name="connsiteX9" fmla="*/ 234315 w 464304"/>
                  <a:gd name="connsiteY9" fmla="*/ 210436 h 238147"/>
                  <a:gd name="connsiteX10" fmla="*/ 332657 w 464304"/>
                  <a:gd name="connsiteY10" fmla="*/ 121760 h 238147"/>
                  <a:gd name="connsiteX11" fmla="*/ 461822 w 464304"/>
                  <a:gd name="connsiteY11" fmla="*/ 125279 h 238147"/>
                  <a:gd name="connsiteX12" fmla="*/ 394792 w 464304"/>
                  <a:gd name="connsiteY12" fmla="*/ 7324 h 238147"/>
                  <a:gd name="connsiteX0" fmla="*/ 394792 w 464304"/>
                  <a:gd name="connsiteY0" fmla="*/ 7324 h 237865"/>
                  <a:gd name="connsiteX1" fmla="*/ 213290 w 464304"/>
                  <a:gd name="connsiteY1" fmla="*/ 3227 h 237865"/>
                  <a:gd name="connsiteX2" fmla="*/ 120248 w 464304"/>
                  <a:gd name="connsiteY2" fmla="*/ 45157 h 237865"/>
                  <a:gd name="connsiteX3" fmla="*/ 52939 w 464304"/>
                  <a:gd name="connsiteY3" fmla="*/ 65039 h 237865"/>
                  <a:gd name="connsiteX4" fmla="*/ 8353 w 464304"/>
                  <a:gd name="connsiteY4" fmla="*/ 110767 h 237865"/>
                  <a:gd name="connsiteX5" fmla="*/ 1898 w 464304"/>
                  <a:gd name="connsiteY5" fmla="*/ 192517 h 237865"/>
                  <a:gd name="connsiteX6" fmla="*/ 93138 w 464304"/>
                  <a:gd name="connsiteY6" fmla="*/ 237792 h 237865"/>
                  <a:gd name="connsiteX7" fmla="*/ 159250 w 464304"/>
                  <a:gd name="connsiteY7" fmla="*/ 202191 h 237865"/>
                  <a:gd name="connsiteX8" fmla="*/ 179110 w 464304"/>
                  <a:gd name="connsiteY8" fmla="*/ 165736 h 237865"/>
                  <a:gd name="connsiteX9" fmla="*/ 195863 w 464304"/>
                  <a:gd name="connsiteY9" fmla="*/ 209831 h 237865"/>
                  <a:gd name="connsiteX10" fmla="*/ 234315 w 464304"/>
                  <a:gd name="connsiteY10" fmla="*/ 210436 h 237865"/>
                  <a:gd name="connsiteX11" fmla="*/ 332657 w 464304"/>
                  <a:gd name="connsiteY11" fmla="*/ 121760 h 237865"/>
                  <a:gd name="connsiteX12" fmla="*/ 461822 w 464304"/>
                  <a:gd name="connsiteY12" fmla="*/ 125279 h 237865"/>
                  <a:gd name="connsiteX13" fmla="*/ 394792 w 464304"/>
                  <a:gd name="connsiteY13" fmla="*/ 7324 h 237865"/>
                  <a:gd name="connsiteX0" fmla="*/ 394792 w 464304"/>
                  <a:gd name="connsiteY0" fmla="*/ 7324 h 237849"/>
                  <a:gd name="connsiteX1" fmla="*/ 213290 w 464304"/>
                  <a:gd name="connsiteY1" fmla="*/ 3227 h 237849"/>
                  <a:gd name="connsiteX2" fmla="*/ 120248 w 464304"/>
                  <a:gd name="connsiteY2" fmla="*/ 45157 h 237849"/>
                  <a:gd name="connsiteX3" fmla="*/ 52939 w 464304"/>
                  <a:gd name="connsiteY3" fmla="*/ 65039 h 237849"/>
                  <a:gd name="connsiteX4" fmla="*/ 8353 w 464304"/>
                  <a:gd name="connsiteY4" fmla="*/ 110767 h 237849"/>
                  <a:gd name="connsiteX5" fmla="*/ 1898 w 464304"/>
                  <a:gd name="connsiteY5" fmla="*/ 192517 h 237849"/>
                  <a:gd name="connsiteX6" fmla="*/ 93138 w 464304"/>
                  <a:gd name="connsiteY6" fmla="*/ 237792 h 237849"/>
                  <a:gd name="connsiteX7" fmla="*/ 159250 w 464304"/>
                  <a:gd name="connsiteY7" fmla="*/ 202191 h 237849"/>
                  <a:gd name="connsiteX8" fmla="*/ 195863 w 464304"/>
                  <a:gd name="connsiteY8" fmla="*/ 209831 h 237849"/>
                  <a:gd name="connsiteX9" fmla="*/ 234315 w 464304"/>
                  <a:gd name="connsiteY9" fmla="*/ 210436 h 237849"/>
                  <a:gd name="connsiteX10" fmla="*/ 332657 w 464304"/>
                  <a:gd name="connsiteY10" fmla="*/ 121760 h 237849"/>
                  <a:gd name="connsiteX11" fmla="*/ 461822 w 464304"/>
                  <a:gd name="connsiteY11" fmla="*/ 125279 h 237849"/>
                  <a:gd name="connsiteX12" fmla="*/ 394792 w 464304"/>
                  <a:gd name="connsiteY12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95863 w 430914"/>
                  <a:gd name="connsiteY8" fmla="*/ 209831 h 237849"/>
                  <a:gd name="connsiteX9" fmla="*/ 234315 w 430914"/>
                  <a:gd name="connsiteY9" fmla="*/ 210436 h 237849"/>
                  <a:gd name="connsiteX10" fmla="*/ 332657 w 430914"/>
                  <a:gd name="connsiteY10" fmla="*/ 121760 h 237849"/>
                  <a:gd name="connsiteX11" fmla="*/ 425189 w 430914"/>
                  <a:gd name="connsiteY11" fmla="*/ 56064 h 237849"/>
                  <a:gd name="connsiteX12" fmla="*/ 394792 w 430914"/>
                  <a:gd name="connsiteY12" fmla="*/ 7324 h 237849"/>
                  <a:gd name="connsiteX0" fmla="*/ 394792 w 430912"/>
                  <a:gd name="connsiteY0" fmla="*/ 7324 h 237849"/>
                  <a:gd name="connsiteX1" fmla="*/ 213290 w 430912"/>
                  <a:gd name="connsiteY1" fmla="*/ 3227 h 237849"/>
                  <a:gd name="connsiteX2" fmla="*/ 120248 w 430912"/>
                  <a:gd name="connsiteY2" fmla="*/ 45157 h 237849"/>
                  <a:gd name="connsiteX3" fmla="*/ 52939 w 430912"/>
                  <a:gd name="connsiteY3" fmla="*/ 65039 h 237849"/>
                  <a:gd name="connsiteX4" fmla="*/ 8353 w 430912"/>
                  <a:gd name="connsiteY4" fmla="*/ 110767 h 237849"/>
                  <a:gd name="connsiteX5" fmla="*/ 1898 w 430912"/>
                  <a:gd name="connsiteY5" fmla="*/ 192517 h 237849"/>
                  <a:gd name="connsiteX6" fmla="*/ 93138 w 430912"/>
                  <a:gd name="connsiteY6" fmla="*/ 237792 h 237849"/>
                  <a:gd name="connsiteX7" fmla="*/ 159250 w 430912"/>
                  <a:gd name="connsiteY7" fmla="*/ 202191 h 237849"/>
                  <a:gd name="connsiteX8" fmla="*/ 195863 w 430912"/>
                  <a:gd name="connsiteY8" fmla="*/ 209831 h 237849"/>
                  <a:gd name="connsiteX9" fmla="*/ 234315 w 430912"/>
                  <a:gd name="connsiteY9" fmla="*/ 210436 h 237849"/>
                  <a:gd name="connsiteX10" fmla="*/ 304785 w 430912"/>
                  <a:gd name="connsiteY10" fmla="*/ 88427 h 237849"/>
                  <a:gd name="connsiteX11" fmla="*/ 425189 w 430912"/>
                  <a:gd name="connsiteY11" fmla="*/ 56064 h 237849"/>
                  <a:gd name="connsiteX12" fmla="*/ 394792 w 430912"/>
                  <a:gd name="connsiteY12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95863 w 430914"/>
                  <a:gd name="connsiteY8" fmla="*/ 209831 h 237849"/>
                  <a:gd name="connsiteX9" fmla="*/ 234315 w 430914"/>
                  <a:gd name="connsiteY9" fmla="*/ 210436 h 237849"/>
                  <a:gd name="connsiteX10" fmla="*/ 314427 w 430914"/>
                  <a:gd name="connsiteY10" fmla="*/ 176264 h 237849"/>
                  <a:gd name="connsiteX11" fmla="*/ 304785 w 430914"/>
                  <a:gd name="connsiteY11" fmla="*/ 88427 h 237849"/>
                  <a:gd name="connsiteX12" fmla="*/ 425189 w 430914"/>
                  <a:gd name="connsiteY12" fmla="*/ 56064 h 237849"/>
                  <a:gd name="connsiteX13" fmla="*/ 394792 w 430914"/>
                  <a:gd name="connsiteY13" fmla="*/ 7324 h 237849"/>
                  <a:gd name="connsiteX0" fmla="*/ 394792 w 430912"/>
                  <a:gd name="connsiteY0" fmla="*/ 7324 h 237849"/>
                  <a:gd name="connsiteX1" fmla="*/ 213290 w 430912"/>
                  <a:gd name="connsiteY1" fmla="*/ 3227 h 237849"/>
                  <a:gd name="connsiteX2" fmla="*/ 120248 w 430912"/>
                  <a:gd name="connsiteY2" fmla="*/ 45157 h 237849"/>
                  <a:gd name="connsiteX3" fmla="*/ 52939 w 430912"/>
                  <a:gd name="connsiteY3" fmla="*/ 65039 h 237849"/>
                  <a:gd name="connsiteX4" fmla="*/ 8353 w 430912"/>
                  <a:gd name="connsiteY4" fmla="*/ 110767 h 237849"/>
                  <a:gd name="connsiteX5" fmla="*/ 1898 w 430912"/>
                  <a:gd name="connsiteY5" fmla="*/ 192517 h 237849"/>
                  <a:gd name="connsiteX6" fmla="*/ 93138 w 430912"/>
                  <a:gd name="connsiteY6" fmla="*/ 237792 h 237849"/>
                  <a:gd name="connsiteX7" fmla="*/ 159250 w 430912"/>
                  <a:gd name="connsiteY7" fmla="*/ 202191 h 237849"/>
                  <a:gd name="connsiteX8" fmla="*/ 195863 w 430912"/>
                  <a:gd name="connsiteY8" fmla="*/ 209831 h 237849"/>
                  <a:gd name="connsiteX9" fmla="*/ 225881 w 430912"/>
                  <a:gd name="connsiteY9" fmla="*/ 178162 h 237849"/>
                  <a:gd name="connsiteX10" fmla="*/ 314427 w 430912"/>
                  <a:gd name="connsiteY10" fmla="*/ 176264 h 237849"/>
                  <a:gd name="connsiteX11" fmla="*/ 304785 w 430912"/>
                  <a:gd name="connsiteY11" fmla="*/ 88427 h 237849"/>
                  <a:gd name="connsiteX12" fmla="*/ 425189 w 430912"/>
                  <a:gd name="connsiteY12" fmla="*/ 56064 h 237849"/>
                  <a:gd name="connsiteX13" fmla="*/ 394792 w 430912"/>
                  <a:gd name="connsiteY13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79980 w 430914"/>
                  <a:gd name="connsiteY8" fmla="*/ 186901 h 237849"/>
                  <a:gd name="connsiteX9" fmla="*/ 225881 w 430914"/>
                  <a:gd name="connsiteY9" fmla="*/ 178162 h 237849"/>
                  <a:gd name="connsiteX10" fmla="*/ 314427 w 430914"/>
                  <a:gd name="connsiteY10" fmla="*/ 176264 h 237849"/>
                  <a:gd name="connsiteX11" fmla="*/ 304785 w 430914"/>
                  <a:gd name="connsiteY11" fmla="*/ 88427 h 237849"/>
                  <a:gd name="connsiteX12" fmla="*/ 425189 w 430914"/>
                  <a:gd name="connsiteY12" fmla="*/ 56064 h 237849"/>
                  <a:gd name="connsiteX13" fmla="*/ 394792 w 430914"/>
                  <a:gd name="connsiteY13" fmla="*/ 7324 h 237849"/>
                  <a:gd name="connsiteX0" fmla="*/ 394792 w 430912"/>
                  <a:gd name="connsiteY0" fmla="*/ 7661 h 238186"/>
                  <a:gd name="connsiteX1" fmla="*/ 213290 w 430912"/>
                  <a:gd name="connsiteY1" fmla="*/ 3564 h 238186"/>
                  <a:gd name="connsiteX2" fmla="*/ 121923 w 430912"/>
                  <a:gd name="connsiteY2" fmla="*/ 2939 h 238186"/>
                  <a:gd name="connsiteX3" fmla="*/ 120248 w 430912"/>
                  <a:gd name="connsiteY3" fmla="*/ 45494 h 238186"/>
                  <a:gd name="connsiteX4" fmla="*/ 52939 w 430912"/>
                  <a:gd name="connsiteY4" fmla="*/ 65376 h 238186"/>
                  <a:gd name="connsiteX5" fmla="*/ 8353 w 430912"/>
                  <a:gd name="connsiteY5" fmla="*/ 111104 h 238186"/>
                  <a:gd name="connsiteX6" fmla="*/ 1898 w 430912"/>
                  <a:gd name="connsiteY6" fmla="*/ 192854 h 238186"/>
                  <a:gd name="connsiteX7" fmla="*/ 93138 w 430912"/>
                  <a:gd name="connsiteY7" fmla="*/ 238129 h 238186"/>
                  <a:gd name="connsiteX8" fmla="*/ 159250 w 430912"/>
                  <a:gd name="connsiteY8" fmla="*/ 202528 h 238186"/>
                  <a:gd name="connsiteX9" fmla="*/ 179980 w 430912"/>
                  <a:gd name="connsiteY9" fmla="*/ 187238 h 238186"/>
                  <a:gd name="connsiteX10" fmla="*/ 225881 w 430912"/>
                  <a:gd name="connsiteY10" fmla="*/ 178499 h 238186"/>
                  <a:gd name="connsiteX11" fmla="*/ 314427 w 430912"/>
                  <a:gd name="connsiteY11" fmla="*/ 176601 h 238186"/>
                  <a:gd name="connsiteX12" fmla="*/ 304785 w 430912"/>
                  <a:gd name="connsiteY12" fmla="*/ 88764 h 238186"/>
                  <a:gd name="connsiteX13" fmla="*/ 425189 w 430912"/>
                  <a:gd name="connsiteY13" fmla="*/ 56401 h 238186"/>
                  <a:gd name="connsiteX14" fmla="*/ 394792 w 430912"/>
                  <a:gd name="connsiteY14" fmla="*/ 7661 h 238186"/>
                  <a:gd name="connsiteX0" fmla="*/ 394792 w 430914"/>
                  <a:gd name="connsiteY0" fmla="*/ 7661 h 238186"/>
                  <a:gd name="connsiteX1" fmla="*/ 213290 w 430914"/>
                  <a:gd name="connsiteY1" fmla="*/ 3564 h 238186"/>
                  <a:gd name="connsiteX2" fmla="*/ 121923 w 430914"/>
                  <a:gd name="connsiteY2" fmla="*/ 2939 h 238186"/>
                  <a:gd name="connsiteX3" fmla="*/ 120248 w 430914"/>
                  <a:gd name="connsiteY3" fmla="*/ 45494 h 238186"/>
                  <a:gd name="connsiteX4" fmla="*/ 91177 w 430914"/>
                  <a:gd name="connsiteY4" fmla="*/ 91063 h 238186"/>
                  <a:gd name="connsiteX5" fmla="*/ 8353 w 430914"/>
                  <a:gd name="connsiteY5" fmla="*/ 111104 h 238186"/>
                  <a:gd name="connsiteX6" fmla="*/ 1898 w 430914"/>
                  <a:gd name="connsiteY6" fmla="*/ 192854 h 238186"/>
                  <a:gd name="connsiteX7" fmla="*/ 93138 w 430914"/>
                  <a:gd name="connsiteY7" fmla="*/ 238129 h 238186"/>
                  <a:gd name="connsiteX8" fmla="*/ 159250 w 430914"/>
                  <a:gd name="connsiteY8" fmla="*/ 202528 h 238186"/>
                  <a:gd name="connsiteX9" fmla="*/ 179980 w 430914"/>
                  <a:gd name="connsiteY9" fmla="*/ 187238 h 238186"/>
                  <a:gd name="connsiteX10" fmla="*/ 225881 w 430914"/>
                  <a:gd name="connsiteY10" fmla="*/ 178499 h 238186"/>
                  <a:gd name="connsiteX11" fmla="*/ 314427 w 430914"/>
                  <a:gd name="connsiteY11" fmla="*/ 176601 h 238186"/>
                  <a:gd name="connsiteX12" fmla="*/ 304785 w 430914"/>
                  <a:gd name="connsiteY12" fmla="*/ 88764 h 238186"/>
                  <a:gd name="connsiteX13" fmla="*/ 425189 w 430914"/>
                  <a:gd name="connsiteY13" fmla="*/ 56401 h 238186"/>
                  <a:gd name="connsiteX14" fmla="*/ 394792 w 430914"/>
                  <a:gd name="connsiteY14" fmla="*/ 7661 h 238186"/>
                  <a:gd name="connsiteX0" fmla="*/ 393704 w 429825"/>
                  <a:gd name="connsiteY0" fmla="*/ 7661 h 238186"/>
                  <a:gd name="connsiteX1" fmla="*/ 212202 w 429825"/>
                  <a:gd name="connsiteY1" fmla="*/ 3564 h 238186"/>
                  <a:gd name="connsiteX2" fmla="*/ 120835 w 429825"/>
                  <a:gd name="connsiteY2" fmla="*/ 2939 h 238186"/>
                  <a:gd name="connsiteX3" fmla="*/ 119160 w 429825"/>
                  <a:gd name="connsiteY3" fmla="*/ 45494 h 238186"/>
                  <a:gd name="connsiteX4" fmla="*/ 90089 w 429825"/>
                  <a:gd name="connsiteY4" fmla="*/ 91063 h 238186"/>
                  <a:gd name="connsiteX5" fmla="*/ 30920 w 429825"/>
                  <a:gd name="connsiteY5" fmla="*/ 128299 h 238186"/>
                  <a:gd name="connsiteX6" fmla="*/ 810 w 429825"/>
                  <a:gd name="connsiteY6" fmla="*/ 192854 h 238186"/>
                  <a:gd name="connsiteX7" fmla="*/ 92050 w 429825"/>
                  <a:gd name="connsiteY7" fmla="*/ 238129 h 238186"/>
                  <a:gd name="connsiteX8" fmla="*/ 158162 w 429825"/>
                  <a:gd name="connsiteY8" fmla="*/ 202528 h 238186"/>
                  <a:gd name="connsiteX9" fmla="*/ 178892 w 429825"/>
                  <a:gd name="connsiteY9" fmla="*/ 187238 h 238186"/>
                  <a:gd name="connsiteX10" fmla="*/ 224793 w 429825"/>
                  <a:gd name="connsiteY10" fmla="*/ 178499 h 238186"/>
                  <a:gd name="connsiteX11" fmla="*/ 313339 w 429825"/>
                  <a:gd name="connsiteY11" fmla="*/ 176601 h 238186"/>
                  <a:gd name="connsiteX12" fmla="*/ 303697 w 429825"/>
                  <a:gd name="connsiteY12" fmla="*/ 88764 h 238186"/>
                  <a:gd name="connsiteX13" fmla="*/ 424101 w 429825"/>
                  <a:gd name="connsiteY13" fmla="*/ 56401 h 238186"/>
                  <a:gd name="connsiteX14" fmla="*/ 393704 w 429825"/>
                  <a:gd name="connsiteY14" fmla="*/ 7661 h 238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9825" h="238186">
                    <a:moveTo>
                      <a:pt x="393704" y="7661"/>
                    </a:moveTo>
                    <a:cubicBezTo>
                      <a:pt x="358387" y="-1145"/>
                      <a:pt x="250371" y="18682"/>
                      <a:pt x="212202" y="3564"/>
                    </a:cubicBezTo>
                    <a:cubicBezTo>
                      <a:pt x="176012" y="3625"/>
                      <a:pt x="136342" y="-4049"/>
                      <a:pt x="120835" y="2939"/>
                    </a:cubicBezTo>
                    <a:cubicBezTo>
                      <a:pt x="105328" y="9927"/>
                      <a:pt x="139945" y="35936"/>
                      <a:pt x="119160" y="45494"/>
                    </a:cubicBezTo>
                    <a:cubicBezTo>
                      <a:pt x="98375" y="55052"/>
                      <a:pt x="100206" y="77440"/>
                      <a:pt x="90089" y="91063"/>
                    </a:cubicBezTo>
                    <a:cubicBezTo>
                      <a:pt x="79972" y="104686"/>
                      <a:pt x="43532" y="111724"/>
                      <a:pt x="30920" y="128299"/>
                    </a:cubicBezTo>
                    <a:cubicBezTo>
                      <a:pt x="18308" y="144874"/>
                      <a:pt x="-215" y="128011"/>
                      <a:pt x="810" y="192854"/>
                    </a:cubicBezTo>
                    <a:cubicBezTo>
                      <a:pt x="-8551" y="203765"/>
                      <a:pt x="65825" y="236517"/>
                      <a:pt x="92050" y="238129"/>
                    </a:cubicBezTo>
                    <a:cubicBezTo>
                      <a:pt x="118275" y="239741"/>
                      <a:pt x="141041" y="207188"/>
                      <a:pt x="158162" y="202528"/>
                    </a:cubicBezTo>
                    <a:cubicBezTo>
                      <a:pt x="175283" y="197868"/>
                      <a:pt x="166381" y="185864"/>
                      <a:pt x="178892" y="187238"/>
                    </a:cubicBezTo>
                    <a:cubicBezTo>
                      <a:pt x="191403" y="188612"/>
                      <a:pt x="213565" y="186782"/>
                      <a:pt x="224793" y="178499"/>
                    </a:cubicBezTo>
                    <a:cubicBezTo>
                      <a:pt x="236021" y="170216"/>
                      <a:pt x="301594" y="196936"/>
                      <a:pt x="313339" y="176601"/>
                    </a:cubicBezTo>
                    <a:cubicBezTo>
                      <a:pt x="325084" y="156266"/>
                      <a:pt x="276704" y="106109"/>
                      <a:pt x="303697" y="88764"/>
                    </a:cubicBezTo>
                    <a:cubicBezTo>
                      <a:pt x="330690" y="71419"/>
                      <a:pt x="411371" y="79792"/>
                      <a:pt x="424101" y="56401"/>
                    </a:cubicBezTo>
                    <a:cubicBezTo>
                      <a:pt x="436831" y="33010"/>
                      <a:pt x="429021" y="16467"/>
                      <a:pt x="393704" y="7661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206"/>
              <p:cNvSpPr/>
              <p:nvPr/>
            </p:nvSpPr>
            <p:spPr bwMode="auto">
              <a:xfrm rot="8302761">
                <a:off x="7709229" y="2962836"/>
                <a:ext cx="279059" cy="236127"/>
              </a:xfrm>
              <a:custGeom>
                <a:avLst/>
                <a:gdLst>
                  <a:gd name="connsiteX0" fmla="*/ 175260 w 541020"/>
                  <a:gd name="connsiteY0" fmla="*/ 45720 h 281940"/>
                  <a:gd name="connsiteX1" fmla="*/ 0 w 541020"/>
                  <a:gd name="connsiteY1" fmla="*/ 121920 h 281940"/>
                  <a:gd name="connsiteX2" fmla="*/ 7620 w 541020"/>
                  <a:gd name="connsiteY2" fmla="*/ 251460 h 281940"/>
                  <a:gd name="connsiteX3" fmla="*/ 160020 w 541020"/>
                  <a:gd name="connsiteY3" fmla="*/ 281940 h 281940"/>
                  <a:gd name="connsiteX4" fmla="*/ 327660 w 541020"/>
                  <a:gd name="connsiteY4" fmla="*/ 236220 h 281940"/>
                  <a:gd name="connsiteX5" fmla="*/ 495300 w 541020"/>
                  <a:gd name="connsiteY5" fmla="*/ 114300 h 281940"/>
                  <a:gd name="connsiteX6" fmla="*/ 541020 w 541020"/>
                  <a:gd name="connsiteY6" fmla="*/ 30480 h 281940"/>
                  <a:gd name="connsiteX7" fmla="*/ 518160 w 541020"/>
                  <a:gd name="connsiteY7" fmla="*/ 0 h 281940"/>
                  <a:gd name="connsiteX8" fmla="*/ 449580 w 541020"/>
                  <a:gd name="connsiteY8" fmla="*/ 0 h 281940"/>
                  <a:gd name="connsiteX9" fmla="*/ 175260 w 541020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1940"/>
                  <a:gd name="connsiteX1" fmla="*/ 17128 w 558148"/>
                  <a:gd name="connsiteY1" fmla="*/ 121920 h 281940"/>
                  <a:gd name="connsiteX2" fmla="*/ 24748 w 558148"/>
                  <a:gd name="connsiteY2" fmla="*/ 251460 h 281940"/>
                  <a:gd name="connsiteX3" fmla="*/ 177148 w 558148"/>
                  <a:gd name="connsiteY3" fmla="*/ 281940 h 281940"/>
                  <a:gd name="connsiteX4" fmla="*/ 344788 w 558148"/>
                  <a:gd name="connsiteY4" fmla="*/ 236220 h 281940"/>
                  <a:gd name="connsiteX5" fmla="*/ 512428 w 558148"/>
                  <a:gd name="connsiteY5" fmla="*/ 114300 h 281940"/>
                  <a:gd name="connsiteX6" fmla="*/ 558148 w 558148"/>
                  <a:gd name="connsiteY6" fmla="*/ 30480 h 281940"/>
                  <a:gd name="connsiteX7" fmla="*/ 535288 w 558148"/>
                  <a:gd name="connsiteY7" fmla="*/ 0 h 281940"/>
                  <a:gd name="connsiteX8" fmla="*/ 466708 w 558148"/>
                  <a:gd name="connsiteY8" fmla="*/ 0 h 281940"/>
                  <a:gd name="connsiteX9" fmla="*/ 192388 w 558148"/>
                  <a:gd name="connsiteY9" fmla="*/ 45720 h 281940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45720 h 282454"/>
                  <a:gd name="connsiteX1" fmla="*/ 17128 w 558148"/>
                  <a:gd name="connsiteY1" fmla="*/ 121920 h 282454"/>
                  <a:gd name="connsiteX2" fmla="*/ 24748 w 558148"/>
                  <a:gd name="connsiteY2" fmla="*/ 251460 h 282454"/>
                  <a:gd name="connsiteX3" fmla="*/ 177148 w 558148"/>
                  <a:gd name="connsiteY3" fmla="*/ 281940 h 282454"/>
                  <a:gd name="connsiteX4" fmla="*/ 344788 w 558148"/>
                  <a:gd name="connsiteY4" fmla="*/ 236220 h 282454"/>
                  <a:gd name="connsiteX5" fmla="*/ 512428 w 558148"/>
                  <a:gd name="connsiteY5" fmla="*/ 114300 h 282454"/>
                  <a:gd name="connsiteX6" fmla="*/ 558148 w 558148"/>
                  <a:gd name="connsiteY6" fmla="*/ 30480 h 282454"/>
                  <a:gd name="connsiteX7" fmla="*/ 535288 w 558148"/>
                  <a:gd name="connsiteY7" fmla="*/ 0 h 282454"/>
                  <a:gd name="connsiteX8" fmla="*/ 466708 w 558148"/>
                  <a:gd name="connsiteY8" fmla="*/ 0 h 282454"/>
                  <a:gd name="connsiteX9" fmla="*/ 192388 w 558148"/>
                  <a:gd name="connsiteY9" fmla="*/ 45720 h 282454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58148"/>
                  <a:gd name="connsiteY0" fmla="*/ 50529 h 287263"/>
                  <a:gd name="connsiteX1" fmla="*/ 17128 w 558148"/>
                  <a:gd name="connsiteY1" fmla="*/ 126729 h 287263"/>
                  <a:gd name="connsiteX2" fmla="*/ 24748 w 558148"/>
                  <a:gd name="connsiteY2" fmla="*/ 256269 h 287263"/>
                  <a:gd name="connsiteX3" fmla="*/ 177148 w 558148"/>
                  <a:gd name="connsiteY3" fmla="*/ 286749 h 287263"/>
                  <a:gd name="connsiteX4" fmla="*/ 344788 w 558148"/>
                  <a:gd name="connsiteY4" fmla="*/ 241029 h 287263"/>
                  <a:gd name="connsiteX5" fmla="*/ 512428 w 558148"/>
                  <a:gd name="connsiteY5" fmla="*/ 119109 h 287263"/>
                  <a:gd name="connsiteX6" fmla="*/ 558148 w 558148"/>
                  <a:gd name="connsiteY6" fmla="*/ 35289 h 287263"/>
                  <a:gd name="connsiteX7" fmla="*/ 535288 w 558148"/>
                  <a:gd name="connsiteY7" fmla="*/ 4809 h 287263"/>
                  <a:gd name="connsiteX8" fmla="*/ 466708 w 558148"/>
                  <a:gd name="connsiteY8" fmla="*/ 4809 h 287263"/>
                  <a:gd name="connsiteX9" fmla="*/ 192388 w 558148"/>
                  <a:gd name="connsiteY9" fmla="*/ 50529 h 287263"/>
                  <a:gd name="connsiteX0" fmla="*/ 192388 w 564165"/>
                  <a:gd name="connsiteY0" fmla="*/ 50529 h 287263"/>
                  <a:gd name="connsiteX1" fmla="*/ 17128 w 564165"/>
                  <a:gd name="connsiteY1" fmla="*/ 126729 h 287263"/>
                  <a:gd name="connsiteX2" fmla="*/ 24748 w 564165"/>
                  <a:gd name="connsiteY2" fmla="*/ 256269 h 287263"/>
                  <a:gd name="connsiteX3" fmla="*/ 177148 w 564165"/>
                  <a:gd name="connsiteY3" fmla="*/ 286749 h 287263"/>
                  <a:gd name="connsiteX4" fmla="*/ 344788 w 564165"/>
                  <a:gd name="connsiteY4" fmla="*/ 241029 h 287263"/>
                  <a:gd name="connsiteX5" fmla="*/ 545402 w 564165"/>
                  <a:gd name="connsiteY5" fmla="*/ 181894 h 287263"/>
                  <a:gd name="connsiteX6" fmla="*/ 558148 w 564165"/>
                  <a:gd name="connsiteY6" fmla="*/ 35289 h 287263"/>
                  <a:gd name="connsiteX7" fmla="*/ 535288 w 564165"/>
                  <a:gd name="connsiteY7" fmla="*/ 4809 h 287263"/>
                  <a:gd name="connsiteX8" fmla="*/ 466708 w 564165"/>
                  <a:gd name="connsiteY8" fmla="*/ 4809 h 287263"/>
                  <a:gd name="connsiteX9" fmla="*/ 192388 w 564165"/>
                  <a:gd name="connsiteY9" fmla="*/ 50529 h 287263"/>
                  <a:gd name="connsiteX0" fmla="*/ 192388 w 564165"/>
                  <a:gd name="connsiteY0" fmla="*/ 50529 h 310225"/>
                  <a:gd name="connsiteX1" fmla="*/ 17128 w 564165"/>
                  <a:gd name="connsiteY1" fmla="*/ 126729 h 310225"/>
                  <a:gd name="connsiteX2" fmla="*/ 24748 w 564165"/>
                  <a:gd name="connsiteY2" fmla="*/ 256269 h 310225"/>
                  <a:gd name="connsiteX3" fmla="*/ 177148 w 564165"/>
                  <a:gd name="connsiteY3" fmla="*/ 286749 h 310225"/>
                  <a:gd name="connsiteX4" fmla="*/ 338214 w 564165"/>
                  <a:gd name="connsiteY4" fmla="*/ 301010 h 310225"/>
                  <a:gd name="connsiteX5" fmla="*/ 545402 w 564165"/>
                  <a:gd name="connsiteY5" fmla="*/ 181894 h 310225"/>
                  <a:gd name="connsiteX6" fmla="*/ 558148 w 564165"/>
                  <a:gd name="connsiteY6" fmla="*/ 35289 h 310225"/>
                  <a:gd name="connsiteX7" fmla="*/ 535288 w 564165"/>
                  <a:gd name="connsiteY7" fmla="*/ 4809 h 310225"/>
                  <a:gd name="connsiteX8" fmla="*/ 466708 w 564165"/>
                  <a:gd name="connsiteY8" fmla="*/ 4809 h 310225"/>
                  <a:gd name="connsiteX9" fmla="*/ 192388 w 564165"/>
                  <a:gd name="connsiteY9" fmla="*/ 50529 h 310225"/>
                  <a:gd name="connsiteX0" fmla="*/ 192388 w 564165"/>
                  <a:gd name="connsiteY0" fmla="*/ 50529 h 353427"/>
                  <a:gd name="connsiteX1" fmla="*/ 17128 w 564165"/>
                  <a:gd name="connsiteY1" fmla="*/ 126729 h 353427"/>
                  <a:gd name="connsiteX2" fmla="*/ 24748 w 564165"/>
                  <a:gd name="connsiteY2" fmla="*/ 256269 h 353427"/>
                  <a:gd name="connsiteX3" fmla="*/ 193096 w 564165"/>
                  <a:gd name="connsiteY3" fmla="*/ 353363 h 353427"/>
                  <a:gd name="connsiteX4" fmla="*/ 338214 w 564165"/>
                  <a:gd name="connsiteY4" fmla="*/ 301010 h 353427"/>
                  <a:gd name="connsiteX5" fmla="*/ 545402 w 564165"/>
                  <a:gd name="connsiteY5" fmla="*/ 181894 h 353427"/>
                  <a:gd name="connsiteX6" fmla="*/ 558148 w 564165"/>
                  <a:gd name="connsiteY6" fmla="*/ 35289 h 353427"/>
                  <a:gd name="connsiteX7" fmla="*/ 535288 w 564165"/>
                  <a:gd name="connsiteY7" fmla="*/ 4809 h 353427"/>
                  <a:gd name="connsiteX8" fmla="*/ 466708 w 564165"/>
                  <a:gd name="connsiteY8" fmla="*/ 4809 h 353427"/>
                  <a:gd name="connsiteX9" fmla="*/ 192388 w 564165"/>
                  <a:gd name="connsiteY9" fmla="*/ 50529 h 353427"/>
                  <a:gd name="connsiteX0" fmla="*/ 183456 w 555233"/>
                  <a:gd name="connsiteY0" fmla="*/ 50529 h 359674"/>
                  <a:gd name="connsiteX1" fmla="*/ 8196 w 555233"/>
                  <a:gd name="connsiteY1" fmla="*/ 126729 h 359674"/>
                  <a:gd name="connsiteX2" fmla="*/ 57235 w 555233"/>
                  <a:gd name="connsiteY2" fmla="*/ 343912 h 359674"/>
                  <a:gd name="connsiteX3" fmla="*/ 184164 w 555233"/>
                  <a:gd name="connsiteY3" fmla="*/ 353363 h 359674"/>
                  <a:gd name="connsiteX4" fmla="*/ 329282 w 555233"/>
                  <a:gd name="connsiteY4" fmla="*/ 301010 h 359674"/>
                  <a:gd name="connsiteX5" fmla="*/ 536470 w 555233"/>
                  <a:gd name="connsiteY5" fmla="*/ 181894 h 359674"/>
                  <a:gd name="connsiteX6" fmla="*/ 549216 w 555233"/>
                  <a:gd name="connsiteY6" fmla="*/ 35289 h 359674"/>
                  <a:gd name="connsiteX7" fmla="*/ 526356 w 555233"/>
                  <a:gd name="connsiteY7" fmla="*/ 4809 h 359674"/>
                  <a:gd name="connsiteX8" fmla="*/ 457776 w 555233"/>
                  <a:gd name="connsiteY8" fmla="*/ 4809 h 359674"/>
                  <a:gd name="connsiteX9" fmla="*/ 183456 w 555233"/>
                  <a:gd name="connsiteY9" fmla="*/ 50529 h 359674"/>
                  <a:gd name="connsiteX0" fmla="*/ 141822 w 513599"/>
                  <a:gd name="connsiteY0" fmla="*/ 50529 h 359674"/>
                  <a:gd name="connsiteX1" fmla="*/ 26880 w 513599"/>
                  <a:gd name="connsiteY1" fmla="*/ 162601 h 359674"/>
                  <a:gd name="connsiteX2" fmla="*/ 15601 w 513599"/>
                  <a:gd name="connsiteY2" fmla="*/ 343912 h 359674"/>
                  <a:gd name="connsiteX3" fmla="*/ 142530 w 513599"/>
                  <a:gd name="connsiteY3" fmla="*/ 353363 h 359674"/>
                  <a:gd name="connsiteX4" fmla="*/ 287648 w 513599"/>
                  <a:gd name="connsiteY4" fmla="*/ 301010 h 359674"/>
                  <a:gd name="connsiteX5" fmla="*/ 494836 w 513599"/>
                  <a:gd name="connsiteY5" fmla="*/ 181894 h 359674"/>
                  <a:gd name="connsiteX6" fmla="*/ 507582 w 513599"/>
                  <a:gd name="connsiteY6" fmla="*/ 35289 h 359674"/>
                  <a:gd name="connsiteX7" fmla="*/ 484722 w 513599"/>
                  <a:gd name="connsiteY7" fmla="*/ 4809 h 359674"/>
                  <a:gd name="connsiteX8" fmla="*/ 416142 w 513599"/>
                  <a:gd name="connsiteY8" fmla="*/ 4809 h 359674"/>
                  <a:gd name="connsiteX9" fmla="*/ 141822 w 513599"/>
                  <a:gd name="connsiteY9" fmla="*/ 50529 h 359674"/>
                  <a:gd name="connsiteX0" fmla="*/ 141822 w 530249"/>
                  <a:gd name="connsiteY0" fmla="*/ 50529 h 359674"/>
                  <a:gd name="connsiteX1" fmla="*/ 26880 w 530249"/>
                  <a:gd name="connsiteY1" fmla="*/ 162601 h 359674"/>
                  <a:gd name="connsiteX2" fmla="*/ 15601 w 530249"/>
                  <a:gd name="connsiteY2" fmla="*/ 343912 h 359674"/>
                  <a:gd name="connsiteX3" fmla="*/ 142530 w 530249"/>
                  <a:gd name="connsiteY3" fmla="*/ 353363 h 359674"/>
                  <a:gd name="connsiteX4" fmla="*/ 287648 w 530249"/>
                  <a:gd name="connsiteY4" fmla="*/ 301010 h 359674"/>
                  <a:gd name="connsiteX5" fmla="*/ 517239 w 530249"/>
                  <a:gd name="connsiteY5" fmla="*/ 238247 h 359674"/>
                  <a:gd name="connsiteX6" fmla="*/ 507582 w 530249"/>
                  <a:gd name="connsiteY6" fmla="*/ 35289 h 359674"/>
                  <a:gd name="connsiteX7" fmla="*/ 484722 w 530249"/>
                  <a:gd name="connsiteY7" fmla="*/ 4809 h 359674"/>
                  <a:gd name="connsiteX8" fmla="*/ 416142 w 530249"/>
                  <a:gd name="connsiteY8" fmla="*/ 4809 h 359674"/>
                  <a:gd name="connsiteX9" fmla="*/ 141822 w 530249"/>
                  <a:gd name="connsiteY9" fmla="*/ 50529 h 35967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50529 h 372204"/>
                  <a:gd name="connsiteX1" fmla="*/ 26880 w 530248"/>
                  <a:gd name="connsiteY1" fmla="*/ 162601 h 372204"/>
                  <a:gd name="connsiteX2" fmla="*/ 15601 w 530248"/>
                  <a:gd name="connsiteY2" fmla="*/ 343912 h 372204"/>
                  <a:gd name="connsiteX3" fmla="*/ 142530 w 530248"/>
                  <a:gd name="connsiteY3" fmla="*/ 353363 h 372204"/>
                  <a:gd name="connsiteX4" fmla="*/ 292200 w 530248"/>
                  <a:gd name="connsiteY4" fmla="*/ 362116 h 372204"/>
                  <a:gd name="connsiteX5" fmla="*/ 517239 w 530248"/>
                  <a:gd name="connsiteY5" fmla="*/ 238247 h 372204"/>
                  <a:gd name="connsiteX6" fmla="*/ 507582 w 530248"/>
                  <a:gd name="connsiteY6" fmla="*/ 35289 h 372204"/>
                  <a:gd name="connsiteX7" fmla="*/ 484722 w 530248"/>
                  <a:gd name="connsiteY7" fmla="*/ 4809 h 372204"/>
                  <a:gd name="connsiteX8" fmla="*/ 416142 w 530248"/>
                  <a:gd name="connsiteY8" fmla="*/ 4809 h 372204"/>
                  <a:gd name="connsiteX9" fmla="*/ 141822 w 530248"/>
                  <a:gd name="connsiteY9" fmla="*/ 50529 h 372204"/>
                  <a:gd name="connsiteX0" fmla="*/ 141822 w 530248"/>
                  <a:gd name="connsiteY0" fmla="*/ 47613 h 369288"/>
                  <a:gd name="connsiteX1" fmla="*/ 26880 w 530248"/>
                  <a:gd name="connsiteY1" fmla="*/ 159685 h 369288"/>
                  <a:gd name="connsiteX2" fmla="*/ 15601 w 530248"/>
                  <a:gd name="connsiteY2" fmla="*/ 340996 h 369288"/>
                  <a:gd name="connsiteX3" fmla="*/ 142530 w 530248"/>
                  <a:gd name="connsiteY3" fmla="*/ 350447 h 369288"/>
                  <a:gd name="connsiteX4" fmla="*/ 292200 w 530248"/>
                  <a:gd name="connsiteY4" fmla="*/ 359200 h 369288"/>
                  <a:gd name="connsiteX5" fmla="*/ 517239 w 530248"/>
                  <a:gd name="connsiteY5" fmla="*/ 235331 h 369288"/>
                  <a:gd name="connsiteX6" fmla="*/ 507582 w 530248"/>
                  <a:gd name="connsiteY6" fmla="*/ 32373 h 369288"/>
                  <a:gd name="connsiteX7" fmla="*/ 416142 w 530248"/>
                  <a:gd name="connsiteY7" fmla="*/ 1893 h 369288"/>
                  <a:gd name="connsiteX8" fmla="*/ 141822 w 530248"/>
                  <a:gd name="connsiteY8" fmla="*/ 47613 h 369288"/>
                  <a:gd name="connsiteX0" fmla="*/ 138197 w 526623"/>
                  <a:gd name="connsiteY0" fmla="*/ 47613 h 376324"/>
                  <a:gd name="connsiteX1" fmla="*/ 23255 w 526623"/>
                  <a:gd name="connsiteY1" fmla="*/ 159685 h 376324"/>
                  <a:gd name="connsiteX2" fmla="*/ 11976 w 526623"/>
                  <a:gd name="connsiteY2" fmla="*/ 340996 h 376324"/>
                  <a:gd name="connsiteX3" fmla="*/ 132119 w 526623"/>
                  <a:gd name="connsiteY3" fmla="*/ 374396 h 376324"/>
                  <a:gd name="connsiteX4" fmla="*/ 288575 w 526623"/>
                  <a:gd name="connsiteY4" fmla="*/ 359200 h 376324"/>
                  <a:gd name="connsiteX5" fmla="*/ 513614 w 526623"/>
                  <a:gd name="connsiteY5" fmla="*/ 235331 h 376324"/>
                  <a:gd name="connsiteX6" fmla="*/ 503957 w 526623"/>
                  <a:gd name="connsiteY6" fmla="*/ 32373 h 376324"/>
                  <a:gd name="connsiteX7" fmla="*/ 412517 w 526623"/>
                  <a:gd name="connsiteY7" fmla="*/ 1893 h 376324"/>
                  <a:gd name="connsiteX8" fmla="*/ 138197 w 526623"/>
                  <a:gd name="connsiteY8" fmla="*/ 47613 h 376324"/>
                  <a:gd name="connsiteX0" fmla="*/ 427441 w 541547"/>
                  <a:gd name="connsiteY0" fmla="*/ 10181 h 384611"/>
                  <a:gd name="connsiteX1" fmla="*/ 38179 w 541547"/>
                  <a:gd name="connsiteY1" fmla="*/ 167973 h 384611"/>
                  <a:gd name="connsiteX2" fmla="*/ 26900 w 541547"/>
                  <a:gd name="connsiteY2" fmla="*/ 349284 h 384611"/>
                  <a:gd name="connsiteX3" fmla="*/ 147043 w 541547"/>
                  <a:gd name="connsiteY3" fmla="*/ 382684 h 384611"/>
                  <a:gd name="connsiteX4" fmla="*/ 303499 w 541547"/>
                  <a:gd name="connsiteY4" fmla="*/ 367488 h 384611"/>
                  <a:gd name="connsiteX5" fmla="*/ 528538 w 541547"/>
                  <a:gd name="connsiteY5" fmla="*/ 243619 h 384611"/>
                  <a:gd name="connsiteX6" fmla="*/ 518881 w 541547"/>
                  <a:gd name="connsiteY6" fmla="*/ 40661 h 384611"/>
                  <a:gd name="connsiteX7" fmla="*/ 427441 w 541547"/>
                  <a:gd name="connsiteY7" fmla="*/ 10181 h 384611"/>
                  <a:gd name="connsiteX0" fmla="*/ 400497 w 514603"/>
                  <a:gd name="connsiteY0" fmla="*/ 10183 h 384613"/>
                  <a:gd name="connsiteX1" fmla="*/ 11235 w 514603"/>
                  <a:gd name="connsiteY1" fmla="*/ 167975 h 384613"/>
                  <a:gd name="connsiteX2" fmla="*/ 120099 w 514603"/>
                  <a:gd name="connsiteY2" fmla="*/ 382686 h 384613"/>
                  <a:gd name="connsiteX3" fmla="*/ 276555 w 514603"/>
                  <a:gd name="connsiteY3" fmla="*/ 367490 h 384613"/>
                  <a:gd name="connsiteX4" fmla="*/ 501594 w 514603"/>
                  <a:gd name="connsiteY4" fmla="*/ 243621 h 384613"/>
                  <a:gd name="connsiteX5" fmla="*/ 491937 w 514603"/>
                  <a:gd name="connsiteY5" fmla="*/ 40663 h 384613"/>
                  <a:gd name="connsiteX6" fmla="*/ 400497 w 514603"/>
                  <a:gd name="connsiteY6" fmla="*/ 10183 h 384613"/>
                  <a:gd name="connsiteX0" fmla="*/ 400497 w 514603"/>
                  <a:gd name="connsiteY0" fmla="*/ 10183 h 383828"/>
                  <a:gd name="connsiteX1" fmla="*/ 11235 w 514603"/>
                  <a:gd name="connsiteY1" fmla="*/ 167975 h 383828"/>
                  <a:gd name="connsiteX2" fmla="*/ 120099 w 514603"/>
                  <a:gd name="connsiteY2" fmla="*/ 382686 h 383828"/>
                  <a:gd name="connsiteX3" fmla="*/ 501594 w 514603"/>
                  <a:gd name="connsiteY3" fmla="*/ 243621 h 383828"/>
                  <a:gd name="connsiteX4" fmla="*/ 491937 w 514603"/>
                  <a:gd name="connsiteY4" fmla="*/ 40663 h 383828"/>
                  <a:gd name="connsiteX5" fmla="*/ 400497 w 514603"/>
                  <a:gd name="connsiteY5" fmla="*/ 10183 h 383828"/>
                  <a:gd name="connsiteX0" fmla="*/ 400497 w 517116"/>
                  <a:gd name="connsiteY0" fmla="*/ 1010 h 374655"/>
                  <a:gd name="connsiteX1" fmla="*/ 11235 w 517116"/>
                  <a:gd name="connsiteY1" fmla="*/ 158802 h 374655"/>
                  <a:gd name="connsiteX2" fmla="*/ 120099 w 517116"/>
                  <a:gd name="connsiteY2" fmla="*/ 373513 h 374655"/>
                  <a:gd name="connsiteX3" fmla="*/ 501594 w 517116"/>
                  <a:gd name="connsiteY3" fmla="*/ 234448 h 374655"/>
                  <a:gd name="connsiteX4" fmla="*/ 400497 w 517116"/>
                  <a:gd name="connsiteY4" fmla="*/ 1010 h 374655"/>
                  <a:gd name="connsiteX0" fmla="*/ 508809 w 628017"/>
                  <a:gd name="connsiteY0" fmla="*/ 2356 h 376001"/>
                  <a:gd name="connsiteX1" fmla="*/ 6361 w 628017"/>
                  <a:gd name="connsiteY1" fmla="*/ 130721 h 376001"/>
                  <a:gd name="connsiteX2" fmla="*/ 228411 w 628017"/>
                  <a:gd name="connsiteY2" fmla="*/ 374859 h 376001"/>
                  <a:gd name="connsiteX3" fmla="*/ 609906 w 628017"/>
                  <a:gd name="connsiteY3" fmla="*/ 235794 h 376001"/>
                  <a:gd name="connsiteX4" fmla="*/ 508809 w 628017"/>
                  <a:gd name="connsiteY4" fmla="*/ 2356 h 376001"/>
                  <a:gd name="connsiteX0" fmla="*/ 504040 w 616834"/>
                  <a:gd name="connsiteY0" fmla="*/ 2903 h 376548"/>
                  <a:gd name="connsiteX1" fmla="*/ 351553 w 616834"/>
                  <a:gd name="connsiteY1" fmla="*/ 107249 h 376548"/>
                  <a:gd name="connsiteX2" fmla="*/ 1592 w 616834"/>
                  <a:gd name="connsiteY2" fmla="*/ 131268 h 376548"/>
                  <a:gd name="connsiteX3" fmla="*/ 223642 w 616834"/>
                  <a:gd name="connsiteY3" fmla="*/ 375406 h 376548"/>
                  <a:gd name="connsiteX4" fmla="*/ 605137 w 616834"/>
                  <a:gd name="connsiteY4" fmla="*/ 236341 h 376548"/>
                  <a:gd name="connsiteX5" fmla="*/ 504040 w 616834"/>
                  <a:gd name="connsiteY5" fmla="*/ 2903 h 376548"/>
                  <a:gd name="connsiteX0" fmla="*/ 495452 w 616175"/>
                  <a:gd name="connsiteY0" fmla="*/ 51280 h 274874"/>
                  <a:gd name="connsiteX1" fmla="*/ 351553 w 616175"/>
                  <a:gd name="connsiteY1" fmla="*/ 5575 h 274874"/>
                  <a:gd name="connsiteX2" fmla="*/ 1592 w 616175"/>
                  <a:gd name="connsiteY2" fmla="*/ 29594 h 274874"/>
                  <a:gd name="connsiteX3" fmla="*/ 223642 w 616175"/>
                  <a:gd name="connsiteY3" fmla="*/ 273732 h 274874"/>
                  <a:gd name="connsiteX4" fmla="*/ 605137 w 616175"/>
                  <a:gd name="connsiteY4" fmla="*/ 134667 h 274874"/>
                  <a:gd name="connsiteX5" fmla="*/ 495452 w 616175"/>
                  <a:gd name="connsiteY5" fmla="*/ 51280 h 274874"/>
                  <a:gd name="connsiteX0" fmla="*/ 495452 w 532377"/>
                  <a:gd name="connsiteY0" fmla="*/ 51265 h 274847"/>
                  <a:gd name="connsiteX1" fmla="*/ 351553 w 532377"/>
                  <a:gd name="connsiteY1" fmla="*/ 5560 h 274847"/>
                  <a:gd name="connsiteX2" fmla="*/ 1592 w 532377"/>
                  <a:gd name="connsiteY2" fmla="*/ 29579 h 274847"/>
                  <a:gd name="connsiteX3" fmla="*/ 223642 w 532377"/>
                  <a:gd name="connsiteY3" fmla="*/ 273717 h 274847"/>
                  <a:gd name="connsiteX4" fmla="*/ 509239 w 532377"/>
                  <a:gd name="connsiteY4" fmla="*/ 133533 h 274847"/>
                  <a:gd name="connsiteX5" fmla="*/ 495452 w 532377"/>
                  <a:gd name="connsiteY5" fmla="*/ 51265 h 274847"/>
                  <a:gd name="connsiteX0" fmla="*/ 497505 w 534430"/>
                  <a:gd name="connsiteY0" fmla="*/ 51265 h 274847"/>
                  <a:gd name="connsiteX1" fmla="*/ 353606 w 534430"/>
                  <a:gd name="connsiteY1" fmla="*/ 5560 h 274847"/>
                  <a:gd name="connsiteX2" fmla="*/ 3645 w 534430"/>
                  <a:gd name="connsiteY2" fmla="*/ 29579 h 274847"/>
                  <a:gd name="connsiteX3" fmla="*/ 173951 w 534430"/>
                  <a:gd name="connsiteY3" fmla="*/ 138081 h 274847"/>
                  <a:gd name="connsiteX4" fmla="*/ 225695 w 534430"/>
                  <a:gd name="connsiteY4" fmla="*/ 273717 h 274847"/>
                  <a:gd name="connsiteX5" fmla="*/ 511292 w 534430"/>
                  <a:gd name="connsiteY5" fmla="*/ 133533 h 274847"/>
                  <a:gd name="connsiteX6" fmla="*/ 497505 w 534430"/>
                  <a:gd name="connsiteY6" fmla="*/ 51265 h 274847"/>
                  <a:gd name="connsiteX0" fmla="*/ 493884 w 530809"/>
                  <a:gd name="connsiteY0" fmla="*/ 51265 h 274847"/>
                  <a:gd name="connsiteX1" fmla="*/ 349985 w 530809"/>
                  <a:gd name="connsiteY1" fmla="*/ 5560 h 274847"/>
                  <a:gd name="connsiteX2" fmla="*/ 24 w 530809"/>
                  <a:gd name="connsiteY2" fmla="*/ 29579 h 274847"/>
                  <a:gd name="connsiteX3" fmla="*/ 170330 w 530809"/>
                  <a:gd name="connsiteY3" fmla="*/ 138081 h 274847"/>
                  <a:gd name="connsiteX4" fmla="*/ 222074 w 530809"/>
                  <a:gd name="connsiteY4" fmla="*/ 273717 h 274847"/>
                  <a:gd name="connsiteX5" fmla="*/ 507671 w 530809"/>
                  <a:gd name="connsiteY5" fmla="*/ 133533 h 274847"/>
                  <a:gd name="connsiteX6" fmla="*/ 493884 w 530809"/>
                  <a:gd name="connsiteY6" fmla="*/ 51265 h 274847"/>
                  <a:gd name="connsiteX0" fmla="*/ 493884 w 530809"/>
                  <a:gd name="connsiteY0" fmla="*/ 51265 h 186504"/>
                  <a:gd name="connsiteX1" fmla="*/ 349985 w 530809"/>
                  <a:gd name="connsiteY1" fmla="*/ 5560 h 186504"/>
                  <a:gd name="connsiteX2" fmla="*/ 24 w 530809"/>
                  <a:gd name="connsiteY2" fmla="*/ 29579 h 186504"/>
                  <a:gd name="connsiteX3" fmla="*/ 170330 w 530809"/>
                  <a:gd name="connsiteY3" fmla="*/ 138081 h 186504"/>
                  <a:gd name="connsiteX4" fmla="*/ 390510 w 530809"/>
                  <a:gd name="connsiteY4" fmla="*/ 180265 h 186504"/>
                  <a:gd name="connsiteX5" fmla="*/ 507671 w 530809"/>
                  <a:gd name="connsiteY5" fmla="*/ 133533 h 186504"/>
                  <a:gd name="connsiteX6" fmla="*/ 493884 w 530809"/>
                  <a:gd name="connsiteY6" fmla="*/ 51265 h 186504"/>
                  <a:gd name="connsiteX0" fmla="*/ 495721 w 532646"/>
                  <a:gd name="connsiteY0" fmla="*/ 51265 h 186504"/>
                  <a:gd name="connsiteX1" fmla="*/ 351822 w 532646"/>
                  <a:gd name="connsiteY1" fmla="*/ 5560 h 186504"/>
                  <a:gd name="connsiteX2" fmla="*/ 1861 w 532646"/>
                  <a:gd name="connsiteY2" fmla="*/ 29579 h 186504"/>
                  <a:gd name="connsiteX3" fmla="*/ 213626 w 532646"/>
                  <a:gd name="connsiteY3" fmla="*/ 107499 h 186504"/>
                  <a:gd name="connsiteX4" fmla="*/ 392347 w 532646"/>
                  <a:gd name="connsiteY4" fmla="*/ 180265 h 186504"/>
                  <a:gd name="connsiteX5" fmla="*/ 509508 w 532646"/>
                  <a:gd name="connsiteY5" fmla="*/ 133533 h 186504"/>
                  <a:gd name="connsiteX6" fmla="*/ 495721 w 532646"/>
                  <a:gd name="connsiteY6" fmla="*/ 51265 h 186504"/>
                  <a:gd name="connsiteX0" fmla="*/ 496902 w 533827"/>
                  <a:gd name="connsiteY0" fmla="*/ 70457 h 205696"/>
                  <a:gd name="connsiteX1" fmla="*/ 353003 w 533827"/>
                  <a:gd name="connsiteY1" fmla="*/ 24752 h 205696"/>
                  <a:gd name="connsiteX2" fmla="*/ 107632 w 533827"/>
                  <a:gd name="connsiteY2" fmla="*/ 439 h 205696"/>
                  <a:gd name="connsiteX3" fmla="*/ 3042 w 533827"/>
                  <a:gd name="connsiteY3" fmla="*/ 48771 h 205696"/>
                  <a:gd name="connsiteX4" fmla="*/ 214807 w 533827"/>
                  <a:gd name="connsiteY4" fmla="*/ 126691 h 205696"/>
                  <a:gd name="connsiteX5" fmla="*/ 393528 w 533827"/>
                  <a:gd name="connsiteY5" fmla="*/ 199457 h 205696"/>
                  <a:gd name="connsiteX6" fmla="*/ 510689 w 533827"/>
                  <a:gd name="connsiteY6" fmla="*/ 152725 h 205696"/>
                  <a:gd name="connsiteX7" fmla="*/ 496902 w 533827"/>
                  <a:gd name="connsiteY7" fmla="*/ 70457 h 205696"/>
                  <a:gd name="connsiteX0" fmla="*/ 472353 w 509278"/>
                  <a:gd name="connsiteY0" fmla="*/ 70457 h 205696"/>
                  <a:gd name="connsiteX1" fmla="*/ 328454 w 509278"/>
                  <a:gd name="connsiteY1" fmla="*/ 24752 h 205696"/>
                  <a:gd name="connsiteX2" fmla="*/ 83083 w 509278"/>
                  <a:gd name="connsiteY2" fmla="*/ 439 h 205696"/>
                  <a:gd name="connsiteX3" fmla="*/ 4427 w 509278"/>
                  <a:gd name="connsiteY3" fmla="*/ 91234 h 205696"/>
                  <a:gd name="connsiteX4" fmla="*/ 190258 w 509278"/>
                  <a:gd name="connsiteY4" fmla="*/ 126691 h 205696"/>
                  <a:gd name="connsiteX5" fmla="*/ 368979 w 509278"/>
                  <a:gd name="connsiteY5" fmla="*/ 199457 h 205696"/>
                  <a:gd name="connsiteX6" fmla="*/ 486140 w 509278"/>
                  <a:gd name="connsiteY6" fmla="*/ 152725 h 205696"/>
                  <a:gd name="connsiteX7" fmla="*/ 472353 w 509278"/>
                  <a:gd name="connsiteY7" fmla="*/ 70457 h 205696"/>
                  <a:gd name="connsiteX0" fmla="*/ 471911 w 508836"/>
                  <a:gd name="connsiteY0" fmla="*/ 51265 h 186504"/>
                  <a:gd name="connsiteX1" fmla="*/ 328012 w 508836"/>
                  <a:gd name="connsiteY1" fmla="*/ 5560 h 186504"/>
                  <a:gd name="connsiteX2" fmla="*/ 86111 w 508836"/>
                  <a:gd name="connsiteY2" fmla="*/ 19749 h 186504"/>
                  <a:gd name="connsiteX3" fmla="*/ 3985 w 508836"/>
                  <a:gd name="connsiteY3" fmla="*/ 72042 h 186504"/>
                  <a:gd name="connsiteX4" fmla="*/ 189816 w 508836"/>
                  <a:gd name="connsiteY4" fmla="*/ 107499 h 186504"/>
                  <a:gd name="connsiteX5" fmla="*/ 368537 w 508836"/>
                  <a:gd name="connsiteY5" fmla="*/ 180265 h 186504"/>
                  <a:gd name="connsiteX6" fmla="*/ 485698 w 508836"/>
                  <a:gd name="connsiteY6" fmla="*/ 133533 h 186504"/>
                  <a:gd name="connsiteX7" fmla="*/ 471911 w 508836"/>
                  <a:gd name="connsiteY7" fmla="*/ 51265 h 186504"/>
                  <a:gd name="connsiteX0" fmla="*/ 437213 w 474138"/>
                  <a:gd name="connsiteY0" fmla="*/ 51265 h 186504"/>
                  <a:gd name="connsiteX1" fmla="*/ 293314 w 474138"/>
                  <a:gd name="connsiteY1" fmla="*/ 5560 h 186504"/>
                  <a:gd name="connsiteX2" fmla="*/ 51413 w 474138"/>
                  <a:gd name="connsiteY2" fmla="*/ 19749 h 186504"/>
                  <a:gd name="connsiteX3" fmla="*/ 9907 w 474138"/>
                  <a:gd name="connsiteY3" fmla="*/ 113936 h 186504"/>
                  <a:gd name="connsiteX4" fmla="*/ 155118 w 474138"/>
                  <a:gd name="connsiteY4" fmla="*/ 107499 h 186504"/>
                  <a:gd name="connsiteX5" fmla="*/ 333839 w 474138"/>
                  <a:gd name="connsiteY5" fmla="*/ 180265 h 186504"/>
                  <a:gd name="connsiteX6" fmla="*/ 451000 w 474138"/>
                  <a:gd name="connsiteY6" fmla="*/ 133533 h 186504"/>
                  <a:gd name="connsiteX7" fmla="*/ 437213 w 474138"/>
                  <a:gd name="connsiteY7" fmla="*/ 51265 h 186504"/>
                  <a:gd name="connsiteX0" fmla="*/ 437213 w 477998"/>
                  <a:gd name="connsiteY0" fmla="*/ 94179 h 229418"/>
                  <a:gd name="connsiteX1" fmla="*/ 208200 w 477998"/>
                  <a:gd name="connsiteY1" fmla="*/ 3473 h 229418"/>
                  <a:gd name="connsiteX2" fmla="*/ 51413 w 477998"/>
                  <a:gd name="connsiteY2" fmla="*/ 62663 h 229418"/>
                  <a:gd name="connsiteX3" fmla="*/ 9907 w 477998"/>
                  <a:gd name="connsiteY3" fmla="*/ 156850 h 229418"/>
                  <a:gd name="connsiteX4" fmla="*/ 155118 w 477998"/>
                  <a:gd name="connsiteY4" fmla="*/ 150413 h 229418"/>
                  <a:gd name="connsiteX5" fmla="*/ 333839 w 477998"/>
                  <a:gd name="connsiteY5" fmla="*/ 223179 h 229418"/>
                  <a:gd name="connsiteX6" fmla="*/ 451000 w 477998"/>
                  <a:gd name="connsiteY6" fmla="*/ 176447 h 229418"/>
                  <a:gd name="connsiteX7" fmla="*/ 437213 w 477998"/>
                  <a:gd name="connsiteY7" fmla="*/ 94179 h 229418"/>
                  <a:gd name="connsiteX0" fmla="*/ 437213 w 474159"/>
                  <a:gd name="connsiteY0" fmla="*/ 108861 h 244100"/>
                  <a:gd name="connsiteX1" fmla="*/ 292826 w 474159"/>
                  <a:gd name="connsiteY1" fmla="*/ 5528 h 244100"/>
                  <a:gd name="connsiteX2" fmla="*/ 208200 w 474159"/>
                  <a:gd name="connsiteY2" fmla="*/ 18155 h 244100"/>
                  <a:gd name="connsiteX3" fmla="*/ 51413 w 474159"/>
                  <a:gd name="connsiteY3" fmla="*/ 77345 h 244100"/>
                  <a:gd name="connsiteX4" fmla="*/ 9907 w 474159"/>
                  <a:gd name="connsiteY4" fmla="*/ 171532 h 244100"/>
                  <a:gd name="connsiteX5" fmla="*/ 155118 w 474159"/>
                  <a:gd name="connsiteY5" fmla="*/ 165095 h 244100"/>
                  <a:gd name="connsiteX6" fmla="*/ 333839 w 474159"/>
                  <a:gd name="connsiteY6" fmla="*/ 237861 h 244100"/>
                  <a:gd name="connsiteX7" fmla="*/ 451000 w 474159"/>
                  <a:gd name="connsiteY7" fmla="*/ 191129 h 244100"/>
                  <a:gd name="connsiteX8" fmla="*/ 437213 w 474159"/>
                  <a:gd name="connsiteY8" fmla="*/ 108861 h 244100"/>
                  <a:gd name="connsiteX0" fmla="*/ 437213 w 437377"/>
                  <a:gd name="connsiteY0" fmla="*/ 108861 h 239065"/>
                  <a:gd name="connsiteX1" fmla="*/ 292826 w 437377"/>
                  <a:gd name="connsiteY1" fmla="*/ 5528 h 239065"/>
                  <a:gd name="connsiteX2" fmla="*/ 208200 w 437377"/>
                  <a:gd name="connsiteY2" fmla="*/ 18155 h 239065"/>
                  <a:gd name="connsiteX3" fmla="*/ 51413 w 437377"/>
                  <a:gd name="connsiteY3" fmla="*/ 77345 h 239065"/>
                  <a:gd name="connsiteX4" fmla="*/ 9907 w 437377"/>
                  <a:gd name="connsiteY4" fmla="*/ 171532 h 239065"/>
                  <a:gd name="connsiteX5" fmla="*/ 155118 w 437377"/>
                  <a:gd name="connsiteY5" fmla="*/ 165095 h 239065"/>
                  <a:gd name="connsiteX6" fmla="*/ 333839 w 437377"/>
                  <a:gd name="connsiteY6" fmla="*/ 237861 h 239065"/>
                  <a:gd name="connsiteX7" fmla="*/ 262630 w 437377"/>
                  <a:gd name="connsiteY7" fmla="*/ 104242 h 239065"/>
                  <a:gd name="connsiteX8" fmla="*/ 437213 w 437377"/>
                  <a:gd name="connsiteY8" fmla="*/ 108861 h 239065"/>
                  <a:gd name="connsiteX0" fmla="*/ 371961 w 372339"/>
                  <a:gd name="connsiteY0" fmla="*/ 38942 h 239065"/>
                  <a:gd name="connsiteX1" fmla="*/ 292826 w 372339"/>
                  <a:gd name="connsiteY1" fmla="*/ 5528 h 239065"/>
                  <a:gd name="connsiteX2" fmla="*/ 208200 w 372339"/>
                  <a:gd name="connsiteY2" fmla="*/ 18155 h 239065"/>
                  <a:gd name="connsiteX3" fmla="*/ 51413 w 372339"/>
                  <a:gd name="connsiteY3" fmla="*/ 77345 h 239065"/>
                  <a:gd name="connsiteX4" fmla="*/ 9907 w 372339"/>
                  <a:gd name="connsiteY4" fmla="*/ 171532 h 239065"/>
                  <a:gd name="connsiteX5" fmla="*/ 155118 w 372339"/>
                  <a:gd name="connsiteY5" fmla="*/ 165095 h 239065"/>
                  <a:gd name="connsiteX6" fmla="*/ 333839 w 372339"/>
                  <a:gd name="connsiteY6" fmla="*/ 237861 h 239065"/>
                  <a:gd name="connsiteX7" fmla="*/ 262630 w 372339"/>
                  <a:gd name="connsiteY7" fmla="*/ 104242 h 239065"/>
                  <a:gd name="connsiteX8" fmla="*/ 371961 w 372339"/>
                  <a:gd name="connsiteY8" fmla="*/ 38942 h 239065"/>
                  <a:gd name="connsiteX0" fmla="*/ 371961 w 372341"/>
                  <a:gd name="connsiteY0" fmla="*/ 38942 h 178890"/>
                  <a:gd name="connsiteX1" fmla="*/ 292826 w 372341"/>
                  <a:gd name="connsiteY1" fmla="*/ 5528 h 178890"/>
                  <a:gd name="connsiteX2" fmla="*/ 208200 w 372341"/>
                  <a:gd name="connsiteY2" fmla="*/ 18155 h 178890"/>
                  <a:gd name="connsiteX3" fmla="*/ 51413 w 372341"/>
                  <a:gd name="connsiteY3" fmla="*/ 77345 h 178890"/>
                  <a:gd name="connsiteX4" fmla="*/ 9907 w 372341"/>
                  <a:gd name="connsiteY4" fmla="*/ 171532 h 178890"/>
                  <a:gd name="connsiteX5" fmla="*/ 155118 w 372341"/>
                  <a:gd name="connsiteY5" fmla="*/ 165095 h 178890"/>
                  <a:gd name="connsiteX6" fmla="*/ 262630 w 372341"/>
                  <a:gd name="connsiteY6" fmla="*/ 104242 h 178890"/>
                  <a:gd name="connsiteX7" fmla="*/ 371961 w 372341"/>
                  <a:gd name="connsiteY7" fmla="*/ 38942 h 178890"/>
                  <a:gd name="connsiteX0" fmla="*/ 335241 w 335620"/>
                  <a:gd name="connsiteY0" fmla="*/ 38942 h 166425"/>
                  <a:gd name="connsiteX1" fmla="*/ 256106 w 335620"/>
                  <a:gd name="connsiteY1" fmla="*/ 5528 h 166425"/>
                  <a:gd name="connsiteX2" fmla="*/ 171480 w 335620"/>
                  <a:gd name="connsiteY2" fmla="*/ 18155 h 166425"/>
                  <a:gd name="connsiteX3" fmla="*/ 14693 w 335620"/>
                  <a:gd name="connsiteY3" fmla="*/ 77345 h 166425"/>
                  <a:gd name="connsiteX4" fmla="*/ 106641 w 335620"/>
                  <a:gd name="connsiteY4" fmla="*/ 98752 h 166425"/>
                  <a:gd name="connsiteX5" fmla="*/ 118398 w 335620"/>
                  <a:gd name="connsiteY5" fmla="*/ 165095 h 166425"/>
                  <a:gd name="connsiteX6" fmla="*/ 225910 w 335620"/>
                  <a:gd name="connsiteY6" fmla="*/ 104242 h 166425"/>
                  <a:gd name="connsiteX7" fmla="*/ 335241 w 335620"/>
                  <a:gd name="connsiteY7" fmla="*/ 38942 h 166425"/>
                  <a:gd name="connsiteX0" fmla="*/ 244401 w 244780"/>
                  <a:gd name="connsiteY0" fmla="*/ 38942 h 166445"/>
                  <a:gd name="connsiteX1" fmla="*/ 165266 w 244780"/>
                  <a:gd name="connsiteY1" fmla="*/ 5528 h 166445"/>
                  <a:gd name="connsiteX2" fmla="*/ 80640 w 244780"/>
                  <a:gd name="connsiteY2" fmla="*/ 18155 h 166445"/>
                  <a:gd name="connsiteX3" fmla="*/ 30115 w 244780"/>
                  <a:gd name="connsiteY3" fmla="*/ 70817 h 166445"/>
                  <a:gd name="connsiteX4" fmla="*/ 15801 w 244780"/>
                  <a:gd name="connsiteY4" fmla="*/ 98752 h 166445"/>
                  <a:gd name="connsiteX5" fmla="*/ 27558 w 244780"/>
                  <a:gd name="connsiteY5" fmla="*/ 165095 h 166445"/>
                  <a:gd name="connsiteX6" fmla="*/ 135070 w 244780"/>
                  <a:gd name="connsiteY6" fmla="*/ 104242 h 166445"/>
                  <a:gd name="connsiteX7" fmla="*/ 244401 w 244780"/>
                  <a:gd name="connsiteY7" fmla="*/ 38942 h 166445"/>
                  <a:gd name="connsiteX0" fmla="*/ 242420 w 242799"/>
                  <a:gd name="connsiteY0" fmla="*/ 38942 h 166360"/>
                  <a:gd name="connsiteX1" fmla="*/ 163285 w 242799"/>
                  <a:gd name="connsiteY1" fmla="*/ 5528 h 166360"/>
                  <a:gd name="connsiteX2" fmla="*/ 78659 w 242799"/>
                  <a:gd name="connsiteY2" fmla="*/ 18155 h 166360"/>
                  <a:gd name="connsiteX3" fmla="*/ 86029 w 242799"/>
                  <a:gd name="connsiteY3" fmla="*/ 99969 h 166360"/>
                  <a:gd name="connsiteX4" fmla="*/ 13820 w 242799"/>
                  <a:gd name="connsiteY4" fmla="*/ 98752 h 166360"/>
                  <a:gd name="connsiteX5" fmla="*/ 25577 w 242799"/>
                  <a:gd name="connsiteY5" fmla="*/ 165095 h 166360"/>
                  <a:gd name="connsiteX6" fmla="*/ 133089 w 242799"/>
                  <a:gd name="connsiteY6" fmla="*/ 104242 h 166360"/>
                  <a:gd name="connsiteX7" fmla="*/ 242420 w 242799"/>
                  <a:gd name="connsiteY7" fmla="*/ 38942 h 166360"/>
                  <a:gd name="connsiteX0" fmla="*/ 243410 w 243789"/>
                  <a:gd name="connsiteY0" fmla="*/ 38942 h 166052"/>
                  <a:gd name="connsiteX1" fmla="*/ 164275 w 243789"/>
                  <a:gd name="connsiteY1" fmla="*/ 5528 h 166052"/>
                  <a:gd name="connsiteX2" fmla="*/ 79649 w 243789"/>
                  <a:gd name="connsiteY2" fmla="*/ 18155 h 166052"/>
                  <a:gd name="connsiteX3" fmla="*/ 87019 w 243789"/>
                  <a:gd name="connsiteY3" fmla="*/ 99969 h 166052"/>
                  <a:gd name="connsiteX4" fmla="*/ 12642 w 243789"/>
                  <a:gd name="connsiteY4" fmla="*/ 74688 h 166052"/>
                  <a:gd name="connsiteX5" fmla="*/ 26567 w 243789"/>
                  <a:gd name="connsiteY5" fmla="*/ 165095 h 166052"/>
                  <a:gd name="connsiteX6" fmla="*/ 134079 w 243789"/>
                  <a:gd name="connsiteY6" fmla="*/ 104242 h 166052"/>
                  <a:gd name="connsiteX7" fmla="*/ 243410 w 243789"/>
                  <a:gd name="connsiteY7" fmla="*/ 38942 h 166052"/>
                  <a:gd name="connsiteX0" fmla="*/ 232217 w 232596"/>
                  <a:gd name="connsiteY0" fmla="*/ 38942 h 104928"/>
                  <a:gd name="connsiteX1" fmla="*/ 153082 w 232596"/>
                  <a:gd name="connsiteY1" fmla="*/ 5528 h 104928"/>
                  <a:gd name="connsiteX2" fmla="*/ 68456 w 232596"/>
                  <a:gd name="connsiteY2" fmla="*/ 18155 h 104928"/>
                  <a:gd name="connsiteX3" fmla="*/ 75826 w 232596"/>
                  <a:gd name="connsiteY3" fmla="*/ 99969 h 104928"/>
                  <a:gd name="connsiteX4" fmla="*/ 1449 w 232596"/>
                  <a:gd name="connsiteY4" fmla="*/ 74688 h 104928"/>
                  <a:gd name="connsiteX5" fmla="*/ 122886 w 232596"/>
                  <a:gd name="connsiteY5" fmla="*/ 104242 h 104928"/>
                  <a:gd name="connsiteX6" fmla="*/ 232217 w 232596"/>
                  <a:gd name="connsiteY6" fmla="*/ 38942 h 104928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3292 w 233671"/>
                  <a:gd name="connsiteY0" fmla="*/ 38942 h 117495"/>
                  <a:gd name="connsiteX1" fmla="*/ 154157 w 233671"/>
                  <a:gd name="connsiteY1" fmla="*/ 5528 h 117495"/>
                  <a:gd name="connsiteX2" fmla="*/ 69531 w 233671"/>
                  <a:gd name="connsiteY2" fmla="*/ 18155 h 117495"/>
                  <a:gd name="connsiteX3" fmla="*/ 67403 w 233671"/>
                  <a:gd name="connsiteY3" fmla="*/ 117240 h 117495"/>
                  <a:gd name="connsiteX4" fmla="*/ 2524 w 233671"/>
                  <a:gd name="connsiteY4" fmla="*/ 74688 h 117495"/>
                  <a:gd name="connsiteX5" fmla="*/ 123961 w 233671"/>
                  <a:gd name="connsiteY5" fmla="*/ 104242 h 117495"/>
                  <a:gd name="connsiteX6" fmla="*/ 233292 w 233671"/>
                  <a:gd name="connsiteY6" fmla="*/ 38942 h 117495"/>
                  <a:gd name="connsiteX0" fmla="*/ 231478 w 231857"/>
                  <a:gd name="connsiteY0" fmla="*/ 38942 h 138375"/>
                  <a:gd name="connsiteX1" fmla="*/ 152343 w 231857"/>
                  <a:gd name="connsiteY1" fmla="*/ 5528 h 138375"/>
                  <a:gd name="connsiteX2" fmla="*/ 67717 w 231857"/>
                  <a:gd name="connsiteY2" fmla="*/ 18155 h 138375"/>
                  <a:gd name="connsiteX3" fmla="*/ 85899 w 231857"/>
                  <a:gd name="connsiteY3" fmla="*/ 138189 h 138375"/>
                  <a:gd name="connsiteX4" fmla="*/ 710 w 231857"/>
                  <a:gd name="connsiteY4" fmla="*/ 74688 h 138375"/>
                  <a:gd name="connsiteX5" fmla="*/ 122147 w 231857"/>
                  <a:gd name="connsiteY5" fmla="*/ 104242 h 138375"/>
                  <a:gd name="connsiteX6" fmla="*/ 231478 w 231857"/>
                  <a:gd name="connsiteY6" fmla="*/ 38942 h 138375"/>
                  <a:gd name="connsiteX0" fmla="*/ 282292 w 282671"/>
                  <a:gd name="connsiteY0" fmla="*/ 38942 h 105067"/>
                  <a:gd name="connsiteX1" fmla="*/ 203157 w 282671"/>
                  <a:gd name="connsiteY1" fmla="*/ 5528 h 105067"/>
                  <a:gd name="connsiteX2" fmla="*/ 118531 w 282671"/>
                  <a:gd name="connsiteY2" fmla="*/ 18155 h 105067"/>
                  <a:gd name="connsiteX3" fmla="*/ 24586 w 282671"/>
                  <a:gd name="connsiteY3" fmla="*/ 59217 h 105067"/>
                  <a:gd name="connsiteX4" fmla="*/ 51524 w 282671"/>
                  <a:gd name="connsiteY4" fmla="*/ 74688 h 105067"/>
                  <a:gd name="connsiteX5" fmla="*/ 172961 w 282671"/>
                  <a:gd name="connsiteY5" fmla="*/ 104242 h 105067"/>
                  <a:gd name="connsiteX6" fmla="*/ 282292 w 282671"/>
                  <a:gd name="connsiteY6" fmla="*/ 38942 h 105067"/>
                  <a:gd name="connsiteX0" fmla="*/ 276661 w 277040"/>
                  <a:gd name="connsiteY0" fmla="*/ 38942 h 106138"/>
                  <a:gd name="connsiteX1" fmla="*/ 197526 w 277040"/>
                  <a:gd name="connsiteY1" fmla="*/ 5528 h 106138"/>
                  <a:gd name="connsiteX2" fmla="*/ 112900 w 277040"/>
                  <a:gd name="connsiteY2" fmla="*/ 18155 h 106138"/>
                  <a:gd name="connsiteX3" fmla="*/ 18955 w 277040"/>
                  <a:gd name="connsiteY3" fmla="*/ 59217 h 106138"/>
                  <a:gd name="connsiteX4" fmla="*/ 77974 w 277040"/>
                  <a:gd name="connsiteY4" fmla="*/ 93368 h 106138"/>
                  <a:gd name="connsiteX5" fmla="*/ 167330 w 277040"/>
                  <a:gd name="connsiteY5" fmla="*/ 104242 h 106138"/>
                  <a:gd name="connsiteX6" fmla="*/ 276661 w 277040"/>
                  <a:gd name="connsiteY6" fmla="*/ 38942 h 106138"/>
                  <a:gd name="connsiteX0" fmla="*/ 200660 w 201039"/>
                  <a:gd name="connsiteY0" fmla="*/ 38942 h 107259"/>
                  <a:gd name="connsiteX1" fmla="*/ 121525 w 201039"/>
                  <a:gd name="connsiteY1" fmla="*/ 5528 h 107259"/>
                  <a:gd name="connsiteX2" fmla="*/ 36899 w 201039"/>
                  <a:gd name="connsiteY2" fmla="*/ 18155 h 107259"/>
                  <a:gd name="connsiteX3" fmla="*/ 1973 w 201039"/>
                  <a:gd name="connsiteY3" fmla="*/ 93368 h 107259"/>
                  <a:gd name="connsiteX4" fmla="*/ 91329 w 201039"/>
                  <a:gd name="connsiteY4" fmla="*/ 104242 h 107259"/>
                  <a:gd name="connsiteX5" fmla="*/ 200660 w 201039"/>
                  <a:gd name="connsiteY5" fmla="*/ 38942 h 107259"/>
                  <a:gd name="connsiteX0" fmla="*/ 223149 w 223528"/>
                  <a:gd name="connsiteY0" fmla="*/ 38942 h 116661"/>
                  <a:gd name="connsiteX1" fmla="*/ 144014 w 223528"/>
                  <a:gd name="connsiteY1" fmla="*/ 5528 h 116661"/>
                  <a:gd name="connsiteX2" fmla="*/ 59388 w 223528"/>
                  <a:gd name="connsiteY2" fmla="*/ 18155 h 116661"/>
                  <a:gd name="connsiteX3" fmla="*/ 1141 w 223528"/>
                  <a:gd name="connsiteY3" fmla="*/ 110571 h 116661"/>
                  <a:gd name="connsiteX4" fmla="*/ 113818 w 223528"/>
                  <a:gd name="connsiteY4" fmla="*/ 104242 h 116661"/>
                  <a:gd name="connsiteX5" fmla="*/ 223149 w 223528"/>
                  <a:gd name="connsiteY5" fmla="*/ 38942 h 116661"/>
                  <a:gd name="connsiteX0" fmla="*/ 222489 w 222868"/>
                  <a:gd name="connsiteY0" fmla="*/ 38942 h 130877"/>
                  <a:gd name="connsiteX1" fmla="*/ 143354 w 222868"/>
                  <a:gd name="connsiteY1" fmla="*/ 5528 h 130877"/>
                  <a:gd name="connsiteX2" fmla="*/ 58728 w 222868"/>
                  <a:gd name="connsiteY2" fmla="*/ 18155 h 130877"/>
                  <a:gd name="connsiteX3" fmla="*/ 481 w 222868"/>
                  <a:gd name="connsiteY3" fmla="*/ 110571 h 130877"/>
                  <a:gd name="connsiteX4" fmla="*/ 91990 w 222868"/>
                  <a:gd name="connsiteY4" fmla="*/ 130670 h 130877"/>
                  <a:gd name="connsiteX5" fmla="*/ 113158 w 222868"/>
                  <a:gd name="connsiteY5" fmla="*/ 104242 h 130877"/>
                  <a:gd name="connsiteX6" fmla="*/ 222489 w 222868"/>
                  <a:gd name="connsiteY6" fmla="*/ 38942 h 130877"/>
                  <a:gd name="connsiteX0" fmla="*/ 222256 w 222635"/>
                  <a:gd name="connsiteY0" fmla="*/ 39140 h 130934"/>
                  <a:gd name="connsiteX1" fmla="*/ 143121 w 222635"/>
                  <a:gd name="connsiteY1" fmla="*/ 5726 h 130934"/>
                  <a:gd name="connsiteX2" fmla="*/ 58495 w 222635"/>
                  <a:gd name="connsiteY2" fmla="*/ 18353 h 130934"/>
                  <a:gd name="connsiteX3" fmla="*/ 64522 w 222635"/>
                  <a:gd name="connsiteY3" fmla="*/ 73965 h 130934"/>
                  <a:gd name="connsiteX4" fmla="*/ 248 w 222635"/>
                  <a:gd name="connsiteY4" fmla="*/ 110769 h 130934"/>
                  <a:gd name="connsiteX5" fmla="*/ 91757 w 222635"/>
                  <a:gd name="connsiteY5" fmla="*/ 130868 h 130934"/>
                  <a:gd name="connsiteX6" fmla="*/ 112925 w 222635"/>
                  <a:gd name="connsiteY6" fmla="*/ 104440 h 130934"/>
                  <a:gd name="connsiteX7" fmla="*/ 222256 w 222635"/>
                  <a:gd name="connsiteY7" fmla="*/ 39140 h 130934"/>
                  <a:gd name="connsiteX0" fmla="*/ 222254 w 222633"/>
                  <a:gd name="connsiteY0" fmla="*/ 38748 h 130542"/>
                  <a:gd name="connsiteX1" fmla="*/ 143119 w 222633"/>
                  <a:gd name="connsiteY1" fmla="*/ 5334 h 130542"/>
                  <a:gd name="connsiteX2" fmla="*/ 58493 w 222633"/>
                  <a:gd name="connsiteY2" fmla="*/ 17961 h 130542"/>
                  <a:gd name="connsiteX3" fmla="*/ 98206 w 222633"/>
                  <a:gd name="connsiteY3" fmla="*/ 48725 h 130542"/>
                  <a:gd name="connsiteX4" fmla="*/ 64520 w 222633"/>
                  <a:gd name="connsiteY4" fmla="*/ 73573 h 130542"/>
                  <a:gd name="connsiteX5" fmla="*/ 246 w 222633"/>
                  <a:gd name="connsiteY5" fmla="*/ 110377 h 130542"/>
                  <a:gd name="connsiteX6" fmla="*/ 91755 w 222633"/>
                  <a:gd name="connsiteY6" fmla="*/ 130476 h 130542"/>
                  <a:gd name="connsiteX7" fmla="*/ 112923 w 222633"/>
                  <a:gd name="connsiteY7" fmla="*/ 104048 h 130542"/>
                  <a:gd name="connsiteX8" fmla="*/ 222254 w 222633"/>
                  <a:gd name="connsiteY8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12923 w 222376"/>
                  <a:gd name="connsiteY7" fmla="*/ 104048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54 w 222376"/>
                  <a:gd name="connsiteY0" fmla="*/ 38748 h 130542"/>
                  <a:gd name="connsiteX1" fmla="*/ 143119 w 222376"/>
                  <a:gd name="connsiteY1" fmla="*/ 5334 h 130542"/>
                  <a:gd name="connsiteX2" fmla="*/ 58493 w 222376"/>
                  <a:gd name="connsiteY2" fmla="*/ 17961 h 130542"/>
                  <a:gd name="connsiteX3" fmla="*/ 98206 w 222376"/>
                  <a:gd name="connsiteY3" fmla="*/ 48725 h 130542"/>
                  <a:gd name="connsiteX4" fmla="*/ 64520 w 222376"/>
                  <a:gd name="connsiteY4" fmla="*/ 73573 h 130542"/>
                  <a:gd name="connsiteX5" fmla="*/ 246 w 222376"/>
                  <a:gd name="connsiteY5" fmla="*/ 110377 h 130542"/>
                  <a:gd name="connsiteX6" fmla="*/ 91755 w 222376"/>
                  <a:gd name="connsiteY6" fmla="*/ 130476 h 130542"/>
                  <a:gd name="connsiteX7" fmla="*/ 159574 w 222376"/>
                  <a:gd name="connsiteY7" fmla="*/ 100432 h 130542"/>
                  <a:gd name="connsiteX8" fmla="*/ 160091 w 222376"/>
                  <a:gd name="connsiteY8" fmla="*/ 60819 h 130542"/>
                  <a:gd name="connsiteX9" fmla="*/ 222254 w 222376"/>
                  <a:gd name="connsiteY9" fmla="*/ 38748 h 130542"/>
                  <a:gd name="connsiteX0" fmla="*/ 222270 w 222392"/>
                  <a:gd name="connsiteY0" fmla="*/ 38748 h 113405"/>
                  <a:gd name="connsiteX1" fmla="*/ 143135 w 222392"/>
                  <a:gd name="connsiteY1" fmla="*/ 5334 h 113405"/>
                  <a:gd name="connsiteX2" fmla="*/ 58509 w 222392"/>
                  <a:gd name="connsiteY2" fmla="*/ 17961 h 113405"/>
                  <a:gd name="connsiteX3" fmla="*/ 98222 w 222392"/>
                  <a:gd name="connsiteY3" fmla="*/ 48725 h 113405"/>
                  <a:gd name="connsiteX4" fmla="*/ 64536 w 222392"/>
                  <a:gd name="connsiteY4" fmla="*/ 73573 h 113405"/>
                  <a:gd name="connsiteX5" fmla="*/ 262 w 222392"/>
                  <a:gd name="connsiteY5" fmla="*/ 110377 h 113405"/>
                  <a:gd name="connsiteX6" fmla="*/ 92736 w 222392"/>
                  <a:gd name="connsiteY6" fmla="*/ 110516 h 113405"/>
                  <a:gd name="connsiteX7" fmla="*/ 159590 w 222392"/>
                  <a:gd name="connsiteY7" fmla="*/ 100432 h 113405"/>
                  <a:gd name="connsiteX8" fmla="*/ 160107 w 222392"/>
                  <a:gd name="connsiteY8" fmla="*/ 60819 h 113405"/>
                  <a:gd name="connsiteX9" fmla="*/ 222270 w 222392"/>
                  <a:gd name="connsiteY9" fmla="*/ 38748 h 113405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59615 w 222417"/>
                  <a:gd name="connsiteY7" fmla="*/ 100432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295 w 222417"/>
                  <a:gd name="connsiteY0" fmla="*/ 38748 h 125058"/>
                  <a:gd name="connsiteX1" fmla="*/ 143160 w 222417"/>
                  <a:gd name="connsiteY1" fmla="*/ 5334 h 125058"/>
                  <a:gd name="connsiteX2" fmla="*/ 58534 w 222417"/>
                  <a:gd name="connsiteY2" fmla="*/ 17961 h 125058"/>
                  <a:gd name="connsiteX3" fmla="*/ 98247 w 222417"/>
                  <a:gd name="connsiteY3" fmla="*/ 48725 h 125058"/>
                  <a:gd name="connsiteX4" fmla="*/ 64561 w 222417"/>
                  <a:gd name="connsiteY4" fmla="*/ 73573 h 125058"/>
                  <a:gd name="connsiteX5" fmla="*/ 287 w 222417"/>
                  <a:gd name="connsiteY5" fmla="*/ 110377 h 125058"/>
                  <a:gd name="connsiteX6" fmla="*/ 94063 w 222417"/>
                  <a:gd name="connsiteY6" fmla="*/ 124954 h 125058"/>
                  <a:gd name="connsiteX7" fmla="*/ 141793 w 222417"/>
                  <a:gd name="connsiteY7" fmla="*/ 86633 h 125058"/>
                  <a:gd name="connsiteX8" fmla="*/ 160132 w 222417"/>
                  <a:gd name="connsiteY8" fmla="*/ 60819 h 125058"/>
                  <a:gd name="connsiteX9" fmla="*/ 222295 w 222417"/>
                  <a:gd name="connsiteY9" fmla="*/ 38748 h 125058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41519 w 222143"/>
                  <a:gd name="connsiteY7" fmla="*/ 86633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143"/>
                  <a:gd name="connsiteY0" fmla="*/ 38748 h 125046"/>
                  <a:gd name="connsiteX1" fmla="*/ 142886 w 222143"/>
                  <a:gd name="connsiteY1" fmla="*/ 5334 h 125046"/>
                  <a:gd name="connsiteX2" fmla="*/ 58260 w 222143"/>
                  <a:gd name="connsiteY2" fmla="*/ 17961 h 125046"/>
                  <a:gd name="connsiteX3" fmla="*/ 97973 w 222143"/>
                  <a:gd name="connsiteY3" fmla="*/ 48725 h 125046"/>
                  <a:gd name="connsiteX4" fmla="*/ 86967 w 222143"/>
                  <a:gd name="connsiteY4" fmla="*/ 79940 h 125046"/>
                  <a:gd name="connsiteX5" fmla="*/ 13 w 222143"/>
                  <a:gd name="connsiteY5" fmla="*/ 110377 h 125046"/>
                  <a:gd name="connsiteX6" fmla="*/ 93789 w 222143"/>
                  <a:gd name="connsiteY6" fmla="*/ 124954 h 125046"/>
                  <a:gd name="connsiteX7" fmla="*/ 169705 w 222143"/>
                  <a:gd name="connsiteY7" fmla="*/ 92786 h 125046"/>
                  <a:gd name="connsiteX8" fmla="*/ 159858 w 222143"/>
                  <a:gd name="connsiteY8" fmla="*/ 60819 h 125046"/>
                  <a:gd name="connsiteX9" fmla="*/ 222021 w 222143"/>
                  <a:gd name="connsiteY9" fmla="*/ 38748 h 125046"/>
                  <a:gd name="connsiteX0" fmla="*/ 222021 w 222844"/>
                  <a:gd name="connsiteY0" fmla="*/ 38748 h 125046"/>
                  <a:gd name="connsiteX1" fmla="*/ 142886 w 222844"/>
                  <a:gd name="connsiteY1" fmla="*/ 5334 h 125046"/>
                  <a:gd name="connsiteX2" fmla="*/ 58260 w 222844"/>
                  <a:gd name="connsiteY2" fmla="*/ 17961 h 125046"/>
                  <a:gd name="connsiteX3" fmla="*/ 97973 w 222844"/>
                  <a:gd name="connsiteY3" fmla="*/ 48725 h 125046"/>
                  <a:gd name="connsiteX4" fmla="*/ 86967 w 222844"/>
                  <a:gd name="connsiteY4" fmla="*/ 79940 h 125046"/>
                  <a:gd name="connsiteX5" fmla="*/ 13 w 222844"/>
                  <a:gd name="connsiteY5" fmla="*/ 110377 h 125046"/>
                  <a:gd name="connsiteX6" fmla="*/ 93789 w 222844"/>
                  <a:gd name="connsiteY6" fmla="*/ 124954 h 125046"/>
                  <a:gd name="connsiteX7" fmla="*/ 169705 w 222844"/>
                  <a:gd name="connsiteY7" fmla="*/ 92786 h 125046"/>
                  <a:gd name="connsiteX8" fmla="*/ 179946 w 222844"/>
                  <a:gd name="connsiteY8" fmla="*/ 69097 h 125046"/>
                  <a:gd name="connsiteX9" fmla="*/ 222021 w 222844"/>
                  <a:gd name="connsiteY9" fmla="*/ 38748 h 125046"/>
                  <a:gd name="connsiteX0" fmla="*/ 279570 w 280393"/>
                  <a:gd name="connsiteY0" fmla="*/ 38748 h 125046"/>
                  <a:gd name="connsiteX1" fmla="*/ 200435 w 280393"/>
                  <a:gd name="connsiteY1" fmla="*/ 5334 h 125046"/>
                  <a:gd name="connsiteX2" fmla="*/ 115809 w 280393"/>
                  <a:gd name="connsiteY2" fmla="*/ 17961 h 125046"/>
                  <a:gd name="connsiteX3" fmla="*/ 8 w 280393"/>
                  <a:gd name="connsiteY3" fmla="*/ 40255 h 125046"/>
                  <a:gd name="connsiteX4" fmla="*/ 144516 w 280393"/>
                  <a:gd name="connsiteY4" fmla="*/ 79940 h 125046"/>
                  <a:gd name="connsiteX5" fmla="*/ 57562 w 280393"/>
                  <a:gd name="connsiteY5" fmla="*/ 110377 h 125046"/>
                  <a:gd name="connsiteX6" fmla="*/ 151338 w 280393"/>
                  <a:gd name="connsiteY6" fmla="*/ 124954 h 125046"/>
                  <a:gd name="connsiteX7" fmla="*/ 227254 w 280393"/>
                  <a:gd name="connsiteY7" fmla="*/ 92786 h 125046"/>
                  <a:gd name="connsiteX8" fmla="*/ 237495 w 280393"/>
                  <a:gd name="connsiteY8" fmla="*/ 69097 h 125046"/>
                  <a:gd name="connsiteX9" fmla="*/ 279570 w 280393"/>
                  <a:gd name="connsiteY9" fmla="*/ 38748 h 125046"/>
                  <a:gd name="connsiteX0" fmla="*/ 334029 w 334852"/>
                  <a:gd name="connsiteY0" fmla="*/ 38748 h 125035"/>
                  <a:gd name="connsiteX1" fmla="*/ 254894 w 334852"/>
                  <a:gd name="connsiteY1" fmla="*/ 5334 h 125035"/>
                  <a:gd name="connsiteX2" fmla="*/ 170268 w 334852"/>
                  <a:gd name="connsiteY2" fmla="*/ 17961 h 125035"/>
                  <a:gd name="connsiteX3" fmla="*/ 54467 w 334852"/>
                  <a:gd name="connsiteY3" fmla="*/ 40255 h 125035"/>
                  <a:gd name="connsiteX4" fmla="*/ 703 w 334852"/>
                  <a:gd name="connsiteY4" fmla="*/ 87614 h 125035"/>
                  <a:gd name="connsiteX5" fmla="*/ 112021 w 334852"/>
                  <a:gd name="connsiteY5" fmla="*/ 110377 h 125035"/>
                  <a:gd name="connsiteX6" fmla="*/ 205797 w 334852"/>
                  <a:gd name="connsiteY6" fmla="*/ 124954 h 125035"/>
                  <a:gd name="connsiteX7" fmla="*/ 281713 w 334852"/>
                  <a:gd name="connsiteY7" fmla="*/ 92786 h 125035"/>
                  <a:gd name="connsiteX8" fmla="*/ 291954 w 334852"/>
                  <a:gd name="connsiteY8" fmla="*/ 69097 h 125035"/>
                  <a:gd name="connsiteX9" fmla="*/ 334029 w 334852"/>
                  <a:gd name="connsiteY9" fmla="*/ 38748 h 125035"/>
                  <a:gd name="connsiteX0" fmla="*/ 333998 w 334821"/>
                  <a:gd name="connsiteY0" fmla="*/ 38748 h 161553"/>
                  <a:gd name="connsiteX1" fmla="*/ 254863 w 334821"/>
                  <a:gd name="connsiteY1" fmla="*/ 5334 h 161553"/>
                  <a:gd name="connsiteX2" fmla="*/ 170237 w 334821"/>
                  <a:gd name="connsiteY2" fmla="*/ 17961 h 161553"/>
                  <a:gd name="connsiteX3" fmla="*/ 54436 w 334821"/>
                  <a:gd name="connsiteY3" fmla="*/ 40255 h 161553"/>
                  <a:gd name="connsiteX4" fmla="*/ 672 w 334821"/>
                  <a:gd name="connsiteY4" fmla="*/ 87614 h 161553"/>
                  <a:gd name="connsiteX5" fmla="*/ 116543 w 334821"/>
                  <a:gd name="connsiteY5" fmla="*/ 160913 h 161553"/>
                  <a:gd name="connsiteX6" fmla="*/ 205766 w 334821"/>
                  <a:gd name="connsiteY6" fmla="*/ 124954 h 161553"/>
                  <a:gd name="connsiteX7" fmla="*/ 281682 w 334821"/>
                  <a:gd name="connsiteY7" fmla="*/ 92786 h 161553"/>
                  <a:gd name="connsiteX8" fmla="*/ 291923 w 334821"/>
                  <a:gd name="connsiteY8" fmla="*/ 69097 h 161553"/>
                  <a:gd name="connsiteX9" fmla="*/ 333998 w 334821"/>
                  <a:gd name="connsiteY9" fmla="*/ 38748 h 161553"/>
                  <a:gd name="connsiteX0" fmla="*/ 333998 w 348414"/>
                  <a:gd name="connsiteY0" fmla="*/ 38748 h 161553"/>
                  <a:gd name="connsiteX1" fmla="*/ 254863 w 348414"/>
                  <a:gd name="connsiteY1" fmla="*/ 5334 h 161553"/>
                  <a:gd name="connsiteX2" fmla="*/ 170237 w 348414"/>
                  <a:gd name="connsiteY2" fmla="*/ 17961 h 161553"/>
                  <a:gd name="connsiteX3" fmla="*/ 54436 w 348414"/>
                  <a:gd name="connsiteY3" fmla="*/ 40255 h 161553"/>
                  <a:gd name="connsiteX4" fmla="*/ 672 w 348414"/>
                  <a:gd name="connsiteY4" fmla="*/ 87614 h 161553"/>
                  <a:gd name="connsiteX5" fmla="*/ 116543 w 348414"/>
                  <a:gd name="connsiteY5" fmla="*/ 160913 h 161553"/>
                  <a:gd name="connsiteX6" fmla="*/ 205766 w 348414"/>
                  <a:gd name="connsiteY6" fmla="*/ 124954 h 161553"/>
                  <a:gd name="connsiteX7" fmla="*/ 281682 w 348414"/>
                  <a:gd name="connsiteY7" fmla="*/ 92786 h 161553"/>
                  <a:gd name="connsiteX8" fmla="*/ 337936 w 348414"/>
                  <a:gd name="connsiteY8" fmla="*/ 89051 h 161553"/>
                  <a:gd name="connsiteX9" fmla="*/ 333998 w 348414"/>
                  <a:gd name="connsiteY9" fmla="*/ 38748 h 161553"/>
                  <a:gd name="connsiteX0" fmla="*/ 414315 w 416071"/>
                  <a:gd name="connsiteY0" fmla="*/ 1542 h 214388"/>
                  <a:gd name="connsiteX1" fmla="*/ 254863 w 416071"/>
                  <a:gd name="connsiteY1" fmla="*/ 58169 h 214388"/>
                  <a:gd name="connsiteX2" fmla="*/ 170237 w 416071"/>
                  <a:gd name="connsiteY2" fmla="*/ 70796 h 214388"/>
                  <a:gd name="connsiteX3" fmla="*/ 54436 w 416071"/>
                  <a:gd name="connsiteY3" fmla="*/ 93090 h 214388"/>
                  <a:gd name="connsiteX4" fmla="*/ 672 w 416071"/>
                  <a:gd name="connsiteY4" fmla="*/ 140449 h 214388"/>
                  <a:gd name="connsiteX5" fmla="*/ 116543 w 416071"/>
                  <a:gd name="connsiteY5" fmla="*/ 213748 h 214388"/>
                  <a:gd name="connsiteX6" fmla="*/ 205766 w 416071"/>
                  <a:gd name="connsiteY6" fmla="*/ 177789 h 214388"/>
                  <a:gd name="connsiteX7" fmla="*/ 281682 w 416071"/>
                  <a:gd name="connsiteY7" fmla="*/ 145621 h 214388"/>
                  <a:gd name="connsiteX8" fmla="*/ 337936 w 416071"/>
                  <a:gd name="connsiteY8" fmla="*/ 141886 h 214388"/>
                  <a:gd name="connsiteX9" fmla="*/ 414315 w 416071"/>
                  <a:gd name="connsiteY9" fmla="*/ 1542 h 214388"/>
                  <a:gd name="connsiteX0" fmla="*/ 414315 w 471279"/>
                  <a:gd name="connsiteY0" fmla="*/ 406 h 213252"/>
                  <a:gd name="connsiteX1" fmla="*/ 254863 w 471279"/>
                  <a:gd name="connsiteY1" fmla="*/ 57033 h 213252"/>
                  <a:gd name="connsiteX2" fmla="*/ 170237 w 471279"/>
                  <a:gd name="connsiteY2" fmla="*/ 69660 h 213252"/>
                  <a:gd name="connsiteX3" fmla="*/ 54436 w 471279"/>
                  <a:gd name="connsiteY3" fmla="*/ 91954 h 213252"/>
                  <a:gd name="connsiteX4" fmla="*/ 672 w 471279"/>
                  <a:gd name="connsiteY4" fmla="*/ 139313 h 213252"/>
                  <a:gd name="connsiteX5" fmla="*/ 116543 w 471279"/>
                  <a:gd name="connsiteY5" fmla="*/ 212612 h 213252"/>
                  <a:gd name="connsiteX6" fmla="*/ 205766 w 471279"/>
                  <a:gd name="connsiteY6" fmla="*/ 176653 h 213252"/>
                  <a:gd name="connsiteX7" fmla="*/ 281682 w 471279"/>
                  <a:gd name="connsiteY7" fmla="*/ 144485 h 213252"/>
                  <a:gd name="connsiteX8" fmla="*/ 337936 w 471279"/>
                  <a:gd name="connsiteY8" fmla="*/ 140750 h 213252"/>
                  <a:gd name="connsiteX9" fmla="*/ 468379 w 471279"/>
                  <a:gd name="connsiteY9" fmla="*/ 97130 h 213252"/>
                  <a:gd name="connsiteX10" fmla="*/ 414315 w 471279"/>
                  <a:gd name="connsiteY10" fmla="*/ 406 h 213252"/>
                  <a:gd name="connsiteX0" fmla="*/ 414315 w 483666"/>
                  <a:gd name="connsiteY0" fmla="*/ 885 h 213731"/>
                  <a:gd name="connsiteX1" fmla="*/ 254863 w 483666"/>
                  <a:gd name="connsiteY1" fmla="*/ 57512 h 213731"/>
                  <a:gd name="connsiteX2" fmla="*/ 170237 w 483666"/>
                  <a:gd name="connsiteY2" fmla="*/ 70139 h 213731"/>
                  <a:gd name="connsiteX3" fmla="*/ 54436 w 483666"/>
                  <a:gd name="connsiteY3" fmla="*/ 92433 h 213731"/>
                  <a:gd name="connsiteX4" fmla="*/ 672 w 483666"/>
                  <a:gd name="connsiteY4" fmla="*/ 139792 h 213731"/>
                  <a:gd name="connsiteX5" fmla="*/ 116543 w 483666"/>
                  <a:gd name="connsiteY5" fmla="*/ 213091 h 213731"/>
                  <a:gd name="connsiteX6" fmla="*/ 205766 w 483666"/>
                  <a:gd name="connsiteY6" fmla="*/ 177132 h 213731"/>
                  <a:gd name="connsiteX7" fmla="*/ 281682 w 483666"/>
                  <a:gd name="connsiteY7" fmla="*/ 144964 h 213731"/>
                  <a:gd name="connsiteX8" fmla="*/ 337936 w 483666"/>
                  <a:gd name="connsiteY8" fmla="*/ 141229 h 213731"/>
                  <a:gd name="connsiteX9" fmla="*/ 481345 w 483666"/>
                  <a:gd name="connsiteY9" fmla="*/ 118840 h 213731"/>
                  <a:gd name="connsiteX10" fmla="*/ 414315 w 483666"/>
                  <a:gd name="connsiteY10" fmla="*/ 885 h 213731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70237 w 483827"/>
                  <a:gd name="connsiteY2" fmla="*/ 76360 h 219952"/>
                  <a:gd name="connsiteX3" fmla="*/ 54436 w 483827"/>
                  <a:gd name="connsiteY3" fmla="*/ 98654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39771 w 483827"/>
                  <a:gd name="connsiteY2" fmla="*/ 44939 h 219952"/>
                  <a:gd name="connsiteX3" fmla="*/ 54436 w 483827"/>
                  <a:gd name="connsiteY3" fmla="*/ 98654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14315 w 483827"/>
                  <a:gd name="connsiteY0" fmla="*/ 7106 h 219952"/>
                  <a:gd name="connsiteX1" fmla="*/ 232813 w 483827"/>
                  <a:gd name="connsiteY1" fmla="*/ 3009 h 219952"/>
                  <a:gd name="connsiteX2" fmla="*/ 139771 w 483827"/>
                  <a:gd name="connsiteY2" fmla="*/ 44939 h 219952"/>
                  <a:gd name="connsiteX3" fmla="*/ 79069 w 483827"/>
                  <a:gd name="connsiteY3" fmla="*/ 126679 h 219952"/>
                  <a:gd name="connsiteX4" fmla="*/ 672 w 483827"/>
                  <a:gd name="connsiteY4" fmla="*/ 146013 h 219952"/>
                  <a:gd name="connsiteX5" fmla="*/ 116543 w 483827"/>
                  <a:gd name="connsiteY5" fmla="*/ 219312 h 219952"/>
                  <a:gd name="connsiteX6" fmla="*/ 205766 w 483827"/>
                  <a:gd name="connsiteY6" fmla="*/ 183353 h 219952"/>
                  <a:gd name="connsiteX7" fmla="*/ 281682 w 483827"/>
                  <a:gd name="connsiteY7" fmla="*/ 151185 h 219952"/>
                  <a:gd name="connsiteX8" fmla="*/ 337936 w 483827"/>
                  <a:gd name="connsiteY8" fmla="*/ 147450 h 219952"/>
                  <a:gd name="connsiteX9" fmla="*/ 481345 w 483827"/>
                  <a:gd name="connsiteY9" fmla="*/ 125061 h 219952"/>
                  <a:gd name="connsiteX10" fmla="*/ 414315 w 483827"/>
                  <a:gd name="connsiteY10" fmla="*/ 7106 h 219952"/>
                  <a:gd name="connsiteX0" fmla="*/ 447193 w 516705"/>
                  <a:gd name="connsiteY0" fmla="*/ 7106 h 221017"/>
                  <a:gd name="connsiteX1" fmla="*/ 265691 w 516705"/>
                  <a:gd name="connsiteY1" fmla="*/ 3009 h 221017"/>
                  <a:gd name="connsiteX2" fmla="*/ 172649 w 516705"/>
                  <a:gd name="connsiteY2" fmla="*/ 44939 h 221017"/>
                  <a:gd name="connsiteX3" fmla="*/ 111947 w 516705"/>
                  <a:gd name="connsiteY3" fmla="*/ 126679 h 221017"/>
                  <a:gd name="connsiteX4" fmla="*/ 525 w 516705"/>
                  <a:gd name="connsiteY4" fmla="*/ 208869 h 221017"/>
                  <a:gd name="connsiteX5" fmla="*/ 149421 w 516705"/>
                  <a:gd name="connsiteY5" fmla="*/ 219312 h 221017"/>
                  <a:gd name="connsiteX6" fmla="*/ 238644 w 516705"/>
                  <a:gd name="connsiteY6" fmla="*/ 183353 h 221017"/>
                  <a:gd name="connsiteX7" fmla="*/ 314560 w 516705"/>
                  <a:gd name="connsiteY7" fmla="*/ 151185 h 221017"/>
                  <a:gd name="connsiteX8" fmla="*/ 370814 w 516705"/>
                  <a:gd name="connsiteY8" fmla="*/ 147450 h 221017"/>
                  <a:gd name="connsiteX9" fmla="*/ 514223 w 516705"/>
                  <a:gd name="connsiteY9" fmla="*/ 125061 h 221017"/>
                  <a:gd name="connsiteX10" fmla="*/ 447193 w 516705"/>
                  <a:gd name="connsiteY10" fmla="*/ 7106 h 221017"/>
                  <a:gd name="connsiteX0" fmla="*/ 447383 w 516895"/>
                  <a:gd name="connsiteY0" fmla="*/ 7106 h 275165"/>
                  <a:gd name="connsiteX1" fmla="*/ 265881 w 516895"/>
                  <a:gd name="connsiteY1" fmla="*/ 3009 h 275165"/>
                  <a:gd name="connsiteX2" fmla="*/ 172839 w 516895"/>
                  <a:gd name="connsiteY2" fmla="*/ 44939 h 275165"/>
                  <a:gd name="connsiteX3" fmla="*/ 112137 w 516895"/>
                  <a:gd name="connsiteY3" fmla="*/ 126679 h 275165"/>
                  <a:gd name="connsiteX4" fmla="*/ 715 w 516895"/>
                  <a:gd name="connsiteY4" fmla="*/ 208869 h 275165"/>
                  <a:gd name="connsiteX5" fmla="*/ 115937 w 516895"/>
                  <a:gd name="connsiteY5" fmla="*/ 274948 h 275165"/>
                  <a:gd name="connsiteX6" fmla="*/ 238834 w 516895"/>
                  <a:gd name="connsiteY6" fmla="*/ 183353 h 275165"/>
                  <a:gd name="connsiteX7" fmla="*/ 314750 w 516895"/>
                  <a:gd name="connsiteY7" fmla="*/ 151185 h 275165"/>
                  <a:gd name="connsiteX8" fmla="*/ 371004 w 516895"/>
                  <a:gd name="connsiteY8" fmla="*/ 147450 h 275165"/>
                  <a:gd name="connsiteX9" fmla="*/ 514413 w 516895"/>
                  <a:gd name="connsiteY9" fmla="*/ 125061 h 275165"/>
                  <a:gd name="connsiteX10" fmla="*/ 447383 w 516895"/>
                  <a:gd name="connsiteY10" fmla="*/ 7106 h 275165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71309 w 517200"/>
                  <a:gd name="connsiteY8" fmla="*/ 14745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71309 w 517200"/>
                  <a:gd name="connsiteY8" fmla="*/ 14745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15055 w 517200"/>
                  <a:gd name="connsiteY7" fmla="*/ 151185 h 275176"/>
                  <a:gd name="connsiteX8" fmla="*/ 338892 w 517200"/>
                  <a:gd name="connsiteY8" fmla="*/ 9437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688 w 517200"/>
                  <a:gd name="connsiteY0" fmla="*/ 7106 h 275176"/>
                  <a:gd name="connsiteX1" fmla="*/ 266186 w 517200"/>
                  <a:gd name="connsiteY1" fmla="*/ 3009 h 275176"/>
                  <a:gd name="connsiteX2" fmla="*/ 173144 w 517200"/>
                  <a:gd name="connsiteY2" fmla="*/ 44939 h 275176"/>
                  <a:gd name="connsiteX3" fmla="*/ 112442 w 517200"/>
                  <a:gd name="connsiteY3" fmla="*/ 126679 h 275176"/>
                  <a:gd name="connsiteX4" fmla="*/ 1020 w 517200"/>
                  <a:gd name="connsiteY4" fmla="*/ 208869 h 275176"/>
                  <a:gd name="connsiteX5" fmla="*/ 116242 w 517200"/>
                  <a:gd name="connsiteY5" fmla="*/ 274948 h 275176"/>
                  <a:gd name="connsiteX6" fmla="*/ 239139 w 517200"/>
                  <a:gd name="connsiteY6" fmla="*/ 183353 h 275176"/>
                  <a:gd name="connsiteX7" fmla="*/ 355234 w 517200"/>
                  <a:gd name="connsiteY7" fmla="*/ 167742 h 275176"/>
                  <a:gd name="connsiteX8" fmla="*/ 338892 w 517200"/>
                  <a:gd name="connsiteY8" fmla="*/ 94370 h 275176"/>
                  <a:gd name="connsiteX9" fmla="*/ 514718 w 517200"/>
                  <a:gd name="connsiteY9" fmla="*/ 125061 h 275176"/>
                  <a:gd name="connsiteX10" fmla="*/ 447688 w 517200"/>
                  <a:gd name="connsiteY10" fmla="*/ 7106 h 275176"/>
                  <a:gd name="connsiteX0" fmla="*/ 447447 w 516959"/>
                  <a:gd name="connsiteY0" fmla="*/ 7106 h 274959"/>
                  <a:gd name="connsiteX1" fmla="*/ 265945 w 516959"/>
                  <a:gd name="connsiteY1" fmla="*/ 3009 h 274959"/>
                  <a:gd name="connsiteX2" fmla="*/ 172903 w 516959"/>
                  <a:gd name="connsiteY2" fmla="*/ 44939 h 274959"/>
                  <a:gd name="connsiteX3" fmla="*/ 112201 w 516959"/>
                  <a:gd name="connsiteY3" fmla="*/ 126679 h 274959"/>
                  <a:gd name="connsiteX4" fmla="*/ 779 w 516959"/>
                  <a:gd name="connsiteY4" fmla="*/ 208869 h 274959"/>
                  <a:gd name="connsiteX5" fmla="*/ 116001 w 516959"/>
                  <a:gd name="connsiteY5" fmla="*/ 274948 h 274959"/>
                  <a:gd name="connsiteX6" fmla="*/ 284911 w 516959"/>
                  <a:gd name="connsiteY6" fmla="*/ 203306 h 274959"/>
                  <a:gd name="connsiteX7" fmla="*/ 354993 w 516959"/>
                  <a:gd name="connsiteY7" fmla="*/ 167742 h 274959"/>
                  <a:gd name="connsiteX8" fmla="*/ 338651 w 516959"/>
                  <a:gd name="connsiteY8" fmla="*/ 94370 h 274959"/>
                  <a:gd name="connsiteX9" fmla="*/ 514477 w 516959"/>
                  <a:gd name="connsiteY9" fmla="*/ 125061 h 274959"/>
                  <a:gd name="connsiteX10" fmla="*/ 447447 w 516959"/>
                  <a:gd name="connsiteY10" fmla="*/ 7106 h 274959"/>
                  <a:gd name="connsiteX0" fmla="*/ 447447 w 516959"/>
                  <a:gd name="connsiteY0" fmla="*/ 7106 h 274959"/>
                  <a:gd name="connsiteX1" fmla="*/ 265945 w 516959"/>
                  <a:gd name="connsiteY1" fmla="*/ 3009 h 274959"/>
                  <a:gd name="connsiteX2" fmla="*/ 172903 w 516959"/>
                  <a:gd name="connsiteY2" fmla="*/ 44939 h 274959"/>
                  <a:gd name="connsiteX3" fmla="*/ 112201 w 516959"/>
                  <a:gd name="connsiteY3" fmla="*/ 126679 h 274959"/>
                  <a:gd name="connsiteX4" fmla="*/ 779 w 516959"/>
                  <a:gd name="connsiteY4" fmla="*/ 208869 h 274959"/>
                  <a:gd name="connsiteX5" fmla="*/ 116001 w 516959"/>
                  <a:gd name="connsiteY5" fmla="*/ 274948 h 274959"/>
                  <a:gd name="connsiteX6" fmla="*/ 284911 w 516959"/>
                  <a:gd name="connsiteY6" fmla="*/ 203306 h 274959"/>
                  <a:gd name="connsiteX7" fmla="*/ 354993 w 516959"/>
                  <a:gd name="connsiteY7" fmla="*/ 167742 h 274959"/>
                  <a:gd name="connsiteX8" fmla="*/ 385312 w 516959"/>
                  <a:gd name="connsiteY8" fmla="*/ 121542 h 274959"/>
                  <a:gd name="connsiteX9" fmla="*/ 514477 w 516959"/>
                  <a:gd name="connsiteY9" fmla="*/ 125061 h 274959"/>
                  <a:gd name="connsiteX10" fmla="*/ 447447 w 516959"/>
                  <a:gd name="connsiteY10" fmla="*/ 7106 h 274959"/>
                  <a:gd name="connsiteX0" fmla="*/ 447375 w 516887"/>
                  <a:gd name="connsiteY0" fmla="*/ 7106 h 275528"/>
                  <a:gd name="connsiteX1" fmla="*/ 265873 w 516887"/>
                  <a:gd name="connsiteY1" fmla="*/ 3009 h 275528"/>
                  <a:gd name="connsiteX2" fmla="*/ 172831 w 516887"/>
                  <a:gd name="connsiteY2" fmla="*/ 44939 h 275528"/>
                  <a:gd name="connsiteX3" fmla="*/ 112129 w 516887"/>
                  <a:gd name="connsiteY3" fmla="*/ 126679 h 275528"/>
                  <a:gd name="connsiteX4" fmla="*/ 707 w 516887"/>
                  <a:gd name="connsiteY4" fmla="*/ 208869 h 275528"/>
                  <a:gd name="connsiteX5" fmla="*/ 115929 w 516887"/>
                  <a:gd name="connsiteY5" fmla="*/ 274948 h 275528"/>
                  <a:gd name="connsiteX6" fmla="*/ 231693 w 516887"/>
                  <a:gd name="connsiteY6" fmla="*/ 165518 h 275528"/>
                  <a:gd name="connsiteX7" fmla="*/ 354921 w 516887"/>
                  <a:gd name="connsiteY7" fmla="*/ 167742 h 275528"/>
                  <a:gd name="connsiteX8" fmla="*/ 385240 w 516887"/>
                  <a:gd name="connsiteY8" fmla="*/ 121542 h 275528"/>
                  <a:gd name="connsiteX9" fmla="*/ 514405 w 516887"/>
                  <a:gd name="connsiteY9" fmla="*/ 125061 h 275528"/>
                  <a:gd name="connsiteX10" fmla="*/ 447375 w 516887"/>
                  <a:gd name="connsiteY10" fmla="*/ 7106 h 275528"/>
                  <a:gd name="connsiteX0" fmla="*/ 447205 w 516717"/>
                  <a:gd name="connsiteY0" fmla="*/ 7106 h 238862"/>
                  <a:gd name="connsiteX1" fmla="*/ 265703 w 516717"/>
                  <a:gd name="connsiteY1" fmla="*/ 3009 h 238862"/>
                  <a:gd name="connsiteX2" fmla="*/ 172661 w 516717"/>
                  <a:gd name="connsiteY2" fmla="*/ 44939 h 238862"/>
                  <a:gd name="connsiteX3" fmla="*/ 111959 w 516717"/>
                  <a:gd name="connsiteY3" fmla="*/ 126679 h 238862"/>
                  <a:gd name="connsiteX4" fmla="*/ 537 w 516717"/>
                  <a:gd name="connsiteY4" fmla="*/ 208869 h 238862"/>
                  <a:gd name="connsiteX5" fmla="*/ 145551 w 516717"/>
                  <a:gd name="connsiteY5" fmla="*/ 237574 h 238862"/>
                  <a:gd name="connsiteX6" fmla="*/ 231523 w 516717"/>
                  <a:gd name="connsiteY6" fmla="*/ 165518 h 238862"/>
                  <a:gd name="connsiteX7" fmla="*/ 354751 w 516717"/>
                  <a:gd name="connsiteY7" fmla="*/ 167742 h 238862"/>
                  <a:gd name="connsiteX8" fmla="*/ 385070 w 516717"/>
                  <a:gd name="connsiteY8" fmla="*/ 121542 h 238862"/>
                  <a:gd name="connsiteX9" fmla="*/ 514235 w 516717"/>
                  <a:gd name="connsiteY9" fmla="*/ 125061 h 238862"/>
                  <a:gd name="connsiteX10" fmla="*/ 447205 w 516717"/>
                  <a:gd name="connsiteY10" fmla="*/ 7106 h 238862"/>
                  <a:gd name="connsiteX0" fmla="*/ 393737 w 463249"/>
                  <a:gd name="connsiteY0" fmla="*/ 7106 h 237929"/>
                  <a:gd name="connsiteX1" fmla="*/ 212235 w 463249"/>
                  <a:gd name="connsiteY1" fmla="*/ 3009 h 237929"/>
                  <a:gd name="connsiteX2" fmla="*/ 119193 w 463249"/>
                  <a:gd name="connsiteY2" fmla="*/ 44939 h 237929"/>
                  <a:gd name="connsiteX3" fmla="*/ 58491 w 463249"/>
                  <a:gd name="connsiteY3" fmla="*/ 126679 h 237929"/>
                  <a:gd name="connsiteX4" fmla="*/ 843 w 463249"/>
                  <a:gd name="connsiteY4" fmla="*/ 192299 h 237929"/>
                  <a:gd name="connsiteX5" fmla="*/ 92083 w 463249"/>
                  <a:gd name="connsiteY5" fmla="*/ 237574 h 237929"/>
                  <a:gd name="connsiteX6" fmla="*/ 178055 w 463249"/>
                  <a:gd name="connsiteY6" fmla="*/ 165518 h 237929"/>
                  <a:gd name="connsiteX7" fmla="*/ 301283 w 463249"/>
                  <a:gd name="connsiteY7" fmla="*/ 167742 h 237929"/>
                  <a:gd name="connsiteX8" fmla="*/ 331602 w 463249"/>
                  <a:gd name="connsiteY8" fmla="*/ 121542 h 237929"/>
                  <a:gd name="connsiteX9" fmla="*/ 460767 w 463249"/>
                  <a:gd name="connsiteY9" fmla="*/ 125061 h 237929"/>
                  <a:gd name="connsiteX10" fmla="*/ 393737 w 463249"/>
                  <a:gd name="connsiteY10" fmla="*/ 7106 h 237929"/>
                  <a:gd name="connsiteX0" fmla="*/ 393737 w 463249"/>
                  <a:gd name="connsiteY0" fmla="*/ 7324 h 238147"/>
                  <a:gd name="connsiteX1" fmla="*/ 212235 w 463249"/>
                  <a:gd name="connsiteY1" fmla="*/ 3227 h 238147"/>
                  <a:gd name="connsiteX2" fmla="*/ 119193 w 463249"/>
                  <a:gd name="connsiteY2" fmla="*/ 45157 h 238147"/>
                  <a:gd name="connsiteX3" fmla="*/ 51884 w 463249"/>
                  <a:gd name="connsiteY3" fmla="*/ 65039 h 238147"/>
                  <a:gd name="connsiteX4" fmla="*/ 58491 w 463249"/>
                  <a:gd name="connsiteY4" fmla="*/ 126897 h 238147"/>
                  <a:gd name="connsiteX5" fmla="*/ 843 w 463249"/>
                  <a:gd name="connsiteY5" fmla="*/ 192517 h 238147"/>
                  <a:gd name="connsiteX6" fmla="*/ 92083 w 463249"/>
                  <a:gd name="connsiteY6" fmla="*/ 237792 h 238147"/>
                  <a:gd name="connsiteX7" fmla="*/ 178055 w 463249"/>
                  <a:gd name="connsiteY7" fmla="*/ 165736 h 238147"/>
                  <a:gd name="connsiteX8" fmla="*/ 301283 w 463249"/>
                  <a:gd name="connsiteY8" fmla="*/ 167960 h 238147"/>
                  <a:gd name="connsiteX9" fmla="*/ 331602 w 463249"/>
                  <a:gd name="connsiteY9" fmla="*/ 121760 h 238147"/>
                  <a:gd name="connsiteX10" fmla="*/ 460767 w 463249"/>
                  <a:gd name="connsiteY10" fmla="*/ 125279 h 238147"/>
                  <a:gd name="connsiteX11" fmla="*/ 393737 w 463249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302338 w 464304"/>
                  <a:gd name="connsiteY8" fmla="*/ 167960 h 238147"/>
                  <a:gd name="connsiteX9" fmla="*/ 332657 w 464304"/>
                  <a:gd name="connsiteY9" fmla="*/ 121760 h 238147"/>
                  <a:gd name="connsiteX10" fmla="*/ 461822 w 464304"/>
                  <a:gd name="connsiteY10" fmla="*/ 125279 h 238147"/>
                  <a:gd name="connsiteX11" fmla="*/ 394792 w 464304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234315 w 464304"/>
                  <a:gd name="connsiteY8" fmla="*/ 210436 h 238147"/>
                  <a:gd name="connsiteX9" fmla="*/ 332657 w 464304"/>
                  <a:gd name="connsiteY9" fmla="*/ 121760 h 238147"/>
                  <a:gd name="connsiteX10" fmla="*/ 461822 w 464304"/>
                  <a:gd name="connsiteY10" fmla="*/ 125279 h 238147"/>
                  <a:gd name="connsiteX11" fmla="*/ 394792 w 464304"/>
                  <a:gd name="connsiteY11" fmla="*/ 7324 h 238147"/>
                  <a:gd name="connsiteX0" fmla="*/ 394792 w 464304"/>
                  <a:gd name="connsiteY0" fmla="*/ 7324 h 238147"/>
                  <a:gd name="connsiteX1" fmla="*/ 213290 w 464304"/>
                  <a:gd name="connsiteY1" fmla="*/ 3227 h 238147"/>
                  <a:gd name="connsiteX2" fmla="*/ 120248 w 464304"/>
                  <a:gd name="connsiteY2" fmla="*/ 45157 h 238147"/>
                  <a:gd name="connsiteX3" fmla="*/ 52939 w 464304"/>
                  <a:gd name="connsiteY3" fmla="*/ 65039 h 238147"/>
                  <a:gd name="connsiteX4" fmla="*/ 8353 w 464304"/>
                  <a:gd name="connsiteY4" fmla="*/ 110767 h 238147"/>
                  <a:gd name="connsiteX5" fmla="*/ 1898 w 464304"/>
                  <a:gd name="connsiteY5" fmla="*/ 192517 h 238147"/>
                  <a:gd name="connsiteX6" fmla="*/ 93138 w 464304"/>
                  <a:gd name="connsiteY6" fmla="*/ 237792 h 238147"/>
                  <a:gd name="connsiteX7" fmla="*/ 179110 w 464304"/>
                  <a:gd name="connsiteY7" fmla="*/ 165736 h 238147"/>
                  <a:gd name="connsiteX8" fmla="*/ 195863 w 464304"/>
                  <a:gd name="connsiteY8" fmla="*/ 209831 h 238147"/>
                  <a:gd name="connsiteX9" fmla="*/ 234315 w 464304"/>
                  <a:gd name="connsiteY9" fmla="*/ 210436 h 238147"/>
                  <a:gd name="connsiteX10" fmla="*/ 332657 w 464304"/>
                  <a:gd name="connsiteY10" fmla="*/ 121760 h 238147"/>
                  <a:gd name="connsiteX11" fmla="*/ 461822 w 464304"/>
                  <a:gd name="connsiteY11" fmla="*/ 125279 h 238147"/>
                  <a:gd name="connsiteX12" fmla="*/ 394792 w 464304"/>
                  <a:gd name="connsiteY12" fmla="*/ 7324 h 238147"/>
                  <a:gd name="connsiteX0" fmla="*/ 394792 w 464304"/>
                  <a:gd name="connsiteY0" fmla="*/ 7324 h 237865"/>
                  <a:gd name="connsiteX1" fmla="*/ 213290 w 464304"/>
                  <a:gd name="connsiteY1" fmla="*/ 3227 h 237865"/>
                  <a:gd name="connsiteX2" fmla="*/ 120248 w 464304"/>
                  <a:gd name="connsiteY2" fmla="*/ 45157 h 237865"/>
                  <a:gd name="connsiteX3" fmla="*/ 52939 w 464304"/>
                  <a:gd name="connsiteY3" fmla="*/ 65039 h 237865"/>
                  <a:gd name="connsiteX4" fmla="*/ 8353 w 464304"/>
                  <a:gd name="connsiteY4" fmla="*/ 110767 h 237865"/>
                  <a:gd name="connsiteX5" fmla="*/ 1898 w 464304"/>
                  <a:gd name="connsiteY5" fmla="*/ 192517 h 237865"/>
                  <a:gd name="connsiteX6" fmla="*/ 93138 w 464304"/>
                  <a:gd name="connsiteY6" fmla="*/ 237792 h 237865"/>
                  <a:gd name="connsiteX7" fmla="*/ 159250 w 464304"/>
                  <a:gd name="connsiteY7" fmla="*/ 202191 h 237865"/>
                  <a:gd name="connsiteX8" fmla="*/ 179110 w 464304"/>
                  <a:gd name="connsiteY8" fmla="*/ 165736 h 237865"/>
                  <a:gd name="connsiteX9" fmla="*/ 195863 w 464304"/>
                  <a:gd name="connsiteY9" fmla="*/ 209831 h 237865"/>
                  <a:gd name="connsiteX10" fmla="*/ 234315 w 464304"/>
                  <a:gd name="connsiteY10" fmla="*/ 210436 h 237865"/>
                  <a:gd name="connsiteX11" fmla="*/ 332657 w 464304"/>
                  <a:gd name="connsiteY11" fmla="*/ 121760 h 237865"/>
                  <a:gd name="connsiteX12" fmla="*/ 461822 w 464304"/>
                  <a:gd name="connsiteY12" fmla="*/ 125279 h 237865"/>
                  <a:gd name="connsiteX13" fmla="*/ 394792 w 464304"/>
                  <a:gd name="connsiteY13" fmla="*/ 7324 h 237865"/>
                  <a:gd name="connsiteX0" fmla="*/ 394792 w 464304"/>
                  <a:gd name="connsiteY0" fmla="*/ 7324 h 237849"/>
                  <a:gd name="connsiteX1" fmla="*/ 213290 w 464304"/>
                  <a:gd name="connsiteY1" fmla="*/ 3227 h 237849"/>
                  <a:gd name="connsiteX2" fmla="*/ 120248 w 464304"/>
                  <a:gd name="connsiteY2" fmla="*/ 45157 h 237849"/>
                  <a:gd name="connsiteX3" fmla="*/ 52939 w 464304"/>
                  <a:gd name="connsiteY3" fmla="*/ 65039 h 237849"/>
                  <a:gd name="connsiteX4" fmla="*/ 8353 w 464304"/>
                  <a:gd name="connsiteY4" fmla="*/ 110767 h 237849"/>
                  <a:gd name="connsiteX5" fmla="*/ 1898 w 464304"/>
                  <a:gd name="connsiteY5" fmla="*/ 192517 h 237849"/>
                  <a:gd name="connsiteX6" fmla="*/ 93138 w 464304"/>
                  <a:gd name="connsiteY6" fmla="*/ 237792 h 237849"/>
                  <a:gd name="connsiteX7" fmla="*/ 159250 w 464304"/>
                  <a:gd name="connsiteY7" fmla="*/ 202191 h 237849"/>
                  <a:gd name="connsiteX8" fmla="*/ 195863 w 464304"/>
                  <a:gd name="connsiteY8" fmla="*/ 209831 h 237849"/>
                  <a:gd name="connsiteX9" fmla="*/ 234315 w 464304"/>
                  <a:gd name="connsiteY9" fmla="*/ 210436 h 237849"/>
                  <a:gd name="connsiteX10" fmla="*/ 332657 w 464304"/>
                  <a:gd name="connsiteY10" fmla="*/ 121760 h 237849"/>
                  <a:gd name="connsiteX11" fmla="*/ 461822 w 464304"/>
                  <a:gd name="connsiteY11" fmla="*/ 125279 h 237849"/>
                  <a:gd name="connsiteX12" fmla="*/ 394792 w 464304"/>
                  <a:gd name="connsiteY12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95863 w 430914"/>
                  <a:gd name="connsiteY8" fmla="*/ 209831 h 237849"/>
                  <a:gd name="connsiteX9" fmla="*/ 234315 w 430914"/>
                  <a:gd name="connsiteY9" fmla="*/ 210436 h 237849"/>
                  <a:gd name="connsiteX10" fmla="*/ 332657 w 430914"/>
                  <a:gd name="connsiteY10" fmla="*/ 121760 h 237849"/>
                  <a:gd name="connsiteX11" fmla="*/ 425189 w 430914"/>
                  <a:gd name="connsiteY11" fmla="*/ 56064 h 237849"/>
                  <a:gd name="connsiteX12" fmla="*/ 394792 w 430914"/>
                  <a:gd name="connsiteY12" fmla="*/ 7324 h 237849"/>
                  <a:gd name="connsiteX0" fmla="*/ 394792 w 430912"/>
                  <a:gd name="connsiteY0" fmla="*/ 7324 h 237849"/>
                  <a:gd name="connsiteX1" fmla="*/ 213290 w 430912"/>
                  <a:gd name="connsiteY1" fmla="*/ 3227 h 237849"/>
                  <a:gd name="connsiteX2" fmla="*/ 120248 w 430912"/>
                  <a:gd name="connsiteY2" fmla="*/ 45157 h 237849"/>
                  <a:gd name="connsiteX3" fmla="*/ 52939 w 430912"/>
                  <a:gd name="connsiteY3" fmla="*/ 65039 h 237849"/>
                  <a:gd name="connsiteX4" fmla="*/ 8353 w 430912"/>
                  <a:gd name="connsiteY4" fmla="*/ 110767 h 237849"/>
                  <a:gd name="connsiteX5" fmla="*/ 1898 w 430912"/>
                  <a:gd name="connsiteY5" fmla="*/ 192517 h 237849"/>
                  <a:gd name="connsiteX6" fmla="*/ 93138 w 430912"/>
                  <a:gd name="connsiteY6" fmla="*/ 237792 h 237849"/>
                  <a:gd name="connsiteX7" fmla="*/ 159250 w 430912"/>
                  <a:gd name="connsiteY7" fmla="*/ 202191 h 237849"/>
                  <a:gd name="connsiteX8" fmla="*/ 195863 w 430912"/>
                  <a:gd name="connsiteY8" fmla="*/ 209831 h 237849"/>
                  <a:gd name="connsiteX9" fmla="*/ 234315 w 430912"/>
                  <a:gd name="connsiteY9" fmla="*/ 210436 h 237849"/>
                  <a:gd name="connsiteX10" fmla="*/ 304785 w 430912"/>
                  <a:gd name="connsiteY10" fmla="*/ 88427 h 237849"/>
                  <a:gd name="connsiteX11" fmla="*/ 425189 w 430912"/>
                  <a:gd name="connsiteY11" fmla="*/ 56064 h 237849"/>
                  <a:gd name="connsiteX12" fmla="*/ 394792 w 430912"/>
                  <a:gd name="connsiteY12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95863 w 430914"/>
                  <a:gd name="connsiteY8" fmla="*/ 209831 h 237849"/>
                  <a:gd name="connsiteX9" fmla="*/ 234315 w 430914"/>
                  <a:gd name="connsiteY9" fmla="*/ 210436 h 237849"/>
                  <a:gd name="connsiteX10" fmla="*/ 314427 w 430914"/>
                  <a:gd name="connsiteY10" fmla="*/ 176264 h 237849"/>
                  <a:gd name="connsiteX11" fmla="*/ 304785 w 430914"/>
                  <a:gd name="connsiteY11" fmla="*/ 88427 h 237849"/>
                  <a:gd name="connsiteX12" fmla="*/ 425189 w 430914"/>
                  <a:gd name="connsiteY12" fmla="*/ 56064 h 237849"/>
                  <a:gd name="connsiteX13" fmla="*/ 394792 w 430914"/>
                  <a:gd name="connsiteY13" fmla="*/ 7324 h 237849"/>
                  <a:gd name="connsiteX0" fmla="*/ 394792 w 430912"/>
                  <a:gd name="connsiteY0" fmla="*/ 7324 h 237849"/>
                  <a:gd name="connsiteX1" fmla="*/ 213290 w 430912"/>
                  <a:gd name="connsiteY1" fmla="*/ 3227 h 237849"/>
                  <a:gd name="connsiteX2" fmla="*/ 120248 w 430912"/>
                  <a:gd name="connsiteY2" fmla="*/ 45157 h 237849"/>
                  <a:gd name="connsiteX3" fmla="*/ 52939 w 430912"/>
                  <a:gd name="connsiteY3" fmla="*/ 65039 h 237849"/>
                  <a:gd name="connsiteX4" fmla="*/ 8353 w 430912"/>
                  <a:gd name="connsiteY4" fmla="*/ 110767 h 237849"/>
                  <a:gd name="connsiteX5" fmla="*/ 1898 w 430912"/>
                  <a:gd name="connsiteY5" fmla="*/ 192517 h 237849"/>
                  <a:gd name="connsiteX6" fmla="*/ 93138 w 430912"/>
                  <a:gd name="connsiteY6" fmla="*/ 237792 h 237849"/>
                  <a:gd name="connsiteX7" fmla="*/ 159250 w 430912"/>
                  <a:gd name="connsiteY7" fmla="*/ 202191 h 237849"/>
                  <a:gd name="connsiteX8" fmla="*/ 195863 w 430912"/>
                  <a:gd name="connsiteY8" fmla="*/ 209831 h 237849"/>
                  <a:gd name="connsiteX9" fmla="*/ 225881 w 430912"/>
                  <a:gd name="connsiteY9" fmla="*/ 178162 h 237849"/>
                  <a:gd name="connsiteX10" fmla="*/ 314427 w 430912"/>
                  <a:gd name="connsiteY10" fmla="*/ 176264 h 237849"/>
                  <a:gd name="connsiteX11" fmla="*/ 304785 w 430912"/>
                  <a:gd name="connsiteY11" fmla="*/ 88427 h 237849"/>
                  <a:gd name="connsiteX12" fmla="*/ 425189 w 430912"/>
                  <a:gd name="connsiteY12" fmla="*/ 56064 h 237849"/>
                  <a:gd name="connsiteX13" fmla="*/ 394792 w 430912"/>
                  <a:gd name="connsiteY13" fmla="*/ 7324 h 237849"/>
                  <a:gd name="connsiteX0" fmla="*/ 394792 w 430914"/>
                  <a:gd name="connsiteY0" fmla="*/ 7324 h 237849"/>
                  <a:gd name="connsiteX1" fmla="*/ 213290 w 430914"/>
                  <a:gd name="connsiteY1" fmla="*/ 3227 h 237849"/>
                  <a:gd name="connsiteX2" fmla="*/ 120248 w 430914"/>
                  <a:gd name="connsiteY2" fmla="*/ 45157 h 237849"/>
                  <a:gd name="connsiteX3" fmla="*/ 52939 w 430914"/>
                  <a:gd name="connsiteY3" fmla="*/ 65039 h 237849"/>
                  <a:gd name="connsiteX4" fmla="*/ 8353 w 430914"/>
                  <a:gd name="connsiteY4" fmla="*/ 110767 h 237849"/>
                  <a:gd name="connsiteX5" fmla="*/ 1898 w 430914"/>
                  <a:gd name="connsiteY5" fmla="*/ 192517 h 237849"/>
                  <a:gd name="connsiteX6" fmla="*/ 93138 w 430914"/>
                  <a:gd name="connsiteY6" fmla="*/ 237792 h 237849"/>
                  <a:gd name="connsiteX7" fmla="*/ 159250 w 430914"/>
                  <a:gd name="connsiteY7" fmla="*/ 202191 h 237849"/>
                  <a:gd name="connsiteX8" fmla="*/ 179980 w 430914"/>
                  <a:gd name="connsiteY8" fmla="*/ 186901 h 237849"/>
                  <a:gd name="connsiteX9" fmla="*/ 225881 w 430914"/>
                  <a:gd name="connsiteY9" fmla="*/ 178162 h 237849"/>
                  <a:gd name="connsiteX10" fmla="*/ 314427 w 430914"/>
                  <a:gd name="connsiteY10" fmla="*/ 176264 h 237849"/>
                  <a:gd name="connsiteX11" fmla="*/ 304785 w 430914"/>
                  <a:gd name="connsiteY11" fmla="*/ 88427 h 237849"/>
                  <a:gd name="connsiteX12" fmla="*/ 425189 w 430914"/>
                  <a:gd name="connsiteY12" fmla="*/ 56064 h 237849"/>
                  <a:gd name="connsiteX13" fmla="*/ 394792 w 430914"/>
                  <a:gd name="connsiteY13" fmla="*/ 7324 h 237849"/>
                  <a:gd name="connsiteX0" fmla="*/ 394792 w 430912"/>
                  <a:gd name="connsiteY0" fmla="*/ 7661 h 238186"/>
                  <a:gd name="connsiteX1" fmla="*/ 213290 w 430912"/>
                  <a:gd name="connsiteY1" fmla="*/ 3564 h 238186"/>
                  <a:gd name="connsiteX2" fmla="*/ 121923 w 430912"/>
                  <a:gd name="connsiteY2" fmla="*/ 2939 h 238186"/>
                  <a:gd name="connsiteX3" fmla="*/ 120248 w 430912"/>
                  <a:gd name="connsiteY3" fmla="*/ 45494 h 238186"/>
                  <a:gd name="connsiteX4" fmla="*/ 52939 w 430912"/>
                  <a:gd name="connsiteY4" fmla="*/ 65376 h 238186"/>
                  <a:gd name="connsiteX5" fmla="*/ 8353 w 430912"/>
                  <a:gd name="connsiteY5" fmla="*/ 111104 h 238186"/>
                  <a:gd name="connsiteX6" fmla="*/ 1898 w 430912"/>
                  <a:gd name="connsiteY6" fmla="*/ 192854 h 238186"/>
                  <a:gd name="connsiteX7" fmla="*/ 93138 w 430912"/>
                  <a:gd name="connsiteY7" fmla="*/ 238129 h 238186"/>
                  <a:gd name="connsiteX8" fmla="*/ 159250 w 430912"/>
                  <a:gd name="connsiteY8" fmla="*/ 202528 h 238186"/>
                  <a:gd name="connsiteX9" fmla="*/ 179980 w 430912"/>
                  <a:gd name="connsiteY9" fmla="*/ 187238 h 238186"/>
                  <a:gd name="connsiteX10" fmla="*/ 225881 w 430912"/>
                  <a:gd name="connsiteY10" fmla="*/ 178499 h 238186"/>
                  <a:gd name="connsiteX11" fmla="*/ 314427 w 430912"/>
                  <a:gd name="connsiteY11" fmla="*/ 176601 h 238186"/>
                  <a:gd name="connsiteX12" fmla="*/ 304785 w 430912"/>
                  <a:gd name="connsiteY12" fmla="*/ 88764 h 238186"/>
                  <a:gd name="connsiteX13" fmla="*/ 425189 w 430912"/>
                  <a:gd name="connsiteY13" fmla="*/ 56401 h 238186"/>
                  <a:gd name="connsiteX14" fmla="*/ 394792 w 430912"/>
                  <a:gd name="connsiteY14" fmla="*/ 7661 h 238186"/>
                  <a:gd name="connsiteX0" fmla="*/ 394792 w 430914"/>
                  <a:gd name="connsiteY0" fmla="*/ 7661 h 238186"/>
                  <a:gd name="connsiteX1" fmla="*/ 213290 w 430914"/>
                  <a:gd name="connsiteY1" fmla="*/ 3564 h 238186"/>
                  <a:gd name="connsiteX2" fmla="*/ 121923 w 430914"/>
                  <a:gd name="connsiteY2" fmla="*/ 2939 h 238186"/>
                  <a:gd name="connsiteX3" fmla="*/ 120248 w 430914"/>
                  <a:gd name="connsiteY3" fmla="*/ 45494 h 238186"/>
                  <a:gd name="connsiteX4" fmla="*/ 91177 w 430914"/>
                  <a:gd name="connsiteY4" fmla="*/ 91063 h 238186"/>
                  <a:gd name="connsiteX5" fmla="*/ 8353 w 430914"/>
                  <a:gd name="connsiteY5" fmla="*/ 111104 h 238186"/>
                  <a:gd name="connsiteX6" fmla="*/ 1898 w 430914"/>
                  <a:gd name="connsiteY6" fmla="*/ 192854 h 238186"/>
                  <a:gd name="connsiteX7" fmla="*/ 93138 w 430914"/>
                  <a:gd name="connsiteY7" fmla="*/ 238129 h 238186"/>
                  <a:gd name="connsiteX8" fmla="*/ 159250 w 430914"/>
                  <a:gd name="connsiteY8" fmla="*/ 202528 h 238186"/>
                  <a:gd name="connsiteX9" fmla="*/ 179980 w 430914"/>
                  <a:gd name="connsiteY9" fmla="*/ 187238 h 238186"/>
                  <a:gd name="connsiteX10" fmla="*/ 225881 w 430914"/>
                  <a:gd name="connsiteY10" fmla="*/ 178499 h 238186"/>
                  <a:gd name="connsiteX11" fmla="*/ 314427 w 430914"/>
                  <a:gd name="connsiteY11" fmla="*/ 176601 h 238186"/>
                  <a:gd name="connsiteX12" fmla="*/ 304785 w 430914"/>
                  <a:gd name="connsiteY12" fmla="*/ 88764 h 238186"/>
                  <a:gd name="connsiteX13" fmla="*/ 425189 w 430914"/>
                  <a:gd name="connsiteY13" fmla="*/ 56401 h 238186"/>
                  <a:gd name="connsiteX14" fmla="*/ 394792 w 430914"/>
                  <a:gd name="connsiteY14" fmla="*/ 7661 h 238186"/>
                  <a:gd name="connsiteX0" fmla="*/ 393704 w 429825"/>
                  <a:gd name="connsiteY0" fmla="*/ 7661 h 238186"/>
                  <a:gd name="connsiteX1" fmla="*/ 212202 w 429825"/>
                  <a:gd name="connsiteY1" fmla="*/ 3564 h 238186"/>
                  <a:gd name="connsiteX2" fmla="*/ 120835 w 429825"/>
                  <a:gd name="connsiteY2" fmla="*/ 2939 h 238186"/>
                  <a:gd name="connsiteX3" fmla="*/ 119160 w 429825"/>
                  <a:gd name="connsiteY3" fmla="*/ 45494 h 238186"/>
                  <a:gd name="connsiteX4" fmla="*/ 90089 w 429825"/>
                  <a:gd name="connsiteY4" fmla="*/ 91063 h 238186"/>
                  <a:gd name="connsiteX5" fmla="*/ 30920 w 429825"/>
                  <a:gd name="connsiteY5" fmla="*/ 128299 h 238186"/>
                  <a:gd name="connsiteX6" fmla="*/ 810 w 429825"/>
                  <a:gd name="connsiteY6" fmla="*/ 192854 h 238186"/>
                  <a:gd name="connsiteX7" fmla="*/ 92050 w 429825"/>
                  <a:gd name="connsiteY7" fmla="*/ 238129 h 238186"/>
                  <a:gd name="connsiteX8" fmla="*/ 158162 w 429825"/>
                  <a:gd name="connsiteY8" fmla="*/ 202528 h 238186"/>
                  <a:gd name="connsiteX9" fmla="*/ 178892 w 429825"/>
                  <a:gd name="connsiteY9" fmla="*/ 187238 h 238186"/>
                  <a:gd name="connsiteX10" fmla="*/ 224793 w 429825"/>
                  <a:gd name="connsiteY10" fmla="*/ 178499 h 238186"/>
                  <a:gd name="connsiteX11" fmla="*/ 313339 w 429825"/>
                  <a:gd name="connsiteY11" fmla="*/ 176601 h 238186"/>
                  <a:gd name="connsiteX12" fmla="*/ 303697 w 429825"/>
                  <a:gd name="connsiteY12" fmla="*/ 88764 h 238186"/>
                  <a:gd name="connsiteX13" fmla="*/ 424101 w 429825"/>
                  <a:gd name="connsiteY13" fmla="*/ 56401 h 238186"/>
                  <a:gd name="connsiteX14" fmla="*/ 393704 w 429825"/>
                  <a:gd name="connsiteY14" fmla="*/ 7661 h 238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29825" h="238186">
                    <a:moveTo>
                      <a:pt x="393704" y="7661"/>
                    </a:moveTo>
                    <a:cubicBezTo>
                      <a:pt x="358387" y="-1145"/>
                      <a:pt x="250371" y="18682"/>
                      <a:pt x="212202" y="3564"/>
                    </a:cubicBezTo>
                    <a:cubicBezTo>
                      <a:pt x="176012" y="3625"/>
                      <a:pt x="136342" y="-4049"/>
                      <a:pt x="120835" y="2939"/>
                    </a:cubicBezTo>
                    <a:cubicBezTo>
                      <a:pt x="105328" y="9927"/>
                      <a:pt x="139945" y="35936"/>
                      <a:pt x="119160" y="45494"/>
                    </a:cubicBezTo>
                    <a:cubicBezTo>
                      <a:pt x="98375" y="55052"/>
                      <a:pt x="100206" y="77440"/>
                      <a:pt x="90089" y="91063"/>
                    </a:cubicBezTo>
                    <a:cubicBezTo>
                      <a:pt x="79972" y="104686"/>
                      <a:pt x="43532" y="111724"/>
                      <a:pt x="30920" y="128299"/>
                    </a:cubicBezTo>
                    <a:cubicBezTo>
                      <a:pt x="18308" y="144874"/>
                      <a:pt x="-215" y="128011"/>
                      <a:pt x="810" y="192854"/>
                    </a:cubicBezTo>
                    <a:cubicBezTo>
                      <a:pt x="-8551" y="203765"/>
                      <a:pt x="65825" y="236517"/>
                      <a:pt x="92050" y="238129"/>
                    </a:cubicBezTo>
                    <a:cubicBezTo>
                      <a:pt x="118275" y="239741"/>
                      <a:pt x="141041" y="207188"/>
                      <a:pt x="158162" y="202528"/>
                    </a:cubicBezTo>
                    <a:cubicBezTo>
                      <a:pt x="175283" y="197868"/>
                      <a:pt x="166381" y="185864"/>
                      <a:pt x="178892" y="187238"/>
                    </a:cubicBezTo>
                    <a:cubicBezTo>
                      <a:pt x="191403" y="188612"/>
                      <a:pt x="213565" y="186782"/>
                      <a:pt x="224793" y="178499"/>
                    </a:cubicBezTo>
                    <a:cubicBezTo>
                      <a:pt x="236021" y="170216"/>
                      <a:pt x="301594" y="196936"/>
                      <a:pt x="313339" y="176601"/>
                    </a:cubicBezTo>
                    <a:cubicBezTo>
                      <a:pt x="325084" y="156266"/>
                      <a:pt x="276704" y="106109"/>
                      <a:pt x="303697" y="88764"/>
                    </a:cubicBezTo>
                    <a:cubicBezTo>
                      <a:pt x="330690" y="71419"/>
                      <a:pt x="411371" y="79792"/>
                      <a:pt x="424101" y="56401"/>
                    </a:cubicBezTo>
                    <a:cubicBezTo>
                      <a:pt x="436831" y="33010"/>
                      <a:pt x="429021" y="16467"/>
                      <a:pt x="393704" y="7661"/>
                    </a:cubicBezTo>
                    <a:close/>
                  </a:path>
                </a:pathLst>
              </a:custGeom>
              <a:grpFill/>
              <a:ln w="6350">
                <a:noFill/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 sz="90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290" name="Group 305"/>
          <p:cNvGrpSpPr>
            <a:grpSpLocks/>
          </p:cNvGrpSpPr>
          <p:nvPr/>
        </p:nvGrpSpPr>
        <p:grpSpPr bwMode="auto">
          <a:xfrm>
            <a:off x="1436689" y="1189038"/>
            <a:ext cx="5189537" cy="5321300"/>
            <a:chOff x="3976580" y="2041451"/>
            <a:chExt cx="4537876" cy="4653975"/>
          </a:xfrm>
          <a:solidFill>
            <a:schemeClr val="bg1">
              <a:lumMod val="85000"/>
              <a:alpha val="50000"/>
            </a:schemeClr>
          </a:solidFill>
        </p:grpSpPr>
        <p:grpSp>
          <p:nvGrpSpPr>
            <p:cNvPr id="291" name="Group 299"/>
            <p:cNvGrpSpPr>
              <a:grpSpLocks/>
            </p:cNvGrpSpPr>
            <p:nvPr/>
          </p:nvGrpSpPr>
          <p:grpSpPr bwMode="auto">
            <a:xfrm>
              <a:off x="3976580" y="2041451"/>
              <a:ext cx="4517650" cy="4653975"/>
              <a:chOff x="3976580" y="2041451"/>
              <a:chExt cx="4517650" cy="4653975"/>
            </a:xfrm>
            <a:grpFill/>
          </p:grpSpPr>
          <p:grpSp>
            <p:nvGrpSpPr>
              <p:cNvPr id="311" name="Group 298"/>
              <p:cNvGrpSpPr>
                <a:grpSpLocks/>
              </p:cNvGrpSpPr>
              <p:nvPr/>
            </p:nvGrpSpPr>
            <p:grpSpPr bwMode="auto">
              <a:xfrm>
                <a:off x="3976580" y="2041451"/>
                <a:ext cx="4517650" cy="4621262"/>
                <a:chOff x="3976580" y="2041451"/>
                <a:chExt cx="4517650" cy="4621262"/>
              </a:xfrm>
              <a:grpFill/>
            </p:grpSpPr>
            <p:grpSp>
              <p:nvGrpSpPr>
                <p:cNvPr id="318" name="Group 251"/>
                <p:cNvGrpSpPr>
                  <a:grpSpLocks noChangeAspect="1"/>
                </p:cNvGrpSpPr>
                <p:nvPr/>
              </p:nvGrpSpPr>
              <p:grpSpPr>
                <a:xfrm>
                  <a:off x="5667988" y="2636875"/>
                  <a:ext cx="2284816" cy="4025838"/>
                  <a:chOff x="6092919" y="2536350"/>
                  <a:chExt cx="2011391" cy="3580622"/>
                </a:xfrm>
                <a:grpFill/>
              </p:grpSpPr>
              <p:grpSp>
                <p:nvGrpSpPr>
                  <p:cNvPr id="403" name="Group 252"/>
                  <p:cNvGrpSpPr/>
                  <p:nvPr/>
                </p:nvGrpSpPr>
                <p:grpSpPr>
                  <a:xfrm>
                    <a:off x="6208251" y="3955315"/>
                    <a:ext cx="1896059" cy="1941746"/>
                    <a:chOff x="4668629" y="4060339"/>
                    <a:chExt cx="1940807" cy="1987572"/>
                  </a:xfrm>
                  <a:grpFill/>
                </p:grpSpPr>
                <p:sp>
                  <p:nvSpPr>
                    <p:cNvPr id="415" name="Oval 2"/>
                    <p:cNvSpPr/>
                    <p:nvPr/>
                  </p:nvSpPr>
                  <p:spPr>
                    <a:xfrm>
                      <a:off x="6406542" y="4060339"/>
                      <a:ext cx="202894" cy="309347"/>
                    </a:xfrm>
                    <a:custGeom>
                      <a:avLst/>
                      <a:gdLst>
                        <a:gd name="connsiteX0" fmla="*/ 0 w 221892"/>
                        <a:gd name="connsiteY0" fmla="*/ 120677 h 241354"/>
                        <a:gd name="connsiteX1" fmla="*/ 110946 w 221892"/>
                        <a:gd name="connsiteY1" fmla="*/ 0 h 241354"/>
                        <a:gd name="connsiteX2" fmla="*/ 221892 w 221892"/>
                        <a:gd name="connsiteY2" fmla="*/ 120677 h 241354"/>
                        <a:gd name="connsiteX3" fmla="*/ 110946 w 221892"/>
                        <a:gd name="connsiteY3" fmla="*/ 241354 h 241354"/>
                        <a:gd name="connsiteX4" fmla="*/ 0 w 221892"/>
                        <a:gd name="connsiteY4" fmla="*/ 120677 h 241354"/>
                        <a:gd name="connsiteX0" fmla="*/ 0 w 171885"/>
                        <a:gd name="connsiteY0" fmla="*/ 120677 h 241354"/>
                        <a:gd name="connsiteX1" fmla="*/ 110946 w 171885"/>
                        <a:gd name="connsiteY1" fmla="*/ 0 h 241354"/>
                        <a:gd name="connsiteX2" fmla="*/ 171885 w 171885"/>
                        <a:gd name="connsiteY2" fmla="*/ 120677 h 241354"/>
                        <a:gd name="connsiteX3" fmla="*/ 110946 w 171885"/>
                        <a:gd name="connsiteY3" fmla="*/ 241354 h 241354"/>
                        <a:gd name="connsiteX4" fmla="*/ 0 w 171885"/>
                        <a:gd name="connsiteY4" fmla="*/ 120677 h 241354"/>
                        <a:gd name="connsiteX0" fmla="*/ 0 w 136167"/>
                        <a:gd name="connsiteY0" fmla="*/ 120677 h 241354"/>
                        <a:gd name="connsiteX1" fmla="*/ 75228 w 136167"/>
                        <a:gd name="connsiteY1" fmla="*/ 0 h 241354"/>
                        <a:gd name="connsiteX2" fmla="*/ 136167 w 136167"/>
                        <a:gd name="connsiteY2" fmla="*/ 120677 h 241354"/>
                        <a:gd name="connsiteX3" fmla="*/ 75228 w 136167"/>
                        <a:gd name="connsiteY3" fmla="*/ 241354 h 241354"/>
                        <a:gd name="connsiteX4" fmla="*/ 0 w 136167"/>
                        <a:gd name="connsiteY4" fmla="*/ 120677 h 241354"/>
                        <a:gd name="connsiteX0" fmla="*/ 1624 w 160285"/>
                        <a:gd name="connsiteY0" fmla="*/ 139727 h 260404"/>
                        <a:gd name="connsiteX1" fmla="*/ 153052 w 160285"/>
                        <a:gd name="connsiteY1" fmla="*/ 0 h 260404"/>
                        <a:gd name="connsiteX2" fmla="*/ 137791 w 160285"/>
                        <a:gd name="connsiteY2" fmla="*/ 139727 h 260404"/>
                        <a:gd name="connsiteX3" fmla="*/ 76852 w 160285"/>
                        <a:gd name="connsiteY3" fmla="*/ 260404 h 260404"/>
                        <a:gd name="connsiteX4" fmla="*/ 1624 w 160285"/>
                        <a:gd name="connsiteY4" fmla="*/ 139727 h 260404"/>
                        <a:gd name="connsiteX0" fmla="*/ 1 w 153750"/>
                        <a:gd name="connsiteY0" fmla="*/ 153117 h 273794"/>
                        <a:gd name="connsiteX1" fmla="*/ 76522 w 153750"/>
                        <a:gd name="connsiteY1" fmla="*/ 21422 h 273794"/>
                        <a:gd name="connsiteX2" fmla="*/ 151429 w 153750"/>
                        <a:gd name="connsiteY2" fmla="*/ 13390 h 273794"/>
                        <a:gd name="connsiteX3" fmla="*/ 136168 w 153750"/>
                        <a:gd name="connsiteY3" fmla="*/ 153117 h 273794"/>
                        <a:gd name="connsiteX4" fmla="*/ 75229 w 153750"/>
                        <a:gd name="connsiteY4" fmla="*/ 273794 h 273794"/>
                        <a:gd name="connsiteX5" fmla="*/ 1 w 153750"/>
                        <a:gd name="connsiteY5" fmla="*/ 153117 h 273794"/>
                        <a:gd name="connsiteX0" fmla="*/ 1 w 151369"/>
                        <a:gd name="connsiteY0" fmla="*/ 126923 h 274024"/>
                        <a:gd name="connsiteX1" fmla="*/ 74141 w 151369"/>
                        <a:gd name="connsiteY1" fmla="*/ 21422 h 274024"/>
                        <a:gd name="connsiteX2" fmla="*/ 149048 w 151369"/>
                        <a:gd name="connsiteY2" fmla="*/ 13390 h 274024"/>
                        <a:gd name="connsiteX3" fmla="*/ 133787 w 151369"/>
                        <a:gd name="connsiteY3" fmla="*/ 153117 h 274024"/>
                        <a:gd name="connsiteX4" fmla="*/ 72848 w 151369"/>
                        <a:gd name="connsiteY4" fmla="*/ 273794 h 274024"/>
                        <a:gd name="connsiteX5" fmla="*/ 1 w 151369"/>
                        <a:gd name="connsiteY5" fmla="*/ 126923 h 274024"/>
                        <a:gd name="connsiteX0" fmla="*/ 36030 w 187398"/>
                        <a:gd name="connsiteY0" fmla="*/ 126923 h 273805"/>
                        <a:gd name="connsiteX1" fmla="*/ 110170 w 187398"/>
                        <a:gd name="connsiteY1" fmla="*/ 21422 h 273805"/>
                        <a:gd name="connsiteX2" fmla="*/ 185077 w 187398"/>
                        <a:gd name="connsiteY2" fmla="*/ 13390 h 273805"/>
                        <a:gd name="connsiteX3" fmla="*/ 169816 w 187398"/>
                        <a:gd name="connsiteY3" fmla="*/ 153117 h 273805"/>
                        <a:gd name="connsiteX4" fmla="*/ 108877 w 187398"/>
                        <a:gd name="connsiteY4" fmla="*/ 273794 h 273805"/>
                        <a:gd name="connsiteX5" fmla="*/ 3013 w 187398"/>
                        <a:gd name="connsiteY5" fmla="*/ 147628 h 273805"/>
                        <a:gd name="connsiteX6" fmla="*/ 36030 w 187398"/>
                        <a:gd name="connsiteY6" fmla="*/ 126923 h 273805"/>
                        <a:gd name="connsiteX0" fmla="*/ 29569 w 188081"/>
                        <a:gd name="connsiteY0" fmla="*/ 122161 h 273805"/>
                        <a:gd name="connsiteX1" fmla="*/ 110853 w 188081"/>
                        <a:gd name="connsiteY1" fmla="*/ 21422 h 273805"/>
                        <a:gd name="connsiteX2" fmla="*/ 185760 w 188081"/>
                        <a:gd name="connsiteY2" fmla="*/ 13390 h 273805"/>
                        <a:gd name="connsiteX3" fmla="*/ 170499 w 188081"/>
                        <a:gd name="connsiteY3" fmla="*/ 153117 h 273805"/>
                        <a:gd name="connsiteX4" fmla="*/ 109560 w 188081"/>
                        <a:gd name="connsiteY4" fmla="*/ 273794 h 273805"/>
                        <a:gd name="connsiteX5" fmla="*/ 3696 w 188081"/>
                        <a:gd name="connsiteY5" fmla="*/ 147628 h 273805"/>
                        <a:gd name="connsiteX6" fmla="*/ 29569 w 188081"/>
                        <a:gd name="connsiteY6" fmla="*/ 122161 h 273805"/>
                        <a:gd name="connsiteX0" fmla="*/ 29569 w 188081"/>
                        <a:gd name="connsiteY0" fmla="*/ 122161 h 278812"/>
                        <a:gd name="connsiteX1" fmla="*/ 110853 w 188081"/>
                        <a:gd name="connsiteY1" fmla="*/ 21422 h 278812"/>
                        <a:gd name="connsiteX2" fmla="*/ 185760 w 188081"/>
                        <a:gd name="connsiteY2" fmla="*/ 13390 h 278812"/>
                        <a:gd name="connsiteX3" fmla="*/ 170499 w 188081"/>
                        <a:gd name="connsiteY3" fmla="*/ 153117 h 278812"/>
                        <a:gd name="connsiteX4" fmla="*/ 109560 w 188081"/>
                        <a:gd name="connsiteY4" fmla="*/ 273794 h 278812"/>
                        <a:gd name="connsiteX5" fmla="*/ 32272 w 188081"/>
                        <a:gd name="connsiteY5" fmla="*/ 245260 h 278812"/>
                        <a:gd name="connsiteX6" fmla="*/ 3696 w 188081"/>
                        <a:gd name="connsiteY6" fmla="*/ 147628 h 278812"/>
                        <a:gd name="connsiteX7" fmla="*/ 29569 w 188081"/>
                        <a:gd name="connsiteY7" fmla="*/ 122161 h 278812"/>
                        <a:gd name="connsiteX0" fmla="*/ 34419 w 192931"/>
                        <a:gd name="connsiteY0" fmla="*/ 122161 h 278812"/>
                        <a:gd name="connsiteX1" fmla="*/ 115703 w 192931"/>
                        <a:gd name="connsiteY1" fmla="*/ 21422 h 278812"/>
                        <a:gd name="connsiteX2" fmla="*/ 190610 w 192931"/>
                        <a:gd name="connsiteY2" fmla="*/ 13390 h 278812"/>
                        <a:gd name="connsiteX3" fmla="*/ 175349 w 192931"/>
                        <a:gd name="connsiteY3" fmla="*/ 153117 h 278812"/>
                        <a:gd name="connsiteX4" fmla="*/ 114410 w 192931"/>
                        <a:gd name="connsiteY4" fmla="*/ 273794 h 278812"/>
                        <a:gd name="connsiteX5" fmla="*/ 37122 w 192931"/>
                        <a:gd name="connsiteY5" fmla="*/ 245260 h 278812"/>
                        <a:gd name="connsiteX6" fmla="*/ 8546 w 192931"/>
                        <a:gd name="connsiteY6" fmla="*/ 147628 h 278812"/>
                        <a:gd name="connsiteX7" fmla="*/ 34419 w 192931"/>
                        <a:gd name="connsiteY7" fmla="*/ 122161 h 278812"/>
                        <a:gd name="connsiteX0" fmla="*/ 34419 w 192931"/>
                        <a:gd name="connsiteY0" fmla="*/ 122161 h 309754"/>
                        <a:gd name="connsiteX1" fmla="*/ 115703 w 192931"/>
                        <a:gd name="connsiteY1" fmla="*/ 21422 h 309754"/>
                        <a:gd name="connsiteX2" fmla="*/ 190610 w 192931"/>
                        <a:gd name="connsiteY2" fmla="*/ 13390 h 309754"/>
                        <a:gd name="connsiteX3" fmla="*/ 175349 w 192931"/>
                        <a:gd name="connsiteY3" fmla="*/ 153117 h 309754"/>
                        <a:gd name="connsiteX4" fmla="*/ 123935 w 192931"/>
                        <a:gd name="connsiteY4" fmla="*/ 307132 h 309754"/>
                        <a:gd name="connsiteX5" fmla="*/ 37122 w 192931"/>
                        <a:gd name="connsiteY5" fmla="*/ 245260 h 309754"/>
                        <a:gd name="connsiteX6" fmla="*/ 8546 w 192931"/>
                        <a:gd name="connsiteY6" fmla="*/ 147628 h 309754"/>
                        <a:gd name="connsiteX7" fmla="*/ 34419 w 192931"/>
                        <a:gd name="connsiteY7" fmla="*/ 122161 h 309754"/>
                        <a:gd name="connsiteX0" fmla="*/ 34419 w 191783"/>
                        <a:gd name="connsiteY0" fmla="*/ 122330 h 309815"/>
                        <a:gd name="connsiteX1" fmla="*/ 115703 w 191783"/>
                        <a:gd name="connsiteY1" fmla="*/ 21591 h 309815"/>
                        <a:gd name="connsiteX2" fmla="*/ 190610 w 191783"/>
                        <a:gd name="connsiteY2" fmla="*/ 13559 h 309815"/>
                        <a:gd name="connsiteX3" fmla="*/ 163443 w 191783"/>
                        <a:gd name="connsiteY3" fmla="*/ 155667 h 309815"/>
                        <a:gd name="connsiteX4" fmla="*/ 123935 w 191783"/>
                        <a:gd name="connsiteY4" fmla="*/ 307301 h 309815"/>
                        <a:gd name="connsiteX5" fmla="*/ 37122 w 191783"/>
                        <a:gd name="connsiteY5" fmla="*/ 245429 h 309815"/>
                        <a:gd name="connsiteX6" fmla="*/ 8546 w 191783"/>
                        <a:gd name="connsiteY6" fmla="*/ 147797 h 309815"/>
                        <a:gd name="connsiteX7" fmla="*/ 34419 w 191783"/>
                        <a:gd name="connsiteY7" fmla="*/ 122330 h 309815"/>
                        <a:gd name="connsiteX0" fmla="*/ 34419 w 201084"/>
                        <a:gd name="connsiteY0" fmla="*/ 122330 h 309815"/>
                        <a:gd name="connsiteX1" fmla="*/ 115703 w 201084"/>
                        <a:gd name="connsiteY1" fmla="*/ 21591 h 309815"/>
                        <a:gd name="connsiteX2" fmla="*/ 200135 w 201084"/>
                        <a:gd name="connsiteY2" fmla="*/ 13559 h 309815"/>
                        <a:gd name="connsiteX3" fmla="*/ 163443 w 201084"/>
                        <a:gd name="connsiteY3" fmla="*/ 155667 h 309815"/>
                        <a:gd name="connsiteX4" fmla="*/ 123935 w 201084"/>
                        <a:gd name="connsiteY4" fmla="*/ 307301 h 309815"/>
                        <a:gd name="connsiteX5" fmla="*/ 37122 w 201084"/>
                        <a:gd name="connsiteY5" fmla="*/ 245429 h 309815"/>
                        <a:gd name="connsiteX6" fmla="*/ 8546 w 201084"/>
                        <a:gd name="connsiteY6" fmla="*/ 147797 h 309815"/>
                        <a:gd name="connsiteX7" fmla="*/ 34419 w 201084"/>
                        <a:gd name="connsiteY7" fmla="*/ 122330 h 309815"/>
                        <a:gd name="connsiteX0" fmla="*/ 34419 w 202894"/>
                        <a:gd name="connsiteY0" fmla="*/ 125390 h 312875"/>
                        <a:gd name="connsiteX1" fmla="*/ 115703 w 202894"/>
                        <a:gd name="connsiteY1" fmla="*/ 24651 h 312875"/>
                        <a:gd name="connsiteX2" fmla="*/ 200135 w 202894"/>
                        <a:gd name="connsiteY2" fmla="*/ 16619 h 312875"/>
                        <a:gd name="connsiteX3" fmla="*/ 163443 w 202894"/>
                        <a:gd name="connsiteY3" fmla="*/ 158727 h 312875"/>
                        <a:gd name="connsiteX4" fmla="*/ 123935 w 202894"/>
                        <a:gd name="connsiteY4" fmla="*/ 310361 h 312875"/>
                        <a:gd name="connsiteX5" fmla="*/ 37122 w 202894"/>
                        <a:gd name="connsiteY5" fmla="*/ 248489 h 312875"/>
                        <a:gd name="connsiteX6" fmla="*/ 8546 w 202894"/>
                        <a:gd name="connsiteY6" fmla="*/ 150857 h 312875"/>
                        <a:gd name="connsiteX7" fmla="*/ 34419 w 202894"/>
                        <a:gd name="connsiteY7" fmla="*/ 125390 h 312875"/>
                        <a:gd name="connsiteX0" fmla="*/ 34419 w 202894"/>
                        <a:gd name="connsiteY0" fmla="*/ 121862 h 309347"/>
                        <a:gd name="connsiteX1" fmla="*/ 91889 w 202894"/>
                        <a:gd name="connsiteY1" fmla="*/ 75892 h 309347"/>
                        <a:gd name="connsiteX2" fmla="*/ 115703 w 202894"/>
                        <a:gd name="connsiteY2" fmla="*/ 21123 h 309347"/>
                        <a:gd name="connsiteX3" fmla="*/ 200135 w 202894"/>
                        <a:gd name="connsiteY3" fmla="*/ 13091 h 309347"/>
                        <a:gd name="connsiteX4" fmla="*/ 163443 w 202894"/>
                        <a:gd name="connsiteY4" fmla="*/ 155199 h 309347"/>
                        <a:gd name="connsiteX5" fmla="*/ 123935 w 202894"/>
                        <a:gd name="connsiteY5" fmla="*/ 306833 h 309347"/>
                        <a:gd name="connsiteX6" fmla="*/ 37122 w 202894"/>
                        <a:gd name="connsiteY6" fmla="*/ 244961 h 309347"/>
                        <a:gd name="connsiteX7" fmla="*/ 8546 w 202894"/>
                        <a:gd name="connsiteY7" fmla="*/ 147329 h 309347"/>
                        <a:gd name="connsiteX8" fmla="*/ 34419 w 202894"/>
                        <a:gd name="connsiteY8" fmla="*/ 121862 h 309347"/>
                        <a:gd name="connsiteX0" fmla="*/ 34419 w 202894"/>
                        <a:gd name="connsiteY0" fmla="*/ 121862 h 309347"/>
                        <a:gd name="connsiteX1" fmla="*/ 84745 w 202894"/>
                        <a:gd name="connsiteY1" fmla="*/ 71130 h 309347"/>
                        <a:gd name="connsiteX2" fmla="*/ 115703 w 202894"/>
                        <a:gd name="connsiteY2" fmla="*/ 21123 h 309347"/>
                        <a:gd name="connsiteX3" fmla="*/ 200135 w 202894"/>
                        <a:gd name="connsiteY3" fmla="*/ 13091 h 309347"/>
                        <a:gd name="connsiteX4" fmla="*/ 163443 w 202894"/>
                        <a:gd name="connsiteY4" fmla="*/ 155199 h 309347"/>
                        <a:gd name="connsiteX5" fmla="*/ 123935 w 202894"/>
                        <a:gd name="connsiteY5" fmla="*/ 306833 h 309347"/>
                        <a:gd name="connsiteX6" fmla="*/ 37122 w 202894"/>
                        <a:gd name="connsiteY6" fmla="*/ 244961 h 309347"/>
                        <a:gd name="connsiteX7" fmla="*/ 8546 w 202894"/>
                        <a:gd name="connsiteY7" fmla="*/ 147329 h 309347"/>
                        <a:gd name="connsiteX8" fmla="*/ 34419 w 202894"/>
                        <a:gd name="connsiteY8" fmla="*/ 121862 h 30934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202894" h="309347">
                          <a:moveTo>
                            <a:pt x="34419" y="121862"/>
                          </a:moveTo>
                          <a:cubicBezTo>
                            <a:pt x="47119" y="109162"/>
                            <a:pt x="71198" y="87920"/>
                            <a:pt x="84745" y="71130"/>
                          </a:cubicBezTo>
                          <a:cubicBezTo>
                            <a:pt x="98292" y="54340"/>
                            <a:pt x="95281" y="30399"/>
                            <a:pt x="115703" y="21123"/>
                          </a:cubicBezTo>
                          <a:cubicBezTo>
                            <a:pt x="136125" y="11847"/>
                            <a:pt x="185034" y="-16399"/>
                            <a:pt x="200135" y="13091"/>
                          </a:cubicBezTo>
                          <a:cubicBezTo>
                            <a:pt x="215236" y="42581"/>
                            <a:pt x="163443" y="88551"/>
                            <a:pt x="163443" y="155199"/>
                          </a:cubicBezTo>
                          <a:cubicBezTo>
                            <a:pt x="163443" y="221847"/>
                            <a:pt x="144989" y="291873"/>
                            <a:pt x="123935" y="306833"/>
                          </a:cubicBezTo>
                          <a:cubicBezTo>
                            <a:pt x="102882" y="321793"/>
                            <a:pt x="54766" y="265989"/>
                            <a:pt x="37122" y="244961"/>
                          </a:cubicBezTo>
                          <a:cubicBezTo>
                            <a:pt x="19478" y="223933"/>
                            <a:pt x="-16403" y="173798"/>
                            <a:pt x="8546" y="147329"/>
                          </a:cubicBezTo>
                          <a:cubicBezTo>
                            <a:pt x="-3595" y="122851"/>
                            <a:pt x="21719" y="134562"/>
                            <a:pt x="34419" y="121862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6" name="Oval 259"/>
                    <p:cNvSpPr/>
                    <p:nvPr/>
                  </p:nvSpPr>
                  <p:spPr>
                    <a:xfrm>
                      <a:off x="6407020" y="4469642"/>
                      <a:ext cx="78221" cy="102358"/>
                    </a:xfrm>
                    <a:prstGeom prst="ellipse">
                      <a:avLst/>
                    </a:pr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7" name="Oval 43"/>
                    <p:cNvSpPr/>
                    <p:nvPr/>
                  </p:nvSpPr>
                  <p:spPr>
                    <a:xfrm>
                      <a:off x="5517919" y="4924304"/>
                      <a:ext cx="159840" cy="129792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4566" h="129792">
                          <a:moveTo>
                            <a:pt x="5388" y="36471"/>
                          </a:moveTo>
                          <a:cubicBezTo>
                            <a:pt x="12929" y="15035"/>
                            <a:pt x="42735" y="-4025"/>
                            <a:pt x="54265" y="738"/>
                          </a:cubicBezTo>
                          <a:cubicBezTo>
                            <a:pt x="65795" y="5501"/>
                            <a:pt x="74566" y="30845"/>
                            <a:pt x="74566" y="65046"/>
                          </a:cubicBezTo>
                          <a:cubicBezTo>
                            <a:pt x="74566" y="99247"/>
                            <a:pt x="20551" y="134117"/>
                            <a:pt x="9021" y="129354"/>
                          </a:cubicBezTo>
                          <a:cubicBezTo>
                            <a:pt x="-2509" y="124592"/>
                            <a:pt x="-2153" y="57907"/>
                            <a:pt x="5388" y="36471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8" name="Oval 45"/>
                    <p:cNvSpPr/>
                    <p:nvPr/>
                  </p:nvSpPr>
                  <p:spPr>
                    <a:xfrm rot="16200000">
                      <a:off x="6044079" y="4431995"/>
                      <a:ext cx="130607" cy="166420"/>
                    </a:xfrm>
                    <a:custGeom>
                      <a:avLst/>
                      <a:gdLst>
                        <a:gd name="connsiteX0" fmla="*/ 0 w 78221"/>
                        <a:gd name="connsiteY0" fmla="*/ 51179 h 102358"/>
                        <a:gd name="connsiteX1" fmla="*/ 39111 w 78221"/>
                        <a:gd name="connsiteY1" fmla="*/ 0 h 102358"/>
                        <a:gd name="connsiteX2" fmla="*/ 78222 w 78221"/>
                        <a:gd name="connsiteY2" fmla="*/ 51179 h 102358"/>
                        <a:gd name="connsiteX3" fmla="*/ 39111 w 78221"/>
                        <a:gd name="connsiteY3" fmla="*/ 102358 h 102358"/>
                        <a:gd name="connsiteX4" fmla="*/ 0 w 78221"/>
                        <a:gd name="connsiteY4" fmla="*/ 51179 h 102358"/>
                        <a:gd name="connsiteX0" fmla="*/ 0 w 82937"/>
                        <a:gd name="connsiteY0" fmla="*/ 62449 h 113628"/>
                        <a:gd name="connsiteX1" fmla="*/ 39111 w 82937"/>
                        <a:gd name="connsiteY1" fmla="*/ 11270 h 113628"/>
                        <a:gd name="connsiteX2" fmla="*/ 79554 w 82937"/>
                        <a:gd name="connsiteY2" fmla="*/ 4091 h 113628"/>
                        <a:gd name="connsiteX3" fmla="*/ 78222 w 82937"/>
                        <a:gd name="connsiteY3" fmla="*/ 62449 h 113628"/>
                        <a:gd name="connsiteX4" fmla="*/ 39111 w 82937"/>
                        <a:gd name="connsiteY4" fmla="*/ 113628 h 113628"/>
                        <a:gd name="connsiteX5" fmla="*/ 0 w 82937"/>
                        <a:gd name="connsiteY5" fmla="*/ 62449 h 113628"/>
                        <a:gd name="connsiteX0" fmla="*/ 0 w 82374"/>
                        <a:gd name="connsiteY0" fmla="*/ 62449 h 113667"/>
                        <a:gd name="connsiteX1" fmla="*/ 39111 w 82374"/>
                        <a:gd name="connsiteY1" fmla="*/ 11270 h 113667"/>
                        <a:gd name="connsiteX2" fmla="*/ 79554 w 82374"/>
                        <a:gd name="connsiteY2" fmla="*/ 4091 h 113667"/>
                        <a:gd name="connsiteX3" fmla="*/ 78222 w 82374"/>
                        <a:gd name="connsiteY3" fmla="*/ 62449 h 113667"/>
                        <a:gd name="connsiteX4" fmla="*/ 48597 w 82374"/>
                        <a:gd name="connsiteY4" fmla="*/ 70766 h 113667"/>
                        <a:gd name="connsiteX5" fmla="*/ 39111 w 82374"/>
                        <a:gd name="connsiteY5" fmla="*/ 113628 h 113667"/>
                        <a:gd name="connsiteX6" fmla="*/ 0 w 82374"/>
                        <a:gd name="connsiteY6" fmla="*/ 62449 h 113667"/>
                        <a:gd name="connsiteX0" fmla="*/ 0 w 81096"/>
                        <a:gd name="connsiteY0" fmla="*/ 62449 h 113667"/>
                        <a:gd name="connsiteX1" fmla="*/ 39111 w 81096"/>
                        <a:gd name="connsiteY1" fmla="*/ 11270 h 113667"/>
                        <a:gd name="connsiteX2" fmla="*/ 79554 w 81096"/>
                        <a:gd name="connsiteY2" fmla="*/ 4091 h 113667"/>
                        <a:gd name="connsiteX3" fmla="*/ 68697 w 81096"/>
                        <a:gd name="connsiteY3" fmla="*/ 48162 h 113667"/>
                        <a:gd name="connsiteX4" fmla="*/ 48597 w 81096"/>
                        <a:gd name="connsiteY4" fmla="*/ 70766 h 113667"/>
                        <a:gd name="connsiteX5" fmla="*/ 39111 w 81096"/>
                        <a:gd name="connsiteY5" fmla="*/ 113628 h 113667"/>
                        <a:gd name="connsiteX6" fmla="*/ 0 w 81096"/>
                        <a:gd name="connsiteY6" fmla="*/ 62449 h 11366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81096" h="113667">
                          <a:moveTo>
                            <a:pt x="0" y="62449"/>
                          </a:moveTo>
                          <a:cubicBezTo>
                            <a:pt x="0" y="34184"/>
                            <a:pt x="25852" y="20996"/>
                            <a:pt x="39111" y="11270"/>
                          </a:cubicBezTo>
                          <a:cubicBezTo>
                            <a:pt x="52370" y="1544"/>
                            <a:pt x="73036" y="-4439"/>
                            <a:pt x="79554" y="4091"/>
                          </a:cubicBezTo>
                          <a:cubicBezTo>
                            <a:pt x="86073" y="12621"/>
                            <a:pt x="69888" y="37050"/>
                            <a:pt x="68697" y="48162"/>
                          </a:cubicBezTo>
                          <a:cubicBezTo>
                            <a:pt x="67506" y="59275"/>
                            <a:pt x="55116" y="62236"/>
                            <a:pt x="48597" y="70766"/>
                          </a:cubicBezTo>
                          <a:cubicBezTo>
                            <a:pt x="42079" y="79296"/>
                            <a:pt x="47210" y="115014"/>
                            <a:pt x="39111" y="113628"/>
                          </a:cubicBezTo>
                          <a:cubicBezTo>
                            <a:pt x="31012" y="112242"/>
                            <a:pt x="0" y="90714"/>
                            <a:pt x="0" y="62449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19" name="Oval 43"/>
                    <p:cNvSpPr/>
                    <p:nvPr/>
                  </p:nvSpPr>
                  <p:spPr>
                    <a:xfrm>
                      <a:off x="5488371" y="4855742"/>
                      <a:ext cx="74566" cy="80591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4566" h="129792">
                          <a:moveTo>
                            <a:pt x="5388" y="36471"/>
                          </a:moveTo>
                          <a:cubicBezTo>
                            <a:pt x="12929" y="15035"/>
                            <a:pt x="42735" y="-4025"/>
                            <a:pt x="54265" y="738"/>
                          </a:cubicBezTo>
                          <a:cubicBezTo>
                            <a:pt x="65795" y="5501"/>
                            <a:pt x="74566" y="30845"/>
                            <a:pt x="74566" y="65046"/>
                          </a:cubicBezTo>
                          <a:cubicBezTo>
                            <a:pt x="74566" y="99247"/>
                            <a:pt x="20551" y="134117"/>
                            <a:pt x="9021" y="129354"/>
                          </a:cubicBezTo>
                          <a:cubicBezTo>
                            <a:pt x="-2509" y="124592"/>
                            <a:pt x="-2153" y="57907"/>
                            <a:pt x="5388" y="36471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0" name="Oval 43"/>
                    <p:cNvSpPr/>
                    <p:nvPr/>
                  </p:nvSpPr>
                  <p:spPr>
                    <a:xfrm>
                      <a:off x="5034872" y="5031643"/>
                      <a:ext cx="187617" cy="207376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  <a:gd name="connsiteX0" fmla="*/ 157 w 69335"/>
                        <a:gd name="connsiteY0" fmla="*/ 36436 h 122190"/>
                        <a:gd name="connsiteX1" fmla="*/ 49034 w 69335"/>
                        <a:gd name="connsiteY1" fmla="*/ 703 h 122190"/>
                        <a:gd name="connsiteX2" fmla="*/ 69335 w 69335"/>
                        <a:gd name="connsiteY2" fmla="*/ 65011 h 122190"/>
                        <a:gd name="connsiteX3" fmla="*/ 34746 w 69335"/>
                        <a:gd name="connsiteY3" fmla="*/ 121648 h 122190"/>
                        <a:gd name="connsiteX4" fmla="*/ 157 w 69335"/>
                        <a:gd name="connsiteY4" fmla="*/ 36436 h 122190"/>
                        <a:gd name="connsiteX0" fmla="*/ 277 w 55168"/>
                        <a:gd name="connsiteY0" fmla="*/ 51179 h 121188"/>
                        <a:gd name="connsiteX1" fmla="*/ 34867 w 55168"/>
                        <a:gd name="connsiteY1" fmla="*/ 106 h 121188"/>
                        <a:gd name="connsiteX2" fmla="*/ 55168 w 55168"/>
                        <a:gd name="connsiteY2" fmla="*/ 64414 h 121188"/>
                        <a:gd name="connsiteX3" fmla="*/ 20579 w 55168"/>
                        <a:gd name="connsiteY3" fmla="*/ 121051 h 121188"/>
                        <a:gd name="connsiteX4" fmla="*/ 277 w 55168"/>
                        <a:gd name="connsiteY4" fmla="*/ 51179 h 121188"/>
                        <a:gd name="connsiteX0" fmla="*/ 212 w 55134"/>
                        <a:gd name="connsiteY0" fmla="*/ 51178 h 121223"/>
                        <a:gd name="connsiteX1" fmla="*/ 34802 w 55134"/>
                        <a:gd name="connsiteY1" fmla="*/ 105 h 121223"/>
                        <a:gd name="connsiteX2" fmla="*/ 55103 w 55134"/>
                        <a:gd name="connsiteY2" fmla="*/ 64413 h 121223"/>
                        <a:gd name="connsiteX3" fmla="*/ 25879 w 55134"/>
                        <a:gd name="connsiteY3" fmla="*/ 70850 h 121223"/>
                        <a:gd name="connsiteX4" fmla="*/ 20514 w 55134"/>
                        <a:gd name="connsiteY4" fmla="*/ 121050 h 121223"/>
                        <a:gd name="connsiteX5" fmla="*/ 212 w 55134"/>
                        <a:gd name="connsiteY5" fmla="*/ 51178 h 121223"/>
                        <a:gd name="connsiteX0" fmla="*/ 276 w 55443"/>
                        <a:gd name="connsiteY0" fmla="*/ 51178 h 121140"/>
                        <a:gd name="connsiteX1" fmla="*/ 34866 w 55443"/>
                        <a:gd name="connsiteY1" fmla="*/ 105 h 121140"/>
                        <a:gd name="connsiteX2" fmla="*/ 55167 w 55443"/>
                        <a:gd name="connsiteY2" fmla="*/ 64413 h 121140"/>
                        <a:gd name="connsiteX3" fmla="*/ 20578 w 55443"/>
                        <a:gd name="connsiteY3" fmla="*/ 121050 h 121140"/>
                        <a:gd name="connsiteX4" fmla="*/ 276 w 55443"/>
                        <a:gd name="connsiteY4" fmla="*/ 51178 h 12114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5443" h="121140">
                          <a:moveTo>
                            <a:pt x="276" y="51178"/>
                          </a:moveTo>
                          <a:cubicBezTo>
                            <a:pt x="2657" y="31021"/>
                            <a:pt x="25718" y="-2101"/>
                            <a:pt x="34866" y="105"/>
                          </a:cubicBezTo>
                          <a:cubicBezTo>
                            <a:pt x="44014" y="2311"/>
                            <a:pt x="57548" y="44256"/>
                            <a:pt x="55167" y="64413"/>
                          </a:cubicBezTo>
                          <a:cubicBezTo>
                            <a:pt x="52786" y="84571"/>
                            <a:pt x="29726" y="123256"/>
                            <a:pt x="20578" y="121050"/>
                          </a:cubicBezTo>
                          <a:cubicBezTo>
                            <a:pt x="11430" y="118844"/>
                            <a:pt x="-2105" y="71336"/>
                            <a:pt x="276" y="51178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1" name="Oval 43"/>
                    <p:cNvSpPr/>
                    <p:nvPr/>
                  </p:nvSpPr>
                  <p:spPr>
                    <a:xfrm>
                      <a:off x="4668629" y="4595589"/>
                      <a:ext cx="186943" cy="185223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  <a:gd name="connsiteX0" fmla="*/ 157 w 69335"/>
                        <a:gd name="connsiteY0" fmla="*/ 36436 h 122190"/>
                        <a:gd name="connsiteX1" fmla="*/ 49034 w 69335"/>
                        <a:gd name="connsiteY1" fmla="*/ 703 h 122190"/>
                        <a:gd name="connsiteX2" fmla="*/ 69335 w 69335"/>
                        <a:gd name="connsiteY2" fmla="*/ 65011 h 122190"/>
                        <a:gd name="connsiteX3" fmla="*/ 34746 w 69335"/>
                        <a:gd name="connsiteY3" fmla="*/ 121648 h 122190"/>
                        <a:gd name="connsiteX4" fmla="*/ 157 w 69335"/>
                        <a:gd name="connsiteY4" fmla="*/ 36436 h 122190"/>
                        <a:gd name="connsiteX0" fmla="*/ 277 w 55168"/>
                        <a:gd name="connsiteY0" fmla="*/ 51179 h 121188"/>
                        <a:gd name="connsiteX1" fmla="*/ 34867 w 55168"/>
                        <a:gd name="connsiteY1" fmla="*/ 106 h 121188"/>
                        <a:gd name="connsiteX2" fmla="*/ 55168 w 55168"/>
                        <a:gd name="connsiteY2" fmla="*/ 64414 h 121188"/>
                        <a:gd name="connsiteX3" fmla="*/ 20579 w 55168"/>
                        <a:gd name="connsiteY3" fmla="*/ 121051 h 121188"/>
                        <a:gd name="connsiteX4" fmla="*/ 277 w 55168"/>
                        <a:gd name="connsiteY4" fmla="*/ 51179 h 121188"/>
                        <a:gd name="connsiteX0" fmla="*/ 212 w 55134"/>
                        <a:gd name="connsiteY0" fmla="*/ 51178 h 121223"/>
                        <a:gd name="connsiteX1" fmla="*/ 34802 w 55134"/>
                        <a:gd name="connsiteY1" fmla="*/ 105 h 121223"/>
                        <a:gd name="connsiteX2" fmla="*/ 55103 w 55134"/>
                        <a:gd name="connsiteY2" fmla="*/ 64413 h 121223"/>
                        <a:gd name="connsiteX3" fmla="*/ 25879 w 55134"/>
                        <a:gd name="connsiteY3" fmla="*/ 70850 h 121223"/>
                        <a:gd name="connsiteX4" fmla="*/ 20514 w 55134"/>
                        <a:gd name="connsiteY4" fmla="*/ 121050 h 121223"/>
                        <a:gd name="connsiteX5" fmla="*/ 212 w 55134"/>
                        <a:gd name="connsiteY5" fmla="*/ 51178 h 121223"/>
                        <a:gd name="connsiteX0" fmla="*/ 258 w 55427"/>
                        <a:gd name="connsiteY0" fmla="*/ 51178 h 126292"/>
                        <a:gd name="connsiteX1" fmla="*/ 34848 w 55427"/>
                        <a:gd name="connsiteY1" fmla="*/ 105 h 126292"/>
                        <a:gd name="connsiteX2" fmla="*/ 55149 w 55427"/>
                        <a:gd name="connsiteY2" fmla="*/ 64413 h 126292"/>
                        <a:gd name="connsiteX3" fmla="*/ 48644 w 55427"/>
                        <a:gd name="connsiteY3" fmla="*/ 114925 h 126292"/>
                        <a:gd name="connsiteX4" fmla="*/ 20560 w 55427"/>
                        <a:gd name="connsiteY4" fmla="*/ 121050 h 126292"/>
                        <a:gd name="connsiteX5" fmla="*/ 258 w 55427"/>
                        <a:gd name="connsiteY5" fmla="*/ 51178 h 126292"/>
                        <a:gd name="connsiteX0" fmla="*/ 75 w 55244"/>
                        <a:gd name="connsiteY0" fmla="*/ 55807 h 130921"/>
                        <a:gd name="connsiteX1" fmla="*/ 27565 w 55244"/>
                        <a:gd name="connsiteY1" fmla="*/ 94 h 130921"/>
                        <a:gd name="connsiteX2" fmla="*/ 54966 w 55244"/>
                        <a:gd name="connsiteY2" fmla="*/ 69042 h 130921"/>
                        <a:gd name="connsiteX3" fmla="*/ 48461 w 55244"/>
                        <a:gd name="connsiteY3" fmla="*/ 119554 h 130921"/>
                        <a:gd name="connsiteX4" fmla="*/ 20377 w 55244"/>
                        <a:gd name="connsiteY4" fmla="*/ 125679 h 130921"/>
                        <a:gd name="connsiteX5" fmla="*/ 75 w 55244"/>
                        <a:gd name="connsiteY5" fmla="*/ 55807 h 130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5244" h="130921">
                          <a:moveTo>
                            <a:pt x="75" y="55807"/>
                          </a:moveTo>
                          <a:cubicBezTo>
                            <a:pt x="1273" y="34876"/>
                            <a:pt x="18417" y="-2112"/>
                            <a:pt x="27565" y="94"/>
                          </a:cubicBezTo>
                          <a:cubicBezTo>
                            <a:pt x="36713" y="2300"/>
                            <a:pt x="53933" y="51781"/>
                            <a:pt x="54966" y="69042"/>
                          </a:cubicBezTo>
                          <a:cubicBezTo>
                            <a:pt x="55999" y="86303"/>
                            <a:pt x="54226" y="110115"/>
                            <a:pt x="48461" y="119554"/>
                          </a:cubicBezTo>
                          <a:cubicBezTo>
                            <a:pt x="42696" y="128994"/>
                            <a:pt x="28441" y="136303"/>
                            <a:pt x="20377" y="125679"/>
                          </a:cubicBezTo>
                          <a:cubicBezTo>
                            <a:pt x="12313" y="115055"/>
                            <a:pt x="-1123" y="76738"/>
                            <a:pt x="75" y="55807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2" name="Oval 43"/>
                    <p:cNvSpPr/>
                    <p:nvPr/>
                  </p:nvSpPr>
                  <p:spPr>
                    <a:xfrm>
                      <a:off x="4943864" y="5488664"/>
                      <a:ext cx="186687" cy="128816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  <a:gd name="connsiteX0" fmla="*/ 157 w 69335"/>
                        <a:gd name="connsiteY0" fmla="*/ 36436 h 122190"/>
                        <a:gd name="connsiteX1" fmla="*/ 49034 w 69335"/>
                        <a:gd name="connsiteY1" fmla="*/ 703 h 122190"/>
                        <a:gd name="connsiteX2" fmla="*/ 69335 w 69335"/>
                        <a:gd name="connsiteY2" fmla="*/ 65011 h 122190"/>
                        <a:gd name="connsiteX3" fmla="*/ 34746 w 69335"/>
                        <a:gd name="connsiteY3" fmla="*/ 121648 h 122190"/>
                        <a:gd name="connsiteX4" fmla="*/ 157 w 69335"/>
                        <a:gd name="connsiteY4" fmla="*/ 36436 h 122190"/>
                        <a:gd name="connsiteX0" fmla="*/ 277 w 55168"/>
                        <a:gd name="connsiteY0" fmla="*/ 51179 h 121188"/>
                        <a:gd name="connsiteX1" fmla="*/ 34867 w 55168"/>
                        <a:gd name="connsiteY1" fmla="*/ 106 h 121188"/>
                        <a:gd name="connsiteX2" fmla="*/ 55168 w 55168"/>
                        <a:gd name="connsiteY2" fmla="*/ 64414 h 121188"/>
                        <a:gd name="connsiteX3" fmla="*/ 20579 w 55168"/>
                        <a:gd name="connsiteY3" fmla="*/ 121051 h 121188"/>
                        <a:gd name="connsiteX4" fmla="*/ 277 w 55168"/>
                        <a:gd name="connsiteY4" fmla="*/ 51179 h 121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5168" h="121188">
                          <a:moveTo>
                            <a:pt x="277" y="51179"/>
                          </a:moveTo>
                          <a:cubicBezTo>
                            <a:pt x="2658" y="31022"/>
                            <a:pt x="25719" y="-2100"/>
                            <a:pt x="34867" y="106"/>
                          </a:cubicBezTo>
                          <a:cubicBezTo>
                            <a:pt x="44015" y="2312"/>
                            <a:pt x="55168" y="30213"/>
                            <a:pt x="55168" y="64414"/>
                          </a:cubicBezTo>
                          <a:cubicBezTo>
                            <a:pt x="55168" y="98615"/>
                            <a:pt x="29727" y="123257"/>
                            <a:pt x="20579" y="121051"/>
                          </a:cubicBezTo>
                          <a:cubicBezTo>
                            <a:pt x="11431" y="118845"/>
                            <a:pt x="-2104" y="71337"/>
                            <a:pt x="277" y="51179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423" name="Oval 43"/>
                    <p:cNvSpPr/>
                    <p:nvPr/>
                  </p:nvSpPr>
                  <p:spPr>
                    <a:xfrm rot="18580113">
                      <a:off x="4931643" y="5929887"/>
                      <a:ext cx="154286" cy="81761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  <a:gd name="connsiteX0" fmla="*/ 157 w 69335"/>
                        <a:gd name="connsiteY0" fmla="*/ 36436 h 122190"/>
                        <a:gd name="connsiteX1" fmla="*/ 49034 w 69335"/>
                        <a:gd name="connsiteY1" fmla="*/ 703 h 122190"/>
                        <a:gd name="connsiteX2" fmla="*/ 69335 w 69335"/>
                        <a:gd name="connsiteY2" fmla="*/ 65011 h 122190"/>
                        <a:gd name="connsiteX3" fmla="*/ 34746 w 69335"/>
                        <a:gd name="connsiteY3" fmla="*/ 121648 h 122190"/>
                        <a:gd name="connsiteX4" fmla="*/ 157 w 69335"/>
                        <a:gd name="connsiteY4" fmla="*/ 36436 h 122190"/>
                        <a:gd name="connsiteX0" fmla="*/ 277 w 55168"/>
                        <a:gd name="connsiteY0" fmla="*/ 51179 h 121188"/>
                        <a:gd name="connsiteX1" fmla="*/ 34867 w 55168"/>
                        <a:gd name="connsiteY1" fmla="*/ 106 h 121188"/>
                        <a:gd name="connsiteX2" fmla="*/ 55168 w 55168"/>
                        <a:gd name="connsiteY2" fmla="*/ 64414 h 121188"/>
                        <a:gd name="connsiteX3" fmla="*/ 20579 w 55168"/>
                        <a:gd name="connsiteY3" fmla="*/ 121051 h 121188"/>
                        <a:gd name="connsiteX4" fmla="*/ 277 w 55168"/>
                        <a:gd name="connsiteY4" fmla="*/ 51179 h 121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5168" h="121188">
                          <a:moveTo>
                            <a:pt x="277" y="51179"/>
                          </a:moveTo>
                          <a:cubicBezTo>
                            <a:pt x="2658" y="31022"/>
                            <a:pt x="25719" y="-2100"/>
                            <a:pt x="34867" y="106"/>
                          </a:cubicBezTo>
                          <a:cubicBezTo>
                            <a:pt x="44015" y="2312"/>
                            <a:pt x="55168" y="30213"/>
                            <a:pt x="55168" y="64414"/>
                          </a:cubicBezTo>
                          <a:cubicBezTo>
                            <a:pt x="55168" y="98615"/>
                            <a:pt x="29727" y="123257"/>
                            <a:pt x="20579" y="121051"/>
                          </a:cubicBezTo>
                          <a:cubicBezTo>
                            <a:pt x="11431" y="118845"/>
                            <a:pt x="-2104" y="71337"/>
                            <a:pt x="277" y="51179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grpSp>
                <p:nvGrpSpPr>
                  <p:cNvPr id="405" name="Group 253"/>
                  <p:cNvGrpSpPr/>
                  <p:nvPr/>
                </p:nvGrpSpPr>
                <p:grpSpPr>
                  <a:xfrm>
                    <a:off x="6092919" y="2536350"/>
                    <a:ext cx="1655171" cy="3580622"/>
                    <a:chOff x="4595835" y="2588621"/>
                    <a:chExt cx="1655171" cy="3580622"/>
                  </a:xfrm>
                  <a:grpFill/>
                </p:grpSpPr>
                <p:sp>
                  <p:nvSpPr>
                    <p:cNvPr id="406" name="Oval 43"/>
                    <p:cNvSpPr/>
                    <p:nvPr/>
                  </p:nvSpPr>
                  <p:spPr>
                    <a:xfrm>
                      <a:off x="4595835" y="4470968"/>
                      <a:ext cx="226201" cy="328134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  <a:gd name="connsiteX0" fmla="*/ 157 w 69335"/>
                        <a:gd name="connsiteY0" fmla="*/ 36436 h 122190"/>
                        <a:gd name="connsiteX1" fmla="*/ 49034 w 69335"/>
                        <a:gd name="connsiteY1" fmla="*/ 703 h 122190"/>
                        <a:gd name="connsiteX2" fmla="*/ 69335 w 69335"/>
                        <a:gd name="connsiteY2" fmla="*/ 65011 h 122190"/>
                        <a:gd name="connsiteX3" fmla="*/ 34746 w 69335"/>
                        <a:gd name="connsiteY3" fmla="*/ 121648 h 122190"/>
                        <a:gd name="connsiteX4" fmla="*/ 157 w 69335"/>
                        <a:gd name="connsiteY4" fmla="*/ 36436 h 122190"/>
                        <a:gd name="connsiteX0" fmla="*/ 277 w 55168"/>
                        <a:gd name="connsiteY0" fmla="*/ 51179 h 121188"/>
                        <a:gd name="connsiteX1" fmla="*/ 34867 w 55168"/>
                        <a:gd name="connsiteY1" fmla="*/ 106 h 121188"/>
                        <a:gd name="connsiteX2" fmla="*/ 55168 w 55168"/>
                        <a:gd name="connsiteY2" fmla="*/ 64414 h 121188"/>
                        <a:gd name="connsiteX3" fmla="*/ 20579 w 55168"/>
                        <a:gd name="connsiteY3" fmla="*/ 121051 h 121188"/>
                        <a:gd name="connsiteX4" fmla="*/ 277 w 55168"/>
                        <a:gd name="connsiteY4" fmla="*/ 51179 h 121188"/>
                        <a:gd name="connsiteX0" fmla="*/ 212 w 55134"/>
                        <a:gd name="connsiteY0" fmla="*/ 51178 h 121223"/>
                        <a:gd name="connsiteX1" fmla="*/ 34802 w 55134"/>
                        <a:gd name="connsiteY1" fmla="*/ 105 h 121223"/>
                        <a:gd name="connsiteX2" fmla="*/ 55103 w 55134"/>
                        <a:gd name="connsiteY2" fmla="*/ 64413 h 121223"/>
                        <a:gd name="connsiteX3" fmla="*/ 25879 w 55134"/>
                        <a:gd name="connsiteY3" fmla="*/ 70850 h 121223"/>
                        <a:gd name="connsiteX4" fmla="*/ 20514 w 55134"/>
                        <a:gd name="connsiteY4" fmla="*/ 121050 h 121223"/>
                        <a:gd name="connsiteX5" fmla="*/ 212 w 55134"/>
                        <a:gd name="connsiteY5" fmla="*/ 51178 h 121223"/>
                        <a:gd name="connsiteX0" fmla="*/ 258 w 55427"/>
                        <a:gd name="connsiteY0" fmla="*/ 51178 h 126292"/>
                        <a:gd name="connsiteX1" fmla="*/ 34848 w 55427"/>
                        <a:gd name="connsiteY1" fmla="*/ 105 h 126292"/>
                        <a:gd name="connsiteX2" fmla="*/ 55149 w 55427"/>
                        <a:gd name="connsiteY2" fmla="*/ 64413 h 126292"/>
                        <a:gd name="connsiteX3" fmla="*/ 48644 w 55427"/>
                        <a:gd name="connsiteY3" fmla="*/ 114925 h 126292"/>
                        <a:gd name="connsiteX4" fmla="*/ 20560 w 55427"/>
                        <a:gd name="connsiteY4" fmla="*/ 121050 h 126292"/>
                        <a:gd name="connsiteX5" fmla="*/ 258 w 55427"/>
                        <a:gd name="connsiteY5" fmla="*/ 51178 h 126292"/>
                        <a:gd name="connsiteX0" fmla="*/ 75 w 55244"/>
                        <a:gd name="connsiteY0" fmla="*/ 55807 h 130921"/>
                        <a:gd name="connsiteX1" fmla="*/ 27565 w 55244"/>
                        <a:gd name="connsiteY1" fmla="*/ 94 h 130921"/>
                        <a:gd name="connsiteX2" fmla="*/ 54966 w 55244"/>
                        <a:gd name="connsiteY2" fmla="*/ 69042 h 130921"/>
                        <a:gd name="connsiteX3" fmla="*/ 48461 w 55244"/>
                        <a:gd name="connsiteY3" fmla="*/ 119554 h 130921"/>
                        <a:gd name="connsiteX4" fmla="*/ 20377 w 55244"/>
                        <a:gd name="connsiteY4" fmla="*/ 125679 h 130921"/>
                        <a:gd name="connsiteX5" fmla="*/ 75 w 55244"/>
                        <a:gd name="connsiteY5" fmla="*/ 55807 h 13092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5244" h="130921">
                          <a:moveTo>
                            <a:pt x="75" y="55807"/>
                          </a:moveTo>
                          <a:cubicBezTo>
                            <a:pt x="1273" y="34876"/>
                            <a:pt x="18417" y="-2112"/>
                            <a:pt x="27565" y="94"/>
                          </a:cubicBezTo>
                          <a:cubicBezTo>
                            <a:pt x="36713" y="2300"/>
                            <a:pt x="53933" y="51781"/>
                            <a:pt x="54966" y="69042"/>
                          </a:cubicBezTo>
                          <a:cubicBezTo>
                            <a:pt x="55999" y="86303"/>
                            <a:pt x="54226" y="110115"/>
                            <a:pt x="48461" y="119554"/>
                          </a:cubicBezTo>
                          <a:cubicBezTo>
                            <a:pt x="42696" y="128994"/>
                            <a:pt x="28441" y="136303"/>
                            <a:pt x="20377" y="125679"/>
                          </a:cubicBezTo>
                          <a:cubicBezTo>
                            <a:pt x="12313" y="115055"/>
                            <a:pt x="-1123" y="76738"/>
                            <a:pt x="75" y="55807"/>
                          </a:cubicBezTo>
                          <a:close/>
                        </a:path>
                      </a:pathLst>
                    </a:custGeom>
                    <a:grpFill/>
                    <a:ln w="6350" cap="flat" cmpd="sng" algn="ctr">
                      <a:noFill/>
                      <a:prstDash val="dash"/>
                    </a:ln>
                    <a:effectLst/>
                  </p:spPr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 kern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407" name="Oval 43"/>
                    <p:cNvSpPr/>
                    <p:nvPr/>
                  </p:nvSpPr>
                  <p:spPr>
                    <a:xfrm>
                      <a:off x="4792649" y="6026943"/>
                      <a:ext cx="98505" cy="142300"/>
                    </a:xfrm>
                    <a:custGeom>
                      <a:avLst/>
                      <a:gdLst>
                        <a:gd name="connsiteX0" fmla="*/ 0 w 131090"/>
                        <a:gd name="connsiteY0" fmla="*/ 61927 h 123853"/>
                        <a:gd name="connsiteX1" fmla="*/ 65545 w 131090"/>
                        <a:gd name="connsiteY1" fmla="*/ 0 h 123853"/>
                        <a:gd name="connsiteX2" fmla="*/ 131090 w 131090"/>
                        <a:gd name="connsiteY2" fmla="*/ 61927 h 123853"/>
                        <a:gd name="connsiteX3" fmla="*/ 65545 w 131090"/>
                        <a:gd name="connsiteY3" fmla="*/ 123854 h 123853"/>
                        <a:gd name="connsiteX4" fmla="*/ 0 w 131090"/>
                        <a:gd name="connsiteY4" fmla="*/ 61927 h 123853"/>
                        <a:gd name="connsiteX0" fmla="*/ 0 w 85846"/>
                        <a:gd name="connsiteY0" fmla="*/ 61931 h 123862"/>
                        <a:gd name="connsiteX1" fmla="*/ 65545 w 85846"/>
                        <a:gd name="connsiteY1" fmla="*/ 4 h 123862"/>
                        <a:gd name="connsiteX2" fmla="*/ 85846 w 85846"/>
                        <a:gd name="connsiteY2" fmla="*/ 64312 h 123862"/>
                        <a:gd name="connsiteX3" fmla="*/ 65545 w 85846"/>
                        <a:gd name="connsiteY3" fmla="*/ 123858 h 123862"/>
                        <a:gd name="connsiteX4" fmla="*/ 0 w 85846"/>
                        <a:gd name="connsiteY4" fmla="*/ 61931 h 123862"/>
                        <a:gd name="connsiteX0" fmla="*/ 0 w 69178"/>
                        <a:gd name="connsiteY0" fmla="*/ 37134 h 125753"/>
                        <a:gd name="connsiteX1" fmla="*/ 48877 w 69178"/>
                        <a:gd name="connsiteY1" fmla="*/ 1401 h 125753"/>
                        <a:gd name="connsiteX2" fmla="*/ 69178 w 69178"/>
                        <a:gd name="connsiteY2" fmla="*/ 65709 h 125753"/>
                        <a:gd name="connsiteX3" fmla="*/ 48877 w 69178"/>
                        <a:gd name="connsiteY3" fmla="*/ 125255 h 125753"/>
                        <a:gd name="connsiteX4" fmla="*/ 0 w 69178"/>
                        <a:gd name="connsiteY4" fmla="*/ 37134 h 125753"/>
                        <a:gd name="connsiteX0" fmla="*/ 5388 w 74566"/>
                        <a:gd name="connsiteY0" fmla="*/ 36471 h 129792"/>
                        <a:gd name="connsiteX1" fmla="*/ 54265 w 74566"/>
                        <a:gd name="connsiteY1" fmla="*/ 738 h 129792"/>
                        <a:gd name="connsiteX2" fmla="*/ 74566 w 74566"/>
                        <a:gd name="connsiteY2" fmla="*/ 65046 h 129792"/>
                        <a:gd name="connsiteX3" fmla="*/ 9021 w 74566"/>
                        <a:gd name="connsiteY3" fmla="*/ 129354 h 129792"/>
                        <a:gd name="connsiteX4" fmla="*/ 5388 w 74566"/>
                        <a:gd name="connsiteY4" fmla="*/ 36471 h 1297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74566" h="129792">
                          <a:moveTo>
                            <a:pt x="5388" y="36471"/>
                          </a:moveTo>
                          <a:cubicBezTo>
                            <a:pt x="12929" y="15035"/>
                            <a:pt x="42735" y="-4025"/>
                            <a:pt x="54265" y="738"/>
                          </a:cubicBezTo>
                          <a:cubicBezTo>
                            <a:pt x="65795" y="5501"/>
                            <a:pt x="74566" y="30845"/>
                            <a:pt x="74566" y="65046"/>
                          </a:cubicBezTo>
                          <a:cubicBezTo>
                            <a:pt x="74566" y="99247"/>
                            <a:pt x="20551" y="134117"/>
                            <a:pt x="9021" y="129354"/>
                          </a:cubicBezTo>
                          <a:cubicBezTo>
                            <a:pt x="-2509" y="124592"/>
                            <a:pt x="-2153" y="57907"/>
                            <a:pt x="5388" y="36471"/>
                          </a:cubicBezTo>
                          <a:close/>
                        </a:path>
                      </a:pathLst>
                    </a:custGeom>
                    <a:grpFill/>
                    <a:ln w="6350" cap="flat" cmpd="sng" algn="ctr">
                      <a:noFill/>
                      <a:prstDash val="dash"/>
                    </a:ln>
                    <a:effectLst/>
                  </p:spPr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 kern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413" name="Oval 45"/>
                    <p:cNvSpPr/>
                    <p:nvPr/>
                  </p:nvSpPr>
                  <p:spPr>
                    <a:xfrm flipH="1">
                      <a:off x="6030844" y="2740325"/>
                      <a:ext cx="220162" cy="211700"/>
                    </a:xfrm>
                    <a:custGeom>
                      <a:avLst/>
                      <a:gdLst>
                        <a:gd name="connsiteX0" fmla="*/ 0 w 78221"/>
                        <a:gd name="connsiteY0" fmla="*/ 51179 h 102358"/>
                        <a:gd name="connsiteX1" fmla="*/ 39111 w 78221"/>
                        <a:gd name="connsiteY1" fmla="*/ 0 h 102358"/>
                        <a:gd name="connsiteX2" fmla="*/ 78222 w 78221"/>
                        <a:gd name="connsiteY2" fmla="*/ 51179 h 102358"/>
                        <a:gd name="connsiteX3" fmla="*/ 39111 w 78221"/>
                        <a:gd name="connsiteY3" fmla="*/ 102358 h 102358"/>
                        <a:gd name="connsiteX4" fmla="*/ 0 w 78221"/>
                        <a:gd name="connsiteY4" fmla="*/ 51179 h 102358"/>
                        <a:gd name="connsiteX0" fmla="*/ 0 w 82937"/>
                        <a:gd name="connsiteY0" fmla="*/ 62449 h 113628"/>
                        <a:gd name="connsiteX1" fmla="*/ 39111 w 82937"/>
                        <a:gd name="connsiteY1" fmla="*/ 11270 h 113628"/>
                        <a:gd name="connsiteX2" fmla="*/ 79554 w 82937"/>
                        <a:gd name="connsiteY2" fmla="*/ 4091 h 113628"/>
                        <a:gd name="connsiteX3" fmla="*/ 78222 w 82937"/>
                        <a:gd name="connsiteY3" fmla="*/ 62449 h 113628"/>
                        <a:gd name="connsiteX4" fmla="*/ 39111 w 82937"/>
                        <a:gd name="connsiteY4" fmla="*/ 113628 h 113628"/>
                        <a:gd name="connsiteX5" fmla="*/ 0 w 82937"/>
                        <a:gd name="connsiteY5" fmla="*/ 62449 h 113628"/>
                        <a:gd name="connsiteX0" fmla="*/ 0 w 82374"/>
                        <a:gd name="connsiteY0" fmla="*/ 62449 h 113667"/>
                        <a:gd name="connsiteX1" fmla="*/ 39111 w 82374"/>
                        <a:gd name="connsiteY1" fmla="*/ 11270 h 113667"/>
                        <a:gd name="connsiteX2" fmla="*/ 79554 w 82374"/>
                        <a:gd name="connsiteY2" fmla="*/ 4091 h 113667"/>
                        <a:gd name="connsiteX3" fmla="*/ 78222 w 82374"/>
                        <a:gd name="connsiteY3" fmla="*/ 62449 h 113667"/>
                        <a:gd name="connsiteX4" fmla="*/ 48597 w 82374"/>
                        <a:gd name="connsiteY4" fmla="*/ 70766 h 113667"/>
                        <a:gd name="connsiteX5" fmla="*/ 39111 w 82374"/>
                        <a:gd name="connsiteY5" fmla="*/ 113628 h 113667"/>
                        <a:gd name="connsiteX6" fmla="*/ 0 w 82374"/>
                        <a:gd name="connsiteY6" fmla="*/ 62449 h 113667"/>
                        <a:gd name="connsiteX0" fmla="*/ 0 w 81096"/>
                        <a:gd name="connsiteY0" fmla="*/ 62449 h 113667"/>
                        <a:gd name="connsiteX1" fmla="*/ 39111 w 81096"/>
                        <a:gd name="connsiteY1" fmla="*/ 11270 h 113667"/>
                        <a:gd name="connsiteX2" fmla="*/ 79554 w 81096"/>
                        <a:gd name="connsiteY2" fmla="*/ 4091 h 113667"/>
                        <a:gd name="connsiteX3" fmla="*/ 68697 w 81096"/>
                        <a:gd name="connsiteY3" fmla="*/ 48162 h 113667"/>
                        <a:gd name="connsiteX4" fmla="*/ 48597 w 81096"/>
                        <a:gd name="connsiteY4" fmla="*/ 70766 h 113667"/>
                        <a:gd name="connsiteX5" fmla="*/ 39111 w 81096"/>
                        <a:gd name="connsiteY5" fmla="*/ 113628 h 113667"/>
                        <a:gd name="connsiteX6" fmla="*/ 0 w 81096"/>
                        <a:gd name="connsiteY6" fmla="*/ 62449 h 113667"/>
                        <a:gd name="connsiteX0" fmla="*/ 0 w 116519"/>
                        <a:gd name="connsiteY0" fmla="*/ 53187 h 113469"/>
                        <a:gd name="connsiteX1" fmla="*/ 74534 w 116519"/>
                        <a:gd name="connsiteY1" fmla="*/ 10953 h 113469"/>
                        <a:gd name="connsiteX2" fmla="*/ 114977 w 116519"/>
                        <a:gd name="connsiteY2" fmla="*/ 3774 h 113469"/>
                        <a:gd name="connsiteX3" fmla="*/ 104120 w 116519"/>
                        <a:gd name="connsiteY3" fmla="*/ 47845 h 113469"/>
                        <a:gd name="connsiteX4" fmla="*/ 84020 w 116519"/>
                        <a:gd name="connsiteY4" fmla="*/ 70449 h 113469"/>
                        <a:gd name="connsiteX5" fmla="*/ 74534 w 116519"/>
                        <a:gd name="connsiteY5" fmla="*/ 113311 h 113469"/>
                        <a:gd name="connsiteX6" fmla="*/ 0 w 116519"/>
                        <a:gd name="connsiteY6" fmla="*/ 53187 h 113469"/>
                        <a:gd name="connsiteX0" fmla="*/ 0 w 115990"/>
                        <a:gd name="connsiteY0" fmla="*/ 56348 h 116630"/>
                        <a:gd name="connsiteX1" fmla="*/ 74534 w 115990"/>
                        <a:gd name="connsiteY1" fmla="*/ 5169 h 116630"/>
                        <a:gd name="connsiteX2" fmla="*/ 114977 w 115990"/>
                        <a:gd name="connsiteY2" fmla="*/ 6935 h 116630"/>
                        <a:gd name="connsiteX3" fmla="*/ 104120 w 115990"/>
                        <a:gd name="connsiteY3" fmla="*/ 51006 h 116630"/>
                        <a:gd name="connsiteX4" fmla="*/ 84020 w 115990"/>
                        <a:gd name="connsiteY4" fmla="*/ 73610 h 116630"/>
                        <a:gd name="connsiteX5" fmla="*/ 74534 w 115990"/>
                        <a:gd name="connsiteY5" fmla="*/ 116472 h 116630"/>
                        <a:gd name="connsiteX6" fmla="*/ 0 w 115990"/>
                        <a:gd name="connsiteY6" fmla="*/ 56348 h 116630"/>
                        <a:gd name="connsiteX0" fmla="*/ 0 w 98279"/>
                        <a:gd name="connsiteY0" fmla="*/ 60176 h 116822"/>
                        <a:gd name="connsiteX1" fmla="*/ 56823 w 98279"/>
                        <a:gd name="connsiteY1" fmla="*/ 5418 h 116822"/>
                        <a:gd name="connsiteX2" fmla="*/ 97266 w 98279"/>
                        <a:gd name="connsiteY2" fmla="*/ 7184 h 116822"/>
                        <a:gd name="connsiteX3" fmla="*/ 86409 w 98279"/>
                        <a:gd name="connsiteY3" fmla="*/ 51255 h 116822"/>
                        <a:gd name="connsiteX4" fmla="*/ 66309 w 98279"/>
                        <a:gd name="connsiteY4" fmla="*/ 73859 h 116822"/>
                        <a:gd name="connsiteX5" fmla="*/ 56823 w 98279"/>
                        <a:gd name="connsiteY5" fmla="*/ 116721 h 116822"/>
                        <a:gd name="connsiteX6" fmla="*/ 0 w 98279"/>
                        <a:gd name="connsiteY6" fmla="*/ 60176 h 116822"/>
                        <a:gd name="connsiteX0" fmla="*/ 32 w 98311"/>
                        <a:gd name="connsiteY0" fmla="*/ 60176 h 143617"/>
                        <a:gd name="connsiteX1" fmla="*/ 56855 w 98311"/>
                        <a:gd name="connsiteY1" fmla="*/ 5418 h 143617"/>
                        <a:gd name="connsiteX2" fmla="*/ 97298 w 98311"/>
                        <a:gd name="connsiteY2" fmla="*/ 7184 h 143617"/>
                        <a:gd name="connsiteX3" fmla="*/ 86441 w 98311"/>
                        <a:gd name="connsiteY3" fmla="*/ 51255 h 143617"/>
                        <a:gd name="connsiteX4" fmla="*/ 66341 w 98311"/>
                        <a:gd name="connsiteY4" fmla="*/ 73859 h 143617"/>
                        <a:gd name="connsiteX5" fmla="*/ 48983 w 98311"/>
                        <a:gd name="connsiteY5" fmla="*/ 143558 h 143617"/>
                        <a:gd name="connsiteX6" fmla="*/ 32 w 98311"/>
                        <a:gd name="connsiteY6" fmla="*/ 60176 h 143617"/>
                        <a:gd name="connsiteX0" fmla="*/ 35 w 98314"/>
                        <a:gd name="connsiteY0" fmla="*/ 60176 h 146451"/>
                        <a:gd name="connsiteX1" fmla="*/ 56858 w 98314"/>
                        <a:gd name="connsiteY1" fmla="*/ 5418 h 146451"/>
                        <a:gd name="connsiteX2" fmla="*/ 97301 w 98314"/>
                        <a:gd name="connsiteY2" fmla="*/ 7184 h 146451"/>
                        <a:gd name="connsiteX3" fmla="*/ 86444 w 98314"/>
                        <a:gd name="connsiteY3" fmla="*/ 51255 h 146451"/>
                        <a:gd name="connsiteX4" fmla="*/ 66344 w 98314"/>
                        <a:gd name="connsiteY4" fmla="*/ 73859 h 146451"/>
                        <a:gd name="connsiteX5" fmla="*/ 86885 w 98314"/>
                        <a:gd name="connsiteY5" fmla="*/ 122368 h 146451"/>
                        <a:gd name="connsiteX6" fmla="*/ 48986 w 98314"/>
                        <a:gd name="connsiteY6" fmla="*/ 143558 h 146451"/>
                        <a:gd name="connsiteX7" fmla="*/ 35 w 98314"/>
                        <a:gd name="connsiteY7" fmla="*/ 60176 h 146451"/>
                        <a:gd name="connsiteX0" fmla="*/ 35 w 98314"/>
                        <a:gd name="connsiteY0" fmla="*/ 60176 h 146451"/>
                        <a:gd name="connsiteX1" fmla="*/ 56858 w 98314"/>
                        <a:gd name="connsiteY1" fmla="*/ 5418 h 146451"/>
                        <a:gd name="connsiteX2" fmla="*/ 97301 w 98314"/>
                        <a:gd name="connsiteY2" fmla="*/ 7184 h 146451"/>
                        <a:gd name="connsiteX3" fmla="*/ 86444 w 98314"/>
                        <a:gd name="connsiteY3" fmla="*/ 51255 h 146451"/>
                        <a:gd name="connsiteX4" fmla="*/ 66344 w 98314"/>
                        <a:gd name="connsiteY4" fmla="*/ 73859 h 146451"/>
                        <a:gd name="connsiteX5" fmla="*/ 86885 w 98314"/>
                        <a:gd name="connsiteY5" fmla="*/ 122368 h 146451"/>
                        <a:gd name="connsiteX6" fmla="*/ 48986 w 98314"/>
                        <a:gd name="connsiteY6" fmla="*/ 143558 h 146451"/>
                        <a:gd name="connsiteX7" fmla="*/ 35 w 98314"/>
                        <a:gd name="connsiteY7" fmla="*/ 60176 h 146451"/>
                        <a:gd name="connsiteX0" fmla="*/ 35 w 168112"/>
                        <a:gd name="connsiteY0" fmla="*/ 60176 h 146451"/>
                        <a:gd name="connsiteX1" fmla="*/ 56858 w 168112"/>
                        <a:gd name="connsiteY1" fmla="*/ 5418 h 146451"/>
                        <a:gd name="connsiteX2" fmla="*/ 97301 w 168112"/>
                        <a:gd name="connsiteY2" fmla="*/ 7184 h 146451"/>
                        <a:gd name="connsiteX3" fmla="*/ 86444 w 168112"/>
                        <a:gd name="connsiteY3" fmla="*/ 51255 h 146451"/>
                        <a:gd name="connsiteX4" fmla="*/ 167915 w 168112"/>
                        <a:gd name="connsiteY4" fmla="*/ 103407 h 146451"/>
                        <a:gd name="connsiteX5" fmla="*/ 86885 w 168112"/>
                        <a:gd name="connsiteY5" fmla="*/ 122368 h 146451"/>
                        <a:gd name="connsiteX6" fmla="*/ 48986 w 168112"/>
                        <a:gd name="connsiteY6" fmla="*/ 143558 h 146451"/>
                        <a:gd name="connsiteX7" fmla="*/ 35 w 168112"/>
                        <a:gd name="connsiteY7" fmla="*/ 60176 h 146451"/>
                        <a:gd name="connsiteX0" fmla="*/ 35 w 164059"/>
                        <a:gd name="connsiteY0" fmla="*/ 60176 h 146451"/>
                        <a:gd name="connsiteX1" fmla="*/ 56858 w 164059"/>
                        <a:gd name="connsiteY1" fmla="*/ 5418 h 146451"/>
                        <a:gd name="connsiteX2" fmla="*/ 97301 w 164059"/>
                        <a:gd name="connsiteY2" fmla="*/ 7184 h 146451"/>
                        <a:gd name="connsiteX3" fmla="*/ 86444 w 164059"/>
                        <a:gd name="connsiteY3" fmla="*/ 51255 h 146451"/>
                        <a:gd name="connsiteX4" fmla="*/ 163853 w 164059"/>
                        <a:gd name="connsiteY4" fmla="*/ 108948 h 146451"/>
                        <a:gd name="connsiteX5" fmla="*/ 86885 w 164059"/>
                        <a:gd name="connsiteY5" fmla="*/ 122368 h 146451"/>
                        <a:gd name="connsiteX6" fmla="*/ 48986 w 164059"/>
                        <a:gd name="connsiteY6" fmla="*/ 143558 h 146451"/>
                        <a:gd name="connsiteX7" fmla="*/ 35 w 164059"/>
                        <a:gd name="connsiteY7" fmla="*/ 60176 h 146451"/>
                        <a:gd name="connsiteX0" fmla="*/ 35 w 163896"/>
                        <a:gd name="connsiteY0" fmla="*/ 63741 h 150016"/>
                        <a:gd name="connsiteX1" fmla="*/ 56858 w 163896"/>
                        <a:gd name="connsiteY1" fmla="*/ 8983 h 150016"/>
                        <a:gd name="connsiteX2" fmla="*/ 97301 w 163896"/>
                        <a:gd name="connsiteY2" fmla="*/ 10749 h 150016"/>
                        <a:gd name="connsiteX3" fmla="*/ 163853 w 163896"/>
                        <a:gd name="connsiteY3" fmla="*/ 112513 h 150016"/>
                        <a:gd name="connsiteX4" fmla="*/ 86885 w 163896"/>
                        <a:gd name="connsiteY4" fmla="*/ 125933 h 150016"/>
                        <a:gd name="connsiteX5" fmla="*/ 48986 w 163896"/>
                        <a:gd name="connsiteY5" fmla="*/ 147123 h 150016"/>
                        <a:gd name="connsiteX6" fmla="*/ 35 w 163896"/>
                        <a:gd name="connsiteY6" fmla="*/ 63741 h 150016"/>
                        <a:gd name="connsiteX0" fmla="*/ 44 w 163905"/>
                        <a:gd name="connsiteY0" fmla="*/ 63741 h 164747"/>
                        <a:gd name="connsiteX1" fmla="*/ 56867 w 163905"/>
                        <a:gd name="connsiteY1" fmla="*/ 8983 h 164747"/>
                        <a:gd name="connsiteX2" fmla="*/ 97310 w 163905"/>
                        <a:gd name="connsiteY2" fmla="*/ 10749 h 164747"/>
                        <a:gd name="connsiteX3" fmla="*/ 163862 w 163905"/>
                        <a:gd name="connsiteY3" fmla="*/ 112513 h 164747"/>
                        <a:gd name="connsiteX4" fmla="*/ 133617 w 163905"/>
                        <a:gd name="connsiteY4" fmla="*/ 159175 h 164747"/>
                        <a:gd name="connsiteX5" fmla="*/ 48995 w 163905"/>
                        <a:gd name="connsiteY5" fmla="*/ 147123 h 164747"/>
                        <a:gd name="connsiteX6" fmla="*/ 44 w 163905"/>
                        <a:gd name="connsiteY6" fmla="*/ 63741 h 164747"/>
                        <a:gd name="connsiteX0" fmla="*/ 44 w 174048"/>
                        <a:gd name="connsiteY0" fmla="*/ 59033 h 160039"/>
                        <a:gd name="connsiteX1" fmla="*/ 56867 w 174048"/>
                        <a:gd name="connsiteY1" fmla="*/ 4275 h 160039"/>
                        <a:gd name="connsiteX2" fmla="*/ 166378 w 174048"/>
                        <a:gd name="connsiteY2" fmla="*/ 15275 h 160039"/>
                        <a:gd name="connsiteX3" fmla="*/ 163862 w 174048"/>
                        <a:gd name="connsiteY3" fmla="*/ 107805 h 160039"/>
                        <a:gd name="connsiteX4" fmla="*/ 133617 w 174048"/>
                        <a:gd name="connsiteY4" fmla="*/ 154467 h 160039"/>
                        <a:gd name="connsiteX5" fmla="*/ 48995 w 174048"/>
                        <a:gd name="connsiteY5" fmla="*/ 142415 h 160039"/>
                        <a:gd name="connsiteX6" fmla="*/ 44 w 174048"/>
                        <a:gd name="connsiteY6" fmla="*/ 59033 h 160039"/>
                        <a:gd name="connsiteX0" fmla="*/ 44 w 181949"/>
                        <a:gd name="connsiteY0" fmla="*/ 58047 h 159053"/>
                        <a:gd name="connsiteX1" fmla="*/ 56867 w 181949"/>
                        <a:gd name="connsiteY1" fmla="*/ 3289 h 159053"/>
                        <a:gd name="connsiteX2" fmla="*/ 166378 w 181949"/>
                        <a:gd name="connsiteY2" fmla="*/ 14289 h 159053"/>
                        <a:gd name="connsiteX3" fmla="*/ 180114 w 181949"/>
                        <a:gd name="connsiteY3" fmla="*/ 80964 h 159053"/>
                        <a:gd name="connsiteX4" fmla="*/ 133617 w 181949"/>
                        <a:gd name="connsiteY4" fmla="*/ 153481 h 159053"/>
                        <a:gd name="connsiteX5" fmla="*/ 48995 w 181949"/>
                        <a:gd name="connsiteY5" fmla="*/ 141429 h 159053"/>
                        <a:gd name="connsiteX6" fmla="*/ 44 w 181949"/>
                        <a:gd name="connsiteY6" fmla="*/ 58047 h 15905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81949" h="159053">
                          <a:moveTo>
                            <a:pt x="44" y="58047"/>
                          </a:moveTo>
                          <a:cubicBezTo>
                            <a:pt x="1356" y="35024"/>
                            <a:pt x="29145" y="10582"/>
                            <a:pt x="56867" y="3289"/>
                          </a:cubicBezTo>
                          <a:cubicBezTo>
                            <a:pt x="84589" y="-4004"/>
                            <a:pt x="145837" y="1343"/>
                            <a:pt x="166378" y="14289"/>
                          </a:cubicBezTo>
                          <a:cubicBezTo>
                            <a:pt x="186919" y="27235"/>
                            <a:pt x="181850" y="61767"/>
                            <a:pt x="180114" y="80964"/>
                          </a:cubicBezTo>
                          <a:cubicBezTo>
                            <a:pt x="165757" y="91027"/>
                            <a:pt x="136510" y="141865"/>
                            <a:pt x="133617" y="153481"/>
                          </a:cubicBezTo>
                          <a:cubicBezTo>
                            <a:pt x="130724" y="165097"/>
                            <a:pt x="71257" y="157335"/>
                            <a:pt x="48995" y="141429"/>
                          </a:cubicBezTo>
                          <a:cubicBezTo>
                            <a:pt x="26733" y="125523"/>
                            <a:pt x="-1268" y="81070"/>
                            <a:pt x="44" y="58047"/>
                          </a:cubicBezTo>
                          <a:close/>
                        </a:path>
                      </a:pathLst>
                    </a:custGeom>
                    <a:grpFill/>
                    <a:ln w="6350" cap="flat" cmpd="sng" algn="ctr">
                      <a:noFill/>
                      <a:prstDash val="dash"/>
                    </a:ln>
                    <a:effectLst/>
                  </p:spPr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 kern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414" name="Oval 45"/>
                    <p:cNvSpPr/>
                    <p:nvPr/>
                  </p:nvSpPr>
                  <p:spPr>
                    <a:xfrm flipH="1">
                      <a:off x="5360196" y="2588621"/>
                      <a:ext cx="294320" cy="166453"/>
                    </a:xfrm>
                    <a:custGeom>
                      <a:avLst/>
                      <a:gdLst>
                        <a:gd name="connsiteX0" fmla="*/ 0 w 78221"/>
                        <a:gd name="connsiteY0" fmla="*/ 51179 h 102358"/>
                        <a:gd name="connsiteX1" fmla="*/ 39111 w 78221"/>
                        <a:gd name="connsiteY1" fmla="*/ 0 h 102358"/>
                        <a:gd name="connsiteX2" fmla="*/ 78222 w 78221"/>
                        <a:gd name="connsiteY2" fmla="*/ 51179 h 102358"/>
                        <a:gd name="connsiteX3" fmla="*/ 39111 w 78221"/>
                        <a:gd name="connsiteY3" fmla="*/ 102358 h 102358"/>
                        <a:gd name="connsiteX4" fmla="*/ 0 w 78221"/>
                        <a:gd name="connsiteY4" fmla="*/ 51179 h 102358"/>
                        <a:gd name="connsiteX0" fmla="*/ 0 w 82937"/>
                        <a:gd name="connsiteY0" fmla="*/ 62449 h 113628"/>
                        <a:gd name="connsiteX1" fmla="*/ 39111 w 82937"/>
                        <a:gd name="connsiteY1" fmla="*/ 11270 h 113628"/>
                        <a:gd name="connsiteX2" fmla="*/ 79554 w 82937"/>
                        <a:gd name="connsiteY2" fmla="*/ 4091 h 113628"/>
                        <a:gd name="connsiteX3" fmla="*/ 78222 w 82937"/>
                        <a:gd name="connsiteY3" fmla="*/ 62449 h 113628"/>
                        <a:gd name="connsiteX4" fmla="*/ 39111 w 82937"/>
                        <a:gd name="connsiteY4" fmla="*/ 113628 h 113628"/>
                        <a:gd name="connsiteX5" fmla="*/ 0 w 82937"/>
                        <a:gd name="connsiteY5" fmla="*/ 62449 h 113628"/>
                        <a:gd name="connsiteX0" fmla="*/ 0 w 82374"/>
                        <a:gd name="connsiteY0" fmla="*/ 62449 h 113667"/>
                        <a:gd name="connsiteX1" fmla="*/ 39111 w 82374"/>
                        <a:gd name="connsiteY1" fmla="*/ 11270 h 113667"/>
                        <a:gd name="connsiteX2" fmla="*/ 79554 w 82374"/>
                        <a:gd name="connsiteY2" fmla="*/ 4091 h 113667"/>
                        <a:gd name="connsiteX3" fmla="*/ 78222 w 82374"/>
                        <a:gd name="connsiteY3" fmla="*/ 62449 h 113667"/>
                        <a:gd name="connsiteX4" fmla="*/ 48597 w 82374"/>
                        <a:gd name="connsiteY4" fmla="*/ 70766 h 113667"/>
                        <a:gd name="connsiteX5" fmla="*/ 39111 w 82374"/>
                        <a:gd name="connsiteY5" fmla="*/ 113628 h 113667"/>
                        <a:gd name="connsiteX6" fmla="*/ 0 w 82374"/>
                        <a:gd name="connsiteY6" fmla="*/ 62449 h 113667"/>
                        <a:gd name="connsiteX0" fmla="*/ 0 w 81096"/>
                        <a:gd name="connsiteY0" fmla="*/ 62449 h 113667"/>
                        <a:gd name="connsiteX1" fmla="*/ 39111 w 81096"/>
                        <a:gd name="connsiteY1" fmla="*/ 11270 h 113667"/>
                        <a:gd name="connsiteX2" fmla="*/ 79554 w 81096"/>
                        <a:gd name="connsiteY2" fmla="*/ 4091 h 113667"/>
                        <a:gd name="connsiteX3" fmla="*/ 68697 w 81096"/>
                        <a:gd name="connsiteY3" fmla="*/ 48162 h 113667"/>
                        <a:gd name="connsiteX4" fmla="*/ 48597 w 81096"/>
                        <a:gd name="connsiteY4" fmla="*/ 70766 h 113667"/>
                        <a:gd name="connsiteX5" fmla="*/ 39111 w 81096"/>
                        <a:gd name="connsiteY5" fmla="*/ 113628 h 113667"/>
                        <a:gd name="connsiteX6" fmla="*/ 0 w 81096"/>
                        <a:gd name="connsiteY6" fmla="*/ 62449 h 113667"/>
                        <a:gd name="connsiteX0" fmla="*/ 0 w 86793"/>
                        <a:gd name="connsiteY0" fmla="*/ 59560 h 110778"/>
                        <a:gd name="connsiteX1" fmla="*/ 39111 w 86793"/>
                        <a:gd name="connsiteY1" fmla="*/ 8381 h 110778"/>
                        <a:gd name="connsiteX2" fmla="*/ 79554 w 86793"/>
                        <a:gd name="connsiteY2" fmla="*/ 1202 h 110778"/>
                        <a:gd name="connsiteX3" fmla="*/ 86159 w 86793"/>
                        <a:gd name="connsiteY3" fmla="*/ 22340 h 110778"/>
                        <a:gd name="connsiteX4" fmla="*/ 68697 w 86793"/>
                        <a:gd name="connsiteY4" fmla="*/ 45273 h 110778"/>
                        <a:gd name="connsiteX5" fmla="*/ 48597 w 86793"/>
                        <a:gd name="connsiteY5" fmla="*/ 67877 h 110778"/>
                        <a:gd name="connsiteX6" fmla="*/ 39111 w 86793"/>
                        <a:gd name="connsiteY6" fmla="*/ 110739 h 110778"/>
                        <a:gd name="connsiteX7" fmla="*/ 0 w 86793"/>
                        <a:gd name="connsiteY7" fmla="*/ 59560 h 110778"/>
                        <a:gd name="connsiteX0" fmla="*/ 0 w 86793"/>
                        <a:gd name="connsiteY0" fmla="*/ 70311 h 121529"/>
                        <a:gd name="connsiteX1" fmla="*/ 39976 w 86793"/>
                        <a:gd name="connsiteY1" fmla="*/ 3030 h 121529"/>
                        <a:gd name="connsiteX2" fmla="*/ 79554 w 86793"/>
                        <a:gd name="connsiteY2" fmla="*/ 11953 h 121529"/>
                        <a:gd name="connsiteX3" fmla="*/ 86159 w 86793"/>
                        <a:gd name="connsiteY3" fmla="*/ 33091 h 121529"/>
                        <a:gd name="connsiteX4" fmla="*/ 68697 w 86793"/>
                        <a:gd name="connsiteY4" fmla="*/ 56024 h 121529"/>
                        <a:gd name="connsiteX5" fmla="*/ 48597 w 86793"/>
                        <a:gd name="connsiteY5" fmla="*/ 78628 h 121529"/>
                        <a:gd name="connsiteX6" fmla="*/ 39111 w 86793"/>
                        <a:gd name="connsiteY6" fmla="*/ 121490 h 121529"/>
                        <a:gd name="connsiteX7" fmla="*/ 0 w 86793"/>
                        <a:gd name="connsiteY7" fmla="*/ 70311 h 121529"/>
                        <a:gd name="connsiteX0" fmla="*/ 0 w 107046"/>
                        <a:gd name="connsiteY0" fmla="*/ 71061 h 122279"/>
                        <a:gd name="connsiteX1" fmla="*/ 39976 w 107046"/>
                        <a:gd name="connsiteY1" fmla="*/ 3780 h 122279"/>
                        <a:gd name="connsiteX2" fmla="*/ 79554 w 107046"/>
                        <a:gd name="connsiteY2" fmla="*/ 12703 h 122279"/>
                        <a:gd name="connsiteX3" fmla="*/ 106920 w 107046"/>
                        <a:gd name="connsiteY3" fmla="*/ 48153 h 122279"/>
                        <a:gd name="connsiteX4" fmla="*/ 68697 w 107046"/>
                        <a:gd name="connsiteY4" fmla="*/ 56774 h 122279"/>
                        <a:gd name="connsiteX5" fmla="*/ 48597 w 107046"/>
                        <a:gd name="connsiteY5" fmla="*/ 79378 h 122279"/>
                        <a:gd name="connsiteX6" fmla="*/ 39111 w 107046"/>
                        <a:gd name="connsiteY6" fmla="*/ 122240 h 122279"/>
                        <a:gd name="connsiteX7" fmla="*/ 0 w 107046"/>
                        <a:gd name="connsiteY7" fmla="*/ 71061 h 122279"/>
                        <a:gd name="connsiteX0" fmla="*/ 0 w 106947"/>
                        <a:gd name="connsiteY0" fmla="*/ 71061 h 122279"/>
                        <a:gd name="connsiteX1" fmla="*/ 39976 w 106947"/>
                        <a:gd name="connsiteY1" fmla="*/ 3780 h 122279"/>
                        <a:gd name="connsiteX2" fmla="*/ 79554 w 106947"/>
                        <a:gd name="connsiteY2" fmla="*/ 12703 h 122279"/>
                        <a:gd name="connsiteX3" fmla="*/ 106920 w 106947"/>
                        <a:gd name="connsiteY3" fmla="*/ 48153 h 122279"/>
                        <a:gd name="connsiteX4" fmla="*/ 74752 w 106947"/>
                        <a:gd name="connsiteY4" fmla="*/ 90767 h 122279"/>
                        <a:gd name="connsiteX5" fmla="*/ 48597 w 106947"/>
                        <a:gd name="connsiteY5" fmla="*/ 79378 h 122279"/>
                        <a:gd name="connsiteX6" fmla="*/ 39111 w 106947"/>
                        <a:gd name="connsiteY6" fmla="*/ 122240 h 122279"/>
                        <a:gd name="connsiteX7" fmla="*/ 0 w 106947"/>
                        <a:gd name="connsiteY7" fmla="*/ 71061 h 122279"/>
                        <a:gd name="connsiteX0" fmla="*/ 0 w 106947"/>
                        <a:gd name="connsiteY0" fmla="*/ 71061 h 124255"/>
                        <a:gd name="connsiteX1" fmla="*/ 39976 w 106947"/>
                        <a:gd name="connsiteY1" fmla="*/ 3780 h 124255"/>
                        <a:gd name="connsiteX2" fmla="*/ 79554 w 106947"/>
                        <a:gd name="connsiteY2" fmla="*/ 12703 h 124255"/>
                        <a:gd name="connsiteX3" fmla="*/ 106920 w 106947"/>
                        <a:gd name="connsiteY3" fmla="*/ 48153 h 124255"/>
                        <a:gd name="connsiteX4" fmla="*/ 74752 w 106947"/>
                        <a:gd name="connsiteY4" fmla="*/ 90767 h 124255"/>
                        <a:gd name="connsiteX5" fmla="*/ 55517 w 106947"/>
                        <a:gd name="connsiteY5" fmla="*/ 109792 h 124255"/>
                        <a:gd name="connsiteX6" fmla="*/ 39111 w 106947"/>
                        <a:gd name="connsiteY6" fmla="*/ 122240 h 124255"/>
                        <a:gd name="connsiteX7" fmla="*/ 0 w 106947"/>
                        <a:gd name="connsiteY7" fmla="*/ 71061 h 124255"/>
                        <a:gd name="connsiteX0" fmla="*/ 0 w 106947"/>
                        <a:gd name="connsiteY0" fmla="*/ 71061 h 125058"/>
                        <a:gd name="connsiteX1" fmla="*/ 39976 w 106947"/>
                        <a:gd name="connsiteY1" fmla="*/ 3780 h 125058"/>
                        <a:gd name="connsiteX2" fmla="*/ 79554 w 106947"/>
                        <a:gd name="connsiteY2" fmla="*/ 12703 h 125058"/>
                        <a:gd name="connsiteX3" fmla="*/ 106920 w 106947"/>
                        <a:gd name="connsiteY3" fmla="*/ 48153 h 125058"/>
                        <a:gd name="connsiteX4" fmla="*/ 74752 w 106947"/>
                        <a:gd name="connsiteY4" fmla="*/ 90767 h 125058"/>
                        <a:gd name="connsiteX5" fmla="*/ 61572 w 106947"/>
                        <a:gd name="connsiteY5" fmla="*/ 113371 h 125058"/>
                        <a:gd name="connsiteX6" fmla="*/ 39111 w 106947"/>
                        <a:gd name="connsiteY6" fmla="*/ 122240 h 125058"/>
                        <a:gd name="connsiteX7" fmla="*/ 0 w 106947"/>
                        <a:gd name="connsiteY7" fmla="*/ 71061 h 125058"/>
                        <a:gd name="connsiteX0" fmla="*/ 0 w 106920"/>
                        <a:gd name="connsiteY0" fmla="*/ 71061 h 125058"/>
                        <a:gd name="connsiteX1" fmla="*/ 39976 w 106920"/>
                        <a:gd name="connsiteY1" fmla="*/ 3780 h 125058"/>
                        <a:gd name="connsiteX2" fmla="*/ 79554 w 106920"/>
                        <a:gd name="connsiteY2" fmla="*/ 12703 h 125058"/>
                        <a:gd name="connsiteX3" fmla="*/ 106920 w 106920"/>
                        <a:gd name="connsiteY3" fmla="*/ 48153 h 125058"/>
                        <a:gd name="connsiteX4" fmla="*/ 79077 w 106920"/>
                        <a:gd name="connsiteY4" fmla="*/ 96133 h 125058"/>
                        <a:gd name="connsiteX5" fmla="*/ 61572 w 106920"/>
                        <a:gd name="connsiteY5" fmla="*/ 113371 h 125058"/>
                        <a:gd name="connsiteX6" fmla="*/ 39111 w 106920"/>
                        <a:gd name="connsiteY6" fmla="*/ 122240 h 125058"/>
                        <a:gd name="connsiteX7" fmla="*/ 0 w 106920"/>
                        <a:gd name="connsiteY7" fmla="*/ 71061 h 1250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06920" h="125058">
                          <a:moveTo>
                            <a:pt x="0" y="71061"/>
                          </a:moveTo>
                          <a:cubicBezTo>
                            <a:pt x="144" y="51318"/>
                            <a:pt x="26717" y="13506"/>
                            <a:pt x="39976" y="3780"/>
                          </a:cubicBezTo>
                          <a:cubicBezTo>
                            <a:pt x="53235" y="-5946"/>
                            <a:pt x="68397" y="5308"/>
                            <a:pt x="79554" y="12703"/>
                          </a:cubicBezTo>
                          <a:cubicBezTo>
                            <a:pt x="90711" y="20099"/>
                            <a:pt x="106999" y="34248"/>
                            <a:pt x="106920" y="48153"/>
                          </a:cubicBezTo>
                          <a:cubicBezTo>
                            <a:pt x="106841" y="62058"/>
                            <a:pt x="86635" y="85263"/>
                            <a:pt x="79077" y="96133"/>
                          </a:cubicBezTo>
                          <a:cubicBezTo>
                            <a:pt x="71519" y="107003"/>
                            <a:pt x="68091" y="104841"/>
                            <a:pt x="61572" y="113371"/>
                          </a:cubicBezTo>
                          <a:cubicBezTo>
                            <a:pt x="55054" y="121901"/>
                            <a:pt x="49373" y="129292"/>
                            <a:pt x="39111" y="122240"/>
                          </a:cubicBezTo>
                          <a:cubicBezTo>
                            <a:pt x="28849" y="115188"/>
                            <a:pt x="-144" y="90804"/>
                            <a:pt x="0" y="71061"/>
                          </a:cubicBezTo>
                          <a:close/>
                        </a:path>
                      </a:pathLst>
                    </a:custGeom>
                    <a:grpFill/>
                    <a:ln w="6350" cap="flat" cmpd="sng" algn="ctr">
                      <a:noFill/>
                      <a:prstDash val="dash"/>
                    </a:ln>
                    <a:effectLst/>
                  </p:spPr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 kern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  <p:grpSp>
              <p:nvGrpSpPr>
                <p:cNvPr id="324" name="Group 210"/>
                <p:cNvGrpSpPr>
                  <a:grpSpLocks noChangeAspect="1"/>
                </p:cNvGrpSpPr>
                <p:nvPr/>
              </p:nvGrpSpPr>
              <p:grpSpPr>
                <a:xfrm>
                  <a:off x="3976580" y="2041451"/>
                  <a:ext cx="4517650" cy="4356948"/>
                  <a:chOff x="2935431" y="2097508"/>
                  <a:chExt cx="4291080" cy="3993937"/>
                </a:xfrm>
                <a:grpFill/>
              </p:grpSpPr>
              <p:grpSp>
                <p:nvGrpSpPr>
                  <p:cNvPr id="350" name="Group 211"/>
                  <p:cNvGrpSpPr/>
                  <p:nvPr/>
                </p:nvGrpSpPr>
                <p:grpSpPr>
                  <a:xfrm>
                    <a:off x="2935431" y="2097508"/>
                    <a:ext cx="4291080" cy="3993937"/>
                    <a:chOff x="2935431" y="2097508"/>
                    <a:chExt cx="4291080" cy="3993937"/>
                  </a:xfrm>
                  <a:grpFill/>
                </p:grpSpPr>
                <p:grpSp>
                  <p:nvGrpSpPr>
                    <p:cNvPr id="361" name="Group 215"/>
                    <p:cNvGrpSpPr/>
                    <p:nvPr/>
                  </p:nvGrpSpPr>
                  <p:grpSpPr>
                    <a:xfrm>
                      <a:off x="2935431" y="2097508"/>
                      <a:ext cx="4291080" cy="3993937"/>
                      <a:chOff x="2935431" y="2097508"/>
                      <a:chExt cx="4291080" cy="3993937"/>
                    </a:xfrm>
                    <a:grpFill/>
                  </p:grpSpPr>
                  <p:sp>
                    <p:nvSpPr>
                      <p:cNvPr id="366" name="DF"/>
                      <p:cNvSpPr/>
                      <p:nvPr/>
                    </p:nvSpPr>
                    <p:spPr bwMode="auto">
                      <a:xfrm>
                        <a:off x="5387158" y="4017701"/>
                        <a:ext cx="107052" cy="66320"/>
                      </a:xfrm>
                      <a:prstGeom prst="rect">
                        <a:avLst/>
                      </a:pr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en-US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grpSp>
                    <p:nvGrpSpPr>
                      <p:cNvPr id="367" name="Group 218"/>
                      <p:cNvGrpSpPr/>
                      <p:nvPr/>
                    </p:nvGrpSpPr>
                    <p:grpSpPr>
                      <a:xfrm>
                        <a:off x="2935431" y="2097508"/>
                        <a:ext cx="4291080" cy="3993937"/>
                        <a:chOff x="2935431" y="2097508"/>
                        <a:chExt cx="4291080" cy="3993937"/>
                      </a:xfrm>
                      <a:grpFill/>
                    </p:grpSpPr>
                    <p:sp>
                      <p:nvSpPr>
                        <p:cNvPr id="368" name="DF"/>
                        <p:cNvSpPr/>
                        <p:nvPr/>
                      </p:nvSpPr>
                      <p:spPr bwMode="auto">
                        <a:xfrm rot="10800000">
                          <a:off x="5395914" y="2130606"/>
                          <a:ext cx="48220" cy="48175"/>
                        </a:xfrm>
                        <a:custGeom>
                          <a:avLst/>
                          <a:gdLst>
                            <a:gd name="connsiteX0" fmla="*/ 0 w 92922"/>
                            <a:gd name="connsiteY0" fmla="*/ 38626 h 77251"/>
                            <a:gd name="connsiteX1" fmla="*/ 46461 w 92922"/>
                            <a:gd name="connsiteY1" fmla="*/ 0 h 77251"/>
                            <a:gd name="connsiteX2" fmla="*/ 92922 w 92922"/>
                            <a:gd name="connsiteY2" fmla="*/ 38626 h 77251"/>
                            <a:gd name="connsiteX3" fmla="*/ 46461 w 92922"/>
                            <a:gd name="connsiteY3" fmla="*/ 77252 h 77251"/>
                            <a:gd name="connsiteX4" fmla="*/ 0 w 92922"/>
                            <a:gd name="connsiteY4" fmla="*/ 38626 h 77251"/>
                            <a:gd name="connsiteX0" fmla="*/ 2773 w 95695"/>
                            <a:gd name="connsiteY0" fmla="*/ 46630 h 85256"/>
                            <a:gd name="connsiteX1" fmla="*/ 10043 w 95695"/>
                            <a:gd name="connsiteY1" fmla="*/ 3241 h 85256"/>
                            <a:gd name="connsiteX2" fmla="*/ 49234 w 95695"/>
                            <a:gd name="connsiteY2" fmla="*/ 8004 h 85256"/>
                            <a:gd name="connsiteX3" fmla="*/ 95695 w 95695"/>
                            <a:gd name="connsiteY3" fmla="*/ 46630 h 85256"/>
                            <a:gd name="connsiteX4" fmla="*/ 49234 w 95695"/>
                            <a:gd name="connsiteY4" fmla="*/ 85256 h 85256"/>
                            <a:gd name="connsiteX5" fmla="*/ 2773 w 95695"/>
                            <a:gd name="connsiteY5" fmla="*/ 46630 h 85256"/>
                            <a:gd name="connsiteX0" fmla="*/ 2217 w 98314"/>
                            <a:gd name="connsiteY0" fmla="*/ 62505 h 85631"/>
                            <a:gd name="connsiteX1" fmla="*/ 12662 w 98314"/>
                            <a:gd name="connsiteY1" fmla="*/ 3241 h 85631"/>
                            <a:gd name="connsiteX2" fmla="*/ 51853 w 98314"/>
                            <a:gd name="connsiteY2" fmla="*/ 8004 h 85631"/>
                            <a:gd name="connsiteX3" fmla="*/ 98314 w 98314"/>
                            <a:gd name="connsiteY3" fmla="*/ 46630 h 85631"/>
                            <a:gd name="connsiteX4" fmla="*/ 51853 w 98314"/>
                            <a:gd name="connsiteY4" fmla="*/ 85256 h 85631"/>
                            <a:gd name="connsiteX5" fmla="*/ 2217 w 98314"/>
                            <a:gd name="connsiteY5" fmla="*/ 62505 h 85631"/>
                            <a:gd name="connsiteX0" fmla="*/ 2659 w 98756"/>
                            <a:gd name="connsiteY0" fmla="*/ 62505 h 69284"/>
                            <a:gd name="connsiteX1" fmla="*/ 13104 w 98756"/>
                            <a:gd name="connsiteY1" fmla="*/ 3241 h 69284"/>
                            <a:gd name="connsiteX2" fmla="*/ 52295 w 98756"/>
                            <a:gd name="connsiteY2" fmla="*/ 8004 h 69284"/>
                            <a:gd name="connsiteX3" fmla="*/ 98756 w 98756"/>
                            <a:gd name="connsiteY3" fmla="*/ 46630 h 69284"/>
                            <a:gd name="connsiteX4" fmla="*/ 58645 w 98756"/>
                            <a:gd name="connsiteY4" fmla="*/ 66206 h 69284"/>
                            <a:gd name="connsiteX5" fmla="*/ 2659 w 98756"/>
                            <a:gd name="connsiteY5" fmla="*/ 62505 h 69284"/>
                            <a:gd name="connsiteX0" fmla="*/ 2659 w 98756"/>
                            <a:gd name="connsiteY0" fmla="*/ 62150 h 69531"/>
                            <a:gd name="connsiteX1" fmla="*/ 13104 w 98756"/>
                            <a:gd name="connsiteY1" fmla="*/ 2886 h 69531"/>
                            <a:gd name="connsiteX2" fmla="*/ 52295 w 98756"/>
                            <a:gd name="connsiteY2" fmla="*/ 7649 h 69531"/>
                            <a:gd name="connsiteX3" fmla="*/ 98756 w 98756"/>
                            <a:gd name="connsiteY3" fmla="*/ 36750 h 69531"/>
                            <a:gd name="connsiteX4" fmla="*/ 58645 w 98756"/>
                            <a:gd name="connsiteY4" fmla="*/ 65851 h 69531"/>
                            <a:gd name="connsiteX5" fmla="*/ 2659 w 98756"/>
                            <a:gd name="connsiteY5" fmla="*/ 62150 h 69531"/>
                            <a:gd name="connsiteX0" fmla="*/ 2659 w 98756"/>
                            <a:gd name="connsiteY0" fmla="*/ 69247 h 76628"/>
                            <a:gd name="connsiteX1" fmla="*/ 13104 w 98756"/>
                            <a:gd name="connsiteY1" fmla="*/ 9983 h 76628"/>
                            <a:gd name="connsiteX2" fmla="*/ 58645 w 98756"/>
                            <a:gd name="connsiteY2" fmla="*/ 2046 h 76628"/>
                            <a:gd name="connsiteX3" fmla="*/ 98756 w 98756"/>
                            <a:gd name="connsiteY3" fmla="*/ 43847 h 76628"/>
                            <a:gd name="connsiteX4" fmla="*/ 58645 w 98756"/>
                            <a:gd name="connsiteY4" fmla="*/ 72948 h 76628"/>
                            <a:gd name="connsiteX5" fmla="*/ 2659 w 98756"/>
                            <a:gd name="connsiteY5" fmla="*/ 69247 h 76628"/>
                            <a:gd name="connsiteX0" fmla="*/ 12211 w 108308"/>
                            <a:gd name="connsiteY0" fmla="*/ 72519 h 80420"/>
                            <a:gd name="connsiteX1" fmla="*/ 3606 w 108308"/>
                            <a:gd name="connsiteY1" fmla="*/ 4803 h 80420"/>
                            <a:gd name="connsiteX2" fmla="*/ 68197 w 108308"/>
                            <a:gd name="connsiteY2" fmla="*/ 5318 h 80420"/>
                            <a:gd name="connsiteX3" fmla="*/ 108308 w 108308"/>
                            <a:gd name="connsiteY3" fmla="*/ 47119 h 80420"/>
                            <a:gd name="connsiteX4" fmla="*/ 68197 w 108308"/>
                            <a:gd name="connsiteY4" fmla="*/ 76220 h 80420"/>
                            <a:gd name="connsiteX5" fmla="*/ 12211 w 108308"/>
                            <a:gd name="connsiteY5" fmla="*/ 72519 h 80420"/>
                            <a:gd name="connsiteX0" fmla="*/ 2818 w 127490"/>
                            <a:gd name="connsiteY0" fmla="*/ 76745 h 83125"/>
                            <a:gd name="connsiteX1" fmla="*/ 22788 w 127490"/>
                            <a:gd name="connsiteY1" fmla="*/ 4803 h 83125"/>
                            <a:gd name="connsiteX2" fmla="*/ 87379 w 127490"/>
                            <a:gd name="connsiteY2" fmla="*/ 5318 h 83125"/>
                            <a:gd name="connsiteX3" fmla="*/ 127490 w 127490"/>
                            <a:gd name="connsiteY3" fmla="*/ 47119 h 83125"/>
                            <a:gd name="connsiteX4" fmla="*/ 87379 w 127490"/>
                            <a:gd name="connsiteY4" fmla="*/ 76220 h 83125"/>
                            <a:gd name="connsiteX5" fmla="*/ 2818 w 127490"/>
                            <a:gd name="connsiteY5" fmla="*/ 76745 h 83125"/>
                            <a:gd name="connsiteX0" fmla="*/ 4020 w 128692"/>
                            <a:gd name="connsiteY0" fmla="*/ 76745 h 85175"/>
                            <a:gd name="connsiteX1" fmla="*/ 23990 w 128692"/>
                            <a:gd name="connsiteY1" fmla="*/ 4803 h 85175"/>
                            <a:gd name="connsiteX2" fmla="*/ 88581 w 128692"/>
                            <a:gd name="connsiteY2" fmla="*/ 5318 h 85175"/>
                            <a:gd name="connsiteX3" fmla="*/ 128692 w 128692"/>
                            <a:gd name="connsiteY3" fmla="*/ 47119 h 85175"/>
                            <a:gd name="connsiteX4" fmla="*/ 107631 w 128692"/>
                            <a:gd name="connsiteY4" fmla="*/ 80446 h 85175"/>
                            <a:gd name="connsiteX5" fmla="*/ 4020 w 128692"/>
                            <a:gd name="connsiteY5" fmla="*/ 76745 h 85175"/>
                            <a:gd name="connsiteX0" fmla="*/ 311 w 124983"/>
                            <a:gd name="connsiteY0" fmla="*/ 114981 h 126242"/>
                            <a:gd name="connsiteX1" fmla="*/ 71081 w 124983"/>
                            <a:gd name="connsiteY1" fmla="*/ 780 h 126242"/>
                            <a:gd name="connsiteX2" fmla="*/ 84872 w 124983"/>
                            <a:gd name="connsiteY2" fmla="*/ 43554 h 126242"/>
                            <a:gd name="connsiteX3" fmla="*/ 124983 w 124983"/>
                            <a:gd name="connsiteY3" fmla="*/ 85355 h 126242"/>
                            <a:gd name="connsiteX4" fmla="*/ 103922 w 124983"/>
                            <a:gd name="connsiteY4" fmla="*/ 118682 h 126242"/>
                            <a:gd name="connsiteX5" fmla="*/ 311 w 124983"/>
                            <a:gd name="connsiteY5" fmla="*/ 114981 h 126242"/>
                            <a:gd name="connsiteX0" fmla="*/ 3123 w 127795"/>
                            <a:gd name="connsiteY0" fmla="*/ 136754 h 149197"/>
                            <a:gd name="connsiteX1" fmla="*/ 31136 w 127795"/>
                            <a:gd name="connsiteY1" fmla="*/ 5728 h 149197"/>
                            <a:gd name="connsiteX2" fmla="*/ 73893 w 127795"/>
                            <a:gd name="connsiteY2" fmla="*/ 22553 h 149197"/>
                            <a:gd name="connsiteX3" fmla="*/ 87684 w 127795"/>
                            <a:gd name="connsiteY3" fmla="*/ 65327 h 149197"/>
                            <a:gd name="connsiteX4" fmla="*/ 127795 w 127795"/>
                            <a:gd name="connsiteY4" fmla="*/ 107128 h 149197"/>
                            <a:gd name="connsiteX5" fmla="*/ 106734 w 127795"/>
                            <a:gd name="connsiteY5" fmla="*/ 140455 h 149197"/>
                            <a:gd name="connsiteX6" fmla="*/ 3123 w 127795"/>
                            <a:gd name="connsiteY6" fmla="*/ 136754 h 149197"/>
                            <a:gd name="connsiteX0" fmla="*/ 9048 w 133720"/>
                            <a:gd name="connsiteY0" fmla="*/ 185654 h 201733"/>
                            <a:gd name="connsiteX1" fmla="*/ 8486 w 133720"/>
                            <a:gd name="connsiteY1" fmla="*/ 3916 h 201733"/>
                            <a:gd name="connsiteX2" fmla="*/ 37061 w 133720"/>
                            <a:gd name="connsiteY2" fmla="*/ 54628 h 201733"/>
                            <a:gd name="connsiteX3" fmla="*/ 79818 w 133720"/>
                            <a:gd name="connsiteY3" fmla="*/ 71453 h 201733"/>
                            <a:gd name="connsiteX4" fmla="*/ 93609 w 133720"/>
                            <a:gd name="connsiteY4" fmla="*/ 114227 h 201733"/>
                            <a:gd name="connsiteX5" fmla="*/ 133720 w 133720"/>
                            <a:gd name="connsiteY5" fmla="*/ 156028 h 201733"/>
                            <a:gd name="connsiteX6" fmla="*/ 112659 w 133720"/>
                            <a:gd name="connsiteY6" fmla="*/ 189355 h 201733"/>
                            <a:gd name="connsiteX7" fmla="*/ 9048 w 133720"/>
                            <a:gd name="connsiteY7" fmla="*/ 185654 h 201733"/>
                            <a:gd name="connsiteX0" fmla="*/ 9048 w 133720"/>
                            <a:gd name="connsiteY0" fmla="*/ 192718 h 208797"/>
                            <a:gd name="connsiteX1" fmla="*/ 8486 w 133720"/>
                            <a:gd name="connsiteY1" fmla="*/ 10980 h 208797"/>
                            <a:gd name="connsiteX2" fmla="*/ 37061 w 133720"/>
                            <a:gd name="connsiteY2" fmla="*/ 19432 h 208797"/>
                            <a:gd name="connsiteX3" fmla="*/ 37061 w 133720"/>
                            <a:gd name="connsiteY3" fmla="*/ 61692 h 208797"/>
                            <a:gd name="connsiteX4" fmla="*/ 79818 w 133720"/>
                            <a:gd name="connsiteY4" fmla="*/ 78517 h 208797"/>
                            <a:gd name="connsiteX5" fmla="*/ 93609 w 133720"/>
                            <a:gd name="connsiteY5" fmla="*/ 121291 h 208797"/>
                            <a:gd name="connsiteX6" fmla="*/ 133720 w 133720"/>
                            <a:gd name="connsiteY6" fmla="*/ 163092 h 208797"/>
                            <a:gd name="connsiteX7" fmla="*/ 112659 w 133720"/>
                            <a:gd name="connsiteY7" fmla="*/ 196419 h 208797"/>
                            <a:gd name="connsiteX8" fmla="*/ 9048 w 133720"/>
                            <a:gd name="connsiteY8" fmla="*/ 192718 h 208797"/>
                            <a:gd name="connsiteX0" fmla="*/ 33011 w 125933"/>
                            <a:gd name="connsiteY0" fmla="*/ 142007 h 196916"/>
                            <a:gd name="connsiteX1" fmla="*/ 699 w 125933"/>
                            <a:gd name="connsiteY1" fmla="*/ 10980 h 196916"/>
                            <a:gd name="connsiteX2" fmla="*/ 29274 w 125933"/>
                            <a:gd name="connsiteY2" fmla="*/ 19432 h 196916"/>
                            <a:gd name="connsiteX3" fmla="*/ 29274 w 125933"/>
                            <a:gd name="connsiteY3" fmla="*/ 61692 h 196916"/>
                            <a:gd name="connsiteX4" fmla="*/ 72031 w 125933"/>
                            <a:gd name="connsiteY4" fmla="*/ 78517 h 196916"/>
                            <a:gd name="connsiteX5" fmla="*/ 85822 w 125933"/>
                            <a:gd name="connsiteY5" fmla="*/ 121291 h 196916"/>
                            <a:gd name="connsiteX6" fmla="*/ 125933 w 125933"/>
                            <a:gd name="connsiteY6" fmla="*/ 163092 h 196916"/>
                            <a:gd name="connsiteX7" fmla="*/ 104872 w 125933"/>
                            <a:gd name="connsiteY7" fmla="*/ 196419 h 196916"/>
                            <a:gd name="connsiteX8" fmla="*/ 33011 w 125933"/>
                            <a:gd name="connsiteY8" fmla="*/ 142007 h 196916"/>
                            <a:gd name="connsiteX0" fmla="*/ 49204 w 142126"/>
                            <a:gd name="connsiteY0" fmla="*/ 142007 h 196916"/>
                            <a:gd name="connsiteX1" fmla="*/ 1017 w 142126"/>
                            <a:gd name="connsiteY1" fmla="*/ 61692 h 196916"/>
                            <a:gd name="connsiteX2" fmla="*/ 16892 w 142126"/>
                            <a:gd name="connsiteY2" fmla="*/ 10980 h 196916"/>
                            <a:gd name="connsiteX3" fmla="*/ 45467 w 142126"/>
                            <a:gd name="connsiteY3" fmla="*/ 19432 h 196916"/>
                            <a:gd name="connsiteX4" fmla="*/ 45467 w 142126"/>
                            <a:gd name="connsiteY4" fmla="*/ 61692 h 196916"/>
                            <a:gd name="connsiteX5" fmla="*/ 88224 w 142126"/>
                            <a:gd name="connsiteY5" fmla="*/ 78517 h 196916"/>
                            <a:gd name="connsiteX6" fmla="*/ 102015 w 142126"/>
                            <a:gd name="connsiteY6" fmla="*/ 121291 h 196916"/>
                            <a:gd name="connsiteX7" fmla="*/ 142126 w 142126"/>
                            <a:gd name="connsiteY7" fmla="*/ 163092 h 196916"/>
                            <a:gd name="connsiteX8" fmla="*/ 121065 w 142126"/>
                            <a:gd name="connsiteY8" fmla="*/ 196419 h 196916"/>
                            <a:gd name="connsiteX9" fmla="*/ 49204 w 142126"/>
                            <a:gd name="connsiteY9" fmla="*/ 142007 h 196916"/>
                            <a:gd name="connsiteX0" fmla="*/ 49204 w 142126"/>
                            <a:gd name="connsiteY0" fmla="*/ 142007 h 173263"/>
                            <a:gd name="connsiteX1" fmla="*/ 1017 w 142126"/>
                            <a:gd name="connsiteY1" fmla="*/ 61692 h 173263"/>
                            <a:gd name="connsiteX2" fmla="*/ 16892 w 142126"/>
                            <a:gd name="connsiteY2" fmla="*/ 10980 h 173263"/>
                            <a:gd name="connsiteX3" fmla="*/ 45467 w 142126"/>
                            <a:gd name="connsiteY3" fmla="*/ 19432 h 173263"/>
                            <a:gd name="connsiteX4" fmla="*/ 45467 w 142126"/>
                            <a:gd name="connsiteY4" fmla="*/ 61692 h 173263"/>
                            <a:gd name="connsiteX5" fmla="*/ 88224 w 142126"/>
                            <a:gd name="connsiteY5" fmla="*/ 78517 h 173263"/>
                            <a:gd name="connsiteX6" fmla="*/ 102015 w 142126"/>
                            <a:gd name="connsiteY6" fmla="*/ 121291 h 173263"/>
                            <a:gd name="connsiteX7" fmla="*/ 142126 w 142126"/>
                            <a:gd name="connsiteY7" fmla="*/ 163092 h 173263"/>
                            <a:gd name="connsiteX8" fmla="*/ 79790 w 142126"/>
                            <a:gd name="connsiteY8" fmla="*/ 162612 h 173263"/>
                            <a:gd name="connsiteX9" fmla="*/ 49204 w 142126"/>
                            <a:gd name="connsiteY9" fmla="*/ 142007 h 173263"/>
                            <a:gd name="connsiteX0" fmla="*/ 49204 w 110376"/>
                            <a:gd name="connsiteY0" fmla="*/ 142007 h 162833"/>
                            <a:gd name="connsiteX1" fmla="*/ 1017 w 110376"/>
                            <a:gd name="connsiteY1" fmla="*/ 61692 h 162833"/>
                            <a:gd name="connsiteX2" fmla="*/ 16892 w 110376"/>
                            <a:gd name="connsiteY2" fmla="*/ 10980 h 162833"/>
                            <a:gd name="connsiteX3" fmla="*/ 45467 w 110376"/>
                            <a:gd name="connsiteY3" fmla="*/ 19432 h 162833"/>
                            <a:gd name="connsiteX4" fmla="*/ 45467 w 110376"/>
                            <a:gd name="connsiteY4" fmla="*/ 61692 h 162833"/>
                            <a:gd name="connsiteX5" fmla="*/ 88224 w 110376"/>
                            <a:gd name="connsiteY5" fmla="*/ 78517 h 162833"/>
                            <a:gd name="connsiteX6" fmla="*/ 102015 w 110376"/>
                            <a:gd name="connsiteY6" fmla="*/ 121291 h 162833"/>
                            <a:gd name="connsiteX7" fmla="*/ 110376 w 110376"/>
                            <a:gd name="connsiteY7" fmla="*/ 133510 h 162833"/>
                            <a:gd name="connsiteX8" fmla="*/ 79790 w 110376"/>
                            <a:gd name="connsiteY8" fmla="*/ 162612 h 162833"/>
                            <a:gd name="connsiteX9" fmla="*/ 49204 w 110376"/>
                            <a:gd name="connsiteY9" fmla="*/ 142007 h 162833"/>
                            <a:gd name="connsiteX0" fmla="*/ 49204 w 110376"/>
                            <a:gd name="connsiteY0" fmla="*/ 142007 h 162833"/>
                            <a:gd name="connsiteX1" fmla="*/ 1017 w 110376"/>
                            <a:gd name="connsiteY1" fmla="*/ 61692 h 162833"/>
                            <a:gd name="connsiteX2" fmla="*/ 16892 w 110376"/>
                            <a:gd name="connsiteY2" fmla="*/ 10980 h 162833"/>
                            <a:gd name="connsiteX3" fmla="*/ 45467 w 110376"/>
                            <a:gd name="connsiteY3" fmla="*/ 19432 h 162833"/>
                            <a:gd name="connsiteX4" fmla="*/ 62136 w 110376"/>
                            <a:gd name="connsiteY4" fmla="*/ 49014 h 162833"/>
                            <a:gd name="connsiteX5" fmla="*/ 88224 w 110376"/>
                            <a:gd name="connsiteY5" fmla="*/ 78517 h 162833"/>
                            <a:gd name="connsiteX6" fmla="*/ 102015 w 110376"/>
                            <a:gd name="connsiteY6" fmla="*/ 121291 h 162833"/>
                            <a:gd name="connsiteX7" fmla="*/ 110376 w 110376"/>
                            <a:gd name="connsiteY7" fmla="*/ 133510 h 162833"/>
                            <a:gd name="connsiteX8" fmla="*/ 79790 w 110376"/>
                            <a:gd name="connsiteY8" fmla="*/ 162612 h 162833"/>
                            <a:gd name="connsiteX9" fmla="*/ 49204 w 110376"/>
                            <a:gd name="connsiteY9" fmla="*/ 142007 h 162833"/>
                            <a:gd name="connsiteX0" fmla="*/ 49204 w 105613"/>
                            <a:gd name="connsiteY0" fmla="*/ 142007 h 164051"/>
                            <a:gd name="connsiteX1" fmla="*/ 1017 w 105613"/>
                            <a:gd name="connsiteY1" fmla="*/ 61692 h 164051"/>
                            <a:gd name="connsiteX2" fmla="*/ 16892 w 105613"/>
                            <a:gd name="connsiteY2" fmla="*/ 10980 h 164051"/>
                            <a:gd name="connsiteX3" fmla="*/ 45467 w 105613"/>
                            <a:gd name="connsiteY3" fmla="*/ 19432 h 164051"/>
                            <a:gd name="connsiteX4" fmla="*/ 62136 w 105613"/>
                            <a:gd name="connsiteY4" fmla="*/ 49014 h 164051"/>
                            <a:gd name="connsiteX5" fmla="*/ 88224 w 105613"/>
                            <a:gd name="connsiteY5" fmla="*/ 78517 h 164051"/>
                            <a:gd name="connsiteX6" fmla="*/ 102015 w 105613"/>
                            <a:gd name="connsiteY6" fmla="*/ 121291 h 164051"/>
                            <a:gd name="connsiteX7" fmla="*/ 105613 w 105613"/>
                            <a:gd name="connsiteY7" fmla="*/ 111323 h 164051"/>
                            <a:gd name="connsiteX8" fmla="*/ 79790 w 105613"/>
                            <a:gd name="connsiteY8" fmla="*/ 162612 h 164051"/>
                            <a:gd name="connsiteX9" fmla="*/ 49204 w 105613"/>
                            <a:gd name="connsiteY9" fmla="*/ 142007 h 164051"/>
                            <a:gd name="connsiteX0" fmla="*/ 49204 w 105613"/>
                            <a:gd name="connsiteY0" fmla="*/ 142007 h 149974"/>
                            <a:gd name="connsiteX1" fmla="*/ 1017 w 105613"/>
                            <a:gd name="connsiteY1" fmla="*/ 61692 h 149974"/>
                            <a:gd name="connsiteX2" fmla="*/ 16892 w 105613"/>
                            <a:gd name="connsiteY2" fmla="*/ 10980 h 149974"/>
                            <a:gd name="connsiteX3" fmla="*/ 45467 w 105613"/>
                            <a:gd name="connsiteY3" fmla="*/ 19432 h 149974"/>
                            <a:gd name="connsiteX4" fmla="*/ 62136 w 105613"/>
                            <a:gd name="connsiteY4" fmla="*/ 49014 h 149974"/>
                            <a:gd name="connsiteX5" fmla="*/ 88224 w 105613"/>
                            <a:gd name="connsiteY5" fmla="*/ 78517 h 149974"/>
                            <a:gd name="connsiteX6" fmla="*/ 102015 w 105613"/>
                            <a:gd name="connsiteY6" fmla="*/ 121291 h 149974"/>
                            <a:gd name="connsiteX7" fmla="*/ 105613 w 105613"/>
                            <a:gd name="connsiteY7" fmla="*/ 111323 h 149974"/>
                            <a:gd name="connsiteX8" fmla="*/ 89315 w 105613"/>
                            <a:gd name="connsiteY8" fmla="*/ 143596 h 149974"/>
                            <a:gd name="connsiteX9" fmla="*/ 49204 w 105613"/>
                            <a:gd name="connsiteY9" fmla="*/ 142007 h 149974"/>
                            <a:gd name="connsiteX0" fmla="*/ 53967 w 105613"/>
                            <a:gd name="connsiteY0" fmla="*/ 122990 h 143862"/>
                            <a:gd name="connsiteX1" fmla="*/ 1017 w 105613"/>
                            <a:gd name="connsiteY1" fmla="*/ 61692 h 143862"/>
                            <a:gd name="connsiteX2" fmla="*/ 16892 w 105613"/>
                            <a:gd name="connsiteY2" fmla="*/ 10980 h 143862"/>
                            <a:gd name="connsiteX3" fmla="*/ 45467 w 105613"/>
                            <a:gd name="connsiteY3" fmla="*/ 19432 h 143862"/>
                            <a:gd name="connsiteX4" fmla="*/ 62136 w 105613"/>
                            <a:gd name="connsiteY4" fmla="*/ 49014 h 143862"/>
                            <a:gd name="connsiteX5" fmla="*/ 88224 w 105613"/>
                            <a:gd name="connsiteY5" fmla="*/ 78517 h 143862"/>
                            <a:gd name="connsiteX6" fmla="*/ 102015 w 105613"/>
                            <a:gd name="connsiteY6" fmla="*/ 121291 h 143862"/>
                            <a:gd name="connsiteX7" fmla="*/ 105613 w 105613"/>
                            <a:gd name="connsiteY7" fmla="*/ 111323 h 143862"/>
                            <a:gd name="connsiteX8" fmla="*/ 89315 w 105613"/>
                            <a:gd name="connsiteY8" fmla="*/ 143596 h 143862"/>
                            <a:gd name="connsiteX9" fmla="*/ 53967 w 105613"/>
                            <a:gd name="connsiteY9" fmla="*/ 122990 h 143862"/>
                            <a:gd name="connsiteX0" fmla="*/ 40087 w 91733"/>
                            <a:gd name="connsiteY0" fmla="*/ 122990 h 143903"/>
                            <a:gd name="connsiteX1" fmla="*/ 3806 w 91733"/>
                            <a:gd name="connsiteY1" fmla="*/ 52185 h 143903"/>
                            <a:gd name="connsiteX2" fmla="*/ 3012 w 91733"/>
                            <a:gd name="connsiteY2" fmla="*/ 10980 h 143903"/>
                            <a:gd name="connsiteX3" fmla="*/ 31587 w 91733"/>
                            <a:gd name="connsiteY3" fmla="*/ 19432 h 143903"/>
                            <a:gd name="connsiteX4" fmla="*/ 48256 w 91733"/>
                            <a:gd name="connsiteY4" fmla="*/ 49014 h 143903"/>
                            <a:gd name="connsiteX5" fmla="*/ 74344 w 91733"/>
                            <a:gd name="connsiteY5" fmla="*/ 78517 h 143903"/>
                            <a:gd name="connsiteX6" fmla="*/ 88135 w 91733"/>
                            <a:gd name="connsiteY6" fmla="*/ 121291 h 143903"/>
                            <a:gd name="connsiteX7" fmla="*/ 91733 w 91733"/>
                            <a:gd name="connsiteY7" fmla="*/ 111323 h 143903"/>
                            <a:gd name="connsiteX8" fmla="*/ 75435 w 91733"/>
                            <a:gd name="connsiteY8" fmla="*/ 143596 h 143903"/>
                            <a:gd name="connsiteX9" fmla="*/ 40087 w 91733"/>
                            <a:gd name="connsiteY9" fmla="*/ 122990 h 143903"/>
                            <a:gd name="connsiteX0" fmla="*/ 44850 w 91733"/>
                            <a:gd name="connsiteY0" fmla="*/ 110312 h 143597"/>
                            <a:gd name="connsiteX1" fmla="*/ 3806 w 91733"/>
                            <a:gd name="connsiteY1" fmla="*/ 52185 h 143597"/>
                            <a:gd name="connsiteX2" fmla="*/ 3012 w 91733"/>
                            <a:gd name="connsiteY2" fmla="*/ 10980 h 143597"/>
                            <a:gd name="connsiteX3" fmla="*/ 31587 w 91733"/>
                            <a:gd name="connsiteY3" fmla="*/ 19432 h 143597"/>
                            <a:gd name="connsiteX4" fmla="*/ 48256 w 91733"/>
                            <a:gd name="connsiteY4" fmla="*/ 49014 h 143597"/>
                            <a:gd name="connsiteX5" fmla="*/ 74344 w 91733"/>
                            <a:gd name="connsiteY5" fmla="*/ 78517 h 143597"/>
                            <a:gd name="connsiteX6" fmla="*/ 88135 w 91733"/>
                            <a:gd name="connsiteY6" fmla="*/ 121291 h 143597"/>
                            <a:gd name="connsiteX7" fmla="*/ 91733 w 91733"/>
                            <a:gd name="connsiteY7" fmla="*/ 111323 h 143597"/>
                            <a:gd name="connsiteX8" fmla="*/ 75435 w 91733"/>
                            <a:gd name="connsiteY8" fmla="*/ 143596 h 143597"/>
                            <a:gd name="connsiteX9" fmla="*/ 44850 w 91733"/>
                            <a:gd name="connsiteY9" fmla="*/ 110312 h 143597"/>
                            <a:gd name="connsiteX0" fmla="*/ 44850 w 91733"/>
                            <a:gd name="connsiteY0" fmla="*/ 110312 h 143597"/>
                            <a:gd name="connsiteX1" fmla="*/ 3806 w 91733"/>
                            <a:gd name="connsiteY1" fmla="*/ 52185 h 143597"/>
                            <a:gd name="connsiteX2" fmla="*/ 3012 w 91733"/>
                            <a:gd name="connsiteY2" fmla="*/ 10980 h 143597"/>
                            <a:gd name="connsiteX3" fmla="*/ 31587 w 91733"/>
                            <a:gd name="connsiteY3" fmla="*/ 19432 h 143597"/>
                            <a:gd name="connsiteX4" fmla="*/ 48256 w 91733"/>
                            <a:gd name="connsiteY4" fmla="*/ 49014 h 143597"/>
                            <a:gd name="connsiteX5" fmla="*/ 74344 w 91733"/>
                            <a:gd name="connsiteY5" fmla="*/ 78517 h 143597"/>
                            <a:gd name="connsiteX6" fmla="*/ 78610 w 91733"/>
                            <a:gd name="connsiteY6" fmla="*/ 102275 h 143597"/>
                            <a:gd name="connsiteX7" fmla="*/ 91733 w 91733"/>
                            <a:gd name="connsiteY7" fmla="*/ 111323 h 143597"/>
                            <a:gd name="connsiteX8" fmla="*/ 75435 w 91733"/>
                            <a:gd name="connsiteY8" fmla="*/ 143596 h 143597"/>
                            <a:gd name="connsiteX9" fmla="*/ 44850 w 91733"/>
                            <a:gd name="connsiteY9" fmla="*/ 110312 h 143597"/>
                            <a:gd name="connsiteX0" fmla="*/ 44850 w 91733"/>
                            <a:gd name="connsiteY0" fmla="*/ 110312 h 124433"/>
                            <a:gd name="connsiteX1" fmla="*/ 3806 w 91733"/>
                            <a:gd name="connsiteY1" fmla="*/ 52185 h 124433"/>
                            <a:gd name="connsiteX2" fmla="*/ 3012 w 91733"/>
                            <a:gd name="connsiteY2" fmla="*/ 10980 h 124433"/>
                            <a:gd name="connsiteX3" fmla="*/ 31587 w 91733"/>
                            <a:gd name="connsiteY3" fmla="*/ 19432 h 124433"/>
                            <a:gd name="connsiteX4" fmla="*/ 48256 w 91733"/>
                            <a:gd name="connsiteY4" fmla="*/ 49014 h 124433"/>
                            <a:gd name="connsiteX5" fmla="*/ 74344 w 91733"/>
                            <a:gd name="connsiteY5" fmla="*/ 78517 h 124433"/>
                            <a:gd name="connsiteX6" fmla="*/ 78610 w 91733"/>
                            <a:gd name="connsiteY6" fmla="*/ 102275 h 124433"/>
                            <a:gd name="connsiteX7" fmla="*/ 91733 w 91733"/>
                            <a:gd name="connsiteY7" fmla="*/ 111323 h 124433"/>
                            <a:gd name="connsiteX8" fmla="*/ 65910 w 91733"/>
                            <a:gd name="connsiteY8" fmla="*/ 121409 h 124433"/>
                            <a:gd name="connsiteX9" fmla="*/ 44850 w 91733"/>
                            <a:gd name="connsiteY9" fmla="*/ 110312 h 124433"/>
                            <a:gd name="connsiteX0" fmla="*/ 44850 w 79374"/>
                            <a:gd name="connsiteY0" fmla="*/ 110312 h 122122"/>
                            <a:gd name="connsiteX1" fmla="*/ 3806 w 79374"/>
                            <a:gd name="connsiteY1" fmla="*/ 52185 h 122122"/>
                            <a:gd name="connsiteX2" fmla="*/ 3012 w 79374"/>
                            <a:gd name="connsiteY2" fmla="*/ 10980 h 122122"/>
                            <a:gd name="connsiteX3" fmla="*/ 31587 w 79374"/>
                            <a:gd name="connsiteY3" fmla="*/ 19432 h 122122"/>
                            <a:gd name="connsiteX4" fmla="*/ 48256 w 79374"/>
                            <a:gd name="connsiteY4" fmla="*/ 49014 h 122122"/>
                            <a:gd name="connsiteX5" fmla="*/ 74344 w 79374"/>
                            <a:gd name="connsiteY5" fmla="*/ 78517 h 122122"/>
                            <a:gd name="connsiteX6" fmla="*/ 78610 w 79374"/>
                            <a:gd name="connsiteY6" fmla="*/ 102275 h 122122"/>
                            <a:gd name="connsiteX7" fmla="*/ 75065 w 79374"/>
                            <a:gd name="connsiteY7" fmla="*/ 98645 h 122122"/>
                            <a:gd name="connsiteX8" fmla="*/ 65910 w 79374"/>
                            <a:gd name="connsiteY8" fmla="*/ 121409 h 122122"/>
                            <a:gd name="connsiteX9" fmla="*/ 44850 w 79374"/>
                            <a:gd name="connsiteY9" fmla="*/ 110312 h 122122"/>
                            <a:gd name="connsiteX0" fmla="*/ 42560 w 77084"/>
                            <a:gd name="connsiteY0" fmla="*/ 94411 h 106222"/>
                            <a:gd name="connsiteX1" fmla="*/ 1516 w 77084"/>
                            <a:gd name="connsiteY1" fmla="*/ 36284 h 106222"/>
                            <a:gd name="connsiteX2" fmla="*/ 10247 w 77084"/>
                            <a:gd name="connsiteY2" fmla="*/ 26774 h 106222"/>
                            <a:gd name="connsiteX3" fmla="*/ 29297 w 77084"/>
                            <a:gd name="connsiteY3" fmla="*/ 3531 h 106222"/>
                            <a:gd name="connsiteX4" fmla="*/ 45966 w 77084"/>
                            <a:gd name="connsiteY4" fmla="*/ 33113 h 106222"/>
                            <a:gd name="connsiteX5" fmla="*/ 72054 w 77084"/>
                            <a:gd name="connsiteY5" fmla="*/ 62616 h 106222"/>
                            <a:gd name="connsiteX6" fmla="*/ 76320 w 77084"/>
                            <a:gd name="connsiteY6" fmla="*/ 86374 h 106222"/>
                            <a:gd name="connsiteX7" fmla="*/ 72775 w 77084"/>
                            <a:gd name="connsiteY7" fmla="*/ 82744 h 106222"/>
                            <a:gd name="connsiteX8" fmla="*/ 63620 w 77084"/>
                            <a:gd name="connsiteY8" fmla="*/ 105508 h 106222"/>
                            <a:gd name="connsiteX9" fmla="*/ 42560 w 77084"/>
                            <a:gd name="connsiteY9" fmla="*/ 94411 h 106222"/>
                            <a:gd name="connsiteX0" fmla="*/ 42560 w 77084"/>
                            <a:gd name="connsiteY0" fmla="*/ 82618 h 94429"/>
                            <a:gd name="connsiteX1" fmla="*/ 1516 w 77084"/>
                            <a:gd name="connsiteY1" fmla="*/ 24491 h 94429"/>
                            <a:gd name="connsiteX2" fmla="*/ 10247 w 77084"/>
                            <a:gd name="connsiteY2" fmla="*/ 14981 h 94429"/>
                            <a:gd name="connsiteX3" fmla="*/ 29297 w 77084"/>
                            <a:gd name="connsiteY3" fmla="*/ 10756 h 94429"/>
                            <a:gd name="connsiteX4" fmla="*/ 45966 w 77084"/>
                            <a:gd name="connsiteY4" fmla="*/ 21320 h 94429"/>
                            <a:gd name="connsiteX5" fmla="*/ 72054 w 77084"/>
                            <a:gd name="connsiteY5" fmla="*/ 50823 h 94429"/>
                            <a:gd name="connsiteX6" fmla="*/ 76320 w 77084"/>
                            <a:gd name="connsiteY6" fmla="*/ 74581 h 94429"/>
                            <a:gd name="connsiteX7" fmla="*/ 72775 w 77084"/>
                            <a:gd name="connsiteY7" fmla="*/ 70951 h 94429"/>
                            <a:gd name="connsiteX8" fmla="*/ 63620 w 77084"/>
                            <a:gd name="connsiteY8" fmla="*/ 93715 h 94429"/>
                            <a:gd name="connsiteX9" fmla="*/ 42560 w 77084"/>
                            <a:gd name="connsiteY9" fmla="*/ 82618 h 94429"/>
                            <a:gd name="connsiteX0" fmla="*/ 42560 w 77084"/>
                            <a:gd name="connsiteY0" fmla="*/ 82618 h 94429"/>
                            <a:gd name="connsiteX1" fmla="*/ 1516 w 77084"/>
                            <a:gd name="connsiteY1" fmla="*/ 24491 h 94429"/>
                            <a:gd name="connsiteX2" fmla="*/ 10247 w 77084"/>
                            <a:gd name="connsiteY2" fmla="*/ 14981 h 94429"/>
                            <a:gd name="connsiteX3" fmla="*/ 29297 w 77084"/>
                            <a:gd name="connsiteY3" fmla="*/ 10756 h 94429"/>
                            <a:gd name="connsiteX4" fmla="*/ 43585 w 77084"/>
                            <a:gd name="connsiteY4" fmla="*/ 30829 h 94429"/>
                            <a:gd name="connsiteX5" fmla="*/ 72054 w 77084"/>
                            <a:gd name="connsiteY5" fmla="*/ 50823 h 94429"/>
                            <a:gd name="connsiteX6" fmla="*/ 76320 w 77084"/>
                            <a:gd name="connsiteY6" fmla="*/ 74581 h 94429"/>
                            <a:gd name="connsiteX7" fmla="*/ 72775 w 77084"/>
                            <a:gd name="connsiteY7" fmla="*/ 70951 h 94429"/>
                            <a:gd name="connsiteX8" fmla="*/ 63620 w 77084"/>
                            <a:gd name="connsiteY8" fmla="*/ 93715 h 94429"/>
                            <a:gd name="connsiteX9" fmla="*/ 42560 w 77084"/>
                            <a:gd name="connsiteY9" fmla="*/ 82618 h 94429"/>
                            <a:gd name="connsiteX0" fmla="*/ 42560 w 77084"/>
                            <a:gd name="connsiteY0" fmla="*/ 82618 h 94018"/>
                            <a:gd name="connsiteX1" fmla="*/ 1516 w 77084"/>
                            <a:gd name="connsiteY1" fmla="*/ 62524 h 94018"/>
                            <a:gd name="connsiteX2" fmla="*/ 10247 w 77084"/>
                            <a:gd name="connsiteY2" fmla="*/ 14981 h 94018"/>
                            <a:gd name="connsiteX3" fmla="*/ 29297 w 77084"/>
                            <a:gd name="connsiteY3" fmla="*/ 10756 h 94018"/>
                            <a:gd name="connsiteX4" fmla="*/ 43585 w 77084"/>
                            <a:gd name="connsiteY4" fmla="*/ 30829 h 94018"/>
                            <a:gd name="connsiteX5" fmla="*/ 72054 w 77084"/>
                            <a:gd name="connsiteY5" fmla="*/ 50823 h 94018"/>
                            <a:gd name="connsiteX6" fmla="*/ 76320 w 77084"/>
                            <a:gd name="connsiteY6" fmla="*/ 74581 h 94018"/>
                            <a:gd name="connsiteX7" fmla="*/ 72775 w 77084"/>
                            <a:gd name="connsiteY7" fmla="*/ 70951 h 94018"/>
                            <a:gd name="connsiteX8" fmla="*/ 63620 w 77084"/>
                            <a:gd name="connsiteY8" fmla="*/ 93715 h 94018"/>
                            <a:gd name="connsiteX9" fmla="*/ 42560 w 77084"/>
                            <a:gd name="connsiteY9" fmla="*/ 82618 h 94018"/>
                            <a:gd name="connsiteX0" fmla="*/ 42560 w 77084"/>
                            <a:gd name="connsiteY0" fmla="*/ 73899 h 85299"/>
                            <a:gd name="connsiteX1" fmla="*/ 1516 w 77084"/>
                            <a:gd name="connsiteY1" fmla="*/ 53805 h 85299"/>
                            <a:gd name="connsiteX2" fmla="*/ 10247 w 77084"/>
                            <a:gd name="connsiteY2" fmla="*/ 37955 h 85299"/>
                            <a:gd name="connsiteX3" fmla="*/ 29297 w 77084"/>
                            <a:gd name="connsiteY3" fmla="*/ 2037 h 85299"/>
                            <a:gd name="connsiteX4" fmla="*/ 43585 w 77084"/>
                            <a:gd name="connsiteY4" fmla="*/ 22110 h 85299"/>
                            <a:gd name="connsiteX5" fmla="*/ 72054 w 77084"/>
                            <a:gd name="connsiteY5" fmla="*/ 42104 h 85299"/>
                            <a:gd name="connsiteX6" fmla="*/ 76320 w 77084"/>
                            <a:gd name="connsiteY6" fmla="*/ 65862 h 85299"/>
                            <a:gd name="connsiteX7" fmla="*/ 72775 w 77084"/>
                            <a:gd name="connsiteY7" fmla="*/ 62232 h 85299"/>
                            <a:gd name="connsiteX8" fmla="*/ 63620 w 77084"/>
                            <a:gd name="connsiteY8" fmla="*/ 84996 h 85299"/>
                            <a:gd name="connsiteX9" fmla="*/ 42560 w 77084"/>
                            <a:gd name="connsiteY9" fmla="*/ 73899 h 85299"/>
                            <a:gd name="connsiteX0" fmla="*/ 42560 w 77084"/>
                            <a:gd name="connsiteY0" fmla="*/ 52685 h 64085"/>
                            <a:gd name="connsiteX1" fmla="*/ 1516 w 77084"/>
                            <a:gd name="connsiteY1" fmla="*/ 32591 h 64085"/>
                            <a:gd name="connsiteX2" fmla="*/ 10247 w 77084"/>
                            <a:gd name="connsiteY2" fmla="*/ 16741 h 64085"/>
                            <a:gd name="connsiteX3" fmla="*/ 29297 w 77084"/>
                            <a:gd name="connsiteY3" fmla="*/ 15687 h 64085"/>
                            <a:gd name="connsiteX4" fmla="*/ 43585 w 77084"/>
                            <a:gd name="connsiteY4" fmla="*/ 896 h 64085"/>
                            <a:gd name="connsiteX5" fmla="*/ 72054 w 77084"/>
                            <a:gd name="connsiteY5" fmla="*/ 20890 h 64085"/>
                            <a:gd name="connsiteX6" fmla="*/ 76320 w 77084"/>
                            <a:gd name="connsiteY6" fmla="*/ 44648 h 64085"/>
                            <a:gd name="connsiteX7" fmla="*/ 72775 w 77084"/>
                            <a:gd name="connsiteY7" fmla="*/ 41018 h 64085"/>
                            <a:gd name="connsiteX8" fmla="*/ 63620 w 77084"/>
                            <a:gd name="connsiteY8" fmla="*/ 63782 h 64085"/>
                            <a:gd name="connsiteX9" fmla="*/ 42560 w 77084"/>
                            <a:gd name="connsiteY9" fmla="*/ 52685 h 64085"/>
                            <a:gd name="connsiteX0" fmla="*/ 42560 w 76322"/>
                            <a:gd name="connsiteY0" fmla="*/ 51797 h 63197"/>
                            <a:gd name="connsiteX1" fmla="*/ 1516 w 76322"/>
                            <a:gd name="connsiteY1" fmla="*/ 31703 h 63197"/>
                            <a:gd name="connsiteX2" fmla="*/ 10247 w 76322"/>
                            <a:gd name="connsiteY2" fmla="*/ 15853 h 63197"/>
                            <a:gd name="connsiteX3" fmla="*/ 29297 w 76322"/>
                            <a:gd name="connsiteY3" fmla="*/ 14799 h 63197"/>
                            <a:gd name="connsiteX4" fmla="*/ 43585 w 76322"/>
                            <a:gd name="connsiteY4" fmla="*/ 8 h 63197"/>
                            <a:gd name="connsiteX5" fmla="*/ 44305 w 76322"/>
                            <a:gd name="connsiteY5" fmla="*/ 30542 h 63197"/>
                            <a:gd name="connsiteX6" fmla="*/ 72054 w 76322"/>
                            <a:gd name="connsiteY6" fmla="*/ 20002 h 63197"/>
                            <a:gd name="connsiteX7" fmla="*/ 76320 w 76322"/>
                            <a:gd name="connsiteY7" fmla="*/ 43760 h 63197"/>
                            <a:gd name="connsiteX8" fmla="*/ 72775 w 76322"/>
                            <a:gd name="connsiteY8" fmla="*/ 40130 h 63197"/>
                            <a:gd name="connsiteX9" fmla="*/ 63620 w 76322"/>
                            <a:gd name="connsiteY9" fmla="*/ 62894 h 63197"/>
                            <a:gd name="connsiteX10" fmla="*/ 42560 w 76322"/>
                            <a:gd name="connsiteY10" fmla="*/ 51797 h 63197"/>
                            <a:gd name="connsiteX0" fmla="*/ 42560 w 76322"/>
                            <a:gd name="connsiteY0" fmla="*/ 51797 h 94666"/>
                            <a:gd name="connsiteX1" fmla="*/ 1516 w 76322"/>
                            <a:gd name="connsiteY1" fmla="*/ 31703 h 94666"/>
                            <a:gd name="connsiteX2" fmla="*/ 10247 w 76322"/>
                            <a:gd name="connsiteY2" fmla="*/ 15853 h 94666"/>
                            <a:gd name="connsiteX3" fmla="*/ 29297 w 76322"/>
                            <a:gd name="connsiteY3" fmla="*/ 14799 h 94666"/>
                            <a:gd name="connsiteX4" fmla="*/ 43585 w 76322"/>
                            <a:gd name="connsiteY4" fmla="*/ 8 h 94666"/>
                            <a:gd name="connsiteX5" fmla="*/ 44305 w 76322"/>
                            <a:gd name="connsiteY5" fmla="*/ 30542 h 94666"/>
                            <a:gd name="connsiteX6" fmla="*/ 72054 w 76322"/>
                            <a:gd name="connsiteY6" fmla="*/ 20002 h 94666"/>
                            <a:gd name="connsiteX7" fmla="*/ 76320 w 76322"/>
                            <a:gd name="connsiteY7" fmla="*/ 43760 h 94666"/>
                            <a:gd name="connsiteX8" fmla="*/ 72775 w 76322"/>
                            <a:gd name="connsiteY8" fmla="*/ 40130 h 94666"/>
                            <a:gd name="connsiteX9" fmla="*/ 51714 w 76322"/>
                            <a:gd name="connsiteY9" fmla="*/ 94587 h 94666"/>
                            <a:gd name="connsiteX10" fmla="*/ 42560 w 76322"/>
                            <a:gd name="connsiteY10" fmla="*/ 51797 h 94666"/>
                            <a:gd name="connsiteX0" fmla="*/ 28272 w 76322"/>
                            <a:gd name="connsiteY0" fmla="*/ 48628 h 94626"/>
                            <a:gd name="connsiteX1" fmla="*/ 1516 w 76322"/>
                            <a:gd name="connsiteY1" fmla="*/ 31703 h 94626"/>
                            <a:gd name="connsiteX2" fmla="*/ 10247 w 76322"/>
                            <a:gd name="connsiteY2" fmla="*/ 15853 h 94626"/>
                            <a:gd name="connsiteX3" fmla="*/ 29297 w 76322"/>
                            <a:gd name="connsiteY3" fmla="*/ 14799 h 94626"/>
                            <a:gd name="connsiteX4" fmla="*/ 43585 w 76322"/>
                            <a:gd name="connsiteY4" fmla="*/ 8 h 94626"/>
                            <a:gd name="connsiteX5" fmla="*/ 44305 w 76322"/>
                            <a:gd name="connsiteY5" fmla="*/ 30542 h 94626"/>
                            <a:gd name="connsiteX6" fmla="*/ 72054 w 76322"/>
                            <a:gd name="connsiteY6" fmla="*/ 20002 h 94626"/>
                            <a:gd name="connsiteX7" fmla="*/ 76320 w 76322"/>
                            <a:gd name="connsiteY7" fmla="*/ 43760 h 94626"/>
                            <a:gd name="connsiteX8" fmla="*/ 72775 w 76322"/>
                            <a:gd name="connsiteY8" fmla="*/ 40130 h 94626"/>
                            <a:gd name="connsiteX9" fmla="*/ 51714 w 76322"/>
                            <a:gd name="connsiteY9" fmla="*/ 94587 h 94626"/>
                            <a:gd name="connsiteX10" fmla="*/ 28272 w 76322"/>
                            <a:gd name="connsiteY10" fmla="*/ 48628 h 94626"/>
                            <a:gd name="connsiteX0" fmla="*/ 28272 w 76322"/>
                            <a:gd name="connsiteY0" fmla="*/ 44915 h 90913"/>
                            <a:gd name="connsiteX1" fmla="*/ 1516 w 76322"/>
                            <a:gd name="connsiteY1" fmla="*/ 27990 h 90913"/>
                            <a:gd name="connsiteX2" fmla="*/ 10247 w 76322"/>
                            <a:gd name="connsiteY2" fmla="*/ 12140 h 90913"/>
                            <a:gd name="connsiteX3" fmla="*/ 29297 w 76322"/>
                            <a:gd name="connsiteY3" fmla="*/ 11086 h 90913"/>
                            <a:gd name="connsiteX4" fmla="*/ 44305 w 76322"/>
                            <a:gd name="connsiteY4" fmla="*/ 26829 h 90913"/>
                            <a:gd name="connsiteX5" fmla="*/ 72054 w 76322"/>
                            <a:gd name="connsiteY5" fmla="*/ 16289 h 90913"/>
                            <a:gd name="connsiteX6" fmla="*/ 76320 w 76322"/>
                            <a:gd name="connsiteY6" fmla="*/ 40047 h 90913"/>
                            <a:gd name="connsiteX7" fmla="*/ 72775 w 76322"/>
                            <a:gd name="connsiteY7" fmla="*/ 36417 h 90913"/>
                            <a:gd name="connsiteX8" fmla="*/ 51714 w 76322"/>
                            <a:gd name="connsiteY8" fmla="*/ 90874 h 90913"/>
                            <a:gd name="connsiteX9" fmla="*/ 28272 w 76322"/>
                            <a:gd name="connsiteY9" fmla="*/ 44915 h 90913"/>
                            <a:gd name="connsiteX0" fmla="*/ 28272 w 76322"/>
                            <a:gd name="connsiteY0" fmla="*/ 32778 h 78776"/>
                            <a:gd name="connsiteX1" fmla="*/ 1516 w 76322"/>
                            <a:gd name="connsiteY1" fmla="*/ 15853 h 78776"/>
                            <a:gd name="connsiteX2" fmla="*/ 10247 w 76322"/>
                            <a:gd name="connsiteY2" fmla="*/ 3 h 78776"/>
                            <a:gd name="connsiteX3" fmla="*/ 44305 w 76322"/>
                            <a:gd name="connsiteY3" fmla="*/ 14692 h 78776"/>
                            <a:gd name="connsiteX4" fmla="*/ 72054 w 76322"/>
                            <a:gd name="connsiteY4" fmla="*/ 4152 h 78776"/>
                            <a:gd name="connsiteX5" fmla="*/ 76320 w 76322"/>
                            <a:gd name="connsiteY5" fmla="*/ 27910 h 78776"/>
                            <a:gd name="connsiteX6" fmla="*/ 72775 w 76322"/>
                            <a:gd name="connsiteY6" fmla="*/ 24280 h 78776"/>
                            <a:gd name="connsiteX7" fmla="*/ 51714 w 76322"/>
                            <a:gd name="connsiteY7" fmla="*/ 78737 h 78776"/>
                            <a:gd name="connsiteX8" fmla="*/ 28272 w 76322"/>
                            <a:gd name="connsiteY8" fmla="*/ 32778 h 78776"/>
                            <a:gd name="connsiteX0" fmla="*/ 26989 w 75039"/>
                            <a:gd name="connsiteY0" fmla="*/ 29848 h 75846"/>
                            <a:gd name="connsiteX1" fmla="*/ 233 w 75039"/>
                            <a:gd name="connsiteY1" fmla="*/ 12923 h 75846"/>
                            <a:gd name="connsiteX2" fmla="*/ 43022 w 75039"/>
                            <a:gd name="connsiteY2" fmla="*/ 11762 h 75846"/>
                            <a:gd name="connsiteX3" fmla="*/ 70771 w 75039"/>
                            <a:gd name="connsiteY3" fmla="*/ 1222 h 75846"/>
                            <a:gd name="connsiteX4" fmla="*/ 75037 w 75039"/>
                            <a:gd name="connsiteY4" fmla="*/ 24980 h 75846"/>
                            <a:gd name="connsiteX5" fmla="*/ 71492 w 75039"/>
                            <a:gd name="connsiteY5" fmla="*/ 21350 h 75846"/>
                            <a:gd name="connsiteX6" fmla="*/ 50431 w 75039"/>
                            <a:gd name="connsiteY6" fmla="*/ 75807 h 75846"/>
                            <a:gd name="connsiteX7" fmla="*/ 26989 w 75039"/>
                            <a:gd name="connsiteY7" fmla="*/ 29848 h 75846"/>
                            <a:gd name="connsiteX0" fmla="*/ 105 w 48155"/>
                            <a:gd name="connsiteY0" fmla="*/ 30057 h 76055"/>
                            <a:gd name="connsiteX1" fmla="*/ 16138 w 48155"/>
                            <a:gd name="connsiteY1" fmla="*/ 11971 h 76055"/>
                            <a:gd name="connsiteX2" fmla="*/ 43887 w 48155"/>
                            <a:gd name="connsiteY2" fmla="*/ 1431 h 76055"/>
                            <a:gd name="connsiteX3" fmla="*/ 48153 w 48155"/>
                            <a:gd name="connsiteY3" fmla="*/ 25189 h 76055"/>
                            <a:gd name="connsiteX4" fmla="*/ 44608 w 48155"/>
                            <a:gd name="connsiteY4" fmla="*/ 21559 h 76055"/>
                            <a:gd name="connsiteX5" fmla="*/ 23547 w 48155"/>
                            <a:gd name="connsiteY5" fmla="*/ 76016 h 76055"/>
                            <a:gd name="connsiteX6" fmla="*/ 105 w 48155"/>
                            <a:gd name="connsiteY6" fmla="*/ 30057 h 76055"/>
                            <a:gd name="connsiteX0" fmla="*/ 111 w 48161"/>
                            <a:gd name="connsiteY0" fmla="*/ 18125 h 64123"/>
                            <a:gd name="connsiteX1" fmla="*/ 16144 w 48161"/>
                            <a:gd name="connsiteY1" fmla="*/ 39 h 64123"/>
                            <a:gd name="connsiteX2" fmla="*/ 48159 w 48161"/>
                            <a:gd name="connsiteY2" fmla="*/ 13257 h 64123"/>
                            <a:gd name="connsiteX3" fmla="*/ 44614 w 48161"/>
                            <a:gd name="connsiteY3" fmla="*/ 9627 h 64123"/>
                            <a:gd name="connsiteX4" fmla="*/ 23553 w 48161"/>
                            <a:gd name="connsiteY4" fmla="*/ 64084 h 64123"/>
                            <a:gd name="connsiteX5" fmla="*/ 111 w 48161"/>
                            <a:gd name="connsiteY5" fmla="*/ 18125 h 64123"/>
                            <a:gd name="connsiteX0" fmla="*/ 111 w 48220"/>
                            <a:gd name="connsiteY0" fmla="*/ 18124 h 64122"/>
                            <a:gd name="connsiteX1" fmla="*/ 16144 w 48220"/>
                            <a:gd name="connsiteY1" fmla="*/ 38 h 64122"/>
                            <a:gd name="connsiteX2" fmla="*/ 48159 w 48220"/>
                            <a:gd name="connsiteY2" fmla="*/ 13256 h 64122"/>
                            <a:gd name="connsiteX3" fmla="*/ 23553 w 48220"/>
                            <a:gd name="connsiteY3" fmla="*/ 64083 h 64122"/>
                            <a:gd name="connsiteX4" fmla="*/ 111 w 48220"/>
                            <a:gd name="connsiteY4" fmla="*/ 18124 h 64122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48220" h="64122">
                              <a:moveTo>
                                <a:pt x="111" y="18124"/>
                              </a:moveTo>
                              <a:cubicBezTo>
                                <a:pt x="-1124" y="7450"/>
                                <a:pt x="8136" y="849"/>
                                <a:pt x="16144" y="38"/>
                              </a:cubicBezTo>
                              <a:cubicBezTo>
                                <a:pt x="24152" y="-773"/>
                                <a:pt x="43414" y="11658"/>
                                <a:pt x="48159" y="13256"/>
                              </a:cubicBezTo>
                              <a:cubicBezTo>
                                <a:pt x="49394" y="23930"/>
                                <a:pt x="31561" y="63272"/>
                                <a:pt x="23553" y="64083"/>
                              </a:cubicBezTo>
                              <a:cubicBezTo>
                                <a:pt x="16136" y="65499"/>
                                <a:pt x="8477" y="28605"/>
                                <a:pt x="111" y="18124"/>
                              </a:cubicBez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anchor="ctr"/>
                        <a:lstStyle/>
                        <a:p>
                          <a:pPr algn="ctr">
                            <a:defRPr/>
                          </a:pPr>
                          <a:endParaRPr lang="en-US" sz="1100">
                            <a:solidFill>
                              <a:prstClr val="white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369" name="Group 220"/>
                        <p:cNvGrpSpPr/>
                        <p:nvPr/>
                      </p:nvGrpSpPr>
                      <p:grpSpPr>
                        <a:xfrm>
                          <a:off x="2935431" y="2097508"/>
                          <a:ext cx="4291080" cy="3993937"/>
                          <a:chOff x="2935431" y="2097508"/>
                          <a:chExt cx="4291080" cy="3993937"/>
                        </a:xfrm>
                        <a:grpFill/>
                      </p:grpSpPr>
                      <p:grpSp>
                        <p:nvGrpSpPr>
                          <p:cNvPr id="370" name="Group 221"/>
                          <p:cNvGrpSpPr/>
                          <p:nvPr/>
                        </p:nvGrpSpPr>
                        <p:grpSpPr>
                          <a:xfrm>
                            <a:off x="5082154" y="2889178"/>
                            <a:ext cx="2144357" cy="3202267"/>
                            <a:chOff x="5082154" y="2889178"/>
                            <a:chExt cx="2144357" cy="3202267"/>
                          </a:xfrm>
                          <a:grpFill/>
                        </p:grpSpPr>
                        <p:sp>
                          <p:nvSpPr>
                            <p:cNvPr id="399" name="Freeform 239"/>
                            <p:cNvSpPr/>
                            <p:nvPr/>
                          </p:nvSpPr>
                          <p:spPr>
                            <a:xfrm>
                              <a:off x="5082154" y="4346973"/>
                              <a:ext cx="1491316" cy="1744472"/>
                            </a:xfrm>
                            <a:custGeom>
                              <a:avLst/>
                              <a:gdLst>
                                <a:gd name="connsiteX0" fmla="*/ 17147 w 195280"/>
                                <a:gd name="connsiteY0" fmla="*/ 11875 h 154450"/>
                                <a:gd name="connsiteX1" fmla="*/ 17147 w 195280"/>
                                <a:gd name="connsiteY1" fmla="*/ 11875 h 154450"/>
                                <a:gd name="connsiteX2" fmla="*/ 40898 w 195280"/>
                                <a:gd name="connsiteY2" fmla="*/ 142504 h 154450"/>
                                <a:gd name="connsiteX3" fmla="*/ 76524 w 195280"/>
                                <a:gd name="connsiteY3" fmla="*/ 154379 h 154450"/>
                                <a:gd name="connsiteX4" fmla="*/ 195277 w 195280"/>
                                <a:gd name="connsiteY4" fmla="*/ 106878 h 154450"/>
                                <a:gd name="connsiteX5" fmla="*/ 183401 w 195280"/>
                                <a:gd name="connsiteY5" fmla="*/ 47501 h 154450"/>
                                <a:gd name="connsiteX6" fmla="*/ 112150 w 195280"/>
                                <a:gd name="connsiteY6" fmla="*/ 0 h 154450"/>
                                <a:gd name="connsiteX7" fmla="*/ 64648 w 195280"/>
                                <a:gd name="connsiteY7" fmla="*/ 11875 h 154450"/>
                                <a:gd name="connsiteX8" fmla="*/ 17147 w 195280"/>
                                <a:gd name="connsiteY8" fmla="*/ 11875 h 154450"/>
                                <a:gd name="connsiteX0" fmla="*/ 64648 w 195280"/>
                                <a:gd name="connsiteY0" fmla="*/ 11875 h 154450"/>
                                <a:gd name="connsiteX1" fmla="*/ 17147 w 195280"/>
                                <a:gd name="connsiteY1" fmla="*/ 11875 h 154450"/>
                                <a:gd name="connsiteX2" fmla="*/ 40898 w 195280"/>
                                <a:gd name="connsiteY2" fmla="*/ 142504 h 154450"/>
                                <a:gd name="connsiteX3" fmla="*/ 76524 w 195280"/>
                                <a:gd name="connsiteY3" fmla="*/ 154379 h 154450"/>
                                <a:gd name="connsiteX4" fmla="*/ 195277 w 195280"/>
                                <a:gd name="connsiteY4" fmla="*/ 106878 h 154450"/>
                                <a:gd name="connsiteX5" fmla="*/ 183401 w 195280"/>
                                <a:gd name="connsiteY5" fmla="*/ 47501 h 154450"/>
                                <a:gd name="connsiteX6" fmla="*/ 112150 w 195280"/>
                                <a:gd name="connsiteY6" fmla="*/ 0 h 154450"/>
                                <a:gd name="connsiteX7" fmla="*/ 64648 w 195280"/>
                                <a:gd name="connsiteY7" fmla="*/ 11875 h 154450"/>
                                <a:gd name="connsiteX0" fmla="*/ 23941 w 154573"/>
                                <a:gd name="connsiteY0" fmla="*/ 11875 h 155931"/>
                                <a:gd name="connsiteX1" fmla="*/ 191 w 154573"/>
                                <a:gd name="connsiteY1" fmla="*/ 142504 h 155931"/>
                                <a:gd name="connsiteX2" fmla="*/ 35817 w 154573"/>
                                <a:gd name="connsiteY2" fmla="*/ 154379 h 155931"/>
                                <a:gd name="connsiteX3" fmla="*/ 154570 w 154573"/>
                                <a:gd name="connsiteY3" fmla="*/ 106878 h 155931"/>
                                <a:gd name="connsiteX4" fmla="*/ 142694 w 154573"/>
                                <a:gd name="connsiteY4" fmla="*/ 47501 h 155931"/>
                                <a:gd name="connsiteX5" fmla="*/ 71443 w 154573"/>
                                <a:gd name="connsiteY5" fmla="*/ 0 h 155931"/>
                                <a:gd name="connsiteX6" fmla="*/ 23941 w 154573"/>
                                <a:gd name="connsiteY6" fmla="*/ 11875 h 155931"/>
                                <a:gd name="connsiteX0" fmla="*/ 13690 w 155773"/>
                                <a:gd name="connsiteY0" fmla="*/ 57403 h 154450"/>
                                <a:gd name="connsiteX1" fmla="*/ 1391 w 155773"/>
                                <a:gd name="connsiteY1" fmla="*/ 142504 h 154450"/>
                                <a:gd name="connsiteX2" fmla="*/ 37017 w 155773"/>
                                <a:gd name="connsiteY2" fmla="*/ 154379 h 154450"/>
                                <a:gd name="connsiteX3" fmla="*/ 155770 w 155773"/>
                                <a:gd name="connsiteY3" fmla="*/ 106878 h 154450"/>
                                <a:gd name="connsiteX4" fmla="*/ 143894 w 155773"/>
                                <a:gd name="connsiteY4" fmla="*/ 47501 h 154450"/>
                                <a:gd name="connsiteX5" fmla="*/ 72643 w 155773"/>
                                <a:gd name="connsiteY5" fmla="*/ 0 h 154450"/>
                                <a:gd name="connsiteX6" fmla="*/ 13690 w 155773"/>
                                <a:gd name="connsiteY6" fmla="*/ 57403 h 154450"/>
                                <a:gd name="connsiteX0" fmla="*/ 13690 w 155770"/>
                                <a:gd name="connsiteY0" fmla="*/ 71971 h 169018"/>
                                <a:gd name="connsiteX1" fmla="*/ 1391 w 155770"/>
                                <a:gd name="connsiteY1" fmla="*/ 157072 h 169018"/>
                                <a:gd name="connsiteX2" fmla="*/ 37017 w 155770"/>
                                <a:gd name="connsiteY2" fmla="*/ 168947 h 169018"/>
                                <a:gd name="connsiteX3" fmla="*/ 155770 w 155770"/>
                                <a:gd name="connsiteY3" fmla="*/ 121446 h 169018"/>
                                <a:gd name="connsiteX4" fmla="*/ 143894 w 155770"/>
                                <a:gd name="connsiteY4" fmla="*/ 62069 h 169018"/>
                                <a:gd name="connsiteX5" fmla="*/ 89819 w 155770"/>
                                <a:gd name="connsiteY5" fmla="*/ 0 h 169018"/>
                                <a:gd name="connsiteX6" fmla="*/ 13690 w 155770"/>
                                <a:gd name="connsiteY6" fmla="*/ 71971 h 169018"/>
                                <a:gd name="connsiteX0" fmla="*/ 22122 w 154659"/>
                                <a:gd name="connsiteY0" fmla="*/ 31907 h 170133"/>
                                <a:gd name="connsiteX1" fmla="*/ 280 w 154659"/>
                                <a:gd name="connsiteY1" fmla="*/ 157072 h 170133"/>
                                <a:gd name="connsiteX2" fmla="*/ 35906 w 154659"/>
                                <a:gd name="connsiteY2" fmla="*/ 168947 h 170133"/>
                                <a:gd name="connsiteX3" fmla="*/ 154659 w 154659"/>
                                <a:gd name="connsiteY3" fmla="*/ 121446 h 170133"/>
                                <a:gd name="connsiteX4" fmla="*/ 142783 w 154659"/>
                                <a:gd name="connsiteY4" fmla="*/ 62069 h 170133"/>
                                <a:gd name="connsiteX5" fmla="*/ 88708 w 154659"/>
                                <a:gd name="connsiteY5" fmla="*/ 0 h 170133"/>
                                <a:gd name="connsiteX6" fmla="*/ 22122 w 154659"/>
                                <a:gd name="connsiteY6" fmla="*/ 31907 h 170133"/>
                                <a:gd name="connsiteX0" fmla="*/ 72178 w 204715"/>
                                <a:gd name="connsiteY0" fmla="*/ 31907 h 239671"/>
                                <a:gd name="connsiteX1" fmla="*/ 61 w 204715"/>
                                <a:gd name="connsiteY1" fmla="*/ 236087 h 239671"/>
                                <a:gd name="connsiteX2" fmla="*/ 85962 w 204715"/>
                                <a:gd name="connsiteY2" fmla="*/ 168947 h 239671"/>
                                <a:gd name="connsiteX3" fmla="*/ 204715 w 204715"/>
                                <a:gd name="connsiteY3" fmla="*/ 121446 h 239671"/>
                                <a:gd name="connsiteX4" fmla="*/ 192839 w 204715"/>
                                <a:gd name="connsiteY4" fmla="*/ 62069 h 239671"/>
                                <a:gd name="connsiteX5" fmla="*/ 138764 w 204715"/>
                                <a:gd name="connsiteY5" fmla="*/ 0 h 239671"/>
                                <a:gd name="connsiteX6" fmla="*/ 72178 w 204715"/>
                                <a:gd name="connsiteY6" fmla="*/ 31907 h 239671"/>
                                <a:gd name="connsiteX0" fmla="*/ 134124 w 284806"/>
                                <a:gd name="connsiteY0" fmla="*/ 31907 h 502566"/>
                                <a:gd name="connsiteX1" fmla="*/ 62007 w 284806"/>
                                <a:gd name="connsiteY1" fmla="*/ 236087 h 502566"/>
                                <a:gd name="connsiteX2" fmla="*/ 1797 w 284806"/>
                                <a:gd name="connsiteY2" fmla="*/ 502566 h 502566"/>
                                <a:gd name="connsiteX3" fmla="*/ 266661 w 284806"/>
                                <a:gd name="connsiteY3" fmla="*/ 121446 h 502566"/>
                                <a:gd name="connsiteX4" fmla="*/ 254785 w 284806"/>
                                <a:gd name="connsiteY4" fmla="*/ 62069 h 502566"/>
                                <a:gd name="connsiteX5" fmla="*/ 200710 w 284806"/>
                                <a:gd name="connsiteY5" fmla="*/ 0 h 502566"/>
                                <a:gd name="connsiteX6" fmla="*/ 134124 w 284806"/>
                                <a:gd name="connsiteY6" fmla="*/ 31907 h 502566"/>
                                <a:gd name="connsiteX0" fmla="*/ 133275 w 279806"/>
                                <a:gd name="connsiteY0" fmla="*/ 31907 h 537561"/>
                                <a:gd name="connsiteX1" fmla="*/ 61158 w 279806"/>
                                <a:gd name="connsiteY1" fmla="*/ 236087 h 537561"/>
                                <a:gd name="connsiteX2" fmla="*/ 948 w 279806"/>
                                <a:gd name="connsiteY2" fmla="*/ 502566 h 537561"/>
                                <a:gd name="connsiteX3" fmla="*/ 57124 w 279806"/>
                                <a:gd name="connsiteY3" fmla="*/ 494000 h 537561"/>
                                <a:gd name="connsiteX4" fmla="*/ 265812 w 279806"/>
                                <a:gd name="connsiteY4" fmla="*/ 121446 h 537561"/>
                                <a:gd name="connsiteX5" fmla="*/ 253936 w 279806"/>
                                <a:gd name="connsiteY5" fmla="*/ 62069 h 537561"/>
                                <a:gd name="connsiteX6" fmla="*/ 199861 w 279806"/>
                                <a:gd name="connsiteY6" fmla="*/ 0 h 537561"/>
                                <a:gd name="connsiteX7" fmla="*/ 133275 w 279806"/>
                                <a:gd name="connsiteY7" fmla="*/ 31907 h 537561"/>
                                <a:gd name="connsiteX0" fmla="*/ 132894 w 273634"/>
                                <a:gd name="connsiteY0" fmla="*/ 31907 h 526509"/>
                                <a:gd name="connsiteX1" fmla="*/ 60777 w 273634"/>
                                <a:gd name="connsiteY1" fmla="*/ 236087 h 526509"/>
                                <a:gd name="connsiteX2" fmla="*/ 567 w 273634"/>
                                <a:gd name="connsiteY2" fmla="*/ 502566 h 526509"/>
                                <a:gd name="connsiteX3" fmla="*/ 56743 w 273634"/>
                                <a:gd name="connsiteY3" fmla="*/ 494000 h 526509"/>
                                <a:gd name="connsiteX4" fmla="*/ 135298 w 273634"/>
                                <a:gd name="connsiteY4" fmla="*/ 300852 h 526509"/>
                                <a:gd name="connsiteX5" fmla="*/ 265431 w 273634"/>
                                <a:gd name="connsiteY5" fmla="*/ 121446 h 526509"/>
                                <a:gd name="connsiteX6" fmla="*/ 253555 w 273634"/>
                                <a:gd name="connsiteY6" fmla="*/ 62069 h 526509"/>
                                <a:gd name="connsiteX7" fmla="*/ 199480 w 273634"/>
                                <a:gd name="connsiteY7" fmla="*/ 0 h 526509"/>
                                <a:gd name="connsiteX8" fmla="*/ 132894 w 273634"/>
                                <a:gd name="connsiteY8" fmla="*/ 31907 h 526509"/>
                                <a:gd name="connsiteX0" fmla="*/ 132894 w 272135"/>
                                <a:gd name="connsiteY0" fmla="*/ 31907 h 526509"/>
                                <a:gd name="connsiteX1" fmla="*/ 60777 w 272135"/>
                                <a:gd name="connsiteY1" fmla="*/ 236087 h 526509"/>
                                <a:gd name="connsiteX2" fmla="*/ 567 w 272135"/>
                                <a:gd name="connsiteY2" fmla="*/ 502566 h 526509"/>
                                <a:gd name="connsiteX3" fmla="*/ 56743 w 272135"/>
                                <a:gd name="connsiteY3" fmla="*/ 494000 h 526509"/>
                                <a:gd name="connsiteX4" fmla="*/ 135298 w 272135"/>
                                <a:gd name="connsiteY4" fmla="*/ 300852 h 526509"/>
                                <a:gd name="connsiteX5" fmla="*/ 155722 w 272135"/>
                                <a:gd name="connsiteY5" fmla="*/ 204278 h 526509"/>
                                <a:gd name="connsiteX6" fmla="*/ 265431 w 272135"/>
                                <a:gd name="connsiteY6" fmla="*/ 121446 h 526509"/>
                                <a:gd name="connsiteX7" fmla="*/ 253555 w 272135"/>
                                <a:gd name="connsiteY7" fmla="*/ 62069 h 526509"/>
                                <a:gd name="connsiteX8" fmla="*/ 199480 w 272135"/>
                                <a:gd name="connsiteY8" fmla="*/ 0 h 526509"/>
                                <a:gd name="connsiteX9" fmla="*/ 132894 w 272135"/>
                                <a:gd name="connsiteY9" fmla="*/ 31907 h 526509"/>
                                <a:gd name="connsiteX0" fmla="*/ 132894 w 268027"/>
                                <a:gd name="connsiteY0" fmla="*/ 31907 h 526509"/>
                                <a:gd name="connsiteX1" fmla="*/ 60777 w 268027"/>
                                <a:gd name="connsiteY1" fmla="*/ 236087 h 526509"/>
                                <a:gd name="connsiteX2" fmla="*/ 567 w 268027"/>
                                <a:gd name="connsiteY2" fmla="*/ 502566 h 526509"/>
                                <a:gd name="connsiteX3" fmla="*/ 56743 w 268027"/>
                                <a:gd name="connsiteY3" fmla="*/ 494000 h 526509"/>
                                <a:gd name="connsiteX4" fmla="*/ 135298 w 268027"/>
                                <a:gd name="connsiteY4" fmla="*/ 300852 h 526509"/>
                                <a:gd name="connsiteX5" fmla="*/ 155722 w 268027"/>
                                <a:gd name="connsiteY5" fmla="*/ 204278 h 526509"/>
                                <a:gd name="connsiteX6" fmla="*/ 212281 w 268027"/>
                                <a:gd name="connsiteY6" fmla="*/ 147211 h 526509"/>
                                <a:gd name="connsiteX7" fmla="*/ 265431 w 268027"/>
                                <a:gd name="connsiteY7" fmla="*/ 121446 h 526509"/>
                                <a:gd name="connsiteX8" fmla="*/ 253555 w 268027"/>
                                <a:gd name="connsiteY8" fmla="*/ 62069 h 526509"/>
                                <a:gd name="connsiteX9" fmla="*/ 199480 w 268027"/>
                                <a:gd name="connsiteY9" fmla="*/ 0 h 526509"/>
                                <a:gd name="connsiteX10" fmla="*/ 132894 w 268027"/>
                                <a:gd name="connsiteY10" fmla="*/ 31907 h 526509"/>
                                <a:gd name="connsiteX0" fmla="*/ 132894 w 319648"/>
                                <a:gd name="connsiteY0" fmla="*/ 31907 h 526509"/>
                                <a:gd name="connsiteX1" fmla="*/ 60777 w 319648"/>
                                <a:gd name="connsiteY1" fmla="*/ 236087 h 526509"/>
                                <a:gd name="connsiteX2" fmla="*/ 567 w 319648"/>
                                <a:gd name="connsiteY2" fmla="*/ 502566 h 526509"/>
                                <a:gd name="connsiteX3" fmla="*/ 56743 w 319648"/>
                                <a:gd name="connsiteY3" fmla="*/ 494000 h 526509"/>
                                <a:gd name="connsiteX4" fmla="*/ 135298 w 319648"/>
                                <a:gd name="connsiteY4" fmla="*/ 300852 h 526509"/>
                                <a:gd name="connsiteX5" fmla="*/ 155722 w 319648"/>
                                <a:gd name="connsiteY5" fmla="*/ 204278 h 526509"/>
                                <a:gd name="connsiteX6" fmla="*/ 212281 w 319648"/>
                                <a:gd name="connsiteY6" fmla="*/ 147211 h 526509"/>
                                <a:gd name="connsiteX7" fmla="*/ 265431 w 319648"/>
                                <a:gd name="connsiteY7" fmla="*/ 121446 h 526509"/>
                                <a:gd name="connsiteX8" fmla="*/ 317970 w 319648"/>
                                <a:gd name="connsiteY8" fmla="*/ 35731 h 526509"/>
                                <a:gd name="connsiteX9" fmla="*/ 199480 w 319648"/>
                                <a:gd name="connsiteY9" fmla="*/ 0 h 526509"/>
                                <a:gd name="connsiteX10" fmla="*/ 132894 w 319648"/>
                                <a:gd name="connsiteY10" fmla="*/ 31907 h 526509"/>
                                <a:gd name="connsiteX0" fmla="*/ 132894 w 347624"/>
                                <a:gd name="connsiteY0" fmla="*/ 150485 h 645087"/>
                                <a:gd name="connsiteX1" fmla="*/ 60777 w 347624"/>
                                <a:gd name="connsiteY1" fmla="*/ 354665 h 645087"/>
                                <a:gd name="connsiteX2" fmla="*/ 567 w 347624"/>
                                <a:gd name="connsiteY2" fmla="*/ 621144 h 645087"/>
                                <a:gd name="connsiteX3" fmla="*/ 56743 w 347624"/>
                                <a:gd name="connsiteY3" fmla="*/ 612578 h 645087"/>
                                <a:gd name="connsiteX4" fmla="*/ 135298 w 347624"/>
                                <a:gd name="connsiteY4" fmla="*/ 419430 h 645087"/>
                                <a:gd name="connsiteX5" fmla="*/ 155722 w 347624"/>
                                <a:gd name="connsiteY5" fmla="*/ 322856 h 645087"/>
                                <a:gd name="connsiteX6" fmla="*/ 212281 w 347624"/>
                                <a:gd name="connsiteY6" fmla="*/ 265789 h 645087"/>
                                <a:gd name="connsiteX7" fmla="*/ 265431 w 347624"/>
                                <a:gd name="connsiteY7" fmla="*/ 240024 h 645087"/>
                                <a:gd name="connsiteX8" fmla="*/ 317970 w 347624"/>
                                <a:gd name="connsiteY8" fmla="*/ 154309 h 645087"/>
                                <a:gd name="connsiteX9" fmla="*/ 341111 w 347624"/>
                                <a:gd name="connsiteY9" fmla="*/ 211 h 645087"/>
                                <a:gd name="connsiteX10" fmla="*/ 199480 w 347624"/>
                                <a:gd name="connsiteY10" fmla="*/ 118578 h 645087"/>
                                <a:gd name="connsiteX11" fmla="*/ 132894 w 347624"/>
                                <a:gd name="connsiteY11" fmla="*/ 150485 h 645087"/>
                                <a:gd name="connsiteX0" fmla="*/ 132894 w 347624"/>
                                <a:gd name="connsiteY0" fmla="*/ 150649 h 645251"/>
                                <a:gd name="connsiteX1" fmla="*/ 60777 w 347624"/>
                                <a:gd name="connsiteY1" fmla="*/ 354829 h 645251"/>
                                <a:gd name="connsiteX2" fmla="*/ 567 w 347624"/>
                                <a:gd name="connsiteY2" fmla="*/ 621308 h 645251"/>
                                <a:gd name="connsiteX3" fmla="*/ 56743 w 347624"/>
                                <a:gd name="connsiteY3" fmla="*/ 612742 h 645251"/>
                                <a:gd name="connsiteX4" fmla="*/ 135298 w 347624"/>
                                <a:gd name="connsiteY4" fmla="*/ 419594 h 645251"/>
                                <a:gd name="connsiteX5" fmla="*/ 155722 w 347624"/>
                                <a:gd name="connsiteY5" fmla="*/ 323020 h 645251"/>
                                <a:gd name="connsiteX6" fmla="*/ 212281 w 347624"/>
                                <a:gd name="connsiteY6" fmla="*/ 265953 h 645251"/>
                                <a:gd name="connsiteX7" fmla="*/ 265431 w 347624"/>
                                <a:gd name="connsiteY7" fmla="*/ 240188 h 645251"/>
                                <a:gd name="connsiteX8" fmla="*/ 317970 w 347624"/>
                                <a:gd name="connsiteY8" fmla="*/ 154473 h 645251"/>
                                <a:gd name="connsiteX9" fmla="*/ 341111 w 347624"/>
                                <a:gd name="connsiteY9" fmla="*/ 375 h 645251"/>
                                <a:gd name="connsiteX10" fmla="*/ 185340 w 347624"/>
                                <a:gd name="connsiteY10" fmla="*/ 63870 h 645251"/>
                                <a:gd name="connsiteX11" fmla="*/ 132894 w 347624"/>
                                <a:gd name="connsiteY11" fmla="*/ 150649 h 645251"/>
                                <a:gd name="connsiteX0" fmla="*/ 131323 w 347624"/>
                                <a:gd name="connsiteY0" fmla="*/ 65049 h 645251"/>
                                <a:gd name="connsiteX1" fmla="*/ 60777 w 347624"/>
                                <a:gd name="connsiteY1" fmla="*/ 354829 h 645251"/>
                                <a:gd name="connsiteX2" fmla="*/ 567 w 347624"/>
                                <a:gd name="connsiteY2" fmla="*/ 621308 h 645251"/>
                                <a:gd name="connsiteX3" fmla="*/ 56743 w 347624"/>
                                <a:gd name="connsiteY3" fmla="*/ 612742 h 645251"/>
                                <a:gd name="connsiteX4" fmla="*/ 135298 w 347624"/>
                                <a:gd name="connsiteY4" fmla="*/ 419594 h 645251"/>
                                <a:gd name="connsiteX5" fmla="*/ 155722 w 347624"/>
                                <a:gd name="connsiteY5" fmla="*/ 323020 h 645251"/>
                                <a:gd name="connsiteX6" fmla="*/ 212281 w 347624"/>
                                <a:gd name="connsiteY6" fmla="*/ 265953 h 645251"/>
                                <a:gd name="connsiteX7" fmla="*/ 265431 w 347624"/>
                                <a:gd name="connsiteY7" fmla="*/ 240188 h 645251"/>
                                <a:gd name="connsiteX8" fmla="*/ 317970 w 347624"/>
                                <a:gd name="connsiteY8" fmla="*/ 154473 h 645251"/>
                                <a:gd name="connsiteX9" fmla="*/ 341111 w 347624"/>
                                <a:gd name="connsiteY9" fmla="*/ 375 h 645251"/>
                                <a:gd name="connsiteX10" fmla="*/ 185340 w 347624"/>
                                <a:gd name="connsiteY10" fmla="*/ 63870 h 645251"/>
                                <a:gd name="connsiteX11" fmla="*/ 131323 w 347624"/>
                                <a:gd name="connsiteY11" fmla="*/ 65049 h 645251"/>
                                <a:gd name="connsiteX0" fmla="*/ 131323 w 347624"/>
                                <a:gd name="connsiteY0" fmla="*/ 65272 h 645474"/>
                                <a:gd name="connsiteX1" fmla="*/ 60777 w 347624"/>
                                <a:gd name="connsiteY1" fmla="*/ 355052 h 645474"/>
                                <a:gd name="connsiteX2" fmla="*/ 567 w 347624"/>
                                <a:gd name="connsiteY2" fmla="*/ 621531 h 645474"/>
                                <a:gd name="connsiteX3" fmla="*/ 56743 w 347624"/>
                                <a:gd name="connsiteY3" fmla="*/ 612965 h 645474"/>
                                <a:gd name="connsiteX4" fmla="*/ 135298 w 347624"/>
                                <a:gd name="connsiteY4" fmla="*/ 419817 h 645474"/>
                                <a:gd name="connsiteX5" fmla="*/ 155722 w 347624"/>
                                <a:gd name="connsiteY5" fmla="*/ 323243 h 645474"/>
                                <a:gd name="connsiteX6" fmla="*/ 212281 w 347624"/>
                                <a:gd name="connsiteY6" fmla="*/ 266176 h 645474"/>
                                <a:gd name="connsiteX7" fmla="*/ 265431 w 347624"/>
                                <a:gd name="connsiteY7" fmla="*/ 240411 h 645474"/>
                                <a:gd name="connsiteX8" fmla="*/ 317970 w 347624"/>
                                <a:gd name="connsiteY8" fmla="*/ 154696 h 645474"/>
                                <a:gd name="connsiteX9" fmla="*/ 341111 w 347624"/>
                                <a:gd name="connsiteY9" fmla="*/ 598 h 645474"/>
                                <a:gd name="connsiteX10" fmla="*/ 185340 w 347624"/>
                                <a:gd name="connsiteY10" fmla="*/ 37754 h 645474"/>
                                <a:gd name="connsiteX11" fmla="*/ 131323 w 347624"/>
                                <a:gd name="connsiteY11" fmla="*/ 65272 h 645474"/>
                                <a:gd name="connsiteX0" fmla="*/ 131323 w 415405"/>
                                <a:gd name="connsiteY0" fmla="*/ 65272 h 645474"/>
                                <a:gd name="connsiteX1" fmla="*/ 60777 w 415405"/>
                                <a:gd name="connsiteY1" fmla="*/ 355052 h 645474"/>
                                <a:gd name="connsiteX2" fmla="*/ 567 w 415405"/>
                                <a:gd name="connsiteY2" fmla="*/ 621531 h 645474"/>
                                <a:gd name="connsiteX3" fmla="*/ 56743 w 415405"/>
                                <a:gd name="connsiteY3" fmla="*/ 612965 h 645474"/>
                                <a:gd name="connsiteX4" fmla="*/ 135298 w 415405"/>
                                <a:gd name="connsiteY4" fmla="*/ 419817 h 645474"/>
                                <a:gd name="connsiteX5" fmla="*/ 155722 w 415405"/>
                                <a:gd name="connsiteY5" fmla="*/ 323243 h 645474"/>
                                <a:gd name="connsiteX6" fmla="*/ 212281 w 415405"/>
                                <a:gd name="connsiteY6" fmla="*/ 266176 h 645474"/>
                                <a:gd name="connsiteX7" fmla="*/ 265431 w 415405"/>
                                <a:gd name="connsiteY7" fmla="*/ 240411 h 645474"/>
                                <a:gd name="connsiteX8" fmla="*/ 413807 w 415405"/>
                                <a:gd name="connsiteY8" fmla="*/ 159086 h 645474"/>
                                <a:gd name="connsiteX9" fmla="*/ 341111 w 415405"/>
                                <a:gd name="connsiteY9" fmla="*/ 598 h 645474"/>
                                <a:gd name="connsiteX10" fmla="*/ 185340 w 415405"/>
                                <a:gd name="connsiteY10" fmla="*/ 37754 h 645474"/>
                                <a:gd name="connsiteX11" fmla="*/ 131323 w 415405"/>
                                <a:gd name="connsiteY11" fmla="*/ 65272 h 645474"/>
                                <a:gd name="connsiteX0" fmla="*/ 131323 w 415405"/>
                                <a:gd name="connsiteY0" fmla="*/ 65272 h 645474"/>
                                <a:gd name="connsiteX1" fmla="*/ 86594 w 415405"/>
                                <a:gd name="connsiteY1" fmla="*/ 165213 h 645474"/>
                                <a:gd name="connsiteX2" fmla="*/ 60777 w 415405"/>
                                <a:gd name="connsiteY2" fmla="*/ 355052 h 645474"/>
                                <a:gd name="connsiteX3" fmla="*/ 567 w 415405"/>
                                <a:gd name="connsiteY3" fmla="*/ 621531 h 645474"/>
                                <a:gd name="connsiteX4" fmla="*/ 56743 w 415405"/>
                                <a:gd name="connsiteY4" fmla="*/ 612965 h 645474"/>
                                <a:gd name="connsiteX5" fmla="*/ 135298 w 415405"/>
                                <a:gd name="connsiteY5" fmla="*/ 419817 h 645474"/>
                                <a:gd name="connsiteX6" fmla="*/ 155722 w 415405"/>
                                <a:gd name="connsiteY6" fmla="*/ 323243 h 645474"/>
                                <a:gd name="connsiteX7" fmla="*/ 212281 w 415405"/>
                                <a:gd name="connsiteY7" fmla="*/ 266176 h 645474"/>
                                <a:gd name="connsiteX8" fmla="*/ 265431 w 415405"/>
                                <a:gd name="connsiteY8" fmla="*/ 240411 h 645474"/>
                                <a:gd name="connsiteX9" fmla="*/ 413807 w 415405"/>
                                <a:gd name="connsiteY9" fmla="*/ 159086 h 645474"/>
                                <a:gd name="connsiteX10" fmla="*/ 341111 w 415405"/>
                                <a:gd name="connsiteY10" fmla="*/ 598 h 645474"/>
                                <a:gd name="connsiteX11" fmla="*/ 185340 w 415405"/>
                                <a:gd name="connsiteY11" fmla="*/ 37754 h 645474"/>
                                <a:gd name="connsiteX12" fmla="*/ 131323 w 415405"/>
                                <a:gd name="connsiteY12" fmla="*/ 65272 h 645474"/>
                                <a:gd name="connsiteX0" fmla="*/ 131323 w 415538"/>
                                <a:gd name="connsiteY0" fmla="*/ 67515 h 647717"/>
                                <a:gd name="connsiteX1" fmla="*/ 86594 w 415538"/>
                                <a:gd name="connsiteY1" fmla="*/ 167456 h 647717"/>
                                <a:gd name="connsiteX2" fmla="*/ 60777 w 415538"/>
                                <a:gd name="connsiteY2" fmla="*/ 357295 h 647717"/>
                                <a:gd name="connsiteX3" fmla="*/ 567 w 415538"/>
                                <a:gd name="connsiteY3" fmla="*/ 623774 h 647717"/>
                                <a:gd name="connsiteX4" fmla="*/ 56743 w 415538"/>
                                <a:gd name="connsiteY4" fmla="*/ 615208 h 647717"/>
                                <a:gd name="connsiteX5" fmla="*/ 135298 w 415538"/>
                                <a:gd name="connsiteY5" fmla="*/ 422060 h 647717"/>
                                <a:gd name="connsiteX6" fmla="*/ 155722 w 415538"/>
                                <a:gd name="connsiteY6" fmla="*/ 325486 h 647717"/>
                                <a:gd name="connsiteX7" fmla="*/ 212281 w 415538"/>
                                <a:gd name="connsiteY7" fmla="*/ 268419 h 647717"/>
                                <a:gd name="connsiteX8" fmla="*/ 265431 w 415538"/>
                                <a:gd name="connsiteY8" fmla="*/ 242654 h 647717"/>
                                <a:gd name="connsiteX9" fmla="*/ 413807 w 415538"/>
                                <a:gd name="connsiteY9" fmla="*/ 161329 h 647717"/>
                                <a:gd name="connsiteX10" fmla="*/ 341111 w 415538"/>
                                <a:gd name="connsiteY10" fmla="*/ 2841 h 647717"/>
                                <a:gd name="connsiteX11" fmla="*/ 267269 w 415538"/>
                                <a:gd name="connsiteY11" fmla="*/ 119169 h 647717"/>
                                <a:gd name="connsiteX12" fmla="*/ 185340 w 415538"/>
                                <a:gd name="connsiteY12" fmla="*/ 39997 h 647717"/>
                                <a:gd name="connsiteX13" fmla="*/ 131323 w 415538"/>
                                <a:gd name="connsiteY13" fmla="*/ 67515 h 647717"/>
                                <a:gd name="connsiteX0" fmla="*/ 131323 w 417269"/>
                                <a:gd name="connsiteY0" fmla="*/ 64920 h 645122"/>
                                <a:gd name="connsiteX1" fmla="*/ 86594 w 417269"/>
                                <a:gd name="connsiteY1" fmla="*/ 164861 h 645122"/>
                                <a:gd name="connsiteX2" fmla="*/ 60777 w 417269"/>
                                <a:gd name="connsiteY2" fmla="*/ 354700 h 645122"/>
                                <a:gd name="connsiteX3" fmla="*/ 567 w 417269"/>
                                <a:gd name="connsiteY3" fmla="*/ 621179 h 645122"/>
                                <a:gd name="connsiteX4" fmla="*/ 56743 w 417269"/>
                                <a:gd name="connsiteY4" fmla="*/ 612613 h 645122"/>
                                <a:gd name="connsiteX5" fmla="*/ 135298 w 417269"/>
                                <a:gd name="connsiteY5" fmla="*/ 419465 h 645122"/>
                                <a:gd name="connsiteX6" fmla="*/ 155722 w 417269"/>
                                <a:gd name="connsiteY6" fmla="*/ 322891 h 645122"/>
                                <a:gd name="connsiteX7" fmla="*/ 212281 w 417269"/>
                                <a:gd name="connsiteY7" fmla="*/ 265824 h 645122"/>
                                <a:gd name="connsiteX8" fmla="*/ 265431 w 417269"/>
                                <a:gd name="connsiteY8" fmla="*/ 240059 h 645122"/>
                                <a:gd name="connsiteX9" fmla="*/ 413807 w 417269"/>
                                <a:gd name="connsiteY9" fmla="*/ 158734 h 645122"/>
                                <a:gd name="connsiteX10" fmla="*/ 367819 w 417269"/>
                                <a:gd name="connsiteY10" fmla="*/ 134133 h 645122"/>
                                <a:gd name="connsiteX11" fmla="*/ 341111 w 417269"/>
                                <a:gd name="connsiteY11" fmla="*/ 246 h 645122"/>
                                <a:gd name="connsiteX12" fmla="*/ 267269 w 417269"/>
                                <a:gd name="connsiteY12" fmla="*/ 116574 h 645122"/>
                                <a:gd name="connsiteX13" fmla="*/ 185340 w 417269"/>
                                <a:gd name="connsiteY13" fmla="*/ 37402 h 645122"/>
                                <a:gd name="connsiteX14" fmla="*/ 131323 w 417269"/>
                                <a:gd name="connsiteY14" fmla="*/ 64920 h 645122"/>
                                <a:gd name="connsiteX0" fmla="*/ 131323 w 418757"/>
                                <a:gd name="connsiteY0" fmla="*/ 64920 h 645122"/>
                                <a:gd name="connsiteX1" fmla="*/ 86594 w 418757"/>
                                <a:gd name="connsiteY1" fmla="*/ 164861 h 645122"/>
                                <a:gd name="connsiteX2" fmla="*/ 60777 w 418757"/>
                                <a:gd name="connsiteY2" fmla="*/ 354700 h 645122"/>
                                <a:gd name="connsiteX3" fmla="*/ 567 w 418757"/>
                                <a:gd name="connsiteY3" fmla="*/ 621179 h 645122"/>
                                <a:gd name="connsiteX4" fmla="*/ 56743 w 418757"/>
                                <a:gd name="connsiteY4" fmla="*/ 612613 h 645122"/>
                                <a:gd name="connsiteX5" fmla="*/ 135298 w 418757"/>
                                <a:gd name="connsiteY5" fmla="*/ 419465 h 645122"/>
                                <a:gd name="connsiteX6" fmla="*/ 155722 w 418757"/>
                                <a:gd name="connsiteY6" fmla="*/ 322891 h 645122"/>
                                <a:gd name="connsiteX7" fmla="*/ 212281 w 418757"/>
                                <a:gd name="connsiteY7" fmla="*/ 265824 h 645122"/>
                                <a:gd name="connsiteX8" fmla="*/ 265431 w 418757"/>
                                <a:gd name="connsiteY8" fmla="*/ 240059 h 645122"/>
                                <a:gd name="connsiteX9" fmla="*/ 415378 w 418757"/>
                                <a:gd name="connsiteY9" fmla="*/ 182878 h 645122"/>
                                <a:gd name="connsiteX10" fmla="*/ 367819 w 418757"/>
                                <a:gd name="connsiteY10" fmla="*/ 134133 h 645122"/>
                                <a:gd name="connsiteX11" fmla="*/ 341111 w 418757"/>
                                <a:gd name="connsiteY11" fmla="*/ 246 h 645122"/>
                                <a:gd name="connsiteX12" fmla="*/ 267269 w 418757"/>
                                <a:gd name="connsiteY12" fmla="*/ 116574 h 645122"/>
                                <a:gd name="connsiteX13" fmla="*/ 185340 w 418757"/>
                                <a:gd name="connsiteY13" fmla="*/ 37402 h 645122"/>
                                <a:gd name="connsiteX14" fmla="*/ 131323 w 418757"/>
                                <a:gd name="connsiteY14" fmla="*/ 64920 h 645122"/>
                                <a:gd name="connsiteX0" fmla="*/ 131209 w 418643"/>
                                <a:gd name="connsiteY0" fmla="*/ 64920 h 641858"/>
                                <a:gd name="connsiteX1" fmla="*/ 86480 w 418643"/>
                                <a:gd name="connsiteY1" fmla="*/ 164861 h 641858"/>
                                <a:gd name="connsiteX2" fmla="*/ 60663 w 418643"/>
                                <a:gd name="connsiteY2" fmla="*/ 354700 h 641858"/>
                                <a:gd name="connsiteX3" fmla="*/ 453 w 418643"/>
                                <a:gd name="connsiteY3" fmla="*/ 621179 h 641858"/>
                                <a:gd name="connsiteX4" fmla="*/ 56629 w 418643"/>
                                <a:gd name="connsiteY4" fmla="*/ 612613 h 641858"/>
                                <a:gd name="connsiteX5" fmla="*/ 119472 w 418643"/>
                                <a:gd name="connsiteY5" fmla="*/ 529209 h 641858"/>
                                <a:gd name="connsiteX6" fmla="*/ 135184 w 418643"/>
                                <a:gd name="connsiteY6" fmla="*/ 419465 h 641858"/>
                                <a:gd name="connsiteX7" fmla="*/ 155608 w 418643"/>
                                <a:gd name="connsiteY7" fmla="*/ 322891 h 641858"/>
                                <a:gd name="connsiteX8" fmla="*/ 212167 w 418643"/>
                                <a:gd name="connsiteY8" fmla="*/ 265824 h 641858"/>
                                <a:gd name="connsiteX9" fmla="*/ 265317 w 418643"/>
                                <a:gd name="connsiteY9" fmla="*/ 240059 h 641858"/>
                                <a:gd name="connsiteX10" fmla="*/ 415264 w 418643"/>
                                <a:gd name="connsiteY10" fmla="*/ 182878 h 641858"/>
                                <a:gd name="connsiteX11" fmla="*/ 367705 w 418643"/>
                                <a:gd name="connsiteY11" fmla="*/ 134133 h 641858"/>
                                <a:gd name="connsiteX12" fmla="*/ 340997 w 418643"/>
                                <a:gd name="connsiteY12" fmla="*/ 246 h 641858"/>
                                <a:gd name="connsiteX13" fmla="*/ 267155 w 418643"/>
                                <a:gd name="connsiteY13" fmla="*/ 116574 h 641858"/>
                                <a:gd name="connsiteX14" fmla="*/ 185226 w 418643"/>
                                <a:gd name="connsiteY14" fmla="*/ 37402 h 641858"/>
                                <a:gd name="connsiteX15" fmla="*/ 131209 w 418643"/>
                                <a:gd name="connsiteY15" fmla="*/ 64920 h 641858"/>
                                <a:gd name="connsiteX0" fmla="*/ 131209 w 418643"/>
                                <a:gd name="connsiteY0" fmla="*/ 64920 h 641858"/>
                                <a:gd name="connsiteX1" fmla="*/ 90670 w 418643"/>
                                <a:gd name="connsiteY1" fmla="*/ 170714 h 641858"/>
                                <a:gd name="connsiteX2" fmla="*/ 60663 w 418643"/>
                                <a:gd name="connsiteY2" fmla="*/ 354700 h 641858"/>
                                <a:gd name="connsiteX3" fmla="*/ 453 w 418643"/>
                                <a:gd name="connsiteY3" fmla="*/ 621179 h 641858"/>
                                <a:gd name="connsiteX4" fmla="*/ 56629 w 418643"/>
                                <a:gd name="connsiteY4" fmla="*/ 612613 h 641858"/>
                                <a:gd name="connsiteX5" fmla="*/ 119472 w 418643"/>
                                <a:gd name="connsiteY5" fmla="*/ 529209 h 641858"/>
                                <a:gd name="connsiteX6" fmla="*/ 135184 w 418643"/>
                                <a:gd name="connsiteY6" fmla="*/ 419465 h 641858"/>
                                <a:gd name="connsiteX7" fmla="*/ 155608 w 418643"/>
                                <a:gd name="connsiteY7" fmla="*/ 322891 h 641858"/>
                                <a:gd name="connsiteX8" fmla="*/ 212167 w 418643"/>
                                <a:gd name="connsiteY8" fmla="*/ 265824 h 641858"/>
                                <a:gd name="connsiteX9" fmla="*/ 265317 w 418643"/>
                                <a:gd name="connsiteY9" fmla="*/ 240059 h 641858"/>
                                <a:gd name="connsiteX10" fmla="*/ 415264 w 418643"/>
                                <a:gd name="connsiteY10" fmla="*/ 182878 h 641858"/>
                                <a:gd name="connsiteX11" fmla="*/ 367705 w 418643"/>
                                <a:gd name="connsiteY11" fmla="*/ 134133 h 641858"/>
                                <a:gd name="connsiteX12" fmla="*/ 340997 w 418643"/>
                                <a:gd name="connsiteY12" fmla="*/ 246 h 641858"/>
                                <a:gd name="connsiteX13" fmla="*/ 267155 w 418643"/>
                                <a:gd name="connsiteY13" fmla="*/ 116574 h 641858"/>
                                <a:gd name="connsiteX14" fmla="*/ 185226 w 418643"/>
                                <a:gd name="connsiteY14" fmla="*/ 37402 h 641858"/>
                                <a:gd name="connsiteX15" fmla="*/ 131209 w 418643"/>
                                <a:gd name="connsiteY15" fmla="*/ 64920 h 641858"/>
                                <a:gd name="connsiteX0" fmla="*/ 131601 w 419035"/>
                                <a:gd name="connsiteY0" fmla="*/ 64920 h 642665"/>
                                <a:gd name="connsiteX1" fmla="*/ 91062 w 419035"/>
                                <a:gd name="connsiteY1" fmla="*/ 170714 h 642665"/>
                                <a:gd name="connsiteX2" fmla="*/ 102951 w 419035"/>
                                <a:gd name="connsiteY2" fmla="*/ 354700 h 642665"/>
                                <a:gd name="connsiteX3" fmla="*/ 845 w 419035"/>
                                <a:gd name="connsiteY3" fmla="*/ 621179 h 642665"/>
                                <a:gd name="connsiteX4" fmla="*/ 57021 w 419035"/>
                                <a:gd name="connsiteY4" fmla="*/ 612613 h 642665"/>
                                <a:gd name="connsiteX5" fmla="*/ 119864 w 419035"/>
                                <a:gd name="connsiteY5" fmla="*/ 529209 h 642665"/>
                                <a:gd name="connsiteX6" fmla="*/ 135576 w 419035"/>
                                <a:gd name="connsiteY6" fmla="*/ 419465 h 642665"/>
                                <a:gd name="connsiteX7" fmla="*/ 156000 w 419035"/>
                                <a:gd name="connsiteY7" fmla="*/ 322891 h 642665"/>
                                <a:gd name="connsiteX8" fmla="*/ 212559 w 419035"/>
                                <a:gd name="connsiteY8" fmla="*/ 265824 h 642665"/>
                                <a:gd name="connsiteX9" fmla="*/ 265709 w 419035"/>
                                <a:gd name="connsiteY9" fmla="*/ 240059 h 642665"/>
                                <a:gd name="connsiteX10" fmla="*/ 415656 w 419035"/>
                                <a:gd name="connsiteY10" fmla="*/ 182878 h 642665"/>
                                <a:gd name="connsiteX11" fmla="*/ 368097 w 419035"/>
                                <a:gd name="connsiteY11" fmla="*/ 134133 h 642665"/>
                                <a:gd name="connsiteX12" fmla="*/ 341389 w 419035"/>
                                <a:gd name="connsiteY12" fmla="*/ 246 h 642665"/>
                                <a:gd name="connsiteX13" fmla="*/ 267547 w 419035"/>
                                <a:gd name="connsiteY13" fmla="*/ 116574 h 642665"/>
                                <a:gd name="connsiteX14" fmla="*/ 185618 w 419035"/>
                                <a:gd name="connsiteY14" fmla="*/ 37402 h 642665"/>
                                <a:gd name="connsiteX15" fmla="*/ 131601 w 419035"/>
                                <a:gd name="connsiteY15" fmla="*/ 64920 h 642665"/>
                                <a:gd name="connsiteX0" fmla="*/ 95375 w 382809"/>
                                <a:gd name="connsiteY0" fmla="*/ 64920 h 615864"/>
                                <a:gd name="connsiteX1" fmla="*/ 54836 w 382809"/>
                                <a:gd name="connsiteY1" fmla="*/ 170714 h 615864"/>
                                <a:gd name="connsiteX2" fmla="*/ 66725 w 382809"/>
                                <a:gd name="connsiteY2" fmla="*/ 354700 h 615864"/>
                                <a:gd name="connsiteX3" fmla="*/ 2325 w 382809"/>
                                <a:gd name="connsiteY3" fmla="*/ 574355 h 615864"/>
                                <a:gd name="connsiteX4" fmla="*/ 20795 w 382809"/>
                                <a:gd name="connsiteY4" fmla="*/ 612613 h 615864"/>
                                <a:gd name="connsiteX5" fmla="*/ 83638 w 382809"/>
                                <a:gd name="connsiteY5" fmla="*/ 529209 h 615864"/>
                                <a:gd name="connsiteX6" fmla="*/ 99350 w 382809"/>
                                <a:gd name="connsiteY6" fmla="*/ 419465 h 615864"/>
                                <a:gd name="connsiteX7" fmla="*/ 119774 w 382809"/>
                                <a:gd name="connsiteY7" fmla="*/ 322891 h 615864"/>
                                <a:gd name="connsiteX8" fmla="*/ 176333 w 382809"/>
                                <a:gd name="connsiteY8" fmla="*/ 265824 h 615864"/>
                                <a:gd name="connsiteX9" fmla="*/ 229483 w 382809"/>
                                <a:gd name="connsiteY9" fmla="*/ 240059 h 615864"/>
                                <a:gd name="connsiteX10" fmla="*/ 379430 w 382809"/>
                                <a:gd name="connsiteY10" fmla="*/ 182878 h 615864"/>
                                <a:gd name="connsiteX11" fmla="*/ 331871 w 382809"/>
                                <a:gd name="connsiteY11" fmla="*/ 134133 h 615864"/>
                                <a:gd name="connsiteX12" fmla="*/ 305163 w 382809"/>
                                <a:gd name="connsiteY12" fmla="*/ 246 h 615864"/>
                                <a:gd name="connsiteX13" fmla="*/ 231321 w 382809"/>
                                <a:gd name="connsiteY13" fmla="*/ 116574 h 615864"/>
                                <a:gd name="connsiteX14" fmla="*/ 149392 w 382809"/>
                                <a:gd name="connsiteY14" fmla="*/ 37402 h 615864"/>
                                <a:gd name="connsiteX15" fmla="*/ 95375 w 382809"/>
                                <a:gd name="connsiteY15" fmla="*/ 64920 h 615864"/>
                                <a:gd name="connsiteX0" fmla="*/ 95375 w 382809"/>
                                <a:gd name="connsiteY0" fmla="*/ 64920 h 615864"/>
                                <a:gd name="connsiteX1" fmla="*/ 111317 w 382809"/>
                                <a:gd name="connsiteY1" fmla="*/ 196331 h 615864"/>
                                <a:gd name="connsiteX2" fmla="*/ 54836 w 382809"/>
                                <a:gd name="connsiteY2" fmla="*/ 170714 h 615864"/>
                                <a:gd name="connsiteX3" fmla="*/ 66725 w 382809"/>
                                <a:gd name="connsiteY3" fmla="*/ 354700 h 615864"/>
                                <a:gd name="connsiteX4" fmla="*/ 2325 w 382809"/>
                                <a:gd name="connsiteY4" fmla="*/ 574355 h 615864"/>
                                <a:gd name="connsiteX5" fmla="*/ 20795 w 382809"/>
                                <a:gd name="connsiteY5" fmla="*/ 612613 h 615864"/>
                                <a:gd name="connsiteX6" fmla="*/ 83638 w 382809"/>
                                <a:gd name="connsiteY6" fmla="*/ 529209 h 615864"/>
                                <a:gd name="connsiteX7" fmla="*/ 99350 w 382809"/>
                                <a:gd name="connsiteY7" fmla="*/ 419465 h 615864"/>
                                <a:gd name="connsiteX8" fmla="*/ 119774 w 382809"/>
                                <a:gd name="connsiteY8" fmla="*/ 322891 h 615864"/>
                                <a:gd name="connsiteX9" fmla="*/ 176333 w 382809"/>
                                <a:gd name="connsiteY9" fmla="*/ 265824 h 615864"/>
                                <a:gd name="connsiteX10" fmla="*/ 229483 w 382809"/>
                                <a:gd name="connsiteY10" fmla="*/ 240059 h 615864"/>
                                <a:gd name="connsiteX11" fmla="*/ 379430 w 382809"/>
                                <a:gd name="connsiteY11" fmla="*/ 182878 h 615864"/>
                                <a:gd name="connsiteX12" fmla="*/ 331871 w 382809"/>
                                <a:gd name="connsiteY12" fmla="*/ 134133 h 615864"/>
                                <a:gd name="connsiteX13" fmla="*/ 305163 w 382809"/>
                                <a:gd name="connsiteY13" fmla="*/ 246 h 615864"/>
                                <a:gd name="connsiteX14" fmla="*/ 231321 w 382809"/>
                                <a:gd name="connsiteY14" fmla="*/ 116574 h 615864"/>
                                <a:gd name="connsiteX15" fmla="*/ 149392 w 382809"/>
                                <a:gd name="connsiteY15" fmla="*/ 37402 h 615864"/>
                                <a:gd name="connsiteX16" fmla="*/ 95375 w 382809"/>
                                <a:gd name="connsiteY16" fmla="*/ 64920 h 615864"/>
                                <a:gd name="connsiteX0" fmla="*/ 141460 w 382809"/>
                                <a:gd name="connsiteY0" fmla="*/ 170274 h 615864"/>
                                <a:gd name="connsiteX1" fmla="*/ 111317 w 382809"/>
                                <a:gd name="connsiteY1" fmla="*/ 196331 h 615864"/>
                                <a:gd name="connsiteX2" fmla="*/ 54836 w 382809"/>
                                <a:gd name="connsiteY2" fmla="*/ 170714 h 615864"/>
                                <a:gd name="connsiteX3" fmla="*/ 66725 w 382809"/>
                                <a:gd name="connsiteY3" fmla="*/ 354700 h 615864"/>
                                <a:gd name="connsiteX4" fmla="*/ 2325 w 382809"/>
                                <a:gd name="connsiteY4" fmla="*/ 574355 h 615864"/>
                                <a:gd name="connsiteX5" fmla="*/ 20795 w 382809"/>
                                <a:gd name="connsiteY5" fmla="*/ 612613 h 615864"/>
                                <a:gd name="connsiteX6" fmla="*/ 83638 w 382809"/>
                                <a:gd name="connsiteY6" fmla="*/ 529209 h 615864"/>
                                <a:gd name="connsiteX7" fmla="*/ 99350 w 382809"/>
                                <a:gd name="connsiteY7" fmla="*/ 419465 h 615864"/>
                                <a:gd name="connsiteX8" fmla="*/ 119774 w 382809"/>
                                <a:gd name="connsiteY8" fmla="*/ 322891 h 615864"/>
                                <a:gd name="connsiteX9" fmla="*/ 176333 w 382809"/>
                                <a:gd name="connsiteY9" fmla="*/ 265824 h 615864"/>
                                <a:gd name="connsiteX10" fmla="*/ 229483 w 382809"/>
                                <a:gd name="connsiteY10" fmla="*/ 240059 h 615864"/>
                                <a:gd name="connsiteX11" fmla="*/ 379430 w 382809"/>
                                <a:gd name="connsiteY11" fmla="*/ 182878 h 615864"/>
                                <a:gd name="connsiteX12" fmla="*/ 331871 w 382809"/>
                                <a:gd name="connsiteY12" fmla="*/ 134133 h 615864"/>
                                <a:gd name="connsiteX13" fmla="*/ 305163 w 382809"/>
                                <a:gd name="connsiteY13" fmla="*/ 246 h 615864"/>
                                <a:gd name="connsiteX14" fmla="*/ 231321 w 382809"/>
                                <a:gd name="connsiteY14" fmla="*/ 116574 h 615864"/>
                                <a:gd name="connsiteX15" fmla="*/ 149392 w 382809"/>
                                <a:gd name="connsiteY15" fmla="*/ 37402 h 615864"/>
                                <a:gd name="connsiteX16" fmla="*/ 141460 w 382809"/>
                                <a:gd name="connsiteY16" fmla="*/ 170274 h 615864"/>
                                <a:gd name="connsiteX0" fmla="*/ 141460 w 382809"/>
                                <a:gd name="connsiteY0" fmla="*/ 170274 h 615864"/>
                                <a:gd name="connsiteX1" fmla="*/ 111317 w 382809"/>
                                <a:gd name="connsiteY1" fmla="*/ 196331 h 615864"/>
                                <a:gd name="connsiteX2" fmla="*/ 66725 w 382809"/>
                                <a:gd name="connsiteY2" fmla="*/ 354700 h 615864"/>
                                <a:gd name="connsiteX3" fmla="*/ 2325 w 382809"/>
                                <a:gd name="connsiteY3" fmla="*/ 574355 h 615864"/>
                                <a:gd name="connsiteX4" fmla="*/ 20795 w 382809"/>
                                <a:gd name="connsiteY4" fmla="*/ 612613 h 615864"/>
                                <a:gd name="connsiteX5" fmla="*/ 83638 w 382809"/>
                                <a:gd name="connsiteY5" fmla="*/ 529209 h 615864"/>
                                <a:gd name="connsiteX6" fmla="*/ 99350 w 382809"/>
                                <a:gd name="connsiteY6" fmla="*/ 419465 h 615864"/>
                                <a:gd name="connsiteX7" fmla="*/ 119774 w 382809"/>
                                <a:gd name="connsiteY7" fmla="*/ 322891 h 615864"/>
                                <a:gd name="connsiteX8" fmla="*/ 176333 w 382809"/>
                                <a:gd name="connsiteY8" fmla="*/ 265824 h 615864"/>
                                <a:gd name="connsiteX9" fmla="*/ 229483 w 382809"/>
                                <a:gd name="connsiteY9" fmla="*/ 240059 h 615864"/>
                                <a:gd name="connsiteX10" fmla="*/ 379430 w 382809"/>
                                <a:gd name="connsiteY10" fmla="*/ 182878 h 615864"/>
                                <a:gd name="connsiteX11" fmla="*/ 331871 w 382809"/>
                                <a:gd name="connsiteY11" fmla="*/ 134133 h 615864"/>
                                <a:gd name="connsiteX12" fmla="*/ 305163 w 382809"/>
                                <a:gd name="connsiteY12" fmla="*/ 246 h 615864"/>
                                <a:gd name="connsiteX13" fmla="*/ 231321 w 382809"/>
                                <a:gd name="connsiteY13" fmla="*/ 116574 h 615864"/>
                                <a:gd name="connsiteX14" fmla="*/ 149392 w 382809"/>
                                <a:gd name="connsiteY14" fmla="*/ 37402 h 615864"/>
                                <a:gd name="connsiteX15" fmla="*/ 141460 w 382809"/>
                                <a:gd name="connsiteY15" fmla="*/ 170274 h 615864"/>
                                <a:gd name="connsiteX0" fmla="*/ 141460 w 382809"/>
                                <a:gd name="connsiteY0" fmla="*/ 170274 h 615864"/>
                                <a:gd name="connsiteX1" fmla="*/ 111317 w 382809"/>
                                <a:gd name="connsiteY1" fmla="*/ 196331 h 615864"/>
                                <a:gd name="connsiteX2" fmla="*/ 66725 w 382809"/>
                                <a:gd name="connsiteY2" fmla="*/ 354700 h 615864"/>
                                <a:gd name="connsiteX3" fmla="*/ 2325 w 382809"/>
                                <a:gd name="connsiteY3" fmla="*/ 574355 h 615864"/>
                                <a:gd name="connsiteX4" fmla="*/ 20795 w 382809"/>
                                <a:gd name="connsiteY4" fmla="*/ 612613 h 615864"/>
                                <a:gd name="connsiteX5" fmla="*/ 83638 w 382809"/>
                                <a:gd name="connsiteY5" fmla="*/ 529209 h 615864"/>
                                <a:gd name="connsiteX6" fmla="*/ 99350 w 382809"/>
                                <a:gd name="connsiteY6" fmla="*/ 419465 h 615864"/>
                                <a:gd name="connsiteX7" fmla="*/ 119774 w 382809"/>
                                <a:gd name="connsiteY7" fmla="*/ 322891 h 615864"/>
                                <a:gd name="connsiteX8" fmla="*/ 176333 w 382809"/>
                                <a:gd name="connsiteY8" fmla="*/ 265824 h 615864"/>
                                <a:gd name="connsiteX9" fmla="*/ 229483 w 382809"/>
                                <a:gd name="connsiteY9" fmla="*/ 240059 h 615864"/>
                                <a:gd name="connsiteX10" fmla="*/ 379430 w 382809"/>
                                <a:gd name="connsiteY10" fmla="*/ 182878 h 615864"/>
                                <a:gd name="connsiteX11" fmla="*/ 331871 w 382809"/>
                                <a:gd name="connsiteY11" fmla="*/ 134133 h 615864"/>
                                <a:gd name="connsiteX12" fmla="*/ 305163 w 382809"/>
                                <a:gd name="connsiteY12" fmla="*/ 246 h 615864"/>
                                <a:gd name="connsiteX13" fmla="*/ 231321 w 382809"/>
                                <a:gd name="connsiteY13" fmla="*/ 116574 h 615864"/>
                                <a:gd name="connsiteX14" fmla="*/ 141460 w 382809"/>
                                <a:gd name="connsiteY14" fmla="*/ 170274 h 615864"/>
                                <a:gd name="connsiteX0" fmla="*/ 123701 w 365050"/>
                                <a:gd name="connsiteY0" fmla="*/ 170274 h 613328"/>
                                <a:gd name="connsiteX1" fmla="*/ 93558 w 365050"/>
                                <a:gd name="connsiteY1" fmla="*/ 196331 h 613328"/>
                                <a:gd name="connsiteX2" fmla="*/ 48966 w 365050"/>
                                <a:gd name="connsiteY2" fmla="*/ 354700 h 613328"/>
                                <a:gd name="connsiteX3" fmla="*/ 13893 w 365050"/>
                                <a:gd name="connsiteY3" fmla="*/ 556796 h 613328"/>
                                <a:gd name="connsiteX4" fmla="*/ 3036 w 365050"/>
                                <a:gd name="connsiteY4" fmla="*/ 612613 h 613328"/>
                                <a:gd name="connsiteX5" fmla="*/ 65879 w 365050"/>
                                <a:gd name="connsiteY5" fmla="*/ 529209 h 613328"/>
                                <a:gd name="connsiteX6" fmla="*/ 81591 w 365050"/>
                                <a:gd name="connsiteY6" fmla="*/ 419465 h 613328"/>
                                <a:gd name="connsiteX7" fmla="*/ 102015 w 365050"/>
                                <a:gd name="connsiteY7" fmla="*/ 322891 h 613328"/>
                                <a:gd name="connsiteX8" fmla="*/ 158574 w 365050"/>
                                <a:gd name="connsiteY8" fmla="*/ 265824 h 613328"/>
                                <a:gd name="connsiteX9" fmla="*/ 211724 w 365050"/>
                                <a:gd name="connsiteY9" fmla="*/ 240059 h 613328"/>
                                <a:gd name="connsiteX10" fmla="*/ 361671 w 365050"/>
                                <a:gd name="connsiteY10" fmla="*/ 182878 h 613328"/>
                                <a:gd name="connsiteX11" fmla="*/ 314112 w 365050"/>
                                <a:gd name="connsiteY11" fmla="*/ 134133 h 613328"/>
                                <a:gd name="connsiteX12" fmla="*/ 287404 w 365050"/>
                                <a:gd name="connsiteY12" fmla="*/ 246 h 613328"/>
                                <a:gd name="connsiteX13" fmla="*/ 213562 w 365050"/>
                                <a:gd name="connsiteY13" fmla="*/ 116574 h 613328"/>
                                <a:gd name="connsiteX14" fmla="*/ 123701 w 365050"/>
                                <a:gd name="connsiteY14" fmla="*/ 170274 h 613328"/>
                                <a:gd name="connsiteX0" fmla="*/ 124130 w 365479"/>
                                <a:gd name="connsiteY0" fmla="*/ 170274 h 613328"/>
                                <a:gd name="connsiteX1" fmla="*/ 93987 w 365479"/>
                                <a:gd name="connsiteY1" fmla="*/ 196331 h 613328"/>
                                <a:gd name="connsiteX2" fmla="*/ 66153 w 365479"/>
                                <a:gd name="connsiteY2" fmla="*/ 354700 h 613328"/>
                                <a:gd name="connsiteX3" fmla="*/ 14322 w 365479"/>
                                <a:gd name="connsiteY3" fmla="*/ 556796 h 613328"/>
                                <a:gd name="connsiteX4" fmla="*/ 3465 w 365479"/>
                                <a:gd name="connsiteY4" fmla="*/ 612613 h 613328"/>
                                <a:gd name="connsiteX5" fmla="*/ 66308 w 365479"/>
                                <a:gd name="connsiteY5" fmla="*/ 529209 h 613328"/>
                                <a:gd name="connsiteX6" fmla="*/ 82020 w 365479"/>
                                <a:gd name="connsiteY6" fmla="*/ 419465 h 613328"/>
                                <a:gd name="connsiteX7" fmla="*/ 102444 w 365479"/>
                                <a:gd name="connsiteY7" fmla="*/ 322891 h 613328"/>
                                <a:gd name="connsiteX8" fmla="*/ 159003 w 365479"/>
                                <a:gd name="connsiteY8" fmla="*/ 265824 h 613328"/>
                                <a:gd name="connsiteX9" fmla="*/ 212153 w 365479"/>
                                <a:gd name="connsiteY9" fmla="*/ 240059 h 613328"/>
                                <a:gd name="connsiteX10" fmla="*/ 362100 w 365479"/>
                                <a:gd name="connsiteY10" fmla="*/ 182878 h 613328"/>
                                <a:gd name="connsiteX11" fmla="*/ 314541 w 365479"/>
                                <a:gd name="connsiteY11" fmla="*/ 134133 h 613328"/>
                                <a:gd name="connsiteX12" fmla="*/ 287833 w 365479"/>
                                <a:gd name="connsiteY12" fmla="*/ 246 h 613328"/>
                                <a:gd name="connsiteX13" fmla="*/ 213991 w 365479"/>
                                <a:gd name="connsiteY13" fmla="*/ 116574 h 613328"/>
                                <a:gd name="connsiteX14" fmla="*/ 124130 w 365479"/>
                                <a:gd name="connsiteY14" fmla="*/ 170274 h 613328"/>
                                <a:gd name="connsiteX0" fmla="*/ 123667 w 365016"/>
                                <a:gd name="connsiteY0" fmla="*/ 170274 h 612987"/>
                                <a:gd name="connsiteX1" fmla="*/ 93524 w 365016"/>
                                <a:gd name="connsiteY1" fmla="*/ 196331 h 612987"/>
                                <a:gd name="connsiteX2" fmla="*/ 65690 w 365016"/>
                                <a:gd name="connsiteY2" fmla="*/ 354700 h 612987"/>
                                <a:gd name="connsiteX3" fmla="*/ 47438 w 365016"/>
                                <a:gd name="connsiteY3" fmla="*/ 483128 h 612987"/>
                                <a:gd name="connsiteX4" fmla="*/ 13859 w 365016"/>
                                <a:gd name="connsiteY4" fmla="*/ 556796 h 612987"/>
                                <a:gd name="connsiteX5" fmla="*/ 3002 w 365016"/>
                                <a:gd name="connsiteY5" fmla="*/ 612613 h 612987"/>
                                <a:gd name="connsiteX6" fmla="*/ 65845 w 365016"/>
                                <a:gd name="connsiteY6" fmla="*/ 529209 h 612987"/>
                                <a:gd name="connsiteX7" fmla="*/ 81557 w 365016"/>
                                <a:gd name="connsiteY7" fmla="*/ 419465 h 612987"/>
                                <a:gd name="connsiteX8" fmla="*/ 101981 w 365016"/>
                                <a:gd name="connsiteY8" fmla="*/ 322891 h 612987"/>
                                <a:gd name="connsiteX9" fmla="*/ 158540 w 365016"/>
                                <a:gd name="connsiteY9" fmla="*/ 265824 h 612987"/>
                                <a:gd name="connsiteX10" fmla="*/ 211690 w 365016"/>
                                <a:gd name="connsiteY10" fmla="*/ 240059 h 612987"/>
                                <a:gd name="connsiteX11" fmla="*/ 361637 w 365016"/>
                                <a:gd name="connsiteY11" fmla="*/ 182878 h 612987"/>
                                <a:gd name="connsiteX12" fmla="*/ 314078 w 365016"/>
                                <a:gd name="connsiteY12" fmla="*/ 134133 h 612987"/>
                                <a:gd name="connsiteX13" fmla="*/ 287370 w 365016"/>
                                <a:gd name="connsiteY13" fmla="*/ 246 h 612987"/>
                                <a:gd name="connsiteX14" fmla="*/ 213528 w 365016"/>
                                <a:gd name="connsiteY14" fmla="*/ 116574 h 612987"/>
                                <a:gd name="connsiteX15" fmla="*/ 123667 w 365016"/>
                                <a:gd name="connsiteY15" fmla="*/ 170274 h 612987"/>
                                <a:gd name="connsiteX0" fmla="*/ 123667 w 365016"/>
                                <a:gd name="connsiteY0" fmla="*/ 170274 h 612987"/>
                                <a:gd name="connsiteX1" fmla="*/ 93524 w 365016"/>
                                <a:gd name="connsiteY1" fmla="*/ 196331 h 612987"/>
                                <a:gd name="connsiteX2" fmla="*/ 65690 w 365016"/>
                                <a:gd name="connsiteY2" fmla="*/ 354700 h 612987"/>
                                <a:gd name="connsiteX3" fmla="*/ 47438 w 365016"/>
                                <a:gd name="connsiteY3" fmla="*/ 483128 h 612987"/>
                                <a:gd name="connsiteX4" fmla="*/ 13859 w 365016"/>
                                <a:gd name="connsiteY4" fmla="*/ 556796 h 612987"/>
                                <a:gd name="connsiteX5" fmla="*/ 3002 w 365016"/>
                                <a:gd name="connsiteY5" fmla="*/ 612613 h 612987"/>
                                <a:gd name="connsiteX6" fmla="*/ 65845 w 365016"/>
                                <a:gd name="connsiteY6" fmla="*/ 529209 h 612987"/>
                                <a:gd name="connsiteX7" fmla="*/ 102175 w 365016"/>
                                <a:gd name="connsiteY7" fmla="*/ 467670 h 612987"/>
                                <a:gd name="connsiteX8" fmla="*/ 81557 w 365016"/>
                                <a:gd name="connsiteY8" fmla="*/ 419465 h 612987"/>
                                <a:gd name="connsiteX9" fmla="*/ 101981 w 365016"/>
                                <a:gd name="connsiteY9" fmla="*/ 322891 h 612987"/>
                                <a:gd name="connsiteX10" fmla="*/ 158540 w 365016"/>
                                <a:gd name="connsiteY10" fmla="*/ 265824 h 612987"/>
                                <a:gd name="connsiteX11" fmla="*/ 211690 w 365016"/>
                                <a:gd name="connsiteY11" fmla="*/ 240059 h 612987"/>
                                <a:gd name="connsiteX12" fmla="*/ 361637 w 365016"/>
                                <a:gd name="connsiteY12" fmla="*/ 182878 h 612987"/>
                                <a:gd name="connsiteX13" fmla="*/ 314078 w 365016"/>
                                <a:gd name="connsiteY13" fmla="*/ 134133 h 612987"/>
                                <a:gd name="connsiteX14" fmla="*/ 287370 w 365016"/>
                                <a:gd name="connsiteY14" fmla="*/ 246 h 612987"/>
                                <a:gd name="connsiteX15" fmla="*/ 213528 w 365016"/>
                                <a:gd name="connsiteY15" fmla="*/ 116574 h 612987"/>
                                <a:gd name="connsiteX16" fmla="*/ 123667 w 365016"/>
                                <a:gd name="connsiteY16" fmla="*/ 170274 h 612987"/>
                                <a:gd name="connsiteX0" fmla="*/ 124269 w 365618"/>
                                <a:gd name="connsiteY0" fmla="*/ 170274 h 612996"/>
                                <a:gd name="connsiteX1" fmla="*/ 94126 w 365618"/>
                                <a:gd name="connsiteY1" fmla="*/ 196331 h 612996"/>
                                <a:gd name="connsiteX2" fmla="*/ 66292 w 365618"/>
                                <a:gd name="connsiteY2" fmla="*/ 354700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82159 w 365618"/>
                                <a:gd name="connsiteY8" fmla="*/ 419465 h 612996"/>
                                <a:gd name="connsiteX9" fmla="*/ 102583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214130 w 365618"/>
                                <a:gd name="connsiteY15" fmla="*/ 116574 h 612996"/>
                                <a:gd name="connsiteX16" fmla="*/ 124269 w 365618"/>
                                <a:gd name="connsiteY16" fmla="*/ 170274 h 612996"/>
                                <a:gd name="connsiteX0" fmla="*/ 124269 w 365618"/>
                                <a:gd name="connsiteY0" fmla="*/ 170274 h 612996"/>
                                <a:gd name="connsiteX1" fmla="*/ 94126 w 365618"/>
                                <a:gd name="connsiteY1" fmla="*/ 196331 h 612996"/>
                                <a:gd name="connsiteX2" fmla="*/ 66292 w 365618"/>
                                <a:gd name="connsiteY2" fmla="*/ 354700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02583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214130 w 365618"/>
                                <a:gd name="connsiteY15" fmla="*/ 116574 h 612996"/>
                                <a:gd name="connsiteX16" fmla="*/ 124269 w 365618"/>
                                <a:gd name="connsiteY16" fmla="*/ 170274 h 612996"/>
                                <a:gd name="connsiteX0" fmla="*/ 124269 w 365618"/>
                                <a:gd name="connsiteY0" fmla="*/ 170274 h 612996"/>
                                <a:gd name="connsiteX1" fmla="*/ 94126 w 365618"/>
                                <a:gd name="connsiteY1" fmla="*/ 196331 h 612996"/>
                                <a:gd name="connsiteX2" fmla="*/ 78861 w 365618"/>
                                <a:gd name="connsiteY2" fmla="*/ 357627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02583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214130 w 365618"/>
                                <a:gd name="connsiteY15" fmla="*/ 116574 h 612996"/>
                                <a:gd name="connsiteX16" fmla="*/ 124269 w 365618"/>
                                <a:gd name="connsiteY16" fmla="*/ 170274 h 612996"/>
                                <a:gd name="connsiteX0" fmla="*/ 124269 w 365618"/>
                                <a:gd name="connsiteY0" fmla="*/ 170274 h 612996"/>
                                <a:gd name="connsiteX1" fmla="*/ 94126 w 365618"/>
                                <a:gd name="connsiteY1" fmla="*/ 196331 h 612996"/>
                                <a:gd name="connsiteX2" fmla="*/ 78861 w 365618"/>
                                <a:gd name="connsiteY2" fmla="*/ 357627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15152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214130 w 365618"/>
                                <a:gd name="connsiteY15" fmla="*/ 116574 h 612996"/>
                                <a:gd name="connsiteX16" fmla="*/ 124269 w 365618"/>
                                <a:gd name="connsiteY16" fmla="*/ 170274 h 612996"/>
                                <a:gd name="connsiteX0" fmla="*/ 124269 w 365618"/>
                                <a:gd name="connsiteY0" fmla="*/ 170274 h 612996"/>
                                <a:gd name="connsiteX1" fmla="*/ 133927 w 365618"/>
                                <a:gd name="connsiteY1" fmla="*/ 237302 h 612996"/>
                                <a:gd name="connsiteX2" fmla="*/ 78861 w 365618"/>
                                <a:gd name="connsiteY2" fmla="*/ 357627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15152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214130 w 365618"/>
                                <a:gd name="connsiteY15" fmla="*/ 116574 h 612996"/>
                                <a:gd name="connsiteX16" fmla="*/ 124269 w 365618"/>
                                <a:gd name="connsiteY16" fmla="*/ 170274 h 612996"/>
                                <a:gd name="connsiteX0" fmla="*/ 124269 w 365618"/>
                                <a:gd name="connsiteY0" fmla="*/ 170274 h 612996"/>
                                <a:gd name="connsiteX1" fmla="*/ 133927 w 365618"/>
                                <a:gd name="connsiteY1" fmla="*/ 237302 h 612996"/>
                                <a:gd name="connsiteX2" fmla="*/ 78861 w 365618"/>
                                <a:gd name="connsiteY2" fmla="*/ 357627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15152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15" fmla="*/ 124269 w 365618"/>
                                <a:gd name="connsiteY15" fmla="*/ 170274 h 612996"/>
                                <a:gd name="connsiteX0" fmla="*/ 287972 w 365618"/>
                                <a:gd name="connsiteY0" fmla="*/ 246 h 612996"/>
                                <a:gd name="connsiteX1" fmla="*/ 133927 w 365618"/>
                                <a:gd name="connsiteY1" fmla="*/ 237302 h 612996"/>
                                <a:gd name="connsiteX2" fmla="*/ 78861 w 365618"/>
                                <a:gd name="connsiteY2" fmla="*/ 357627 h 612996"/>
                                <a:gd name="connsiteX3" fmla="*/ 71083 w 365618"/>
                                <a:gd name="connsiteY3" fmla="*/ 477275 h 612996"/>
                                <a:gd name="connsiteX4" fmla="*/ 14461 w 365618"/>
                                <a:gd name="connsiteY4" fmla="*/ 556796 h 612996"/>
                                <a:gd name="connsiteX5" fmla="*/ 3604 w 365618"/>
                                <a:gd name="connsiteY5" fmla="*/ 612613 h 612996"/>
                                <a:gd name="connsiteX6" fmla="*/ 66447 w 365618"/>
                                <a:gd name="connsiteY6" fmla="*/ 529209 h 612996"/>
                                <a:gd name="connsiteX7" fmla="*/ 102777 w 365618"/>
                                <a:gd name="connsiteY7" fmla="*/ 467670 h 612996"/>
                                <a:gd name="connsiteX8" fmla="*/ 101012 w 365618"/>
                                <a:gd name="connsiteY8" fmla="*/ 413612 h 612996"/>
                                <a:gd name="connsiteX9" fmla="*/ 115152 w 365618"/>
                                <a:gd name="connsiteY9" fmla="*/ 322891 h 612996"/>
                                <a:gd name="connsiteX10" fmla="*/ 159142 w 365618"/>
                                <a:gd name="connsiteY10" fmla="*/ 265824 h 612996"/>
                                <a:gd name="connsiteX11" fmla="*/ 212292 w 365618"/>
                                <a:gd name="connsiteY11" fmla="*/ 240059 h 612996"/>
                                <a:gd name="connsiteX12" fmla="*/ 362239 w 365618"/>
                                <a:gd name="connsiteY12" fmla="*/ 182878 h 612996"/>
                                <a:gd name="connsiteX13" fmla="*/ 314680 w 365618"/>
                                <a:gd name="connsiteY13" fmla="*/ 134133 h 612996"/>
                                <a:gd name="connsiteX14" fmla="*/ 287972 w 365618"/>
                                <a:gd name="connsiteY14" fmla="*/ 246 h 612996"/>
                                <a:gd name="connsiteX0" fmla="*/ 287972 w 365618"/>
                                <a:gd name="connsiteY0" fmla="*/ 125 h 612875"/>
                                <a:gd name="connsiteX1" fmla="*/ 228465 w 365618"/>
                                <a:gd name="connsiteY1" fmla="*/ 160268 h 612875"/>
                                <a:gd name="connsiteX2" fmla="*/ 133927 w 365618"/>
                                <a:gd name="connsiteY2" fmla="*/ 237181 h 612875"/>
                                <a:gd name="connsiteX3" fmla="*/ 78861 w 365618"/>
                                <a:gd name="connsiteY3" fmla="*/ 357506 h 612875"/>
                                <a:gd name="connsiteX4" fmla="*/ 71083 w 365618"/>
                                <a:gd name="connsiteY4" fmla="*/ 477154 h 612875"/>
                                <a:gd name="connsiteX5" fmla="*/ 14461 w 365618"/>
                                <a:gd name="connsiteY5" fmla="*/ 556675 h 612875"/>
                                <a:gd name="connsiteX6" fmla="*/ 3604 w 365618"/>
                                <a:gd name="connsiteY6" fmla="*/ 612492 h 612875"/>
                                <a:gd name="connsiteX7" fmla="*/ 66447 w 365618"/>
                                <a:gd name="connsiteY7" fmla="*/ 529088 h 612875"/>
                                <a:gd name="connsiteX8" fmla="*/ 102777 w 365618"/>
                                <a:gd name="connsiteY8" fmla="*/ 467549 h 612875"/>
                                <a:gd name="connsiteX9" fmla="*/ 101012 w 365618"/>
                                <a:gd name="connsiteY9" fmla="*/ 413491 h 612875"/>
                                <a:gd name="connsiteX10" fmla="*/ 115152 w 365618"/>
                                <a:gd name="connsiteY10" fmla="*/ 322770 h 612875"/>
                                <a:gd name="connsiteX11" fmla="*/ 159142 w 365618"/>
                                <a:gd name="connsiteY11" fmla="*/ 265703 h 612875"/>
                                <a:gd name="connsiteX12" fmla="*/ 212292 w 365618"/>
                                <a:gd name="connsiteY12" fmla="*/ 239938 h 612875"/>
                                <a:gd name="connsiteX13" fmla="*/ 362239 w 365618"/>
                                <a:gd name="connsiteY13" fmla="*/ 182757 h 612875"/>
                                <a:gd name="connsiteX14" fmla="*/ 314680 w 365618"/>
                                <a:gd name="connsiteY14" fmla="*/ 134012 h 612875"/>
                                <a:gd name="connsiteX15" fmla="*/ 287972 w 365618"/>
                                <a:gd name="connsiteY15" fmla="*/ 125 h 612875"/>
                                <a:gd name="connsiteX0" fmla="*/ 287972 w 442977"/>
                                <a:gd name="connsiteY0" fmla="*/ 117 h 612867"/>
                                <a:gd name="connsiteX1" fmla="*/ 228465 w 442977"/>
                                <a:gd name="connsiteY1" fmla="*/ 160260 h 612867"/>
                                <a:gd name="connsiteX2" fmla="*/ 133927 w 442977"/>
                                <a:gd name="connsiteY2" fmla="*/ 237173 h 612867"/>
                                <a:gd name="connsiteX3" fmla="*/ 78861 w 442977"/>
                                <a:gd name="connsiteY3" fmla="*/ 357498 h 612867"/>
                                <a:gd name="connsiteX4" fmla="*/ 71083 w 442977"/>
                                <a:gd name="connsiteY4" fmla="*/ 477146 h 612867"/>
                                <a:gd name="connsiteX5" fmla="*/ 14461 w 442977"/>
                                <a:gd name="connsiteY5" fmla="*/ 556667 h 612867"/>
                                <a:gd name="connsiteX6" fmla="*/ 3604 w 442977"/>
                                <a:gd name="connsiteY6" fmla="*/ 612484 h 612867"/>
                                <a:gd name="connsiteX7" fmla="*/ 66447 w 442977"/>
                                <a:gd name="connsiteY7" fmla="*/ 529080 h 612867"/>
                                <a:gd name="connsiteX8" fmla="*/ 102777 w 442977"/>
                                <a:gd name="connsiteY8" fmla="*/ 467541 h 612867"/>
                                <a:gd name="connsiteX9" fmla="*/ 101012 w 442977"/>
                                <a:gd name="connsiteY9" fmla="*/ 413483 h 612867"/>
                                <a:gd name="connsiteX10" fmla="*/ 115152 w 442977"/>
                                <a:gd name="connsiteY10" fmla="*/ 322762 h 612867"/>
                                <a:gd name="connsiteX11" fmla="*/ 159142 w 442977"/>
                                <a:gd name="connsiteY11" fmla="*/ 265695 h 612867"/>
                                <a:gd name="connsiteX12" fmla="*/ 212292 w 442977"/>
                                <a:gd name="connsiteY12" fmla="*/ 239930 h 612867"/>
                                <a:gd name="connsiteX13" fmla="*/ 362239 w 442977"/>
                                <a:gd name="connsiteY13" fmla="*/ 182749 h 612867"/>
                                <a:gd name="connsiteX14" fmla="*/ 442133 w 442977"/>
                                <a:gd name="connsiteY14" fmla="*/ 110509 h 612867"/>
                                <a:gd name="connsiteX15" fmla="*/ 314680 w 442977"/>
                                <a:gd name="connsiteY15" fmla="*/ 134004 h 612867"/>
                                <a:gd name="connsiteX16" fmla="*/ 287972 w 442977"/>
                                <a:gd name="connsiteY16" fmla="*/ 117 h 612867"/>
                                <a:gd name="connsiteX0" fmla="*/ 287972 w 442134"/>
                                <a:gd name="connsiteY0" fmla="*/ 124 h 612874"/>
                                <a:gd name="connsiteX1" fmla="*/ 228465 w 442134"/>
                                <a:gd name="connsiteY1" fmla="*/ 160267 h 612874"/>
                                <a:gd name="connsiteX2" fmla="*/ 133927 w 442134"/>
                                <a:gd name="connsiteY2" fmla="*/ 237180 h 612874"/>
                                <a:gd name="connsiteX3" fmla="*/ 78861 w 442134"/>
                                <a:gd name="connsiteY3" fmla="*/ 357505 h 612874"/>
                                <a:gd name="connsiteX4" fmla="*/ 71083 w 442134"/>
                                <a:gd name="connsiteY4" fmla="*/ 477153 h 612874"/>
                                <a:gd name="connsiteX5" fmla="*/ 14461 w 442134"/>
                                <a:gd name="connsiteY5" fmla="*/ 556674 h 612874"/>
                                <a:gd name="connsiteX6" fmla="*/ 3604 w 442134"/>
                                <a:gd name="connsiteY6" fmla="*/ 612491 h 612874"/>
                                <a:gd name="connsiteX7" fmla="*/ 66447 w 442134"/>
                                <a:gd name="connsiteY7" fmla="*/ 529087 h 612874"/>
                                <a:gd name="connsiteX8" fmla="*/ 102777 w 442134"/>
                                <a:gd name="connsiteY8" fmla="*/ 467548 h 612874"/>
                                <a:gd name="connsiteX9" fmla="*/ 101012 w 442134"/>
                                <a:gd name="connsiteY9" fmla="*/ 413490 h 612874"/>
                                <a:gd name="connsiteX10" fmla="*/ 115152 w 442134"/>
                                <a:gd name="connsiteY10" fmla="*/ 322769 h 612874"/>
                                <a:gd name="connsiteX11" fmla="*/ 159142 w 442134"/>
                                <a:gd name="connsiteY11" fmla="*/ 265702 h 612874"/>
                                <a:gd name="connsiteX12" fmla="*/ 212292 w 442134"/>
                                <a:gd name="connsiteY12" fmla="*/ 239937 h 612874"/>
                                <a:gd name="connsiteX13" fmla="*/ 362239 w 442134"/>
                                <a:gd name="connsiteY13" fmla="*/ 182756 h 612874"/>
                                <a:gd name="connsiteX14" fmla="*/ 442133 w 442134"/>
                                <a:gd name="connsiteY14" fmla="*/ 110516 h 612874"/>
                                <a:gd name="connsiteX15" fmla="*/ 362531 w 442134"/>
                                <a:gd name="connsiteY15" fmla="*/ 154413 h 612874"/>
                                <a:gd name="connsiteX16" fmla="*/ 314680 w 442134"/>
                                <a:gd name="connsiteY16" fmla="*/ 134011 h 612874"/>
                                <a:gd name="connsiteX17" fmla="*/ 287972 w 442134"/>
                                <a:gd name="connsiteY17" fmla="*/ 124 h 612874"/>
                                <a:gd name="connsiteX0" fmla="*/ 287972 w 469366"/>
                                <a:gd name="connsiteY0" fmla="*/ 124 h 612874"/>
                                <a:gd name="connsiteX1" fmla="*/ 228465 w 469366"/>
                                <a:gd name="connsiteY1" fmla="*/ 160267 h 612874"/>
                                <a:gd name="connsiteX2" fmla="*/ 133927 w 469366"/>
                                <a:gd name="connsiteY2" fmla="*/ 237180 h 612874"/>
                                <a:gd name="connsiteX3" fmla="*/ 78861 w 469366"/>
                                <a:gd name="connsiteY3" fmla="*/ 357505 h 612874"/>
                                <a:gd name="connsiteX4" fmla="*/ 71083 w 469366"/>
                                <a:gd name="connsiteY4" fmla="*/ 477153 h 612874"/>
                                <a:gd name="connsiteX5" fmla="*/ 14461 w 469366"/>
                                <a:gd name="connsiteY5" fmla="*/ 556674 h 612874"/>
                                <a:gd name="connsiteX6" fmla="*/ 3604 w 469366"/>
                                <a:gd name="connsiteY6" fmla="*/ 612491 h 612874"/>
                                <a:gd name="connsiteX7" fmla="*/ 66447 w 469366"/>
                                <a:gd name="connsiteY7" fmla="*/ 529087 h 612874"/>
                                <a:gd name="connsiteX8" fmla="*/ 102777 w 469366"/>
                                <a:gd name="connsiteY8" fmla="*/ 467548 h 612874"/>
                                <a:gd name="connsiteX9" fmla="*/ 101012 w 469366"/>
                                <a:gd name="connsiteY9" fmla="*/ 413490 h 612874"/>
                                <a:gd name="connsiteX10" fmla="*/ 115152 w 469366"/>
                                <a:gd name="connsiteY10" fmla="*/ 322769 h 612874"/>
                                <a:gd name="connsiteX11" fmla="*/ 159142 w 469366"/>
                                <a:gd name="connsiteY11" fmla="*/ 265702 h 612874"/>
                                <a:gd name="connsiteX12" fmla="*/ 212292 w 469366"/>
                                <a:gd name="connsiteY12" fmla="*/ 239937 h 612874"/>
                                <a:gd name="connsiteX13" fmla="*/ 362239 w 469366"/>
                                <a:gd name="connsiteY13" fmla="*/ 182756 h 612874"/>
                                <a:gd name="connsiteX14" fmla="*/ 469365 w 469366"/>
                                <a:gd name="connsiteY14" fmla="*/ 57839 h 612874"/>
                                <a:gd name="connsiteX15" fmla="*/ 362531 w 469366"/>
                                <a:gd name="connsiteY15" fmla="*/ 154413 h 612874"/>
                                <a:gd name="connsiteX16" fmla="*/ 314680 w 469366"/>
                                <a:gd name="connsiteY16" fmla="*/ 134011 h 612874"/>
                                <a:gd name="connsiteX17" fmla="*/ 287972 w 469366"/>
                                <a:gd name="connsiteY17" fmla="*/ 124 h 612874"/>
                                <a:gd name="connsiteX0" fmla="*/ 287972 w 494502"/>
                                <a:gd name="connsiteY0" fmla="*/ 124 h 612874"/>
                                <a:gd name="connsiteX1" fmla="*/ 228465 w 494502"/>
                                <a:gd name="connsiteY1" fmla="*/ 160267 h 612874"/>
                                <a:gd name="connsiteX2" fmla="*/ 133927 w 494502"/>
                                <a:gd name="connsiteY2" fmla="*/ 237180 h 612874"/>
                                <a:gd name="connsiteX3" fmla="*/ 78861 w 494502"/>
                                <a:gd name="connsiteY3" fmla="*/ 357505 h 612874"/>
                                <a:gd name="connsiteX4" fmla="*/ 71083 w 494502"/>
                                <a:gd name="connsiteY4" fmla="*/ 477153 h 612874"/>
                                <a:gd name="connsiteX5" fmla="*/ 14461 w 494502"/>
                                <a:gd name="connsiteY5" fmla="*/ 556674 h 612874"/>
                                <a:gd name="connsiteX6" fmla="*/ 3604 w 494502"/>
                                <a:gd name="connsiteY6" fmla="*/ 612491 h 612874"/>
                                <a:gd name="connsiteX7" fmla="*/ 66447 w 494502"/>
                                <a:gd name="connsiteY7" fmla="*/ 529087 h 612874"/>
                                <a:gd name="connsiteX8" fmla="*/ 102777 w 494502"/>
                                <a:gd name="connsiteY8" fmla="*/ 467548 h 612874"/>
                                <a:gd name="connsiteX9" fmla="*/ 101012 w 494502"/>
                                <a:gd name="connsiteY9" fmla="*/ 413490 h 612874"/>
                                <a:gd name="connsiteX10" fmla="*/ 115152 w 494502"/>
                                <a:gd name="connsiteY10" fmla="*/ 322769 h 612874"/>
                                <a:gd name="connsiteX11" fmla="*/ 159142 w 494502"/>
                                <a:gd name="connsiteY11" fmla="*/ 265702 h 612874"/>
                                <a:gd name="connsiteX12" fmla="*/ 212292 w 494502"/>
                                <a:gd name="connsiteY12" fmla="*/ 239937 h 612874"/>
                                <a:gd name="connsiteX13" fmla="*/ 362239 w 494502"/>
                                <a:gd name="connsiteY13" fmla="*/ 182756 h 612874"/>
                                <a:gd name="connsiteX14" fmla="*/ 494502 w 494502"/>
                                <a:gd name="connsiteY14" fmla="*/ 2236 h 612874"/>
                                <a:gd name="connsiteX15" fmla="*/ 362531 w 494502"/>
                                <a:gd name="connsiteY15" fmla="*/ 154413 h 612874"/>
                                <a:gd name="connsiteX16" fmla="*/ 314680 w 494502"/>
                                <a:gd name="connsiteY16" fmla="*/ 134011 h 612874"/>
                                <a:gd name="connsiteX17" fmla="*/ 287972 w 494502"/>
                                <a:gd name="connsiteY17" fmla="*/ 124 h 612874"/>
                                <a:gd name="connsiteX0" fmla="*/ 287972 w 494724"/>
                                <a:gd name="connsiteY0" fmla="*/ 6643 h 619393"/>
                                <a:gd name="connsiteX1" fmla="*/ 228465 w 494724"/>
                                <a:gd name="connsiteY1" fmla="*/ 166786 h 619393"/>
                                <a:gd name="connsiteX2" fmla="*/ 133927 w 494724"/>
                                <a:gd name="connsiteY2" fmla="*/ 243699 h 619393"/>
                                <a:gd name="connsiteX3" fmla="*/ 78861 w 494724"/>
                                <a:gd name="connsiteY3" fmla="*/ 364024 h 619393"/>
                                <a:gd name="connsiteX4" fmla="*/ 71083 w 494724"/>
                                <a:gd name="connsiteY4" fmla="*/ 483672 h 619393"/>
                                <a:gd name="connsiteX5" fmla="*/ 14461 w 494724"/>
                                <a:gd name="connsiteY5" fmla="*/ 563193 h 619393"/>
                                <a:gd name="connsiteX6" fmla="*/ 3604 w 494724"/>
                                <a:gd name="connsiteY6" fmla="*/ 619010 h 619393"/>
                                <a:gd name="connsiteX7" fmla="*/ 66447 w 494724"/>
                                <a:gd name="connsiteY7" fmla="*/ 535606 h 619393"/>
                                <a:gd name="connsiteX8" fmla="*/ 102777 w 494724"/>
                                <a:gd name="connsiteY8" fmla="*/ 474067 h 619393"/>
                                <a:gd name="connsiteX9" fmla="*/ 101012 w 494724"/>
                                <a:gd name="connsiteY9" fmla="*/ 420009 h 619393"/>
                                <a:gd name="connsiteX10" fmla="*/ 115152 w 494724"/>
                                <a:gd name="connsiteY10" fmla="*/ 329288 h 619393"/>
                                <a:gd name="connsiteX11" fmla="*/ 159142 w 494724"/>
                                <a:gd name="connsiteY11" fmla="*/ 272221 h 619393"/>
                                <a:gd name="connsiteX12" fmla="*/ 212292 w 494724"/>
                                <a:gd name="connsiteY12" fmla="*/ 246456 h 619393"/>
                                <a:gd name="connsiteX13" fmla="*/ 362239 w 494724"/>
                                <a:gd name="connsiteY13" fmla="*/ 189275 h 619393"/>
                                <a:gd name="connsiteX14" fmla="*/ 494502 w 494724"/>
                                <a:gd name="connsiteY14" fmla="*/ 8755 h 619393"/>
                                <a:gd name="connsiteX15" fmla="*/ 362531 w 494724"/>
                                <a:gd name="connsiteY15" fmla="*/ 160932 h 619393"/>
                                <a:gd name="connsiteX16" fmla="*/ 314680 w 494724"/>
                                <a:gd name="connsiteY16" fmla="*/ 140530 h 619393"/>
                                <a:gd name="connsiteX17" fmla="*/ 287972 w 494724"/>
                                <a:gd name="connsiteY17" fmla="*/ 6643 h 619393"/>
                                <a:gd name="connsiteX0" fmla="*/ 287972 w 494724"/>
                                <a:gd name="connsiteY0" fmla="*/ 6643 h 619393"/>
                                <a:gd name="connsiteX1" fmla="*/ 228465 w 494724"/>
                                <a:gd name="connsiteY1" fmla="*/ 166786 h 619393"/>
                                <a:gd name="connsiteX2" fmla="*/ 133927 w 494724"/>
                                <a:gd name="connsiteY2" fmla="*/ 243699 h 619393"/>
                                <a:gd name="connsiteX3" fmla="*/ 78861 w 494724"/>
                                <a:gd name="connsiteY3" fmla="*/ 364024 h 619393"/>
                                <a:gd name="connsiteX4" fmla="*/ 71083 w 494724"/>
                                <a:gd name="connsiteY4" fmla="*/ 483672 h 619393"/>
                                <a:gd name="connsiteX5" fmla="*/ 14461 w 494724"/>
                                <a:gd name="connsiteY5" fmla="*/ 563193 h 619393"/>
                                <a:gd name="connsiteX6" fmla="*/ 3604 w 494724"/>
                                <a:gd name="connsiteY6" fmla="*/ 619010 h 619393"/>
                                <a:gd name="connsiteX7" fmla="*/ 66447 w 494724"/>
                                <a:gd name="connsiteY7" fmla="*/ 535606 h 619393"/>
                                <a:gd name="connsiteX8" fmla="*/ 102777 w 494724"/>
                                <a:gd name="connsiteY8" fmla="*/ 474067 h 619393"/>
                                <a:gd name="connsiteX9" fmla="*/ 101012 w 494724"/>
                                <a:gd name="connsiteY9" fmla="*/ 420009 h 619393"/>
                                <a:gd name="connsiteX10" fmla="*/ 115152 w 494724"/>
                                <a:gd name="connsiteY10" fmla="*/ 329288 h 619393"/>
                                <a:gd name="connsiteX11" fmla="*/ 175671 w 494724"/>
                                <a:gd name="connsiteY11" fmla="*/ 277994 h 619393"/>
                                <a:gd name="connsiteX12" fmla="*/ 212292 w 494724"/>
                                <a:gd name="connsiteY12" fmla="*/ 246456 h 619393"/>
                                <a:gd name="connsiteX13" fmla="*/ 362239 w 494724"/>
                                <a:gd name="connsiteY13" fmla="*/ 189275 h 619393"/>
                                <a:gd name="connsiteX14" fmla="*/ 494502 w 494724"/>
                                <a:gd name="connsiteY14" fmla="*/ 8755 h 619393"/>
                                <a:gd name="connsiteX15" fmla="*/ 362531 w 494724"/>
                                <a:gd name="connsiteY15" fmla="*/ 160932 h 619393"/>
                                <a:gd name="connsiteX16" fmla="*/ 314680 w 494724"/>
                                <a:gd name="connsiteY16" fmla="*/ 140530 h 619393"/>
                                <a:gd name="connsiteX17" fmla="*/ 287972 w 494724"/>
                                <a:gd name="connsiteY17" fmla="*/ 6643 h 619393"/>
                                <a:gd name="connsiteX0" fmla="*/ 287972 w 494724"/>
                                <a:gd name="connsiteY0" fmla="*/ 6643 h 619393"/>
                                <a:gd name="connsiteX1" fmla="*/ 228465 w 494724"/>
                                <a:gd name="connsiteY1" fmla="*/ 166786 h 619393"/>
                                <a:gd name="connsiteX2" fmla="*/ 133927 w 494724"/>
                                <a:gd name="connsiteY2" fmla="*/ 243699 h 619393"/>
                                <a:gd name="connsiteX3" fmla="*/ 78861 w 494724"/>
                                <a:gd name="connsiteY3" fmla="*/ 364024 h 619393"/>
                                <a:gd name="connsiteX4" fmla="*/ 71083 w 494724"/>
                                <a:gd name="connsiteY4" fmla="*/ 483672 h 619393"/>
                                <a:gd name="connsiteX5" fmla="*/ 14461 w 494724"/>
                                <a:gd name="connsiteY5" fmla="*/ 563193 h 619393"/>
                                <a:gd name="connsiteX6" fmla="*/ 3604 w 494724"/>
                                <a:gd name="connsiteY6" fmla="*/ 619010 h 619393"/>
                                <a:gd name="connsiteX7" fmla="*/ 66447 w 494724"/>
                                <a:gd name="connsiteY7" fmla="*/ 535606 h 619393"/>
                                <a:gd name="connsiteX8" fmla="*/ 102777 w 494724"/>
                                <a:gd name="connsiteY8" fmla="*/ 474067 h 619393"/>
                                <a:gd name="connsiteX9" fmla="*/ 101012 w 494724"/>
                                <a:gd name="connsiteY9" fmla="*/ 420009 h 619393"/>
                                <a:gd name="connsiteX10" fmla="*/ 131681 w 494724"/>
                                <a:gd name="connsiteY10" fmla="*/ 329288 h 619393"/>
                                <a:gd name="connsiteX11" fmla="*/ 175671 w 494724"/>
                                <a:gd name="connsiteY11" fmla="*/ 277994 h 619393"/>
                                <a:gd name="connsiteX12" fmla="*/ 212292 w 494724"/>
                                <a:gd name="connsiteY12" fmla="*/ 246456 h 619393"/>
                                <a:gd name="connsiteX13" fmla="*/ 362239 w 494724"/>
                                <a:gd name="connsiteY13" fmla="*/ 189275 h 619393"/>
                                <a:gd name="connsiteX14" fmla="*/ 494502 w 494724"/>
                                <a:gd name="connsiteY14" fmla="*/ 8755 h 619393"/>
                                <a:gd name="connsiteX15" fmla="*/ 362531 w 494724"/>
                                <a:gd name="connsiteY15" fmla="*/ 160932 h 619393"/>
                                <a:gd name="connsiteX16" fmla="*/ 314680 w 494724"/>
                                <a:gd name="connsiteY16" fmla="*/ 140530 h 619393"/>
                                <a:gd name="connsiteX17" fmla="*/ 287972 w 494724"/>
                                <a:gd name="connsiteY17" fmla="*/ 6643 h 619393"/>
                                <a:gd name="connsiteX0" fmla="*/ 288578 w 495330"/>
                                <a:gd name="connsiteY0" fmla="*/ 6643 h 619151"/>
                                <a:gd name="connsiteX1" fmla="*/ 229071 w 495330"/>
                                <a:gd name="connsiteY1" fmla="*/ 166786 h 619151"/>
                                <a:gd name="connsiteX2" fmla="*/ 134533 w 495330"/>
                                <a:gd name="connsiteY2" fmla="*/ 243699 h 619151"/>
                                <a:gd name="connsiteX3" fmla="*/ 79467 w 495330"/>
                                <a:gd name="connsiteY3" fmla="*/ 364024 h 619151"/>
                                <a:gd name="connsiteX4" fmla="*/ 71689 w 495330"/>
                                <a:gd name="connsiteY4" fmla="*/ 483672 h 619151"/>
                                <a:gd name="connsiteX5" fmla="*/ 15067 w 495330"/>
                                <a:gd name="connsiteY5" fmla="*/ 563193 h 619151"/>
                                <a:gd name="connsiteX6" fmla="*/ 4210 w 495330"/>
                                <a:gd name="connsiteY6" fmla="*/ 619010 h 619151"/>
                                <a:gd name="connsiteX7" fmla="*/ 75317 w 495330"/>
                                <a:gd name="connsiteY7" fmla="*/ 547152 h 619151"/>
                                <a:gd name="connsiteX8" fmla="*/ 103383 w 495330"/>
                                <a:gd name="connsiteY8" fmla="*/ 474067 h 619151"/>
                                <a:gd name="connsiteX9" fmla="*/ 101618 w 495330"/>
                                <a:gd name="connsiteY9" fmla="*/ 420009 h 619151"/>
                                <a:gd name="connsiteX10" fmla="*/ 132287 w 495330"/>
                                <a:gd name="connsiteY10" fmla="*/ 329288 h 619151"/>
                                <a:gd name="connsiteX11" fmla="*/ 176277 w 495330"/>
                                <a:gd name="connsiteY11" fmla="*/ 277994 h 619151"/>
                                <a:gd name="connsiteX12" fmla="*/ 212898 w 495330"/>
                                <a:gd name="connsiteY12" fmla="*/ 246456 h 619151"/>
                                <a:gd name="connsiteX13" fmla="*/ 362845 w 495330"/>
                                <a:gd name="connsiteY13" fmla="*/ 189275 h 619151"/>
                                <a:gd name="connsiteX14" fmla="*/ 495108 w 495330"/>
                                <a:gd name="connsiteY14" fmla="*/ 8755 h 619151"/>
                                <a:gd name="connsiteX15" fmla="*/ 363137 w 495330"/>
                                <a:gd name="connsiteY15" fmla="*/ 160932 h 619151"/>
                                <a:gd name="connsiteX16" fmla="*/ 315286 w 495330"/>
                                <a:gd name="connsiteY16" fmla="*/ 140530 h 619151"/>
                                <a:gd name="connsiteX17" fmla="*/ 288578 w 495330"/>
                                <a:gd name="connsiteY17" fmla="*/ 6643 h 619151"/>
                                <a:gd name="connsiteX0" fmla="*/ 278097 w 484849"/>
                                <a:gd name="connsiteY0" fmla="*/ 6643 h 636430"/>
                                <a:gd name="connsiteX1" fmla="*/ 218590 w 484849"/>
                                <a:gd name="connsiteY1" fmla="*/ 166786 h 636430"/>
                                <a:gd name="connsiteX2" fmla="*/ 124052 w 484849"/>
                                <a:gd name="connsiteY2" fmla="*/ 243699 h 636430"/>
                                <a:gd name="connsiteX3" fmla="*/ 68986 w 484849"/>
                                <a:gd name="connsiteY3" fmla="*/ 364024 h 636430"/>
                                <a:gd name="connsiteX4" fmla="*/ 61208 w 484849"/>
                                <a:gd name="connsiteY4" fmla="*/ 483672 h 636430"/>
                                <a:gd name="connsiteX5" fmla="*/ 4586 w 484849"/>
                                <a:gd name="connsiteY5" fmla="*/ 563193 h 636430"/>
                                <a:gd name="connsiteX6" fmla="*/ 10258 w 484849"/>
                                <a:gd name="connsiteY6" fmla="*/ 636328 h 636430"/>
                                <a:gd name="connsiteX7" fmla="*/ 64836 w 484849"/>
                                <a:gd name="connsiteY7" fmla="*/ 547152 h 636430"/>
                                <a:gd name="connsiteX8" fmla="*/ 92902 w 484849"/>
                                <a:gd name="connsiteY8" fmla="*/ 474067 h 636430"/>
                                <a:gd name="connsiteX9" fmla="*/ 91137 w 484849"/>
                                <a:gd name="connsiteY9" fmla="*/ 420009 h 636430"/>
                                <a:gd name="connsiteX10" fmla="*/ 121806 w 484849"/>
                                <a:gd name="connsiteY10" fmla="*/ 329288 h 636430"/>
                                <a:gd name="connsiteX11" fmla="*/ 165796 w 484849"/>
                                <a:gd name="connsiteY11" fmla="*/ 277994 h 636430"/>
                                <a:gd name="connsiteX12" fmla="*/ 202417 w 484849"/>
                                <a:gd name="connsiteY12" fmla="*/ 246456 h 636430"/>
                                <a:gd name="connsiteX13" fmla="*/ 352364 w 484849"/>
                                <a:gd name="connsiteY13" fmla="*/ 189275 h 636430"/>
                                <a:gd name="connsiteX14" fmla="*/ 484627 w 484849"/>
                                <a:gd name="connsiteY14" fmla="*/ 8755 h 636430"/>
                                <a:gd name="connsiteX15" fmla="*/ 352656 w 484849"/>
                                <a:gd name="connsiteY15" fmla="*/ 160932 h 636430"/>
                                <a:gd name="connsiteX16" fmla="*/ 304805 w 484849"/>
                                <a:gd name="connsiteY16" fmla="*/ 140530 h 636430"/>
                                <a:gd name="connsiteX17" fmla="*/ 278097 w 484849"/>
                                <a:gd name="connsiteY17" fmla="*/ 6643 h 636430"/>
                                <a:gd name="connsiteX0" fmla="*/ 278097 w 484849"/>
                                <a:gd name="connsiteY0" fmla="*/ 6643 h 636430"/>
                                <a:gd name="connsiteX1" fmla="*/ 218590 w 484849"/>
                                <a:gd name="connsiteY1" fmla="*/ 166786 h 636430"/>
                                <a:gd name="connsiteX2" fmla="*/ 124052 w 484849"/>
                                <a:gd name="connsiteY2" fmla="*/ 243699 h 636430"/>
                                <a:gd name="connsiteX3" fmla="*/ 68986 w 484849"/>
                                <a:gd name="connsiteY3" fmla="*/ 364024 h 636430"/>
                                <a:gd name="connsiteX4" fmla="*/ 61208 w 484849"/>
                                <a:gd name="connsiteY4" fmla="*/ 483672 h 636430"/>
                                <a:gd name="connsiteX5" fmla="*/ 4586 w 484849"/>
                                <a:gd name="connsiteY5" fmla="*/ 563193 h 636430"/>
                                <a:gd name="connsiteX6" fmla="*/ 10258 w 484849"/>
                                <a:gd name="connsiteY6" fmla="*/ 636328 h 636430"/>
                                <a:gd name="connsiteX7" fmla="*/ 64836 w 484849"/>
                                <a:gd name="connsiteY7" fmla="*/ 547152 h 636430"/>
                                <a:gd name="connsiteX8" fmla="*/ 92902 w 484849"/>
                                <a:gd name="connsiteY8" fmla="*/ 474067 h 636430"/>
                                <a:gd name="connsiteX9" fmla="*/ 91137 w 484849"/>
                                <a:gd name="connsiteY9" fmla="*/ 420009 h 636430"/>
                                <a:gd name="connsiteX10" fmla="*/ 121806 w 484849"/>
                                <a:gd name="connsiteY10" fmla="*/ 329288 h 636430"/>
                                <a:gd name="connsiteX11" fmla="*/ 165796 w 484849"/>
                                <a:gd name="connsiteY11" fmla="*/ 277994 h 636430"/>
                                <a:gd name="connsiteX12" fmla="*/ 202417 w 484849"/>
                                <a:gd name="connsiteY12" fmla="*/ 246456 h 636430"/>
                                <a:gd name="connsiteX13" fmla="*/ 360628 w 484849"/>
                                <a:gd name="connsiteY13" fmla="*/ 212366 h 636430"/>
                                <a:gd name="connsiteX14" fmla="*/ 484627 w 484849"/>
                                <a:gd name="connsiteY14" fmla="*/ 8755 h 636430"/>
                                <a:gd name="connsiteX15" fmla="*/ 352656 w 484849"/>
                                <a:gd name="connsiteY15" fmla="*/ 160932 h 636430"/>
                                <a:gd name="connsiteX16" fmla="*/ 304805 w 484849"/>
                                <a:gd name="connsiteY16" fmla="*/ 140530 h 636430"/>
                                <a:gd name="connsiteX17" fmla="*/ 278097 w 484849"/>
                                <a:gd name="connsiteY17" fmla="*/ 6643 h 636430"/>
                                <a:gd name="connsiteX0" fmla="*/ 278097 w 455993"/>
                                <a:gd name="connsiteY0" fmla="*/ 17782 h 647569"/>
                                <a:gd name="connsiteX1" fmla="*/ 218590 w 455993"/>
                                <a:gd name="connsiteY1" fmla="*/ 177925 h 647569"/>
                                <a:gd name="connsiteX2" fmla="*/ 124052 w 455993"/>
                                <a:gd name="connsiteY2" fmla="*/ 254838 h 647569"/>
                                <a:gd name="connsiteX3" fmla="*/ 68986 w 455993"/>
                                <a:gd name="connsiteY3" fmla="*/ 375163 h 647569"/>
                                <a:gd name="connsiteX4" fmla="*/ 61208 w 455993"/>
                                <a:gd name="connsiteY4" fmla="*/ 494811 h 647569"/>
                                <a:gd name="connsiteX5" fmla="*/ 4586 w 455993"/>
                                <a:gd name="connsiteY5" fmla="*/ 574332 h 647569"/>
                                <a:gd name="connsiteX6" fmla="*/ 10258 w 455993"/>
                                <a:gd name="connsiteY6" fmla="*/ 647467 h 647569"/>
                                <a:gd name="connsiteX7" fmla="*/ 64836 w 455993"/>
                                <a:gd name="connsiteY7" fmla="*/ 558291 h 647569"/>
                                <a:gd name="connsiteX8" fmla="*/ 92902 w 455993"/>
                                <a:gd name="connsiteY8" fmla="*/ 485206 h 647569"/>
                                <a:gd name="connsiteX9" fmla="*/ 91137 w 455993"/>
                                <a:gd name="connsiteY9" fmla="*/ 431148 h 647569"/>
                                <a:gd name="connsiteX10" fmla="*/ 121806 w 455993"/>
                                <a:gd name="connsiteY10" fmla="*/ 340427 h 647569"/>
                                <a:gd name="connsiteX11" fmla="*/ 165796 w 455993"/>
                                <a:gd name="connsiteY11" fmla="*/ 289133 h 647569"/>
                                <a:gd name="connsiteX12" fmla="*/ 202417 w 455993"/>
                                <a:gd name="connsiteY12" fmla="*/ 257595 h 647569"/>
                                <a:gd name="connsiteX13" fmla="*/ 360628 w 455993"/>
                                <a:gd name="connsiteY13" fmla="*/ 223505 h 647569"/>
                                <a:gd name="connsiteX14" fmla="*/ 455702 w 455993"/>
                                <a:gd name="connsiteY14" fmla="*/ 8348 h 647569"/>
                                <a:gd name="connsiteX15" fmla="*/ 352656 w 455993"/>
                                <a:gd name="connsiteY15" fmla="*/ 172071 h 647569"/>
                                <a:gd name="connsiteX16" fmla="*/ 304805 w 455993"/>
                                <a:gd name="connsiteY16" fmla="*/ 151669 h 647569"/>
                                <a:gd name="connsiteX17" fmla="*/ 278097 w 455993"/>
                                <a:gd name="connsiteY17" fmla="*/ 17782 h 647569"/>
                                <a:gd name="connsiteX0" fmla="*/ 278097 w 478226"/>
                                <a:gd name="connsiteY0" fmla="*/ 20296 h 650083"/>
                                <a:gd name="connsiteX1" fmla="*/ 218590 w 478226"/>
                                <a:gd name="connsiteY1" fmla="*/ 180439 h 650083"/>
                                <a:gd name="connsiteX2" fmla="*/ 124052 w 478226"/>
                                <a:gd name="connsiteY2" fmla="*/ 257352 h 650083"/>
                                <a:gd name="connsiteX3" fmla="*/ 68986 w 478226"/>
                                <a:gd name="connsiteY3" fmla="*/ 377677 h 650083"/>
                                <a:gd name="connsiteX4" fmla="*/ 61208 w 478226"/>
                                <a:gd name="connsiteY4" fmla="*/ 497325 h 650083"/>
                                <a:gd name="connsiteX5" fmla="*/ 4586 w 478226"/>
                                <a:gd name="connsiteY5" fmla="*/ 576846 h 650083"/>
                                <a:gd name="connsiteX6" fmla="*/ 10258 w 478226"/>
                                <a:gd name="connsiteY6" fmla="*/ 649981 h 650083"/>
                                <a:gd name="connsiteX7" fmla="*/ 64836 w 478226"/>
                                <a:gd name="connsiteY7" fmla="*/ 560805 h 650083"/>
                                <a:gd name="connsiteX8" fmla="*/ 92902 w 478226"/>
                                <a:gd name="connsiteY8" fmla="*/ 487720 h 650083"/>
                                <a:gd name="connsiteX9" fmla="*/ 91137 w 478226"/>
                                <a:gd name="connsiteY9" fmla="*/ 433662 h 650083"/>
                                <a:gd name="connsiteX10" fmla="*/ 121806 w 478226"/>
                                <a:gd name="connsiteY10" fmla="*/ 342941 h 650083"/>
                                <a:gd name="connsiteX11" fmla="*/ 165796 w 478226"/>
                                <a:gd name="connsiteY11" fmla="*/ 291647 h 650083"/>
                                <a:gd name="connsiteX12" fmla="*/ 202417 w 478226"/>
                                <a:gd name="connsiteY12" fmla="*/ 260109 h 650083"/>
                                <a:gd name="connsiteX13" fmla="*/ 360628 w 478226"/>
                                <a:gd name="connsiteY13" fmla="*/ 226019 h 650083"/>
                                <a:gd name="connsiteX14" fmla="*/ 471869 w 478226"/>
                                <a:gd name="connsiteY14" fmla="*/ 36042 h 650083"/>
                                <a:gd name="connsiteX15" fmla="*/ 455702 w 478226"/>
                                <a:gd name="connsiteY15" fmla="*/ 10862 h 650083"/>
                                <a:gd name="connsiteX16" fmla="*/ 352656 w 478226"/>
                                <a:gd name="connsiteY16" fmla="*/ 174585 h 650083"/>
                                <a:gd name="connsiteX17" fmla="*/ 304805 w 478226"/>
                                <a:gd name="connsiteY17" fmla="*/ 154183 h 650083"/>
                                <a:gd name="connsiteX18" fmla="*/ 278097 w 478226"/>
                                <a:gd name="connsiteY18" fmla="*/ 20296 h 650083"/>
                                <a:gd name="connsiteX0" fmla="*/ 278097 w 478226"/>
                                <a:gd name="connsiteY0" fmla="*/ 20296 h 650083"/>
                                <a:gd name="connsiteX1" fmla="*/ 215673 w 478226"/>
                                <a:gd name="connsiteY1" fmla="*/ 64906 h 650083"/>
                                <a:gd name="connsiteX2" fmla="*/ 218590 w 478226"/>
                                <a:gd name="connsiteY2" fmla="*/ 180439 h 650083"/>
                                <a:gd name="connsiteX3" fmla="*/ 124052 w 478226"/>
                                <a:gd name="connsiteY3" fmla="*/ 257352 h 650083"/>
                                <a:gd name="connsiteX4" fmla="*/ 68986 w 478226"/>
                                <a:gd name="connsiteY4" fmla="*/ 377677 h 650083"/>
                                <a:gd name="connsiteX5" fmla="*/ 61208 w 478226"/>
                                <a:gd name="connsiteY5" fmla="*/ 497325 h 650083"/>
                                <a:gd name="connsiteX6" fmla="*/ 4586 w 478226"/>
                                <a:gd name="connsiteY6" fmla="*/ 576846 h 650083"/>
                                <a:gd name="connsiteX7" fmla="*/ 10258 w 478226"/>
                                <a:gd name="connsiteY7" fmla="*/ 649981 h 650083"/>
                                <a:gd name="connsiteX8" fmla="*/ 64836 w 478226"/>
                                <a:gd name="connsiteY8" fmla="*/ 560805 h 650083"/>
                                <a:gd name="connsiteX9" fmla="*/ 92902 w 478226"/>
                                <a:gd name="connsiteY9" fmla="*/ 487720 h 650083"/>
                                <a:gd name="connsiteX10" fmla="*/ 91137 w 478226"/>
                                <a:gd name="connsiteY10" fmla="*/ 433662 h 650083"/>
                                <a:gd name="connsiteX11" fmla="*/ 121806 w 478226"/>
                                <a:gd name="connsiteY11" fmla="*/ 342941 h 650083"/>
                                <a:gd name="connsiteX12" fmla="*/ 165796 w 478226"/>
                                <a:gd name="connsiteY12" fmla="*/ 291647 h 650083"/>
                                <a:gd name="connsiteX13" fmla="*/ 202417 w 478226"/>
                                <a:gd name="connsiteY13" fmla="*/ 260109 h 650083"/>
                                <a:gd name="connsiteX14" fmla="*/ 360628 w 478226"/>
                                <a:gd name="connsiteY14" fmla="*/ 226019 h 650083"/>
                                <a:gd name="connsiteX15" fmla="*/ 471869 w 478226"/>
                                <a:gd name="connsiteY15" fmla="*/ 36042 h 650083"/>
                                <a:gd name="connsiteX16" fmla="*/ 455702 w 478226"/>
                                <a:gd name="connsiteY16" fmla="*/ 10862 h 650083"/>
                                <a:gd name="connsiteX17" fmla="*/ 352656 w 478226"/>
                                <a:gd name="connsiteY17" fmla="*/ 174585 h 650083"/>
                                <a:gd name="connsiteX18" fmla="*/ 304805 w 478226"/>
                                <a:gd name="connsiteY18" fmla="*/ 154183 h 650083"/>
                                <a:gd name="connsiteX19" fmla="*/ 278097 w 478226"/>
                                <a:gd name="connsiteY19" fmla="*/ 20296 h 650083"/>
                                <a:gd name="connsiteX0" fmla="*/ 278097 w 478226"/>
                                <a:gd name="connsiteY0" fmla="*/ 20296 h 650083"/>
                                <a:gd name="connsiteX1" fmla="*/ 215673 w 478226"/>
                                <a:gd name="connsiteY1" fmla="*/ 64906 h 650083"/>
                                <a:gd name="connsiteX2" fmla="*/ 193797 w 478226"/>
                                <a:gd name="connsiteY2" fmla="*/ 151575 h 650083"/>
                                <a:gd name="connsiteX3" fmla="*/ 124052 w 478226"/>
                                <a:gd name="connsiteY3" fmla="*/ 257352 h 650083"/>
                                <a:gd name="connsiteX4" fmla="*/ 68986 w 478226"/>
                                <a:gd name="connsiteY4" fmla="*/ 377677 h 650083"/>
                                <a:gd name="connsiteX5" fmla="*/ 61208 w 478226"/>
                                <a:gd name="connsiteY5" fmla="*/ 497325 h 650083"/>
                                <a:gd name="connsiteX6" fmla="*/ 4586 w 478226"/>
                                <a:gd name="connsiteY6" fmla="*/ 576846 h 650083"/>
                                <a:gd name="connsiteX7" fmla="*/ 10258 w 478226"/>
                                <a:gd name="connsiteY7" fmla="*/ 649981 h 650083"/>
                                <a:gd name="connsiteX8" fmla="*/ 64836 w 478226"/>
                                <a:gd name="connsiteY8" fmla="*/ 560805 h 650083"/>
                                <a:gd name="connsiteX9" fmla="*/ 92902 w 478226"/>
                                <a:gd name="connsiteY9" fmla="*/ 487720 h 650083"/>
                                <a:gd name="connsiteX10" fmla="*/ 91137 w 478226"/>
                                <a:gd name="connsiteY10" fmla="*/ 433662 h 650083"/>
                                <a:gd name="connsiteX11" fmla="*/ 121806 w 478226"/>
                                <a:gd name="connsiteY11" fmla="*/ 342941 h 650083"/>
                                <a:gd name="connsiteX12" fmla="*/ 165796 w 478226"/>
                                <a:gd name="connsiteY12" fmla="*/ 291647 h 650083"/>
                                <a:gd name="connsiteX13" fmla="*/ 202417 w 478226"/>
                                <a:gd name="connsiteY13" fmla="*/ 260109 h 650083"/>
                                <a:gd name="connsiteX14" fmla="*/ 360628 w 478226"/>
                                <a:gd name="connsiteY14" fmla="*/ 226019 h 650083"/>
                                <a:gd name="connsiteX15" fmla="*/ 471869 w 478226"/>
                                <a:gd name="connsiteY15" fmla="*/ 36042 h 650083"/>
                                <a:gd name="connsiteX16" fmla="*/ 455702 w 478226"/>
                                <a:gd name="connsiteY16" fmla="*/ 10862 h 650083"/>
                                <a:gd name="connsiteX17" fmla="*/ 352656 w 478226"/>
                                <a:gd name="connsiteY17" fmla="*/ 174585 h 650083"/>
                                <a:gd name="connsiteX18" fmla="*/ 304805 w 478226"/>
                                <a:gd name="connsiteY18" fmla="*/ 154183 h 650083"/>
                                <a:gd name="connsiteX19" fmla="*/ 278097 w 478226"/>
                                <a:gd name="connsiteY19" fmla="*/ 20296 h 650083"/>
                                <a:gd name="connsiteX0" fmla="*/ 278097 w 478226"/>
                                <a:gd name="connsiteY0" fmla="*/ 106856 h 736643"/>
                                <a:gd name="connsiteX1" fmla="*/ 215673 w 478226"/>
                                <a:gd name="connsiteY1" fmla="*/ 151466 h 736643"/>
                                <a:gd name="connsiteX2" fmla="*/ 193797 w 478226"/>
                                <a:gd name="connsiteY2" fmla="*/ 238135 h 736643"/>
                                <a:gd name="connsiteX3" fmla="*/ 124052 w 478226"/>
                                <a:gd name="connsiteY3" fmla="*/ 343912 h 736643"/>
                                <a:gd name="connsiteX4" fmla="*/ 68986 w 478226"/>
                                <a:gd name="connsiteY4" fmla="*/ 464237 h 736643"/>
                                <a:gd name="connsiteX5" fmla="*/ 61208 w 478226"/>
                                <a:gd name="connsiteY5" fmla="*/ 583885 h 736643"/>
                                <a:gd name="connsiteX6" fmla="*/ 4586 w 478226"/>
                                <a:gd name="connsiteY6" fmla="*/ 663406 h 736643"/>
                                <a:gd name="connsiteX7" fmla="*/ 10258 w 478226"/>
                                <a:gd name="connsiteY7" fmla="*/ 736541 h 736643"/>
                                <a:gd name="connsiteX8" fmla="*/ 64836 w 478226"/>
                                <a:gd name="connsiteY8" fmla="*/ 647365 h 736643"/>
                                <a:gd name="connsiteX9" fmla="*/ 92902 w 478226"/>
                                <a:gd name="connsiteY9" fmla="*/ 574280 h 736643"/>
                                <a:gd name="connsiteX10" fmla="*/ 91137 w 478226"/>
                                <a:gd name="connsiteY10" fmla="*/ 520222 h 736643"/>
                                <a:gd name="connsiteX11" fmla="*/ 121806 w 478226"/>
                                <a:gd name="connsiteY11" fmla="*/ 429501 h 736643"/>
                                <a:gd name="connsiteX12" fmla="*/ 165796 w 478226"/>
                                <a:gd name="connsiteY12" fmla="*/ 378207 h 736643"/>
                                <a:gd name="connsiteX13" fmla="*/ 202417 w 478226"/>
                                <a:gd name="connsiteY13" fmla="*/ 346669 h 736643"/>
                                <a:gd name="connsiteX14" fmla="*/ 360628 w 478226"/>
                                <a:gd name="connsiteY14" fmla="*/ 312579 h 736643"/>
                                <a:gd name="connsiteX15" fmla="*/ 471869 w 478226"/>
                                <a:gd name="connsiteY15" fmla="*/ 122602 h 736643"/>
                                <a:gd name="connsiteX16" fmla="*/ 455702 w 478226"/>
                                <a:gd name="connsiteY16" fmla="*/ 97422 h 736643"/>
                                <a:gd name="connsiteX17" fmla="*/ 352656 w 478226"/>
                                <a:gd name="connsiteY17" fmla="*/ 261145 h 736643"/>
                                <a:gd name="connsiteX18" fmla="*/ 350259 w 478226"/>
                                <a:gd name="connsiteY18" fmla="*/ 4058 h 736643"/>
                                <a:gd name="connsiteX19" fmla="*/ 278097 w 478226"/>
                                <a:gd name="connsiteY19" fmla="*/ 106856 h 736643"/>
                                <a:gd name="connsiteX0" fmla="*/ 290494 w 478226"/>
                                <a:gd name="connsiteY0" fmla="*/ 28276 h 756201"/>
                                <a:gd name="connsiteX1" fmla="*/ 215673 w 478226"/>
                                <a:gd name="connsiteY1" fmla="*/ 171024 h 756201"/>
                                <a:gd name="connsiteX2" fmla="*/ 193797 w 478226"/>
                                <a:gd name="connsiteY2" fmla="*/ 257693 h 756201"/>
                                <a:gd name="connsiteX3" fmla="*/ 124052 w 478226"/>
                                <a:gd name="connsiteY3" fmla="*/ 363470 h 756201"/>
                                <a:gd name="connsiteX4" fmla="*/ 68986 w 478226"/>
                                <a:gd name="connsiteY4" fmla="*/ 483795 h 756201"/>
                                <a:gd name="connsiteX5" fmla="*/ 61208 w 478226"/>
                                <a:gd name="connsiteY5" fmla="*/ 603443 h 756201"/>
                                <a:gd name="connsiteX6" fmla="*/ 4586 w 478226"/>
                                <a:gd name="connsiteY6" fmla="*/ 682964 h 756201"/>
                                <a:gd name="connsiteX7" fmla="*/ 10258 w 478226"/>
                                <a:gd name="connsiteY7" fmla="*/ 756099 h 756201"/>
                                <a:gd name="connsiteX8" fmla="*/ 64836 w 478226"/>
                                <a:gd name="connsiteY8" fmla="*/ 666923 h 756201"/>
                                <a:gd name="connsiteX9" fmla="*/ 92902 w 478226"/>
                                <a:gd name="connsiteY9" fmla="*/ 593838 h 756201"/>
                                <a:gd name="connsiteX10" fmla="*/ 91137 w 478226"/>
                                <a:gd name="connsiteY10" fmla="*/ 539780 h 756201"/>
                                <a:gd name="connsiteX11" fmla="*/ 121806 w 478226"/>
                                <a:gd name="connsiteY11" fmla="*/ 449059 h 756201"/>
                                <a:gd name="connsiteX12" fmla="*/ 165796 w 478226"/>
                                <a:gd name="connsiteY12" fmla="*/ 397765 h 756201"/>
                                <a:gd name="connsiteX13" fmla="*/ 202417 w 478226"/>
                                <a:gd name="connsiteY13" fmla="*/ 366227 h 756201"/>
                                <a:gd name="connsiteX14" fmla="*/ 360628 w 478226"/>
                                <a:gd name="connsiteY14" fmla="*/ 332137 h 756201"/>
                                <a:gd name="connsiteX15" fmla="*/ 471869 w 478226"/>
                                <a:gd name="connsiteY15" fmla="*/ 142160 h 756201"/>
                                <a:gd name="connsiteX16" fmla="*/ 455702 w 478226"/>
                                <a:gd name="connsiteY16" fmla="*/ 116980 h 756201"/>
                                <a:gd name="connsiteX17" fmla="*/ 352656 w 478226"/>
                                <a:gd name="connsiteY17" fmla="*/ 280703 h 756201"/>
                                <a:gd name="connsiteX18" fmla="*/ 350259 w 478226"/>
                                <a:gd name="connsiteY18" fmla="*/ 23616 h 756201"/>
                                <a:gd name="connsiteX19" fmla="*/ 290494 w 478226"/>
                                <a:gd name="connsiteY19" fmla="*/ 28276 h 756201"/>
                                <a:gd name="connsiteX0" fmla="*/ 290494 w 478226"/>
                                <a:gd name="connsiteY0" fmla="*/ 25135 h 753060"/>
                                <a:gd name="connsiteX1" fmla="*/ 215673 w 478226"/>
                                <a:gd name="connsiteY1" fmla="*/ 167883 h 753060"/>
                                <a:gd name="connsiteX2" fmla="*/ 193797 w 478226"/>
                                <a:gd name="connsiteY2" fmla="*/ 254552 h 753060"/>
                                <a:gd name="connsiteX3" fmla="*/ 124052 w 478226"/>
                                <a:gd name="connsiteY3" fmla="*/ 360329 h 753060"/>
                                <a:gd name="connsiteX4" fmla="*/ 68986 w 478226"/>
                                <a:gd name="connsiteY4" fmla="*/ 480654 h 753060"/>
                                <a:gd name="connsiteX5" fmla="*/ 61208 w 478226"/>
                                <a:gd name="connsiteY5" fmla="*/ 600302 h 753060"/>
                                <a:gd name="connsiteX6" fmla="*/ 4586 w 478226"/>
                                <a:gd name="connsiteY6" fmla="*/ 679823 h 753060"/>
                                <a:gd name="connsiteX7" fmla="*/ 10258 w 478226"/>
                                <a:gd name="connsiteY7" fmla="*/ 752958 h 753060"/>
                                <a:gd name="connsiteX8" fmla="*/ 64836 w 478226"/>
                                <a:gd name="connsiteY8" fmla="*/ 663782 h 753060"/>
                                <a:gd name="connsiteX9" fmla="*/ 92902 w 478226"/>
                                <a:gd name="connsiteY9" fmla="*/ 590697 h 753060"/>
                                <a:gd name="connsiteX10" fmla="*/ 91137 w 478226"/>
                                <a:gd name="connsiteY10" fmla="*/ 536639 h 753060"/>
                                <a:gd name="connsiteX11" fmla="*/ 121806 w 478226"/>
                                <a:gd name="connsiteY11" fmla="*/ 445918 h 753060"/>
                                <a:gd name="connsiteX12" fmla="*/ 165796 w 478226"/>
                                <a:gd name="connsiteY12" fmla="*/ 394624 h 753060"/>
                                <a:gd name="connsiteX13" fmla="*/ 202417 w 478226"/>
                                <a:gd name="connsiteY13" fmla="*/ 363086 h 753060"/>
                                <a:gd name="connsiteX14" fmla="*/ 360628 w 478226"/>
                                <a:gd name="connsiteY14" fmla="*/ 328996 h 753060"/>
                                <a:gd name="connsiteX15" fmla="*/ 471869 w 478226"/>
                                <a:gd name="connsiteY15" fmla="*/ 139019 h 753060"/>
                                <a:gd name="connsiteX16" fmla="*/ 455702 w 478226"/>
                                <a:gd name="connsiteY16" fmla="*/ 113839 h 753060"/>
                                <a:gd name="connsiteX17" fmla="*/ 352656 w 478226"/>
                                <a:gd name="connsiteY17" fmla="*/ 277562 h 753060"/>
                                <a:gd name="connsiteX18" fmla="*/ 350259 w 478226"/>
                                <a:gd name="connsiteY18" fmla="*/ 20475 h 753060"/>
                                <a:gd name="connsiteX19" fmla="*/ 290494 w 478226"/>
                                <a:gd name="connsiteY19" fmla="*/ 25135 h 753060"/>
                                <a:gd name="connsiteX0" fmla="*/ 290494 w 478226"/>
                                <a:gd name="connsiteY0" fmla="*/ 21734 h 749659"/>
                                <a:gd name="connsiteX1" fmla="*/ 215673 w 478226"/>
                                <a:gd name="connsiteY1" fmla="*/ 164482 h 749659"/>
                                <a:gd name="connsiteX2" fmla="*/ 193797 w 478226"/>
                                <a:gd name="connsiteY2" fmla="*/ 251151 h 749659"/>
                                <a:gd name="connsiteX3" fmla="*/ 124052 w 478226"/>
                                <a:gd name="connsiteY3" fmla="*/ 356928 h 749659"/>
                                <a:gd name="connsiteX4" fmla="*/ 68986 w 478226"/>
                                <a:gd name="connsiteY4" fmla="*/ 477253 h 749659"/>
                                <a:gd name="connsiteX5" fmla="*/ 61208 w 478226"/>
                                <a:gd name="connsiteY5" fmla="*/ 596901 h 749659"/>
                                <a:gd name="connsiteX6" fmla="*/ 4586 w 478226"/>
                                <a:gd name="connsiteY6" fmla="*/ 676422 h 749659"/>
                                <a:gd name="connsiteX7" fmla="*/ 10258 w 478226"/>
                                <a:gd name="connsiteY7" fmla="*/ 749557 h 749659"/>
                                <a:gd name="connsiteX8" fmla="*/ 64836 w 478226"/>
                                <a:gd name="connsiteY8" fmla="*/ 660381 h 749659"/>
                                <a:gd name="connsiteX9" fmla="*/ 92902 w 478226"/>
                                <a:gd name="connsiteY9" fmla="*/ 587296 h 749659"/>
                                <a:gd name="connsiteX10" fmla="*/ 91137 w 478226"/>
                                <a:gd name="connsiteY10" fmla="*/ 533238 h 749659"/>
                                <a:gd name="connsiteX11" fmla="*/ 121806 w 478226"/>
                                <a:gd name="connsiteY11" fmla="*/ 442517 h 749659"/>
                                <a:gd name="connsiteX12" fmla="*/ 165796 w 478226"/>
                                <a:gd name="connsiteY12" fmla="*/ 391223 h 749659"/>
                                <a:gd name="connsiteX13" fmla="*/ 202417 w 478226"/>
                                <a:gd name="connsiteY13" fmla="*/ 359685 h 749659"/>
                                <a:gd name="connsiteX14" fmla="*/ 360628 w 478226"/>
                                <a:gd name="connsiteY14" fmla="*/ 325595 h 749659"/>
                                <a:gd name="connsiteX15" fmla="*/ 471869 w 478226"/>
                                <a:gd name="connsiteY15" fmla="*/ 135618 h 749659"/>
                                <a:gd name="connsiteX16" fmla="*/ 455702 w 478226"/>
                                <a:gd name="connsiteY16" fmla="*/ 110438 h 749659"/>
                                <a:gd name="connsiteX17" fmla="*/ 352656 w 478226"/>
                                <a:gd name="connsiteY17" fmla="*/ 274161 h 749659"/>
                                <a:gd name="connsiteX18" fmla="*/ 314846 w 478226"/>
                                <a:gd name="connsiteY18" fmla="*/ 227983 h 749659"/>
                                <a:gd name="connsiteX19" fmla="*/ 350259 w 478226"/>
                                <a:gd name="connsiteY19" fmla="*/ 17074 h 749659"/>
                                <a:gd name="connsiteX20" fmla="*/ 290494 w 478226"/>
                                <a:gd name="connsiteY20" fmla="*/ 21734 h 749659"/>
                                <a:gd name="connsiteX0" fmla="*/ 290494 w 478226"/>
                                <a:gd name="connsiteY0" fmla="*/ 10858 h 738783"/>
                                <a:gd name="connsiteX1" fmla="*/ 215673 w 478226"/>
                                <a:gd name="connsiteY1" fmla="*/ 153606 h 738783"/>
                                <a:gd name="connsiteX2" fmla="*/ 193797 w 478226"/>
                                <a:gd name="connsiteY2" fmla="*/ 240275 h 738783"/>
                                <a:gd name="connsiteX3" fmla="*/ 124052 w 478226"/>
                                <a:gd name="connsiteY3" fmla="*/ 346052 h 738783"/>
                                <a:gd name="connsiteX4" fmla="*/ 68986 w 478226"/>
                                <a:gd name="connsiteY4" fmla="*/ 466377 h 738783"/>
                                <a:gd name="connsiteX5" fmla="*/ 61208 w 478226"/>
                                <a:gd name="connsiteY5" fmla="*/ 586025 h 738783"/>
                                <a:gd name="connsiteX6" fmla="*/ 4586 w 478226"/>
                                <a:gd name="connsiteY6" fmla="*/ 665546 h 738783"/>
                                <a:gd name="connsiteX7" fmla="*/ 10258 w 478226"/>
                                <a:gd name="connsiteY7" fmla="*/ 738681 h 738783"/>
                                <a:gd name="connsiteX8" fmla="*/ 64836 w 478226"/>
                                <a:gd name="connsiteY8" fmla="*/ 649505 h 738783"/>
                                <a:gd name="connsiteX9" fmla="*/ 92902 w 478226"/>
                                <a:gd name="connsiteY9" fmla="*/ 576420 h 738783"/>
                                <a:gd name="connsiteX10" fmla="*/ 91137 w 478226"/>
                                <a:gd name="connsiteY10" fmla="*/ 522362 h 738783"/>
                                <a:gd name="connsiteX11" fmla="*/ 121806 w 478226"/>
                                <a:gd name="connsiteY11" fmla="*/ 431641 h 738783"/>
                                <a:gd name="connsiteX12" fmla="*/ 165796 w 478226"/>
                                <a:gd name="connsiteY12" fmla="*/ 380347 h 738783"/>
                                <a:gd name="connsiteX13" fmla="*/ 202417 w 478226"/>
                                <a:gd name="connsiteY13" fmla="*/ 348809 h 738783"/>
                                <a:gd name="connsiteX14" fmla="*/ 360628 w 478226"/>
                                <a:gd name="connsiteY14" fmla="*/ 314719 h 738783"/>
                                <a:gd name="connsiteX15" fmla="*/ 471869 w 478226"/>
                                <a:gd name="connsiteY15" fmla="*/ 124742 h 738783"/>
                                <a:gd name="connsiteX16" fmla="*/ 455702 w 478226"/>
                                <a:gd name="connsiteY16" fmla="*/ 99562 h 738783"/>
                                <a:gd name="connsiteX17" fmla="*/ 352656 w 478226"/>
                                <a:gd name="connsiteY17" fmla="*/ 263285 h 738783"/>
                                <a:gd name="connsiteX18" fmla="*/ 314846 w 478226"/>
                                <a:gd name="connsiteY18" fmla="*/ 217107 h 738783"/>
                                <a:gd name="connsiteX19" fmla="*/ 385093 w 478226"/>
                                <a:gd name="connsiteY19" fmla="*/ 67015 h 738783"/>
                                <a:gd name="connsiteX20" fmla="*/ 350259 w 478226"/>
                                <a:gd name="connsiteY20" fmla="*/ 6198 h 738783"/>
                                <a:gd name="connsiteX21" fmla="*/ 290494 w 478226"/>
                                <a:gd name="connsiteY21" fmla="*/ 10858 h 738783"/>
                                <a:gd name="connsiteX0" fmla="*/ 290494 w 478226"/>
                                <a:gd name="connsiteY0" fmla="*/ 10858 h 738783"/>
                                <a:gd name="connsiteX1" fmla="*/ 215673 w 478226"/>
                                <a:gd name="connsiteY1" fmla="*/ 153606 h 738783"/>
                                <a:gd name="connsiteX2" fmla="*/ 193797 w 478226"/>
                                <a:gd name="connsiteY2" fmla="*/ 240275 h 738783"/>
                                <a:gd name="connsiteX3" fmla="*/ 124052 w 478226"/>
                                <a:gd name="connsiteY3" fmla="*/ 346052 h 738783"/>
                                <a:gd name="connsiteX4" fmla="*/ 68986 w 478226"/>
                                <a:gd name="connsiteY4" fmla="*/ 466377 h 738783"/>
                                <a:gd name="connsiteX5" fmla="*/ 61208 w 478226"/>
                                <a:gd name="connsiteY5" fmla="*/ 586025 h 738783"/>
                                <a:gd name="connsiteX6" fmla="*/ 4586 w 478226"/>
                                <a:gd name="connsiteY6" fmla="*/ 665546 h 738783"/>
                                <a:gd name="connsiteX7" fmla="*/ 10258 w 478226"/>
                                <a:gd name="connsiteY7" fmla="*/ 738681 h 738783"/>
                                <a:gd name="connsiteX8" fmla="*/ 64836 w 478226"/>
                                <a:gd name="connsiteY8" fmla="*/ 649505 h 738783"/>
                                <a:gd name="connsiteX9" fmla="*/ 92902 w 478226"/>
                                <a:gd name="connsiteY9" fmla="*/ 576420 h 738783"/>
                                <a:gd name="connsiteX10" fmla="*/ 91137 w 478226"/>
                                <a:gd name="connsiteY10" fmla="*/ 522362 h 738783"/>
                                <a:gd name="connsiteX11" fmla="*/ 121806 w 478226"/>
                                <a:gd name="connsiteY11" fmla="*/ 431641 h 738783"/>
                                <a:gd name="connsiteX12" fmla="*/ 165796 w 478226"/>
                                <a:gd name="connsiteY12" fmla="*/ 380347 h 738783"/>
                                <a:gd name="connsiteX13" fmla="*/ 202417 w 478226"/>
                                <a:gd name="connsiteY13" fmla="*/ 348809 h 738783"/>
                                <a:gd name="connsiteX14" fmla="*/ 360628 w 478226"/>
                                <a:gd name="connsiteY14" fmla="*/ 314719 h 738783"/>
                                <a:gd name="connsiteX15" fmla="*/ 471869 w 478226"/>
                                <a:gd name="connsiteY15" fmla="*/ 124742 h 738783"/>
                                <a:gd name="connsiteX16" fmla="*/ 455702 w 478226"/>
                                <a:gd name="connsiteY16" fmla="*/ 99562 h 738783"/>
                                <a:gd name="connsiteX17" fmla="*/ 352656 w 478226"/>
                                <a:gd name="connsiteY17" fmla="*/ 263285 h 738783"/>
                                <a:gd name="connsiteX18" fmla="*/ 314846 w 478226"/>
                                <a:gd name="connsiteY18" fmla="*/ 217107 h 738783"/>
                                <a:gd name="connsiteX19" fmla="*/ 356168 w 478226"/>
                                <a:gd name="connsiteY19" fmla="*/ 176698 h 738783"/>
                                <a:gd name="connsiteX20" fmla="*/ 385093 w 478226"/>
                                <a:gd name="connsiteY20" fmla="*/ 67015 h 738783"/>
                                <a:gd name="connsiteX21" fmla="*/ 350259 w 478226"/>
                                <a:gd name="connsiteY21" fmla="*/ 6198 h 738783"/>
                                <a:gd name="connsiteX22" fmla="*/ 290494 w 478226"/>
                                <a:gd name="connsiteY22" fmla="*/ 10858 h 738783"/>
                                <a:gd name="connsiteX0" fmla="*/ 290494 w 478226"/>
                                <a:gd name="connsiteY0" fmla="*/ 10858 h 738783"/>
                                <a:gd name="connsiteX1" fmla="*/ 215673 w 478226"/>
                                <a:gd name="connsiteY1" fmla="*/ 153606 h 738783"/>
                                <a:gd name="connsiteX2" fmla="*/ 193797 w 478226"/>
                                <a:gd name="connsiteY2" fmla="*/ 240275 h 738783"/>
                                <a:gd name="connsiteX3" fmla="*/ 124052 w 478226"/>
                                <a:gd name="connsiteY3" fmla="*/ 346052 h 738783"/>
                                <a:gd name="connsiteX4" fmla="*/ 68986 w 478226"/>
                                <a:gd name="connsiteY4" fmla="*/ 466377 h 738783"/>
                                <a:gd name="connsiteX5" fmla="*/ 61208 w 478226"/>
                                <a:gd name="connsiteY5" fmla="*/ 586025 h 738783"/>
                                <a:gd name="connsiteX6" fmla="*/ 4586 w 478226"/>
                                <a:gd name="connsiteY6" fmla="*/ 665546 h 738783"/>
                                <a:gd name="connsiteX7" fmla="*/ 10258 w 478226"/>
                                <a:gd name="connsiteY7" fmla="*/ 738681 h 738783"/>
                                <a:gd name="connsiteX8" fmla="*/ 64836 w 478226"/>
                                <a:gd name="connsiteY8" fmla="*/ 649505 h 738783"/>
                                <a:gd name="connsiteX9" fmla="*/ 92902 w 478226"/>
                                <a:gd name="connsiteY9" fmla="*/ 576420 h 738783"/>
                                <a:gd name="connsiteX10" fmla="*/ 91137 w 478226"/>
                                <a:gd name="connsiteY10" fmla="*/ 522362 h 738783"/>
                                <a:gd name="connsiteX11" fmla="*/ 121806 w 478226"/>
                                <a:gd name="connsiteY11" fmla="*/ 431641 h 738783"/>
                                <a:gd name="connsiteX12" fmla="*/ 165796 w 478226"/>
                                <a:gd name="connsiteY12" fmla="*/ 380347 h 738783"/>
                                <a:gd name="connsiteX13" fmla="*/ 202417 w 478226"/>
                                <a:gd name="connsiteY13" fmla="*/ 348809 h 738783"/>
                                <a:gd name="connsiteX14" fmla="*/ 360628 w 478226"/>
                                <a:gd name="connsiteY14" fmla="*/ 314719 h 738783"/>
                                <a:gd name="connsiteX15" fmla="*/ 471869 w 478226"/>
                                <a:gd name="connsiteY15" fmla="*/ 124742 h 738783"/>
                                <a:gd name="connsiteX16" fmla="*/ 455702 w 478226"/>
                                <a:gd name="connsiteY16" fmla="*/ 99562 h 738783"/>
                                <a:gd name="connsiteX17" fmla="*/ 352656 w 478226"/>
                                <a:gd name="connsiteY17" fmla="*/ 263285 h 738783"/>
                                <a:gd name="connsiteX18" fmla="*/ 331375 w 478226"/>
                                <a:gd name="connsiteY18" fmla="*/ 228653 h 738783"/>
                                <a:gd name="connsiteX19" fmla="*/ 356168 w 478226"/>
                                <a:gd name="connsiteY19" fmla="*/ 176698 h 738783"/>
                                <a:gd name="connsiteX20" fmla="*/ 385093 w 478226"/>
                                <a:gd name="connsiteY20" fmla="*/ 67015 h 738783"/>
                                <a:gd name="connsiteX21" fmla="*/ 350259 w 478226"/>
                                <a:gd name="connsiteY21" fmla="*/ 6198 h 738783"/>
                                <a:gd name="connsiteX22" fmla="*/ 290494 w 478226"/>
                                <a:gd name="connsiteY22" fmla="*/ 10858 h 738783"/>
                                <a:gd name="connsiteX0" fmla="*/ 290494 w 478226"/>
                                <a:gd name="connsiteY0" fmla="*/ 10460 h 738385"/>
                                <a:gd name="connsiteX1" fmla="*/ 215673 w 478226"/>
                                <a:gd name="connsiteY1" fmla="*/ 153208 h 738385"/>
                                <a:gd name="connsiteX2" fmla="*/ 193797 w 478226"/>
                                <a:gd name="connsiteY2" fmla="*/ 239877 h 738385"/>
                                <a:gd name="connsiteX3" fmla="*/ 124052 w 478226"/>
                                <a:gd name="connsiteY3" fmla="*/ 345654 h 738385"/>
                                <a:gd name="connsiteX4" fmla="*/ 68986 w 478226"/>
                                <a:gd name="connsiteY4" fmla="*/ 465979 h 738385"/>
                                <a:gd name="connsiteX5" fmla="*/ 61208 w 478226"/>
                                <a:gd name="connsiteY5" fmla="*/ 585627 h 738385"/>
                                <a:gd name="connsiteX6" fmla="*/ 4586 w 478226"/>
                                <a:gd name="connsiteY6" fmla="*/ 665148 h 738385"/>
                                <a:gd name="connsiteX7" fmla="*/ 10258 w 478226"/>
                                <a:gd name="connsiteY7" fmla="*/ 738283 h 738385"/>
                                <a:gd name="connsiteX8" fmla="*/ 64836 w 478226"/>
                                <a:gd name="connsiteY8" fmla="*/ 649107 h 738385"/>
                                <a:gd name="connsiteX9" fmla="*/ 92902 w 478226"/>
                                <a:gd name="connsiteY9" fmla="*/ 576022 h 738385"/>
                                <a:gd name="connsiteX10" fmla="*/ 91137 w 478226"/>
                                <a:gd name="connsiteY10" fmla="*/ 521964 h 738385"/>
                                <a:gd name="connsiteX11" fmla="*/ 121806 w 478226"/>
                                <a:gd name="connsiteY11" fmla="*/ 431243 h 738385"/>
                                <a:gd name="connsiteX12" fmla="*/ 165796 w 478226"/>
                                <a:gd name="connsiteY12" fmla="*/ 379949 h 738385"/>
                                <a:gd name="connsiteX13" fmla="*/ 202417 w 478226"/>
                                <a:gd name="connsiteY13" fmla="*/ 348411 h 738385"/>
                                <a:gd name="connsiteX14" fmla="*/ 360628 w 478226"/>
                                <a:gd name="connsiteY14" fmla="*/ 314321 h 738385"/>
                                <a:gd name="connsiteX15" fmla="*/ 471869 w 478226"/>
                                <a:gd name="connsiteY15" fmla="*/ 124344 h 738385"/>
                                <a:gd name="connsiteX16" fmla="*/ 455702 w 478226"/>
                                <a:gd name="connsiteY16" fmla="*/ 99164 h 738385"/>
                                <a:gd name="connsiteX17" fmla="*/ 352656 w 478226"/>
                                <a:gd name="connsiteY17" fmla="*/ 262887 h 738385"/>
                                <a:gd name="connsiteX18" fmla="*/ 331375 w 478226"/>
                                <a:gd name="connsiteY18" fmla="*/ 228255 h 738385"/>
                                <a:gd name="connsiteX19" fmla="*/ 356168 w 478226"/>
                                <a:gd name="connsiteY19" fmla="*/ 176300 h 738385"/>
                                <a:gd name="connsiteX20" fmla="*/ 422283 w 478226"/>
                                <a:gd name="connsiteY20" fmla="*/ 60844 h 738385"/>
                                <a:gd name="connsiteX21" fmla="*/ 350259 w 478226"/>
                                <a:gd name="connsiteY21" fmla="*/ 5800 h 738385"/>
                                <a:gd name="connsiteX22" fmla="*/ 290494 w 478226"/>
                                <a:gd name="connsiteY22" fmla="*/ 10460 h 738385"/>
                                <a:gd name="connsiteX0" fmla="*/ 290494 w 478226"/>
                                <a:gd name="connsiteY0" fmla="*/ 11259 h 739184"/>
                                <a:gd name="connsiteX1" fmla="*/ 215673 w 478226"/>
                                <a:gd name="connsiteY1" fmla="*/ 154007 h 739184"/>
                                <a:gd name="connsiteX2" fmla="*/ 193797 w 478226"/>
                                <a:gd name="connsiteY2" fmla="*/ 240676 h 739184"/>
                                <a:gd name="connsiteX3" fmla="*/ 124052 w 478226"/>
                                <a:gd name="connsiteY3" fmla="*/ 346453 h 739184"/>
                                <a:gd name="connsiteX4" fmla="*/ 68986 w 478226"/>
                                <a:gd name="connsiteY4" fmla="*/ 466778 h 739184"/>
                                <a:gd name="connsiteX5" fmla="*/ 61208 w 478226"/>
                                <a:gd name="connsiteY5" fmla="*/ 586426 h 739184"/>
                                <a:gd name="connsiteX6" fmla="*/ 4586 w 478226"/>
                                <a:gd name="connsiteY6" fmla="*/ 665947 h 739184"/>
                                <a:gd name="connsiteX7" fmla="*/ 10258 w 478226"/>
                                <a:gd name="connsiteY7" fmla="*/ 739082 h 739184"/>
                                <a:gd name="connsiteX8" fmla="*/ 64836 w 478226"/>
                                <a:gd name="connsiteY8" fmla="*/ 649906 h 739184"/>
                                <a:gd name="connsiteX9" fmla="*/ 92902 w 478226"/>
                                <a:gd name="connsiteY9" fmla="*/ 576821 h 739184"/>
                                <a:gd name="connsiteX10" fmla="*/ 91137 w 478226"/>
                                <a:gd name="connsiteY10" fmla="*/ 522763 h 739184"/>
                                <a:gd name="connsiteX11" fmla="*/ 121806 w 478226"/>
                                <a:gd name="connsiteY11" fmla="*/ 432042 h 739184"/>
                                <a:gd name="connsiteX12" fmla="*/ 165796 w 478226"/>
                                <a:gd name="connsiteY12" fmla="*/ 380748 h 739184"/>
                                <a:gd name="connsiteX13" fmla="*/ 202417 w 478226"/>
                                <a:gd name="connsiteY13" fmla="*/ 349210 h 739184"/>
                                <a:gd name="connsiteX14" fmla="*/ 360628 w 478226"/>
                                <a:gd name="connsiteY14" fmla="*/ 315120 h 739184"/>
                                <a:gd name="connsiteX15" fmla="*/ 471869 w 478226"/>
                                <a:gd name="connsiteY15" fmla="*/ 125143 h 739184"/>
                                <a:gd name="connsiteX16" fmla="*/ 455702 w 478226"/>
                                <a:gd name="connsiteY16" fmla="*/ 99963 h 739184"/>
                                <a:gd name="connsiteX17" fmla="*/ 352656 w 478226"/>
                                <a:gd name="connsiteY17" fmla="*/ 263686 h 739184"/>
                                <a:gd name="connsiteX18" fmla="*/ 331375 w 478226"/>
                                <a:gd name="connsiteY18" fmla="*/ 229054 h 739184"/>
                                <a:gd name="connsiteX19" fmla="*/ 356168 w 478226"/>
                                <a:gd name="connsiteY19" fmla="*/ 177099 h 739184"/>
                                <a:gd name="connsiteX20" fmla="*/ 385093 w 478226"/>
                                <a:gd name="connsiteY20" fmla="*/ 73189 h 739184"/>
                                <a:gd name="connsiteX21" fmla="*/ 350259 w 478226"/>
                                <a:gd name="connsiteY21" fmla="*/ 6599 h 739184"/>
                                <a:gd name="connsiteX22" fmla="*/ 290494 w 478226"/>
                                <a:gd name="connsiteY22" fmla="*/ 11259 h 739184"/>
                                <a:gd name="connsiteX0" fmla="*/ 290494 w 478226"/>
                                <a:gd name="connsiteY0" fmla="*/ 11259 h 739184"/>
                                <a:gd name="connsiteX1" fmla="*/ 215673 w 478226"/>
                                <a:gd name="connsiteY1" fmla="*/ 154007 h 739184"/>
                                <a:gd name="connsiteX2" fmla="*/ 193797 w 478226"/>
                                <a:gd name="connsiteY2" fmla="*/ 240676 h 739184"/>
                                <a:gd name="connsiteX3" fmla="*/ 124052 w 478226"/>
                                <a:gd name="connsiteY3" fmla="*/ 346453 h 739184"/>
                                <a:gd name="connsiteX4" fmla="*/ 68986 w 478226"/>
                                <a:gd name="connsiteY4" fmla="*/ 466778 h 739184"/>
                                <a:gd name="connsiteX5" fmla="*/ 61208 w 478226"/>
                                <a:gd name="connsiteY5" fmla="*/ 586426 h 739184"/>
                                <a:gd name="connsiteX6" fmla="*/ 4586 w 478226"/>
                                <a:gd name="connsiteY6" fmla="*/ 665947 h 739184"/>
                                <a:gd name="connsiteX7" fmla="*/ 10258 w 478226"/>
                                <a:gd name="connsiteY7" fmla="*/ 739082 h 739184"/>
                                <a:gd name="connsiteX8" fmla="*/ 64836 w 478226"/>
                                <a:gd name="connsiteY8" fmla="*/ 649906 h 739184"/>
                                <a:gd name="connsiteX9" fmla="*/ 92902 w 478226"/>
                                <a:gd name="connsiteY9" fmla="*/ 576821 h 739184"/>
                                <a:gd name="connsiteX10" fmla="*/ 91137 w 478226"/>
                                <a:gd name="connsiteY10" fmla="*/ 522763 h 739184"/>
                                <a:gd name="connsiteX11" fmla="*/ 121806 w 478226"/>
                                <a:gd name="connsiteY11" fmla="*/ 432042 h 739184"/>
                                <a:gd name="connsiteX12" fmla="*/ 165796 w 478226"/>
                                <a:gd name="connsiteY12" fmla="*/ 380748 h 739184"/>
                                <a:gd name="connsiteX13" fmla="*/ 202417 w 478226"/>
                                <a:gd name="connsiteY13" fmla="*/ 349210 h 739184"/>
                                <a:gd name="connsiteX14" fmla="*/ 360628 w 478226"/>
                                <a:gd name="connsiteY14" fmla="*/ 315120 h 739184"/>
                                <a:gd name="connsiteX15" fmla="*/ 471869 w 478226"/>
                                <a:gd name="connsiteY15" fmla="*/ 125143 h 739184"/>
                                <a:gd name="connsiteX16" fmla="*/ 455702 w 478226"/>
                                <a:gd name="connsiteY16" fmla="*/ 99963 h 739184"/>
                                <a:gd name="connsiteX17" fmla="*/ 352656 w 478226"/>
                                <a:gd name="connsiteY17" fmla="*/ 263686 h 739184"/>
                                <a:gd name="connsiteX18" fmla="*/ 331375 w 478226"/>
                                <a:gd name="connsiteY18" fmla="*/ 229054 h 739184"/>
                                <a:gd name="connsiteX19" fmla="*/ 385093 w 478226"/>
                                <a:gd name="connsiteY19" fmla="*/ 171326 h 739184"/>
                                <a:gd name="connsiteX20" fmla="*/ 385093 w 478226"/>
                                <a:gd name="connsiteY20" fmla="*/ 73189 h 739184"/>
                                <a:gd name="connsiteX21" fmla="*/ 350259 w 478226"/>
                                <a:gd name="connsiteY21" fmla="*/ 6599 h 739184"/>
                                <a:gd name="connsiteX22" fmla="*/ 290494 w 478226"/>
                                <a:gd name="connsiteY22" fmla="*/ 11259 h 739184"/>
                                <a:gd name="connsiteX0" fmla="*/ 290494 w 478226"/>
                                <a:gd name="connsiteY0" fmla="*/ 11259 h 739184"/>
                                <a:gd name="connsiteX1" fmla="*/ 215673 w 478226"/>
                                <a:gd name="connsiteY1" fmla="*/ 154007 h 739184"/>
                                <a:gd name="connsiteX2" fmla="*/ 193797 w 478226"/>
                                <a:gd name="connsiteY2" fmla="*/ 240676 h 739184"/>
                                <a:gd name="connsiteX3" fmla="*/ 124052 w 478226"/>
                                <a:gd name="connsiteY3" fmla="*/ 346453 h 739184"/>
                                <a:gd name="connsiteX4" fmla="*/ 68986 w 478226"/>
                                <a:gd name="connsiteY4" fmla="*/ 466778 h 739184"/>
                                <a:gd name="connsiteX5" fmla="*/ 61208 w 478226"/>
                                <a:gd name="connsiteY5" fmla="*/ 586426 h 739184"/>
                                <a:gd name="connsiteX6" fmla="*/ 4586 w 478226"/>
                                <a:gd name="connsiteY6" fmla="*/ 665947 h 739184"/>
                                <a:gd name="connsiteX7" fmla="*/ 10258 w 478226"/>
                                <a:gd name="connsiteY7" fmla="*/ 739082 h 739184"/>
                                <a:gd name="connsiteX8" fmla="*/ 64836 w 478226"/>
                                <a:gd name="connsiteY8" fmla="*/ 649906 h 739184"/>
                                <a:gd name="connsiteX9" fmla="*/ 92902 w 478226"/>
                                <a:gd name="connsiteY9" fmla="*/ 576821 h 739184"/>
                                <a:gd name="connsiteX10" fmla="*/ 91137 w 478226"/>
                                <a:gd name="connsiteY10" fmla="*/ 522763 h 739184"/>
                                <a:gd name="connsiteX11" fmla="*/ 121806 w 478226"/>
                                <a:gd name="connsiteY11" fmla="*/ 432042 h 739184"/>
                                <a:gd name="connsiteX12" fmla="*/ 165796 w 478226"/>
                                <a:gd name="connsiteY12" fmla="*/ 380748 h 739184"/>
                                <a:gd name="connsiteX13" fmla="*/ 202417 w 478226"/>
                                <a:gd name="connsiteY13" fmla="*/ 349210 h 739184"/>
                                <a:gd name="connsiteX14" fmla="*/ 360628 w 478226"/>
                                <a:gd name="connsiteY14" fmla="*/ 315120 h 739184"/>
                                <a:gd name="connsiteX15" fmla="*/ 471869 w 478226"/>
                                <a:gd name="connsiteY15" fmla="*/ 125143 h 739184"/>
                                <a:gd name="connsiteX16" fmla="*/ 455702 w 478226"/>
                                <a:gd name="connsiteY16" fmla="*/ 99963 h 739184"/>
                                <a:gd name="connsiteX17" fmla="*/ 352656 w 478226"/>
                                <a:gd name="connsiteY17" fmla="*/ 263686 h 739184"/>
                                <a:gd name="connsiteX18" fmla="*/ 356168 w 478226"/>
                                <a:gd name="connsiteY18" fmla="*/ 240600 h 739184"/>
                                <a:gd name="connsiteX19" fmla="*/ 385093 w 478226"/>
                                <a:gd name="connsiteY19" fmla="*/ 171326 h 739184"/>
                                <a:gd name="connsiteX20" fmla="*/ 385093 w 478226"/>
                                <a:gd name="connsiteY20" fmla="*/ 73189 h 739184"/>
                                <a:gd name="connsiteX21" fmla="*/ 350259 w 478226"/>
                                <a:gd name="connsiteY21" fmla="*/ 6599 h 739184"/>
                                <a:gd name="connsiteX22" fmla="*/ 290494 w 478226"/>
                                <a:gd name="connsiteY22" fmla="*/ 11259 h 739184"/>
                                <a:gd name="connsiteX0" fmla="*/ 302917 w 490649"/>
                                <a:gd name="connsiteY0" fmla="*/ 11259 h 804978"/>
                                <a:gd name="connsiteX1" fmla="*/ 228096 w 490649"/>
                                <a:gd name="connsiteY1" fmla="*/ 154007 h 804978"/>
                                <a:gd name="connsiteX2" fmla="*/ 206220 w 490649"/>
                                <a:gd name="connsiteY2" fmla="*/ 240676 h 804978"/>
                                <a:gd name="connsiteX3" fmla="*/ 136475 w 490649"/>
                                <a:gd name="connsiteY3" fmla="*/ 346453 h 804978"/>
                                <a:gd name="connsiteX4" fmla="*/ 81409 w 490649"/>
                                <a:gd name="connsiteY4" fmla="*/ 466778 h 804978"/>
                                <a:gd name="connsiteX5" fmla="*/ 73631 w 490649"/>
                                <a:gd name="connsiteY5" fmla="*/ 586426 h 804978"/>
                                <a:gd name="connsiteX6" fmla="*/ 17009 w 490649"/>
                                <a:gd name="connsiteY6" fmla="*/ 665947 h 804978"/>
                                <a:gd name="connsiteX7" fmla="*/ 3828 w 490649"/>
                                <a:gd name="connsiteY7" fmla="*/ 804928 h 804978"/>
                                <a:gd name="connsiteX8" fmla="*/ 77259 w 490649"/>
                                <a:gd name="connsiteY8" fmla="*/ 649906 h 804978"/>
                                <a:gd name="connsiteX9" fmla="*/ 105325 w 490649"/>
                                <a:gd name="connsiteY9" fmla="*/ 576821 h 804978"/>
                                <a:gd name="connsiteX10" fmla="*/ 103560 w 490649"/>
                                <a:gd name="connsiteY10" fmla="*/ 522763 h 804978"/>
                                <a:gd name="connsiteX11" fmla="*/ 134229 w 490649"/>
                                <a:gd name="connsiteY11" fmla="*/ 432042 h 804978"/>
                                <a:gd name="connsiteX12" fmla="*/ 178219 w 490649"/>
                                <a:gd name="connsiteY12" fmla="*/ 380748 h 804978"/>
                                <a:gd name="connsiteX13" fmla="*/ 214840 w 490649"/>
                                <a:gd name="connsiteY13" fmla="*/ 349210 h 804978"/>
                                <a:gd name="connsiteX14" fmla="*/ 373051 w 490649"/>
                                <a:gd name="connsiteY14" fmla="*/ 315120 h 804978"/>
                                <a:gd name="connsiteX15" fmla="*/ 484292 w 490649"/>
                                <a:gd name="connsiteY15" fmla="*/ 125143 h 804978"/>
                                <a:gd name="connsiteX16" fmla="*/ 468125 w 490649"/>
                                <a:gd name="connsiteY16" fmla="*/ 99963 h 804978"/>
                                <a:gd name="connsiteX17" fmla="*/ 365079 w 490649"/>
                                <a:gd name="connsiteY17" fmla="*/ 263686 h 804978"/>
                                <a:gd name="connsiteX18" fmla="*/ 368591 w 490649"/>
                                <a:gd name="connsiteY18" fmla="*/ 240600 h 804978"/>
                                <a:gd name="connsiteX19" fmla="*/ 397516 w 490649"/>
                                <a:gd name="connsiteY19" fmla="*/ 171326 h 804978"/>
                                <a:gd name="connsiteX20" fmla="*/ 397516 w 490649"/>
                                <a:gd name="connsiteY20" fmla="*/ 73189 h 804978"/>
                                <a:gd name="connsiteX21" fmla="*/ 362682 w 490649"/>
                                <a:gd name="connsiteY21" fmla="*/ 6599 h 804978"/>
                                <a:gd name="connsiteX22" fmla="*/ 302917 w 490649"/>
                                <a:gd name="connsiteY22" fmla="*/ 11259 h 804978"/>
                                <a:gd name="connsiteX0" fmla="*/ 317402 w 505134"/>
                                <a:gd name="connsiteY0" fmla="*/ 11259 h 810049"/>
                                <a:gd name="connsiteX1" fmla="*/ 242581 w 505134"/>
                                <a:gd name="connsiteY1" fmla="*/ 154007 h 810049"/>
                                <a:gd name="connsiteX2" fmla="*/ 220705 w 505134"/>
                                <a:gd name="connsiteY2" fmla="*/ 240676 h 810049"/>
                                <a:gd name="connsiteX3" fmla="*/ 150960 w 505134"/>
                                <a:gd name="connsiteY3" fmla="*/ 346453 h 810049"/>
                                <a:gd name="connsiteX4" fmla="*/ 95894 w 505134"/>
                                <a:gd name="connsiteY4" fmla="*/ 466778 h 810049"/>
                                <a:gd name="connsiteX5" fmla="*/ 88116 w 505134"/>
                                <a:gd name="connsiteY5" fmla="*/ 586426 h 810049"/>
                                <a:gd name="connsiteX6" fmla="*/ 31494 w 505134"/>
                                <a:gd name="connsiteY6" fmla="*/ 665947 h 810049"/>
                                <a:gd name="connsiteX7" fmla="*/ 504 w 505134"/>
                                <a:gd name="connsiteY7" fmla="*/ 763038 h 810049"/>
                                <a:gd name="connsiteX8" fmla="*/ 18313 w 505134"/>
                                <a:gd name="connsiteY8" fmla="*/ 804928 h 810049"/>
                                <a:gd name="connsiteX9" fmla="*/ 91744 w 505134"/>
                                <a:gd name="connsiteY9" fmla="*/ 649906 h 810049"/>
                                <a:gd name="connsiteX10" fmla="*/ 119810 w 505134"/>
                                <a:gd name="connsiteY10" fmla="*/ 576821 h 810049"/>
                                <a:gd name="connsiteX11" fmla="*/ 118045 w 505134"/>
                                <a:gd name="connsiteY11" fmla="*/ 522763 h 810049"/>
                                <a:gd name="connsiteX12" fmla="*/ 148714 w 505134"/>
                                <a:gd name="connsiteY12" fmla="*/ 432042 h 810049"/>
                                <a:gd name="connsiteX13" fmla="*/ 192704 w 505134"/>
                                <a:gd name="connsiteY13" fmla="*/ 380748 h 810049"/>
                                <a:gd name="connsiteX14" fmla="*/ 229325 w 505134"/>
                                <a:gd name="connsiteY14" fmla="*/ 349210 h 810049"/>
                                <a:gd name="connsiteX15" fmla="*/ 387536 w 505134"/>
                                <a:gd name="connsiteY15" fmla="*/ 315120 h 810049"/>
                                <a:gd name="connsiteX16" fmla="*/ 498777 w 505134"/>
                                <a:gd name="connsiteY16" fmla="*/ 125143 h 810049"/>
                                <a:gd name="connsiteX17" fmla="*/ 482610 w 505134"/>
                                <a:gd name="connsiteY17" fmla="*/ 99963 h 810049"/>
                                <a:gd name="connsiteX18" fmla="*/ 379564 w 505134"/>
                                <a:gd name="connsiteY18" fmla="*/ 263686 h 810049"/>
                                <a:gd name="connsiteX19" fmla="*/ 383076 w 505134"/>
                                <a:gd name="connsiteY19" fmla="*/ 240600 h 810049"/>
                                <a:gd name="connsiteX20" fmla="*/ 412001 w 505134"/>
                                <a:gd name="connsiteY20" fmla="*/ 171326 h 810049"/>
                                <a:gd name="connsiteX21" fmla="*/ 412001 w 505134"/>
                                <a:gd name="connsiteY21" fmla="*/ 73189 h 810049"/>
                                <a:gd name="connsiteX22" fmla="*/ 377167 w 505134"/>
                                <a:gd name="connsiteY22" fmla="*/ 6599 h 810049"/>
                                <a:gd name="connsiteX23" fmla="*/ 317402 w 505134"/>
                                <a:gd name="connsiteY23" fmla="*/ 11259 h 810049"/>
                                <a:gd name="connsiteX0" fmla="*/ 317402 w 505134"/>
                                <a:gd name="connsiteY0" fmla="*/ 11259 h 810049"/>
                                <a:gd name="connsiteX1" fmla="*/ 242581 w 505134"/>
                                <a:gd name="connsiteY1" fmla="*/ 154007 h 810049"/>
                                <a:gd name="connsiteX2" fmla="*/ 220705 w 505134"/>
                                <a:gd name="connsiteY2" fmla="*/ 240676 h 810049"/>
                                <a:gd name="connsiteX3" fmla="*/ 150960 w 505134"/>
                                <a:gd name="connsiteY3" fmla="*/ 346453 h 810049"/>
                                <a:gd name="connsiteX4" fmla="*/ 95894 w 505134"/>
                                <a:gd name="connsiteY4" fmla="*/ 466778 h 810049"/>
                                <a:gd name="connsiteX5" fmla="*/ 88116 w 505134"/>
                                <a:gd name="connsiteY5" fmla="*/ 586426 h 810049"/>
                                <a:gd name="connsiteX6" fmla="*/ 31494 w 505134"/>
                                <a:gd name="connsiteY6" fmla="*/ 665947 h 810049"/>
                                <a:gd name="connsiteX7" fmla="*/ 504 w 505134"/>
                                <a:gd name="connsiteY7" fmla="*/ 763038 h 810049"/>
                                <a:gd name="connsiteX8" fmla="*/ 18313 w 505134"/>
                                <a:gd name="connsiteY8" fmla="*/ 804928 h 810049"/>
                                <a:gd name="connsiteX9" fmla="*/ 91744 w 505134"/>
                                <a:gd name="connsiteY9" fmla="*/ 649906 h 810049"/>
                                <a:gd name="connsiteX10" fmla="*/ 119810 w 505134"/>
                                <a:gd name="connsiteY10" fmla="*/ 576821 h 810049"/>
                                <a:gd name="connsiteX11" fmla="*/ 118045 w 505134"/>
                                <a:gd name="connsiteY11" fmla="*/ 522763 h 810049"/>
                                <a:gd name="connsiteX12" fmla="*/ 148714 w 505134"/>
                                <a:gd name="connsiteY12" fmla="*/ 432042 h 810049"/>
                                <a:gd name="connsiteX13" fmla="*/ 192704 w 505134"/>
                                <a:gd name="connsiteY13" fmla="*/ 380748 h 810049"/>
                                <a:gd name="connsiteX14" fmla="*/ 229325 w 505134"/>
                                <a:gd name="connsiteY14" fmla="*/ 362942 h 810049"/>
                                <a:gd name="connsiteX15" fmla="*/ 387536 w 505134"/>
                                <a:gd name="connsiteY15" fmla="*/ 315120 h 810049"/>
                                <a:gd name="connsiteX16" fmla="*/ 498777 w 505134"/>
                                <a:gd name="connsiteY16" fmla="*/ 125143 h 810049"/>
                                <a:gd name="connsiteX17" fmla="*/ 482610 w 505134"/>
                                <a:gd name="connsiteY17" fmla="*/ 99963 h 810049"/>
                                <a:gd name="connsiteX18" fmla="*/ 379564 w 505134"/>
                                <a:gd name="connsiteY18" fmla="*/ 263686 h 810049"/>
                                <a:gd name="connsiteX19" fmla="*/ 383076 w 505134"/>
                                <a:gd name="connsiteY19" fmla="*/ 240600 h 810049"/>
                                <a:gd name="connsiteX20" fmla="*/ 412001 w 505134"/>
                                <a:gd name="connsiteY20" fmla="*/ 171326 h 810049"/>
                                <a:gd name="connsiteX21" fmla="*/ 412001 w 505134"/>
                                <a:gd name="connsiteY21" fmla="*/ 73189 h 810049"/>
                                <a:gd name="connsiteX22" fmla="*/ 377167 w 505134"/>
                                <a:gd name="connsiteY22" fmla="*/ 6599 h 810049"/>
                                <a:gd name="connsiteX23" fmla="*/ 317402 w 505134"/>
                                <a:gd name="connsiteY23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19810 w 505376"/>
                                <a:gd name="connsiteY10" fmla="*/ 576821 h 810049"/>
                                <a:gd name="connsiteX11" fmla="*/ 118045 w 505376"/>
                                <a:gd name="connsiteY11" fmla="*/ 522763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29325 w 505376"/>
                                <a:gd name="connsiteY14" fmla="*/ 362942 h 810049"/>
                                <a:gd name="connsiteX15" fmla="*/ 384205 w 505376"/>
                                <a:gd name="connsiteY15" fmla="*/ 305965 h 810049"/>
                                <a:gd name="connsiteX16" fmla="*/ 498777 w 505376"/>
                                <a:gd name="connsiteY16" fmla="*/ 125143 h 810049"/>
                                <a:gd name="connsiteX17" fmla="*/ 482610 w 505376"/>
                                <a:gd name="connsiteY17" fmla="*/ 99963 h 810049"/>
                                <a:gd name="connsiteX18" fmla="*/ 379564 w 505376"/>
                                <a:gd name="connsiteY18" fmla="*/ 263686 h 810049"/>
                                <a:gd name="connsiteX19" fmla="*/ 383076 w 505376"/>
                                <a:gd name="connsiteY19" fmla="*/ 240600 h 810049"/>
                                <a:gd name="connsiteX20" fmla="*/ 412001 w 505376"/>
                                <a:gd name="connsiteY20" fmla="*/ 171326 h 810049"/>
                                <a:gd name="connsiteX21" fmla="*/ 412001 w 505376"/>
                                <a:gd name="connsiteY21" fmla="*/ 73189 h 810049"/>
                                <a:gd name="connsiteX22" fmla="*/ 377167 w 505376"/>
                                <a:gd name="connsiteY22" fmla="*/ 6599 h 810049"/>
                                <a:gd name="connsiteX23" fmla="*/ 317402 w 505376"/>
                                <a:gd name="connsiteY23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19810 w 505376"/>
                                <a:gd name="connsiteY10" fmla="*/ 576821 h 810049"/>
                                <a:gd name="connsiteX11" fmla="*/ 118045 w 505376"/>
                                <a:gd name="connsiteY11" fmla="*/ 522763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29325 w 505376"/>
                                <a:gd name="connsiteY14" fmla="*/ 362942 h 810049"/>
                                <a:gd name="connsiteX15" fmla="*/ 311100 w 505376"/>
                                <a:gd name="connsiteY15" fmla="*/ 328761 h 810049"/>
                                <a:gd name="connsiteX16" fmla="*/ 384205 w 505376"/>
                                <a:gd name="connsiteY16" fmla="*/ 305965 h 810049"/>
                                <a:gd name="connsiteX17" fmla="*/ 498777 w 505376"/>
                                <a:gd name="connsiteY17" fmla="*/ 125143 h 810049"/>
                                <a:gd name="connsiteX18" fmla="*/ 482610 w 505376"/>
                                <a:gd name="connsiteY18" fmla="*/ 99963 h 810049"/>
                                <a:gd name="connsiteX19" fmla="*/ 379564 w 505376"/>
                                <a:gd name="connsiteY19" fmla="*/ 263686 h 810049"/>
                                <a:gd name="connsiteX20" fmla="*/ 383076 w 505376"/>
                                <a:gd name="connsiteY20" fmla="*/ 240600 h 810049"/>
                                <a:gd name="connsiteX21" fmla="*/ 412001 w 505376"/>
                                <a:gd name="connsiteY21" fmla="*/ 171326 h 810049"/>
                                <a:gd name="connsiteX22" fmla="*/ 412001 w 505376"/>
                                <a:gd name="connsiteY22" fmla="*/ 73189 h 810049"/>
                                <a:gd name="connsiteX23" fmla="*/ 377167 w 505376"/>
                                <a:gd name="connsiteY23" fmla="*/ 6599 h 810049"/>
                                <a:gd name="connsiteX24" fmla="*/ 317402 w 505376"/>
                                <a:gd name="connsiteY24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19810 w 505376"/>
                                <a:gd name="connsiteY10" fmla="*/ 576821 h 810049"/>
                                <a:gd name="connsiteX11" fmla="*/ 118045 w 505376"/>
                                <a:gd name="connsiteY11" fmla="*/ 522763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42651 w 505376"/>
                                <a:gd name="connsiteY14" fmla="*/ 367520 h 810049"/>
                                <a:gd name="connsiteX15" fmla="*/ 311100 w 505376"/>
                                <a:gd name="connsiteY15" fmla="*/ 328761 h 810049"/>
                                <a:gd name="connsiteX16" fmla="*/ 384205 w 505376"/>
                                <a:gd name="connsiteY16" fmla="*/ 305965 h 810049"/>
                                <a:gd name="connsiteX17" fmla="*/ 498777 w 505376"/>
                                <a:gd name="connsiteY17" fmla="*/ 125143 h 810049"/>
                                <a:gd name="connsiteX18" fmla="*/ 482610 w 505376"/>
                                <a:gd name="connsiteY18" fmla="*/ 99963 h 810049"/>
                                <a:gd name="connsiteX19" fmla="*/ 379564 w 505376"/>
                                <a:gd name="connsiteY19" fmla="*/ 263686 h 810049"/>
                                <a:gd name="connsiteX20" fmla="*/ 383076 w 505376"/>
                                <a:gd name="connsiteY20" fmla="*/ 240600 h 810049"/>
                                <a:gd name="connsiteX21" fmla="*/ 412001 w 505376"/>
                                <a:gd name="connsiteY21" fmla="*/ 171326 h 810049"/>
                                <a:gd name="connsiteX22" fmla="*/ 412001 w 505376"/>
                                <a:gd name="connsiteY22" fmla="*/ 73189 h 810049"/>
                                <a:gd name="connsiteX23" fmla="*/ 377167 w 505376"/>
                                <a:gd name="connsiteY23" fmla="*/ 6599 h 810049"/>
                                <a:gd name="connsiteX24" fmla="*/ 317402 w 505376"/>
                                <a:gd name="connsiteY24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19810 w 505376"/>
                                <a:gd name="connsiteY10" fmla="*/ 576821 h 810049"/>
                                <a:gd name="connsiteX11" fmla="*/ 104718 w 505376"/>
                                <a:gd name="connsiteY11" fmla="*/ 518185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42651 w 505376"/>
                                <a:gd name="connsiteY14" fmla="*/ 367520 h 810049"/>
                                <a:gd name="connsiteX15" fmla="*/ 311100 w 505376"/>
                                <a:gd name="connsiteY15" fmla="*/ 328761 h 810049"/>
                                <a:gd name="connsiteX16" fmla="*/ 384205 w 505376"/>
                                <a:gd name="connsiteY16" fmla="*/ 305965 h 810049"/>
                                <a:gd name="connsiteX17" fmla="*/ 498777 w 505376"/>
                                <a:gd name="connsiteY17" fmla="*/ 125143 h 810049"/>
                                <a:gd name="connsiteX18" fmla="*/ 482610 w 505376"/>
                                <a:gd name="connsiteY18" fmla="*/ 99963 h 810049"/>
                                <a:gd name="connsiteX19" fmla="*/ 379564 w 505376"/>
                                <a:gd name="connsiteY19" fmla="*/ 263686 h 810049"/>
                                <a:gd name="connsiteX20" fmla="*/ 383076 w 505376"/>
                                <a:gd name="connsiteY20" fmla="*/ 240600 h 810049"/>
                                <a:gd name="connsiteX21" fmla="*/ 412001 w 505376"/>
                                <a:gd name="connsiteY21" fmla="*/ 171326 h 810049"/>
                                <a:gd name="connsiteX22" fmla="*/ 412001 w 505376"/>
                                <a:gd name="connsiteY22" fmla="*/ 73189 h 810049"/>
                                <a:gd name="connsiteX23" fmla="*/ 377167 w 505376"/>
                                <a:gd name="connsiteY23" fmla="*/ 6599 h 810049"/>
                                <a:gd name="connsiteX24" fmla="*/ 317402 w 505376"/>
                                <a:gd name="connsiteY24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03152 w 505376"/>
                                <a:gd name="connsiteY10" fmla="*/ 581399 h 810049"/>
                                <a:gd name="connsiteX11" fmla="*/ 104718 w 505376"/>
                                <a:gd name="connsiteY11" fmla="*/ 518185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42651 w 505376"/>
                                <a:gd name="connsiteY14" fmla="*/ 367520 h 810049"/>
                                <a:gd name="connsiteX15" fmla="*/ 311100 w 505376"/>
                                <a:gd name="connsiteY15" fmla="*/ 328761 h 810049"/>
                                <a:gd name="connsiteX16" fmla="*/ 384205 w 505376"/>
                                <a:gd name="connsiteY16" fmla="*/ 305965 h 810049"/>
                                <a:gd name="connsiteX17" fmla="*/ 498777 w 505376"/>
                                <a:gd name="connsiteY17" fmla="*/ 125143 h 810049"/>
                                <a:gd name="connsiteX18" fmla="*/ 482610 w 505376"/>
                                <a:gd name="connsiteY18" fmla="*/ 99963 h 810049"/>
                                <a:gd name="connsiteX19" fmla="*/ 379564 w 505376"/>
                                <a:gd name="connsiteY19" fmla="*/ 263686 h 810049"/>
                                <a:gd name="connsiteX20" fmla="*/ 383076 w 505376"/>
                                <a:gd name="connsiteY20" fmla="*/ 240600 h 810049"/>
                                <a:gd name="connsiteX21" fmla="*/ 412001 w 505376"/>
                                <a:gd name="connsiteY21" fmla="*/ 171326 h 810049"/>
                                <a:gd name="connsiteX22" fmla="*/ 412001 w 505376"/>
                                <a:gd name="connsiteY22" fmla="*/ 73189 h 810049"/>
                                <a:gd name="connsiteX23" fmla="*/ 377167 w 505376"/>
                                <a:gd name="connsiteY23" fmla="*/ 6599 h 810049"/>
                                <a:gd name="connsiteX24" fmla="*/ 317402 w 505376"/>
                                <a:gd name="connsiteY24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03152 w 505376"/>
                                <a:gd name="connsiteY10" fmla="*/ 581399 h 810049"/>
                                <a:gd name="connsiteX11" fmla="*/ 104718 w 505376"/>
                                <a:gd name="connsiteY11" fmla="*/ 518185 h 810049"/>
                                <a:gd name="connsiteX12" fmla="*/ 148714 w 505376"/>
                                <a:gd name="connsiteY12" fmla="*/ 432042 h 810049"/>
                                <a:gd name="connsiteX13" fmla="*/ 192704 w 505376"/>
                                <a:gd name="connsiteY13" fmla="*/ 380748 h 810049"/>
                                <a:gd name="connsiteX14" fmla="*/ 242651 w 505376"/>
                                <a:gd name="connsiteY14" fmla="*/ 373672 h 810049"/>
                                <a:gd name="connsiteX15" fmla="*/ 311100 w 505376"/>
                                <a:gd name="connsiteY15" fmla="*/ 328761 h 810049"/>
                                <a:gd name="connsiteX16" fmla="*/ 384205 w 505376"/>
                                <a:gd name="connsiteY16" fmla="*/ 305965 h 810049"/>
                                <a:gd name="connsiteX17" fmla="*/ 498777 w 505376"/>
                                <a:gd name="connsiteY17" fmla="*/ 125143 h 810049"/>
                                <a:gd name="connsiteX18" fmla="*/ 482610 w 505376"/>
                                <a:gd name="connsiteY18" fmla="*/ 99963 h 810049"/>
                                <a:gd name="connsiteX19" fmla="*/ 379564 w 505376"/>
                                <a:gd name="connsiteY19" fmla="*/ 263686 h 810049"/>
                                <a:gd name="connsiteX20" fmla="*/ 383076 w 505376"/>
                                <a:gd name="connsiteY20" fmla="*/ 240600 h 810049"/>
                                <a:gd name="connsiteX21" fmla="*/ 412001 w 505376"/>
                                <a:gd name="connsiteY21" fmla="*/ 171326 h 810049"/>
                                <a:gd name="connsiteX22" fmla="*/ 412001 w 505376"/>
                                <a:gd name="connsiteY22" fmla="*/ 73189 h 810049"/>
                                <a:gd name="connsiteX23" fmla="*/ 377167 w 505376"/>
                                <a:gd name="connsiteY23" fmla="*/ 6599 h 810049"/>
                                <a:gd name="connsiteX24" fmla="*/ 317402 w 505376"/>
                                <a:gd name="connsiteY24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03152 w 505376"/>
                                <a:gd name="connsiteY10" fmla="*/ 581399 h 810049"/>
                                <a:gd name="connsiteX11" fmla="*/ 104718 w 505376"/>
                                <a:gd name="connsiteY11" fmla="*/ 518185 h 810049"/>
                                <a:gd name="connsiteX12" fmla="*/ 148714 w 505376"/>
                                <a:gd name="connsiteY12" fmla="*/ 432042 h 810049"/>
                                <a:gd name="connsiteX13" fmla="*/ 169470 w 505376"/>
                                <a:gd name="connsiteY13" fmla="*/ 412588 h 810049"/>
                                <a:gd name="connsiteX14" fmla="*/ 192704 w 505376"/>
                                <a:gd name="connsiteY14" fmla="*/ 380748 h 810049"/>
                                <a:gd name="connsiteX15" fmla="*/ 242651 w 505376"/>
                                <a:gd name="connsiteY15" fmla="*/ 373672 h 810049"/>
                                <a:gd name="connsiteX16" fmla="*/ 311100 w 505376"/>
                                <a:gd name="connsiteY16" fmla="*/ 328761 h 810049"/>
                                <a:gd name="connsiteX17" fmla="*/ 384205 w 505376"/>
                                <a:gd name="connsiteY17" fmla="*/ 305965 h 810049"/>
                                <a:gd name="connsiteX18" fmla="*/ 498777 w 505376"/>
                                <a:gd name="connsiteY18" fmla="*/ 125143 h 810049"/>
                                <a:gd name="connsiteX19" fmla="*/ 482610 w 505376"/>
                                <a:gd name="connsiteY19" fmla="*/ 99963 h 810049"/>
                                <a:gd name="connsiteX20" fmla="*/ 379564 w 505376"/>
                                <a:gd name="connsiteY20" fmla="*/ 263686 h 810049"/>
                                <a:gd name="connsiteX21" fmla="*/ 383076 w 505376"/>
                                <a:gd name="connsiteY21" fmla="*/ 240600 h 810049"/>
                                <a:gd name="connsiteX22" fmla="*/ 412001 w 505376"/>
                                <a:gd name="connsiteY22" fmla="*/ 171326 h 810049"/>
                                <a:gd name="connsiteX23" fmla="*/ 412001 w 505376"/>
                                <a:gd name="connsiteY23" fmla="*/ 73189 h 810049"/>
                                <a:gd name="connsiteX24" fmla="*/ 377167 w 505376"/>
                                <a:gd name="connsiteY24" fmla="*/ 6599 h 810049"/>
                                <a:gd name="connsiteX25" fmla="*/ 317402 w 505376"/>
                                <a:gd name="connsiteY25" fmla="*/ 11259 h 810049"/>
                                <a:gd name="connsiteX0" fmla="*/ 317402 w 505376"/>
                                <a:gd name="connsiteY0" fmla="*/ 11259 h 810049"/>
                                <a:gd name="connsiteX1" fmla="*/ 242581 w 505376"/>
                                <a:gd name="connsiteY1" fmla="*/ 154007 h 810049"/>
                                <a:gd name="connsiteX2" fmla="*/ 220705 w 505376"/>
                                <a:gd name="connsiteY2" fmla="*/ 240676 h 810049"/>
                                <a:gd name="connsiteX3" fmla="*/ 150960 w 505376"/>
                                <a:gd name="connsiteY3" fmla="*/ 346453 h 810049"/>
                                <a:gd name="connsiteX4" fmla="*/ 95894 w 505376"/>
                                <a:gd name="connsiteY4" fmla="*/ 466778 h 810049"/>
                                <a:gd name="connsiteX5" fmla="*/ 88116 w 505376"/>
                                <a:gd name="connsiteY5" fmla="*/ 586426 h 810049"/>
                                <a:gd name="connsiteX6" fmla="*/ 31494 w 505376"/>
                                <a:gd name="connsiteY6" fmla="*/ 665947 h 810049"/>
                                <a:gd name="connsiteX7" fmla="*/ 504 w 505376"/>
                                <a:gd name="connsiteY7" fmla="*/ 763038 h 810049"/>
                                <a:gd name="connsiteX8" fmla="*/ 18313 w 505376"/>
                                <a:gd name="connsiteY8" fmla="*/ 804928 h 810049"/>
                                <a:gd name="connsiteX9" fmla="*/ 91744 w 505376"/>
                                <a:gd name="connsiteY9" fmla="*/ 649906 h 810049"/>
                                <a:gd name="connsiteX10" fmla="*/ 103152 w 505376"/>
                                <a:gd name="connsiteY10" fmla="*/ 581399 h 810049"/>
                                <a:gd name="connsiteX11" fmla="*/ 104718 w 505376"/>
                                <a:gd name="connsiteY11" fmla="*/ 518185 h 810049"/>
                                <a:gd name="connsiteX12" fmla="*/ 148714 w 505376"/>
                                <a:gd name="connsiteY12" fmla="*/ 432042 h 810049"/>
                                <a:gd name="connsiteX13" fmla="*/ 169470 w 505376"/>
                                <a:gd name="connsiteY13" fmla="*/ 412588 h 810049"/>
                                <a:gd name="connsiteX14" fmla="*/ 194196 w 505376"/>
                                <a:gd name="connsiteY14" fmla="*/ 388950 h 810049"/>
                                <a:gd name="connsiteX15" fmla="*/ 242651 w 505376"/>
                                <a:gd name="connsiteY15" fmla="*/ 373672 h 810049"/>
                                <a:gd name="connsiteX16" fmla="*/ 311100 w 505376"/>
                                <a:gd name="connsiteY16" fmla="*/ 328761 h 810049"/>
                                <a:gd name="connsiteX17" fmla="*/ 384205 w 505376"/>
                                <a:gd name="connsiteY17" fmla="*/ 305965 h 810049"/>
                                <a:gd name="connsiteX18" fmla="*/ 498777 w 505376"/>
                                <a:gd name="connsiteY18" fmla="*/ 125143 h 810049"/>
                                <a:gd name="connsiteX19" fmla="*/ 482610 w 505376"/>
                                <a:gd name="connsiteY19" fmla="*/ 99963 h 810049"/>
                                <a:gd name="connsiteX20" fmla="*/ 379564 w 505376"/>
                                <a:gd name="connsiteY20" fmla="*/ 263686 h 810049"/>
                                <a:gd name="connsiteX21" fmla="*/ 383076 w 505376"/>
                                <a:gd name="connsiteY21" fmla="*/ 240600 h 810049"/>
                                <a:gd name="connsiteX22" fmla="*/ 412001 w 505376"/>
                                <a:gd name="connsiteY22" fmla="*/ 171326 h 810049"/>
                                <a:gd name="connsiteX23" fmla="*/ 412001 w 505376"/>
                                <a:gd name="connsiteY23" fmla="*/ 73189 h 810049"/>
                                <a:gd name="connsiteX24" fmla="*/ 377167 w 505376"/>
                                <a:gd name="connsiteY24" fmla="*/ 6599 h 810049"/>
                                <a:gd name="connsiteX25" fmla="*/ 317402 w 505376"/>
                                <a:gd name="connsiteY25" fmla="*/ 11259 h 810049"/>
                                <a:gd name="connsiteX0" fmla="*/ 317142 w 505116"/>
                                <a:gd name="connsiteY0" fmla="*/ 11259 h 805957"/>
                                <a:gd name="connsiteX1" fmla="*/ 242321 w 505116"/>
                                <a:gd name="connsiteY1" fmla="*/ 154007 h 805957"/>
                                <a:gd name="connsiteX2" fmla="*/ 220445 w 505116"/>
                                <a:gd name="connsiteY2" fmla="*/ 240676 h 805957"/>
                                <a:gd name="connsiteX3" fmla="*/ 150700 w 505116"/>
                                <a:gd name="connsiteY3" fmla="*/ 346453 h 805957"/>
                                <a:gd name="connsiteX4" fmla="*/ 95634 w 505116"/>
                                <a:gd name="connsiteY4" fmla="*/ 466778 h 805957"/>
                                <a:gd name="connsiteX5" fmla="*/ 87856 w 505116"/>
                                <a:gd name="connsiteY5" fmla="*/ 586426 h 805957"/>
                                <a:gd name="connsiteX6" fmla="*/ 31234 w 505116"/>
                                <a:gd name="connsiteY6" fmla="*/ 665947 h 805957"/>
                                <a:gd name="connsiteX7" fmla="*/ 244 w 505116"/>
                                <a:gd name="connsiteY7" fmla="*/ 763038 h 805957"/>
                                <a:gd name="connsiteX8" fmla="*/ 18053 w 505116"/>
                                <a:gd name="connsiteY8" fmla="*/ 804928 h 805957"/>
                                <a:gd name="connsiteX9" fmla="*/ 40873 w 505116"/>
                                <a:gd name="connsiteY9" fmla="*/ 724245 h 805957"/>
                                <a:gd name="connsiteX10" fmla="*/ 91484 w 505116"/>
                                <a:gd name="connsiteY10" fmla="*/ 649906 h 805957"/>
                                <a:gd name="connsiteX11" fmla="*/ 102892 w 505116"/>
                                <a:gd name="connsiteY11" fmla="*/ 581399 h 805957"/>
                                <a:gd name="connsiteX12" fmla="*/ 104458 w 505116"/>
                                <a:gd name="connsiteY12" fmla="*/ 518185 h 805957"/>
                                <a:gd name="connsiteX13" fmla="*/ 148454 w 505116"/>
                                <a:gd name="connsiteY13" fmla="*/ 432042 h 805957"/>
                                <a:gd name="connsiteX14" fmla="*/ 169210 w 505116"/>
                                <a:gd name="connsiteY14" fmla="*/ 412588 h 805957"/>
                                <a:gd name="connsiteX15" fmla="*/ 193936 w 505116"/>
                                <a:gd name="connsiteY15" fmla="*/ 388950 h 805957"/>
                                <a:gd name="connsiteX16" fmla="*/ 242391 w 505116"/>
                                <a:gd name="connsiteY16" fmla="*/ 373672 h 805957"/>
                                <a:gd name="connsiteX17" fmla="*/ 310840 w 505116"/>
                                <a:gd name="connsiteY17" fmla="*/ 328761 h 805957"/>
                                <a:gd name="connsiteX18" fmla="*/ 383945 w 505116"/>
                                <a:gd name="connsiteY18" fmla="*/ 305965 h 805957"/>
                                <a:gd name="connsiteX19" fmla="*/ 498517 w 505116"/>
                                <a:gd name="connsiteY19" fmla="*/ 125143 h 805957"/>
                                <a:gd name="connsiteX20" fmla="*/ 482350 w 505116"/>
                                <a:gd name="connsiteY20" fmla="*/ 99963 h 805957"/>
                                <a:gd name="connsiteX21" fmla="*/ 379304 w 505116"/>
                                <a:gd name="connsiteY21" fmla="*/ 263686 h 805957"/>
                                <a:gd name="connsiteX22" fmla="*/ 382816 w 505116"/>
                                <a:gd name="connsiteY22" fmla="*/ 240600 h 805957"/>
                                <a:gd name="connsiteX23" fmla="*/ 411741 w 505116"/>
                                <a:gd name="connsiteY23" fmla="*/ 171326 h 805957"/>
                                <a:gd name="connsiteX24" fmla="*/ 411741 w 505116"/>
                                <a:gd name="connsiteY24" fmla="*/ 73189 h 805957"/>
                                <a:gd name="connsiteX25" fmla="*/ 376907 w 505116"/>
                                <a:gd name="connsiteY25" fmla="*/ 6599 h 805957"/>
                                <a:gd name="connsiteX26" fmla="*/ 317142 w 505116"/>
                                <a:gd name="connsiteY26" fmla="*/ 11259 h 805957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8319 w 505579"/>
                                <a:gd name="connsiteY5" fmla="*/ 586426 h 803965"/>
                                <a:gd name="connsiteX6" fmla="*/ 31697 w 505579"/>
                                <a:gd name="connsiteY6" fmla="*/ 665947 h 803965"/>
                                <a:gd name="connsiteX7" fmla="*/ 707 w 505579"/>
                                <a:gd name="connsiteY7" fmla="*/ 763038 h 803965"/>
                                <a:gd name="connsiteX8" fmla="*/ 12547 w 505579"/>
                                <a:gd name="connsiteY8" fmla="*/ 802877 h 803965"/>
                                <a:gd name="connsiteX9" fmla="*/ 41336 w 505579"/>
                                <a:gd name="connsiteY9" fmla="*/ 724245 h 803965"/>
                                <a:gd name="connsiteX10" fmla="*/ 91947 w 505579"/>
                                <a:gd name="connsiteY10" fmla="*/ 649906 h 803965"/>
                                <a:gd name="connsiteX11" fmla="*/ 103355 w 505579"/>
                                <a:gd name="connsiteY11" fmla="*/ 581399 h 803965"/>
                                <a:gd name="connsiteX12" fmla="*/ 104921 w 505579"/>
                                <a:gd name="connsiteY12" fmla="*/ 518185 h 803965"/>
                                <a:gd name="connsiteX13" fmla="*/ 148917 w 505579"/>
                                <a:gd name="connsiteY13" fmla="*/ 432042 h 803965"/>
                                <a:gd name="connsiteX14" fmla="*/ 169673 w 505579"/>
                                <a:gd name="connsiteY14" fmla="*/ 412588 h 803965"/>
                                <a:gd name="connsiteX15" fmla="*/ 194399 w 505579"/>
                                <a:gd name="connsiteY15" fmla="*/ 388950 h 803965"/>
                                <a:gd name="connsiteX16" fmla="*/ 242854 w 505579"/>
                                <a:gd name="connsiteY16" fmla="*/ 373672 h 803965"/>
                                <a:gd name="connsiteX17" fmla="*/ 311303 w 505579"/>
                                <a:gd name="connsiteY17" fmla="*/ 328761 h 803965"/>
                                <a:gd name="connsiteX18" fmla="*/ 384408 w 505579"/>
                                <a:gd name="connsiteY18" fmla="*/ 305965 h 803965"/>
                                <a:gd name="connsiteX19" fmla="*/ 498980 w 505579"/>
                                <a:gd name="connsiteY19" fmla="*/ 125143 h 803965"/>
                                <a:gd name="connsiteX20" fmla="*/ 482813 w 505579"/>
                                <a:gd name="connsiteY20" fmla="*/ 99963 h 803965"/>
                                <a:gd name="connsiteX21" fmla="*/ 379767 w 505579"/>
                                <a:gd name="connsiteY21" fmla="*/ 263686 h 803965"/>
                                <a:gd name="connsiteX22" fmla="*/ 383279 w 505579"/>
                                <a:gd name="connsiteY22" fmla="*/ 240600 h 803965"/>
                                <a:gd name="connsiteX23" fmla="*/ 412204 w 505579"/>
                                <a:gd name="connsiteY23" fmla="*/ 171326 h 803965"/>
                                <a:gd name="connsiteX24" fmla="*/ 412204 w 505579"/>
                                <a:gd name="connsiteY24" fmla="*/ 73189 h 803965"/>
                                <a:gd name="connsiteX25" fmla="*/ 377370 w 505579"/>
                                <a:gd name="connsiteY25" fmla="*/ 6599 h 803965"/>
                                <a:gd name="connsiteX26" fmla="*/ 317605 w 505579"/>
                                <a:gd name="connsiteY26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8319 w 505579"/>
                                <a:gd name="connsiteY5" fmla="*/ 586426 h 803965"/>
                                <a:gd name="connsiteX6" fmla="*/ 31697 w 505579"/>
                                <a:gd name="connsiteY6" fmla="*/ 665947 h 803965"/>
                                <a:gd name="connsiteX7" fmla="*/ 707 w 505579"/>
                                <a:gd name="connsiteY7" fmla="*/ 763038 h 803965"/>
                                <a:gd name="connsiteX8" fmla="*/ 12547 w 505579"/>
                                <a:gd name="connsiteY8" fmla="*/ 802877 h 803965"/>
                                <a:gd name="connsiteX9" fmla="*/ 41336 w 505579"/>
                                <a:gd name="connsiteY9" fmla="*/ 724245 h 803965"/>
                                <a:gd name="connsiteX10" fmla="*/ 87597 w 505579"/>
                                <a:gd name="connsiteY10" fmla="*/ 666835 h 803965"/>
                                <a:gd name="connsiteX11" fmla="*/ 91947 w 505579"/>
                                <a:gd name="connsiteY11" fmla="*/ 649906 h 803965"/>
                                <a:gd name="connsiteX12" fmla="*/ 103355 w 505579"/>
                                <a:gd name="connsiteY12" fmla="*/ 581399 h 803965"/>
                                <a:gd name="connsiteX13" fmla="*/ 104921 w 505579"/>
                                <a:gd name="connsiteY13" fmla="*/ 518185 h 803965"/>
                                <a:gd name="connsiteX14" fmla="*/ 148917 w 505579"/>
                                <a:gd name="connsiteY14" fmla="*/ 432042 h 803965"/>
                                <a:gd name="connsiteX15" fmla="*/ 169673 w 505579"/>
                                <a:gd name="connsiteY15" fmla="*/ 412588 h 803965"/>
                                <a:gd name="connsiteX16" fmla="*/ 194399 w 505579"/>
                                <a:gd name="connsiteY16" fmla="*/ 388950 h 803965"/>
                                <a:gd name="connsiteX17" fmla="*/ 242854 w 505579"/>
                                <a:gd name="connsiteY17" fmla="*/ 373672 h 803965"/>
                                <a:gd name="connsiteX18" fmla="*/ 311303 w 505579"/>
                                <a:gd name="connsiteY18" fmla="*/ 328761 h 803965"/>
                                <a:gd name="connsiteX19" fmla="*/ 384408 w 505579"/>
                                <a:gd name="connsiteY19" fmla="*/ 305965 h 803965"/>
                                <a:gd name="connsiteX20" fmla="*/ 498980 w 505579"/>
                                <a:gd name="connsiteY20" fmla="*/ 125143 h 803965"/>
                                <a:gd name="connsiteX21" fmla="*/ 482813 w 505579"/>
                                <a:gd name="connsiteY21" fmla="*/ 99963 h 803965"/>
                                <a:gd name="connsiteX22" fmla="*/ 379767 w 505579"/>
                                <a:gd name="connsiteY22" fmla="*/ 263686 h 803965"/>
                                <a:gd name="connsiteX23" fmla="*/ 383279 w 505579"/>
                                <a:gd name="connsiteY23" fmla="*/ 240600 h 803965"/>
                                <a:gd name="connsiteX24" fmla="*/ 412204 w 505579"/>
                                <a:gd name="connsiteY24" fmla="*/ 171326 h 803965"/>
                                <a:gd name="connsiteX25" fmla="*/ 412204 w 505579"/>
                                <a:gd name="connsiteY25" fmla="*/ 73189 h 803965"/>
                                <a:gd name="connsiteX26" fmla="*/ 377370 w 505579"/>
                                <a:gd name="connsiteY26" fmla="*/ 6599 h 803965"/>
                                <a:gd name="connsiteX27" fmla="*/ 317605 w 505579"/>
                                <a:gd name="connsiteY27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8319 w 505579"/>
                                <a:gd name="connsiteY5" fmla="*/ 586426 h 803965"/>
                                <a:gd name="connsiteX6" fmla="*/ 31697 w 505579"/>
                                <a:gd name="connsiteY6" fmla="*/ 665947 h 803965"/>
                                <a:gd name="connsiteX7" fmla="*/ 707 w 505579"/>
                                <a:gd name="connsiteY7" fmla="*/ 763038 h 803965"/>
                                <a:gd name="connsiteX8" fmla="*/ 12547 w 505579"/>
                                <a:gd name="connsiteY8" fmla="*/ 802877 h 803965"/>
                                <a:gd name="connsiteX9" fmla="*/ 41336 w 505579"/>
                                <a:gd name="connsiteY9" fmla="*/ 724245 h 803965"/>
                                <a:gd name="connsiteX10" fmla="*/ 87597 w 505579"/>
                                <a:gd name="connsiteY10" fmla="*/ 666835 h 803965"/>
                                <a:gd name="connsiteX11" fmla="*/ 91947 w 505579"/>
                                <a:gd name="connsiteY11" fmla="*/ 649906 h 803965"/>
                                <a:gd name="connsiteX12" fmla="*/ 109982 w 505579"/>
                                <a:gd name="connsiteY12" fmla="*/ 609425 h 803965"/>
                                <a:gd name="connsiteX13" fmla="*/ 103355 w 505579"/>
                                <a:gd name="connsiteY13" fmla="*/ 581399 h 803965"/>
                                <a:gd name="connsiteX14" fmla="*/ 104921 w 505579"/>
                                <a:gd name="connsiteY14" fmla="*/ 518185 h 803965"/>
                                <a:gd name="connsiteX15" fmla="*/ 148917 w 505579"/>
                                <a:gd name="connsiteY15" fmla="*/ 432042 h 803965"/>
                                <a:gd name="connsiteX16" fmla="*/ 169673 w 505579"/>
                                <a:gd name="connsiteY16" fmla="*/ 412588 h 803965"/>
                                <a:gd name="connsiteX17" fmla="*/ 194399 w 505579"/>
                                <a:gd name="connsiteY17" fmla="*/ 388950 h 803965"/>
                                <a:gd name="connsiteX18" fmla="*/ 242854 w 505579"/>
                                <a:gd name="connsiteY18" fmla="*/ 373672 h 803965"/>
                                <a:gd name="connsiteX19" fmla="*/ 311303 w 505579"/>
                                <a:gd name="connsiteY19" fmla="*/ 328761 h 803965"/>
                                <a:gd name="connsiteX20" fmla="*/ 384408 w 505579"/>
                                <a:gd name="connsiteY20" fmla="*/ 305965 h 803965"/>
                                <a:gd name="connsiteX21" fmla="*/ 498980 w 505579"/>
                                <a:gd name="connsiteY21" fmla="*/ 125143 h 803965"/>
                                <a:gd name="connsiteX22" fmla="*/ 482813 w 505579"/>
                                <a:gd name="connsiteY22" fmla="*/ 99963 h 803965"/>
                                <a:gd name="connsiteX23" fmla="*/ 379767 w 505579"/>
                                <a:gd name="connsiteY23" fmla="*/ 263686 h 803965"/>
                                <a:gd name="connsiteX24" fmla="*/ 383279 w 505579"/>
                                <a:gd name="connsiteY24" fmla="*/ 240600 h 803965"/>
                                <a:gd name="connsiteX25" fmla="*/ 412204 w 505579"/>
                                <a:gd name="connsiteY25" fmla="*/ 171326 h 803965"/>
                                <a:gd name="connsiteX26" fmla="*/ 412204 w 505579"/>
                                <a:gd name="connsiteY26" fmla="*/ 73189 h 803965"/>
                                <a:gd name="connsiteX27" fmla="*/ 377370 w 505579"/>
                                <a:gd name="connsiteY27" fmla="*/ 6599 h 803965"/>
                                <a:gd name="connsiteX28" fmla="*/ 317605 w 505579"/>
                                <a:gd name="connsiteY28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8319 w 505579"/>
                                <a:gd name="connsiteY5" fmla="*/ 586426 h 803965"/>
                                <a:gd name="connsiteX6" fmla="*/ 31697 w 505579"/>
                                <a:gd name="connsiteY6" fmla="*/ 665947 h 803965"/>
                                <a:gd name="connsiteX7" fmla="*/ 707 w 505579"/>
                                <a:gd name="connsiteY7" fmla="*/ 763038 h 803965"/>
                                <a:gd name="connsiteX8" fmla="*/ 12547 w 505579"/>
                                <a:gd name="connsiteY8" fmla="*/ 802877 h 803965"/>
                                <a:gd name="connsiteX9" fmla="*/ 41336 w 505579"/>
                                <a:gd name="connsiteY9" fmla="*/ 724245 h 803965"/>
                                <a:gd name="connsiteX10" fmla="*/ 87597 w 505579"/>
                                <a:gd name="connsiteY10" fmla="*/ 666835 h 803965"/>
                                <a:gd name="connsiteX11" fmla="*/ 91947 w 505579"/>
                                <a:gd name="connsiteY11" fmla="*/ 649906 h 803965"/>
                                <a:gd name="connsiteX12" fmla="*/ 109982 w 505579"/>
                                <a:gd name="connsiteY12" fmla="*/ 609425 h 803965"/>
                                <a:gd name="connsiteX13" fmla="*/ 103355 w 505579"/>
                                <a:gd name="connsiteY13" fmla="*/ 581399 h 803965"/>
                                <a:gd name="connsiteX14" fmla="*/ 96551 w 505579"/>
                                <a:gd name="connsiteY14" fmla="*/ 554065 h 803965"/>
                                <a:gd name="connsiteX15" fmla="*/ 104921 w 505579"/>
                                <a:gd name="connsiteY15" fmla="*/ 518185 h 803965"/>
                                <a:gd name="connsiteX16" fmla="*/ 148917 w 505579"/>
                                <a:gd name="connsiteY16" fmla="*/ 432042 h 803965"/>
                                <a:gd name="connsiteX17" fmla="*/ 169673 w 505579"/>
                                <a:gd name="connsiteY17" fmla="*/ 412588 h 803965"/>
                                <a:gd name="connsiteX18" fmla="*/ 194399 w 505579"/>
                                <a:gd name="connsiteY18" fmla="*/ 388950 h 803965"/>
                                <a:gd name="connsiteX19" fmla="*/ 242854 w 505579"/>
                                <a:gd name="connsiteY19" fmla="*/ 373672 h 803965"/>
                                <a:gd name="connsiteX20" fmla="*/ 311303 w 505579"/>
                                <a:gd name="connsiteY20" fmla="*/ 328761 h 803965"/>
                                <a:gd name="connsiteX21" fmla="*/ 384408 w 505579"/>
                                <a:gd name="connsiteY21" fmla="*/ 305965 h 803965"/>
                                <a:gd name="connsiteX22" fmla="*/ 498980 w 505579"/>
                                <a:gd name="connsiteY22" fmla="*/ 125143 h 803965"/>
                                <a:gd name="connsiteX23" fmla="*/ 482813 w 505579"/>
                                <a:gd name="connsiteY23" fmla="*/ 99963 h 803965"/>
                                <a:gd name="connsiteX24" fmla="*/ 379767 w 505579"/>
                                <a:gd name="connsiteY24" fmla="*/ 263686 h 803965"/>
                                <a:gd name="connsiteX25" fmla="*/ 383279 w 505579"/>
                                <a:gd name="connsiteY25" fmla="*/ 240600 h 803965"/>
                                <a:gd name="connsiteX26" fmla="*/ 412204 w 505579"/>
                                <a:gd name="connsiteY26" fmla="*/ 171326 h 803965"/>
                                <a:gd name="connsiteX27" fmla="*/ 412204 w 505579"/>
                                <a:gd name="connsiteY27" fmla="*/ 73189 h 803965"/>
                                <a:gd name="connsiteX28" fmla="*/ 377370 w 505579"/>
                                <a:gd name="connsiteY28" fmla="*/ 6599 h 803965"/>
                                <a:gd name="connsiteX29" fmla="*/ 317605 w 505579"/>
                                <a:gd name="connsiteY29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8319 w 505579"/>
                                <a:gd name="connsiteY5" fmla="*/ 586426 h 803965"/>
                                <a:gd name="connsiteX6" fmla="*/ 31697 w 505579"/>
                                <a:gd name="connsiteY6" fmla="*/ 665947 h 803965"/>
                                <a:gd name="connsiteX7" fmla="*/ 707 w 505579"/>
                                <a:gd name="connsiteY7" fmla="*/ 763038 h 803965"/>
                                <a:gd name="connsiteX8" fmla="*/ 12547 w 505579"/>
                                <a:gd name="connsiteY8" fmla="*/ 802877 h 803965"/>
                                <a:gd name="connsiteX9" fmla="*/ 41336 w 505579"/>
                                <a:gd name="connsiteY9" fmla="*/ 724245 h 803965"/>
                                <a:gd name="connsiteX10" fmla="*/ 87597 w 505579"/>
                                <a:gd name="connsiteY10" fmla="*/ 666835 h 803965"/>
                                <a:gd name="connsiteX11" fmla="*/ 91947 w 505579"/>
                                <a:gd name="connsiteY11" fmla="*/ 649906 h 803965"/>
                                <a:gd name="connsiteX12" fmla="*/ 109982 w 505579"/>
                                <a:gd name="connsiteY12" fmla="*/ 609425 h 803965"/>
                                <a:gd name="connsiteX13" fmla="*/ 103355 w 505579"/>
                                <a:gd name="connsiteY13" fmla="*/ 581399 h 803965"/>
                                <a:gd name="connsiteX14" fmla="*/ 96551 w 505579"/>
                                <a:gd name="connsiteY14" fmla="*/ 554065 h 803965"/>
                                <a:gd name="connsiteX15" fmla="*/ 101936 w 505579"/>
                                <a:gd name="connsiteY15" fmla="*/ 507933 h 803965"/>
                                <a:gd name="connsiteX16" fmla="*/ 148917 w 505579"/>
                                <a:gd name="connsiteY16" fmla="*/ 432042 h 803965"/>
                                <a:gd name="connsiteX17" fmla="*/ 169673 w 505579"/>
                                <a:gd name="connsiteY17" fmla="*/ 412588 h 803965"/>
                                <a:gd name="connsiteX18" fmla="*/ 194399 w 505579"/>
                                <a:gd name="connsiteY18" fmla="*/ 388950 h 803965"/>
                                <a:gd name="connsiteX19" fmla="*/ 242854 w 505579"/>
                                <a:gd name="connsiteY19" fmla="*/ 373672 h 803965"/>
                                <a:gd name="connsiteX20" fmla="*/ 311303 w 505579"/>
                                <a:gd name="connsiteY20" fmla="*/ 328761 h 803965"/>
                                <a:gd name="connsiteX21" fmla="*/ 384408 w 505579"/>
                                <a:gd name="connsiteY21" fmla="*/ 305965 h 803965"/>
                                <a:gd name="connsiteX22" fmla="*/ 498980 w 505579"/>
                                <a:gd name="connsiteY22" fmla="*/ 125143 h 803965"/>
                                <a:gd name="connsiteX23" fmla="*/ 482813 w 505579"/>
                                <a:gd name="connsiteY23" fmla="*/ 99963 h 803965"/>
                                <a:gd name="connsiteX24" fmla="*/ 379767 w 505579"/>
                                <a:gd name="connsiteY24" fmla="*/ 263686 h 803965"/>
                                <a:gd name="connsiteX25" fmla="*/ 383279 w 505579"/>
                                <a:gd name="connsiteY25" fmla="*/ 240600 h 803965"/>
                                <a:gd name="connsiteX26" fmla="*/ 412204 w 505579"/>
                                <a:gd name="connsiteY26" fmla="*/ 171326 h 803965"/>
                                <a:gd name="connsiteX27" fmla="*/ 412204 w 505579"/>
                                <a:gd name="connsiteY27" fmla="*/ 73189 h 803965"/>
                                <a:gd name="connsiteX28" fmla="*/ 377370 w 505579"/>
                                <a:gd name="connsiteY28" fmla="*/ 6599 h 803965"/>
                                <a:gd name="connsiteX29" fmla="*/ 317605 w 505579"/>
                                <a:gd name="connsiteY29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4613 w 505579"/>
                                <a:gd name="connsiteY5" fmla="*/ 521259 h 803965"/>
                                <a:gd name="connsiteX6" fmla="*/ 88319 w 505579"/>
                                <a:gd name="connsiteY6" fmla="*/ 586426 h 803965"/>
                                <a:gd name="connsiteX7" fmla="*/ 31697 w 505579"/>
                                <a:gd name="connsiteY7" fmla="*/ 665947 h 803965"/>
                                <a:gd name="connsiteX8" fmla="*/ 707 w 505579"/>
                                <a:gd name="connsiteY8" fmla="*/ 763038 h 803965"/>
                                <a:gd name="connsiteX9" fmla="*/ 12547 w 505579"/>
                                <a:gd name="connsiteY9" fmla="*/ 802877 h 803965"/>
                                <a:gd name="connsiteX10" fmla="*/ 41336 w 505579"/>
                                <a:gd name="connsiteY10" fmla="*/ 724245 h 803965"/>
                                <a:gd name="connsiteX11" fmla="*/ 87597 w 505579"/>
                                <a:gd name="connsiteY11" fmla="*/ 666835 h 803965"/>
                                <a:gd name="connsiteX12" fmla="*/ 91947 w 505579"/>
                                <a:gd name="connsiteY12" fmla="*/ 649906 h 803965"/>
                                <a:gd name="connsiteX13" fmla="*/ 109982 w 505579"/>
                                <a:gd name="connsiteY13" fmla="*/ 609425 h 803965"/>
                                <a:gd name="connsiteX14" fmla="*/ 103355 w 505579"/>
                                <a:gd name="connsiteY14" fmla="*/ 581399 h 803965"/>
                                <a:gd name="connsiteX15" fmla="*/ 96551 w 505579"/>
                                <a:gd name="connsiteY15" fmla="*/ 554065 h 803965"/>
                                <a:gd name="connsiteX16" fmla="*/ 101936 w 505579"/>
                                <a:gd name="connsiteY16" fmla="*/ 507933 h 803965"/>
                                <a:gd name="connsiteX17" fmla="*/ 148917 w 505579"/>
                                <a:gd name="connsiteY17" fmla="*/ 432042 h 803965"/>
                                <a:gd name="connsiteX18" fmla="*/ 169673 w 505579"/>
                                <a:gd name="connsiteY18" fmla="*/ 412588 h 803965"/>
                                <a:gd name="connsiteX19" fmla="*/ 194399 w 505579"/>
                                <a:gd name="connsiteY19" fmla="*/ 388950 h 803965"/>
                                <a:gd name="connsiteX20" fmla="*/ 242854 w 505579"/>
                                <a:gd name="connsiteY20" fmla="*/ 373672 h 803965"/>
                                <a:gd name="connsiteX21" fmla="*/ 311303 w 505579"/>
                                <a:gd name="connsiteY21" fmla="*/ 328761 h 803965"/>
                                <a:gd name="connsiteX22" fmla="*/ 384408 w 505579"/>
                                <a:gd name="connsiteY22" fmla="*/ 305965 h 803965"/>
                                <a:gd name="connsiteX23" fmla="*/ 498980 w 505579"/>
                                <a:gd name="connsiteY23" fmla="*/ 125143 h 803965"/>
                                <a:gd name="connsiteX24" fmla="*/ 482813 w 505579"/>
                                <a:gd name="connsiteY24" fmla="*/ 99963 h 803965"/>
                                <a:gd name="connsiteX25" fmla="*/ 379767 w 505579"/>
                                <a:gd name="connsiteY25" fmla="*/ 263686 h 803965"/>
                                <a:gd name="connsiteX26" fmla="*/ 383279 w 505579"/>
                                <a:gd name="connsiteY26" fmla="*/ 240600 h 803965"/>
                                <a:gd name="connsiteX27" fmla="*/ 412204 w 505579"/>
                                <a:gd name="connsiteY27" fmla="*/ 171326 h 803965"/>
                                <a:gd name="connsiteX28" fmla="*/ 412204 w 505579"/>
                                <a:gd name="connsiteY28" fmla="*/ 73189 h 803965"/>
                                <a:gd name="connsiteX29" fmla="*/ 377370 w 505579"/>
                                <a:gd name="connsiteY29" fmla="*/ 6599 h 803965"/>
                                <a:gd name="connsiteX30" fmla="*/ 317605 w 505579"/>
                                <a:gd name="connsiteY30" fmla="*/ 11259 h 803965"/>
                                <a:gd name="connsiteX0" fmla="*/ 317605 w 505579"/>
                                <a:gd name="connsiteY0" fmla="*/ 11259 h 803965"/>
                                <a:gd name="connsiteX1" fmla="*/ 242784 w 505579"/>
                                <a:gd name="connsiteY1" fmla="*/ 154007 h 803965"/>
                                <a:gd name="connsiteX2" fmla="*/ 220908 w 505579"/>
                                <a:gd name="connsiteY2" fmla="*/ 240676 h 803965"/>
                                <a:gd name="connsiteX3" fmla="*/ 151163 w 505579"/>
                                <a:gd name="connsiteY3" fmla="*/ 346453 h 803965"/>
                                <a:gd name="connsiteX4" fmla="*/ 96097 w 505579"/>
                                <a:gd name="connsiteY4" fmla="*/ 466778 h 803965"/>
                                <a:gd name="connsiteX5" fmla="*/ 84613 w 505579"/>
                                <a:gd name="connsiteY5" fmla="*/ 521259 h 803965"/>
                                <a:gd name="connsiteX6" fmla="*/ 88319 w 505579"/>
                                <a:gd name="connsiteY6" fmla="*/ 586426 h 803965"/>
                                <a:gd name="connsiteX7" fmla="*/ 31697 w 505579"/>
                                <a:gd name="connsiteY7" fmla="*/ 665947 h 803965"/>
                                <a:gd name="connsiteX8" fmla="*/ 707 w 505579"/>
                                <a:gd name="connsiteY8" fmla="*/ 763038 h 803965"/>
                                <a:gd name="connsiteX9" fmla="*/ 12547 w 505579"/>
                                <a:gd name="connsiteY9" fmla="*/ 802877 h 803965"/>
                                <a:gd name="connsiteX10" fmla="*/ 41336 w 505579"/>
                                <a:gd name="connsiteY10" fmla="*/ 724245 h 803965"/>
                                <a:gd name="connsiteX11" fmla="*/ 87597 w 505579"/>
                                <a:gd name="connsiteY11" fmla="*/ 666835 h 803965"/>
                                <a:gd name="connsiteX12" fmla="*/ 91947 w 505579"/>
                                <a:gd name="connsiteY12" fmla="*/ 649906 h 803965"/>
                                <a:gd name="connsiteX13" fmla="*/ 109982 w 505579"/>
                                <a:gd name="connsiteY13" fmla="*/ 609425 h 803965"/>
                                <a:gd name="connsiteX14" fmla="*/ 103355 w 505579"/>
                                <a:gd name="connsiteY14" fmla="*/ 581399 h 803965"/>
                                <a:gd name="connsiteX15" fmla="*/ 96551 w 505579"/>
                                <a:gd name="connsiteY15" fmla="*/ 554065 h 803965"/>
                                <a:gd name="connsiteX16" fmla="*/ 102520 w 505579"/>
                                <a:gd name="connsiteY16" fmla="*/ 527410 h 803965"/>
                                <a:gd name="connsiteX17" fmla="*/ 101936 w 505579"/>
                                <a:gd name="connsiteY17" fmla="*/ 507933 h 803965"/>
                                <a:gd name="connsiteX18" fmla="*/ 148917 w 505579"/>
                                <a:gd name="connsiteY18" fmla="*/ 432042 h 803965"/>
                                <a:gd name="connsiteX19" fmla="*/ 169673 w 505579"/>
                                <a:gd name="connsiteY19" fmla="*/ 412588 h 803965"/>
                                <a:gd name="connsiteX20" fmla="*/ 194399 w 505579"/>
                                <a:gd name="connsiteY20" fmla="*/ 388950 h 803965"/>
                                <a:gd name="connsiteX21" fmla="*/ 242854 w 505579"/>
                                <a:gd name="connsiteY21" fmla="*/ 373672 h 803965"/>
                                <a:gd name="connsiteX22" fmla="*/ 311303 w 505579"/>
                                <a:gd name="connsiteY22" fmla="*/ 328761 h 803965"/>
                                <a:gd name="connsiteX23" fmla="*/ 384408 w 505579"/>
                                <a:gd name="connsiteY23" fmla="*/ 305965 h 803965"/>
                                <a:gd name="connsiteX24" fmla="*/ 498980 w 505579"/>
                                <a:gd name="connsiteY24" fmla="*/ 125143 h 803965"/>
                                <a:gd name="connsiteX25" fmla="*/ 482813 w 505579"/>
                                <a:gd name="connsiteY25" fmla="*/ 99963 h 803965"/>
                                <a:gd name="connsiteX26" fmla="*/ 379767 w 505579"/>
                                <a:gd name="connsiteY26" fmla="*/ 263686 h 803965"/>
                                <a:gd name="connsiteX27" fmla="*/ 383279 w 505579"/>
                                <a:gd name="connsiteY27" fmla="*/ 240600 h 803965"/>
                                <a:gd name="connsiteX28" fmla="*/ 412204 w 505579"/>
                                <a:gd name="connsiteY28" fmla="*/ 171326 h 803965"/>
                                <a:gd name="connsiteX29" fmla="*/ 412204 w 505579"/>
                                <a:gd name="connsiteY29" fmla="*/ 73189 h 803965"/>
                                <a:gd name="connsiteX30" fmla="*/ 377370 w 505579"/>
                                <a:gd name="connsiteY30" fmla="*/ 6599 h 803965"/>
                                <a:gd name="connsiteX31" fmla="*/ 317605 w 505579"/>
                                <a:gd name="connsiteY31" fmla="*/ 11259 h 803965"/>
                                <a:gd name="connsiteX0" fmla="*/ 317605 w 495272"/>
                                <a:gd name="connsiteY0" fmla="*/ 11259 h 803965"/>
                                <a:gd name="connsiteX1" fmla="*/ 242784 w 495272"/>
                                <a:gd name="connsiteY1" fmla="*/ 154007 h 803965"/>
                                <a:gd name="connsiteX2" fmla="*/ 220908 w 495272"/>
                                <a:gd name="connsiteY2" fmla="*/ 240676 h 803965"/>
                                <a:gd name="connsiteX3" fmla="*/ 151163 w 495272"/>
                                <a:gd name="connsiteY3" fmla="*/ 346453 h 803965"/>
                                <a:gd name="connsiteX4" fmla="*/ 96097 w 495272"/>
                                <a:gd name="connsiteY4" fmla="*/ 466778 h 803965"/>
                                <a:gd name="connsiteX5" fmla="*/ 84613 w 495272"/>
                                <a:gd name="connsiteY5" fmla="*/ 521259 h 803965"/>
                                <a:gd name="connsiteX6" fmla="*/ 88319 w 495272"/>
                                <a:gd name="connsiteY6" fmla="*/ 586426 h 803965"/>
                                <a:gd name="connsiteX7" fmla="*/ 31697 w 495272"/>
                                <a:gd name="connsiteY7" fmla="*/ 665947 h 803965"/>
                                <a:gd name="connsiteX8" fmla="*/ 707 w 495272"/>
                                <a:gd name="connsiteY8" fmla="*/ 763038 h 803965"/>
                                <a:gd name="connsiteX9" fmla="*/ 12547 w 495272"/>
                                <a:gd name="connsiteY9" fmla="*/ 802877 h 803965"/>
                                <a:gd name="connsiteX10" fmla="*/ 41336 w 495272"/>
                                <a:gd name="connsiteY10" fmla="*/ 724245 h 803965"/>
                                <a:gd name="connsiteX11" fmla="*/ 87597 w 495272"/>
                                <a:gd name="connsiteY11" fmla="*/ 666835 h 803965"/>
                                <a:gd name="connsiteX12" fmla="*/ 91947 w 495272"/>
                                <a:gd name="connsiteY12" fmla="*/ 649906 h 803965"/>
                                <a:gd name="connsiteX13" fmla="*/ 109982 w 495272"/>
                                <a:gd name="connsiteY13" fmla="*/ 609425 h 803965"/>
                                <a:gd name="connsiteX14" fmla="*/ 103355 w 495272"/>
                                <a:gd name="connsiteY14" fmla="*/ 581399 h 803965"/>
                                <a:gd name="connsiteX15" fmla="*/ 96551 w 495272"/>
                                <a:gd name="connsiteY15" fmla="*/ 554065 h 803965"/>
                                <a:gd name="connsiteX16" fmla="*/ 102520 w 495272"/>
                                <a:gd name="connsiteY16" fmla="*/ 527410 h 803965"/>
                                <a:gd name="connsiteX17" fmla="*/ 101936 w 495272"/>
                                <a:gd name="connsiteY17" fmla="*/ 507933 h 803965"/>
                                <a:gd name="connsiteX18" fmla="*/ 148917 w 495272"/>
                                <a:gd name="connsiteY18" fmla="*/ 432042 h 803965"/>
                                <a:gd name="connsiteX19" fmla="*/ 169673 w 495272"/>
                                <a:gd name="connsiteY19" fmla="*/ 412588 h 803965"/>
                                <a:gd name="connsiteX20" fmla="*/ 194399 w 495272"/>
                                <a:gd name="connsiteY20" fmla="*/ 388950 h 803965"/>
                                <a:gd name="connsiteX21" fmla="*/ 242854 w 495272"/>
                                <a:gd name="connsiteY21" fmla="*/ 373672 h 803965"/>
                                <a:gd name="connsiteX22" fmla="*/ 311303 w 495272"/>
                                <a:gd name="connsiteY22" fmla="*/ 328761 h 803965"/>
                                <a:gd name="connsiteX23" fmla="*/ 384408 w 495272"/>
                                <a:gd name="connsiteY23" fmla="*/ 305965 h 803965"/>
                                <a:gd name="connsiteX24" fmla="*/ 484057 w 495272"/>
                                <a:gd name="connsiteY24" fmla="*/ 135395 h 803965"/>
                                <a:gd name="connsiteX25" fmla="*/ 482813 w 495272"/>
                                <a:gd name="connsiteY25" fmla="*/ 99963 h 803965"/>
                                <a:gd name="connsiteX26" fmla="*/ 379767 w 495272"/>
                                <a:gd name="connsiteY26" fmla="*/ 263686 h 803965"/>
                                <a:gd name="connsiteX27" fmla="*/ 383279 w 495272"/>
                                <a:gd name="connsiteY27" fmla="*/ 240600 h 803965"/>
                                <a:gd name="connsiteX28" fmla="*/ 412204 w 495272"/>
                                <a:gd name="connsiteY28" fmla="*/ 171326 h 803965"/>
                                <a:gd name="connsiteX29" fmla="*/ 412204 w 495272"/>
                                <a:gd name="connsiteY29" fmla="*/ 73189 h 803965"/>
                                <a:gd name="connsiteX30" fmla="*/ 377370 w 495272"/>
                                <a:gd name="connsiteY30" fmla="*/ 6599 h 803965"/>
                                <a:gd name="connsiteX31" fmla="*/ 317605 w 495272"/>
                                <a:gd name="connsiteY31" fmla="*/ 11259 h 803965"/>
                                <a:gd name="connsiteX0" fmla="*/ 317605 w 493633"/>
                                <a:gd name="connsiteY0" fmla="*/ 11259 h 803965"/>
                                <a:gd name="connsiteX1" fmla="*/ 242784 w 493633"/>
                                <a:gd name="connsiteY1" fmla="*/ 154007 h 803965"/>
                                <a:gd name="connsiteX2" fmla="*/ 220908 w 493633"/>
                                <a:gd name="connsiteY2" fmla="*/ 240676 h 803965"/>
                                <a:gd name="connsiteX3" fmla="*/ 151163 w 493633"/>
                                <a:gd name="connsiteY3" fmla="*/ 346453 h 803965"/>
                                <a:gd name="connsiteX4" fmla="*/ 96097 w 493633"/>
                                <a:gd name="connsiteY4" fmla="*/ 466778 h 803965"/>
                                <a:gd name="connsiteX5" fmla="*/ 84613 w 493633"/>
                                <a:gd name="connsiteY5" fmla="*/ 521259 h 803965"/>
                                <a:gd name="connsiteX6" fmla="*/ 88319 w 493633"/>
                                <a:gd name="connsiteY6" fmla="*/ 586426 h 803965"/>
                                <a:gd name="connsiteX7" fmla="*/ 31697 w 493633"/>
                                <a:gd name="connsiteY7" fmla="*/ 665947 h 803965"/>
                                <a:gd name="connsiteX8" fmla="*/ 707 w 493633"/>
                                <a:gd name="connsiteY8" fmla="*/ 763038 h 803965"/>
                                <a:gd name="connsiteX9" fmla="*/ 12547 w 493633"/>
                                <a:gd name="connsiteY9" fmla="*/ 802877 h 803965"/>
                                <a:gd name="connsiteX10" fmla="*/ 41336 w 493633"/>
                                <a:gd name="connsiteY10" fmla="*/ 724245 h 803965"/>
                                <a:gd name="connsiteX11" fmla="*/ 87597 w 493633"/>
                                <a:gd name="connsiteY11" fmla="*/ 666835 h 803965"/>
                                <a:gd name="connsiteX12" fmla="*/ 91947 w 493633"/>
                                <a:gd name="connsiteY12" fmla="*/ 649906 h 803965"/>
                                <a:gd name="connsiteX13" fmla="*/ 109982 w 493633"/>
                                <a:gd name="connsiteY13" fmla="*/ 609425 h 803965"/>
                                <a:gd name="connsiteX14" fmla="*/ 103355 w 493633"/>
                                <a:gd name="connsiteY14" fmla="*/ 581399 h 803965"/>
                                <a:gd name="connsiteX15" fmla="*/ 96551 w 493633"/>
                                <a:gd name="connsiteY15" fmla="*/ 554065 h 803965"/>
                                <a:gd name="connsiteX16" fmla="*/ 102520 w 493633"/>
                                <a:gd name="connsiteY16" fmla="*/ 527410 h 803965"/>
                                <a:gd name="connsiteX17" fmla="*/ 101936 w 493633"/>
                                <a:gd name="connsiteY17" fmla="*/ 507933 h 803965"/>
                                <a:gd name="connsiteX18" fmla="*/ 148917 w 493633"/>
                                <a:gd name="connsiteY18" fmla="*/ 432042 h 803965"/>
                                <a:gd name="connsiteX19" fmla="*/ 169673 w 493633"/>
                                <a:gd name="connsiteY19" fmla="*/ 412588 h 803965"/>
                                <a:gd name="connsiteX20" fmla="*/ 194399 w 493633"/>
                                <a:gd name="connsiteY20" fmla="*/ 388950 h 803965"/>
                                <a:gd name="connsiteX21" fmla="*/ 242854 w 493633"/>
                                <a:gd name="connsiteY21" fmla="*/ 373672 h 803965"/>
                                <a:gd name="connsiteX22" fmla="*/ 311303 w 493633"/>
                                <a:gd name="connsiteY22" fmla="*/ 328761 h 803965"/>
                                <a:gd name="connsiteX23" fmla="*/ 384408 w 493633"/>
                                <a:gd name="connsiteY23" fmla="*/ 305965 h 803965"/>
                                <a:gd name="connsiteX24" fmla="*/ 409933 w 493633"/>
                                <a:gd name="connsiteY24" fmla="*/ 260861 h 803965"/>
                                <a:gd name="connsiteX25" fmla="*/ 484057 w 493633"/>
                                <a:gd name="connsiteY25" fmla="*/ 135395 h 803965"/>
                                <a:gd name="connsiteX26" fmla="*/ 482813 w 493633"/>
                                <a:gd name="connsiteY26" fmla="*/ 99963 h 803965"/>
                                <a:gd name="connsiteX27" fmla="*/ 379767 w 493633"/>
                                <a:gd name="connsiteY27" fmla="*/ 263686 h 803965"/>
                                <a:gd name="connsiteX28" fmla="*/ 383279 w 493633"/>
                                <a:gd name="connsiteY28" fmla="*/ 240600 h 803965"/>
                                <a:gd name="connsiteX29" fmla="*/ 412204 w 493633"/>
                                <a:gd name="connsiteY29" fmla="*/ 171326 h 803965"/>
                                <a:gd name="connsiteX30" fmla="*/ 412204 w 493633"/>
                                <a:gd name="connsiteY30" fmla="*/ 73189 h 803965"/>
                                <a:gd name="connsiteX31" fmla="*/ 377370 w 493633"/>
                                <a:gd name="connsiteY31" fmla="*/ 6599 h 803965"/>
                                <a:gd name="connsiteX32" fmla="*/ 317605 w 493633"/>
                                <a:gd name="connsiteY32" fmla="*/ 11259 h 803965"/>
                                <a:gd name="connsiteX0" fmla="*/ 317605 w 493633"/>
                                <a:gd name="connsiteY0" fmla="*/ 11259 h 803965"/>
                                <a:gd name="connsiteX1" fmla="*/ 242784 w 493633"/>
                                <a:gd name="connsiteY1" fmla="*/ 154007 h 803965"/>
                                <a:gd name="connsiteX2" fmla="*/ 220908 w 493633"/>
                                <a:gd name="connsiteY2" fmla="*/ 240676 h 803965"/>
                                <a:gd name="connsiteX3" fmla="*/ 151163 w 493633"/>
                                <a:gd name="connsiteY3" fmla="*/ 346453 h 803965"/>
                                <a:gd name="connsiteX4" fmla="*/ 96097 w 493633"/>
                                <a:gd name="connsiteY4" fmla="*/ 466778 h 803965"/>
                                <a:gd name="connsiteX5" fmla="*/ 84613 w 493633"/>
                                <a:gd name="connsiteY5" fmla="*/ 521259 h 803965"/>
                                <a:gd name="connsiteX6" fmla="*/ 88319 w 493633"/>
                                <a:gd name="connsiteY6" fmla="*/ 586426 h 803965"/>
                                <a:gd name="connsiteX7" fmla="*/ 31697 w 493633"/>
                                <a:gd name="connsiteY7" fmla="*/ 665947 h 803965"/>
                                <a:gd name="connsiteX8" fmla="*/ 707 w 493633"/>
                                <a:gd name="connsiteY8" fmla="*/ 763038 h 803965"/>
                                <a:gd name="connsiteX9" fmla="*/ 12547 w 493633"/>
                                <a:gd name="connsiteY9" fmla="*/ 802877 h 803965"/>
                                <a:gd name="connsiteX10" fmla="*/ 41336 w 493633"/>
                                <a:gd name="connsiteY10" fmla="*/ 724245 h 803965"/>
                                <a:gd name="connsiteX11" fmla="*/ 87597 w 493633"/>
                                <a:gd name="connsiteY11" fmla="*/ 666835 h 803965"/>
                                <a:gd name="connsiteX12" fmla="*/ 91947 w 493633"/>
                                <a:gd name="connsiteY12" fmla="*/ 649906 h 803965"/>
                                <a:gd name="connsiteX13" fmla="*/ 109982 w 493633"/>
                                <a:gd name="connsiteY13" fmla="*/ 609425 h 803965"/>
                                <a:gd name="connsiteX14" fmla="*/ 103355 w 493633"/>
                                <a:gd name="connsiteY14" fmla="*/ 581399 h 803965"/>
                                <a:gd name="connsiteX15" fmla="*/ 96551 w 493633"/>
                                <a:gd name="connsiteY15" fmla="*/ 554065 h 803965"/>
                                <a:gd name="connsiteX16" fmla="*/ 102520 w 493633"/>
                                <a:gd name="connsiteY16" fmla="*/ 527410 h 803965"/>
                                <a:gd name="connsiteX17" fmla="*/ 101936 w 493633"/>
                                <a:gd name="connsiteY17" fmla="*/ 507933 h 803965"/>
                                <a:gd name="connsiteX18" fmla="*/ 148917 w 493633"/>
                                <a:gd name="connsiteY18" fmla="*/ 432042 h 803965"/>
                                <a:gd name="connsiteX19" fmla="*/ 169673 w 493633"/>
                                <a:gd name="connsiteY19" fmla="*/ 412588 h 803965"/>
                                <a:gd name="connsiteX20" fmla="*/ 194399 w 493633"/>
                                <a:gd name="connsiteY20" fmla="*/ 388950 h 803965"/>
                                <a:gd name="connsiteX21" fmla="*/ 242854 w 493633"/>
                                <a:gd name="connsiteY21" fmla="*/ 373672 h 803965"/>
                                <a:gd name="connsiteX22" fmla="*/ 311303 w 493633"/>
                                <a:gd name="connsiteY22" fmla="*/ 328761 h 803965"/>
                                <a:gd name="connsiteX23" fmla="*/ 388885 w 493633"/>
                                <a:gd name="connsiteY23" fmla="*/ 318267 h 803965"/>
                                <a:gd name="connsiteX24" fmla="*/ 409933 w 493633"/>
                                <a:gd name="connsiteY24" fmla="*/ 260861 h 803965"/>
                                <a:gd name="connsiteX25" fmla="*/ 484057 w 493633"/>
                                <a:gd name="connsiteY25" fmla="*/ 135395 h 803965"/>
                                <a:gd name="connsiteX26" fmla="*/ 482813 w 493633"/>
                                <a:gd name="connsiteY26" fmla="*/ 99963 h 803965"/>
                                <a:gd name="connsiteX27" fmla="*/ 379767 w 493633"/>
                                <a:gd name="connsiteY27" fmla="*/ 263686 h 803965"/>
                                <a:gd name="connsiteX28" fmla="*/ 383279 w 493633"/>
                                <a:gd name="connsiteY28" fmla="*/ 240600 h 803965"/>
                                <a:gd name="connsiteX29" fmla="*/ 412204 w 493633"/>
                                <a:gd name="connsiteY29" fmla="*/ 171326 h 803965"/>
                                <a:gd name="connsiteX30" fmla="*/ 412204 w 493633"/>
                                <a:gd name="connsiteY30" fmla="*/ 73189 h 803965"/>
                                <a:gd name="connsiteX31" fmla="*/ 377370 w 493633"/>
                                <a:gd name="connsiteY31" fmla="*/ 6599 h 803965"/>
                                <a:gd name="connsiteX32" fmla="*/ 317605 w 493633"/>
                                <a:gd name="connsiteY32" fmla="*/ 11259 h 803965"/>
                                <a:gd name="connsiteX0" fmla="*/ 317605 w 493358"/>
                                <a:gd name="connsiteY0" fmla="*/ 11259 h 803965"/>
                                <a:gd name="connsiteX1" fmla="*/ 242784 w 493358"/>
                                <a:gd name="connsiteY1" fmla="*/ 154007 h 803965"/>
                                <a:gd name="connsiteX2" fmla="*/ 220908 w 493358"/>
                                <a:gd name="connsiteY2" fmla="*/ 240676 h 803965"/>
                                <a:gd name="connsiteX3" fmla="*/ 151163 w 493358"/>
                                <a:gd name="connsiteY3" fmla="*/ 346453 h 803965"/>
                                <a:gd name="connsiteX4" fmla="*/ 96097 w 493358"/>
                                <a:gd name="connsiteY4" fmla="*/ 466778 h 803965"/>
                                <a:gd name="connsiteX5" fmla="*/ 84613 w 493358"/>
                                <a:gd name="connsiteY5" fmla="*/ 521259 h 803965"/>
                                <a:gd name="connsiteX6" fmla="*/ 88319 w 493358"/>
                                <a:gd name="connsiteY6" fmla="*/ 586426 h 803965"/>
                                <a:gd name="connsiteX7" fmla="*/ 31697 w 493358"/>
                                <a:gd name="connsiteY7" fmla="*/ 665947 h 803965"/>
                                <a:gd name="connsiteX8" fmla="*/ 707 w 493358"/>
                                <a:gd name="connsiteY8" fmla="*/ 763038 h 803965"/>
                                <a:gd name="connsiteX9" fmla="*/ 12547 w 493358"/>
                                <a:gd name="connsiteY9" fmla="*/ 802877 h 803965"/>
                                <a:gd name="connsiteX10" fmla="*/ 41336 w 493358"/>
                                <a:gd name="connsiteY10" fmla="*/ 724245 h 803965"/>
                                <a:gd name="connsiteX11" fmla="*/ 87597 w 493358"/>
                                <a:gd name="connsiteY11" fmla="*/ 666835 h 803965"/>
                                <a:gd name="connsiteX12" fmla="*/ 91947 w 493358"/>
                                <a:gd name="connsiteY12" fmla="*/ 649906 h 803965"/>
                                <a:gd name="connsiteX13" fmla="*/ 109982 w 493358"/>
                                <a:gd name="connsiteY13" fmla="*/ 609425 h 803965"/>
                                <a:gd name="connsiteX14" fmla="*/ 103355 w 493358"/>
                                <a:gd name="connsiteY14" fmla="*/ 581399 h 803965"/>
                                <a:gd name="connsiteX15" fmla="*/ 96551 w 493358"/>
                                <a:gd name="connsiteY15" fmla="*/ 554065 h 803965"/>
                                <a:gd name="connsiteX16" fmla="*/ 102520 w 493358"/>
                                <a:gd name="connsiteY16" fmla="*/ 527410 h 803965"/>
                                <a:gd name="connsiteX17" fmla="*/ 101936 w 493358"/>
                                <a:gd name="connsiteY17" fmla="*/ 507933 h 803965"/>
                                <a:gd name="connsiteX18" fmla="*/ 148917 w 493358"/>
                                <a:gd name="connsiteY18" fmla="*/ 432042 h 803965"/>
                                <a:gd name="connsiteX19" fmla="*/ 169673 w 493358"/>
                                <a:gd name="connsiteY19" fmla="*/ 412588 h 803965"/>
                                <a:gd name="connsiteX20" fmla="*/ 194399 w 493358"/>
                                <a:gd name="connsiteY20" fmla="*/ 388950 h 803965"/>
                                <a:gd name="connsiteX21" fmla="*/ 242854 w 493358"/>
                                <a:gd name="connsiteY21" fmla="*/ 373672 h 803965"/>
                                <a:gd name="connsiteX22" fmla="*/ 311303 w 493358"/>
                                <a:gd name="connsiteY22" fmla="*/ 328761 h 803965"/>
                                <a:gd name="connsiteX23" fmla="*/ 388885 w 493358"/>
                                <a:gd name="connsiteY23" fmla="*/ 318267 h 803965"/>
                                <a:gd name="connsiteX24" fmla="*/ 414410 w 493358"/>
                                <a:gd name="connsiteY24" fmla="*/ 264962 h 803965"/>
                                <a:gd name="connsiteX25" fmla="*/ 484057 w 493358"/>
                                <a:gd name="connsiteY25" fmla="*/ 135395 h 803965"/>
                                <a:gd name="connsiteX26" fmla="*/ 482813 w 493358"/>
                                <a:gd name="connsiteY26" fmla="*/ 99963 h 803965"/>
                                <a:gd name="connsiteX27" fmla="*/ 379767 w 493358"/>
                                <a:gd name="connsiteY27" fmla="*/ 263686 h 803965"/>
                                <a:gd name="connsiteX28" fmla="*/ 383279 w 493358"/>
                                <a:gd name="connsiteY28" fmla="*/ 240600 h 803965"/>
                                <a:gd name="connsiteX29" fmla="*/ 412204 w 493358"/>
                                <a:gd name="connsiteY29" fmla="*/ 171326 h 803965"/>
                                <a:gd name="connsiteX30" fmla="*/ 412204 w 493358"/>
                                <a:gd name="connsiteY30" fmla="*/ 73189 h 803965"/>
                                <a:gd name="connsiteX31" fmla="*/ 377370 w 493358"/>
                                <a:gd name="connsiteY31" fmla="*/ 6599 h 803965"/>
                                <a:gd name="connsiteX32" fmla="*/ 317605 w 493358"/>
                                <a:gd name="connsiteY32" fmla="*/ 11259 h 803965"/>
                                <a:gd name="connsiteX0" fmla="*/ 317605 w 493449"/>
                                <a:gd name="connsiteY0" fmla="*/ 11259 h 803965"/>
                                <a:gd name="connsiteX1" fmla="*/ 242784 w 493449"/>
                                <a:gd name="connsiteY1" fmla="*/ 154007 h 803965"/>
                                <a:gd name="connsiteX2" fmla="*/ 220908 w 493449"/>
                                <a:gd name="connsiteY2" fmla="*/ 240676 h 803965"/>
                                <a:gd name="connsiteX3" fmla="*/ 151163 w 493449"/>
                                <a:gd name="connsiteY3" fmla="*/ 346453 h 803965"/>
                                <a:gd name="connsiteX4" fmla="*/ 96097 w 493449"/>
                                <a:gd name="connsiteY4" fmla="*/ 466778 h 803965"/>
                                <a:gd name="connsiteX5" fmla="*/ 84613 w 493449"/>
                                <a:gd name="connsiteY5" fmla="*/ 521259 h 803965"/>
                                <a:gd name="connsiteX6" fmla="*/ 88319 w 493449"/>
                                <a:gd name="connsiteY6" fmla="*/ 586426 h 803965"/>
                                <a:gd name="connsiteX7" fmla="*/ 31697 w 493449"/>
                                <a:gd name="connsiteY7" fmla="*/ 665947 h 803965"/>
                                <a:gd name="connsiteX8" fmla="*/ 707 w 493449"/>
                                <a:gd name="connsiteY8" fmla="*/ 763038 h 803965"/>
                                <a:gd name="connsiteX9" fmla="*/ 12547 w 493449"/>
                                <a:gd name="connsiteY9" fmla="*/ 802877 h 803965"/>
                                <a:gd name="connsiteX10" fmla="*/ 41336 w 493449"/>
                                <a:gd name="connsiteY10" fmla="*/ 724245 h 803965"/>
                                <a:gd name="connsiteX11" fmla="*/ 87597 w 493449"/>
                                <a:gd name="connsiteY11" fmla="*/ 666835 h 803965"/>
                                <a:gd name="connsiteX12" fmla="*/ 91947 w 493449"/>
                                <a:gd name="connsiteY12" fmla="*/ 649906 h 803965"/>
                                <a:gd name="connsiteX13" fmla="*/ 109982 w 493449"/>
                                <a:gd name="connsiteY13" fmla="*/ 609425 h 803965"/>
                                <a:gd name="connsiteX14" fmla="*/ 103355 w 493449"/>
                                <a:gd name="connsiteY14" fmla="*/ 581399 h 803965"/>
                                <a:gd name="connsiteX15" fmla="*/ 96551 w 493449"/>
                                <a:gd name="connsiteY15" fmla="*/ 554065 h 803965"/>
                                <a:gd name="connsiteX16" fmla="*/ 102520 w 493449"/>
                                <a:gd name="connsiteY16" fmla="*/ 527410 h 803965"/>
                                <a:gd name="connsiteX17" fmla="*/ 101936 w 493449"/>
                                <a:gd name="connsiteY17" fmla="*/ 507933 h 803965"/>
                                <a:gd name="connsiteX18" fmla="*/ 148917 w 493449"/>
                                <a:gd name="connsiteY18" fmla="*/ 432042 h 803965"/>
                                <a:gd name="connsiteX19" fmla="*/ 169673 w 493449"/>
                                <a:gd name="connsiteY19" fmla="*/ 412588 h 803965"/>
                                <a:gd name="connsiteX20" fmla="*/ 194399 w 493449"/>
                                <a:gd name="connsiteY20" fmla="*/ 388950 h 803965"/>
                                <a:gd name="connsiteX21" fmla="*/ 242854 w 493449"/>
                                <a:gd name="connsiteY21" fmla="*/ 373672 h 803965"/>
                                <a:gd name="connsiteX22" fmla="*/ 311303 w 493449"/>
                                <a:gd name="connsiteY22" fmla="*/ 328761 h 803965"/>
                                <a:gd name="connsiteX23" fmla="*/ 388885 w 493449"/>
                                <a:gd name="connsiteY23" fmla="*/ 318267 h 803965"/>
                                <a:gd name="connsiteX24" fmla="*/ 414410 w 493449"/>
                                <a:gd name="connsiteY24" fmla="*/ 264962 h 803965"/>
                                <a:gd name="connsiteX25" fmla="*/ 412918 w 493449"/>
                                <a:gd name="connsiteY25" fmla="*/ 258811 h 803965"/>
                                <a:gd name="connsiteX26" fmla="*/ 484057 w 493449"/>
                                <a:gd name="connsiteY26" fmla="*/ 135395 h 803965"/>
                                <a:gd name="connsiteX27" fmla="*/ 482813 w 493449"/>
                                <a:gd name="connsiteY27" fmla="*/ 99963 h 803965"/>
                                <a:gd name="connsiteX28" fmla="*/ 379767 w 493449"/>
                                <a:gd name="connsiteY28" fmla="*/ 263686 h 803965"/>
                                <a:gd name="connsiteX29" fmla="*/ 383279 w 493449"/>
                                <a:gd name="connsiteY29" fmla="*/ 240600 h 803965"/>
                                <a:gd name="connsiteX30" fmla="*/ 412204 w 493449"/>
                                <a:gd name="connsiteY30" fmla="*/ 171326 h 803965"/>
                                <a:gd name="connsiteX31" fmla="*/ 412204 w 493449"/>
                                <a:gd name="connsiteY31" fmla="*/ 73189 h 803965"/>
                                <a:gd name="connsiteX32" fmla="*/ 377370 w 493449"/>
                                <a:gd name="connsiteY32" fmla="*/ 6599 h 803965"/>
                                <a:gd name="connsiteX33" fmla="*/ 317605 w 493449"/>
                                <a:gd name="connsiteY33" fmla="*/ 11259 h 803965"/>
                                <a:gd name="connsiteX0" fmla="*/ 317605 w 493449"/>
                                <a:gd name="connsiteY0" fmla="*/ 11259 h 803965"/>
                                <a:gd name="connsiteX1" fmla="*/ 242784 w 493449"/>
                                <a:gd name="connsiteY1" fmla="*/ 154007 h 803965"/>
                                <a:gd name="connsiteX2" fmla="*/ 220908 w 493449"/>
                                <a:gd name="connsiteY2" fmla="*/ 240676 h 803965"/>
                                <a:gd name="connsiteX3" fmla="*/ 151163 w 493449"/>
                                <a:gd name="connsiteY3" fmla="*/ 346453 h 803965"/>
                                <a:gd name="connsiteX4" fmla="*/ 96097 w 493449"/>
                                <a:gd name="connsiteY4" fmla="*/ 466778 h 803965"/>
                                <a:gd name="connsiteX5" fmla="*/ 84613 w 493449"/>
                                <a:gd name="connsiteY5" fmla="*/ 521259 h 803965"/>
                                <a:gd name="connsiteX6" fmla="*/ 88319 w 493449"/>
                                <a:gd name="connsiteY6" fmla="*/ 586426 h 803965"/>
                                <a:gd name="connsiteX7" fmla="*/ 31697 w 493449"/>
                                <a:gd name="connsiteY7" fmla="*/ 665947 h 803965"/>
                                <a:gd name="connsiteX8" fmla="*/ 707 w 493449"/>
                                <a:gd name="connsiteY8" fmla="*/ 763038 h 803965"/>
                                <a:gd name="connsiteX9" fmla="*/ 12547 w 493449"/>
                                <a:gd name="connsiteY9" fmla="*/ 802877 h 803965"/>
                                <a:gd name="connsiteX10" fmla="*/ 41336 w 493449"/>
                                <a:gd name="connsiteY10" fmla="*/ 724245 h 803965"/>
                                <a:gd name="connsiteX11" fmla="*/ 87597 w 493449"/>
                                <a:gd name="connsiteY11" fmla="*/ 666835 h 803965"/>
                                <a:gd name="connsiteX12" fmla="*/ 91947 w 493449"/>
                                <a:gd name="connsiteY12" fmla="*/ 649906 h 803965"/>
                                <a:gd name="connsiteX13" fmla="*/ 109982 w 493449"/>
                                <a:gd name="connsiteY13" fmla="*/ 609425 h 803965"/>
                                <a:gd name="connsiteX14" fmla="*/ 103355 w 493449"/>
                                <a:gd name="connsiteY14" fmla="*/ 581399 h 803965"/>
                                <a:gd name="connsiteX15" fmla="*/ 96551 w 493449"/>
                                <a:gd name="connsiteY15" fmla="*/ 554065 h 803965"/>
                                <a:gd name="connsiteX16" fmla="*/ 102520 w 493449"/>
                                <a:gd name="connsiteY16" fmla="*/ 527410 h 803965"/>
                                <a:gd name="connsiteX17" fmla="*/ 101936 w 493449"/>
                                <a:gd name="connsiteY17" fmla="*/ 507933 h 803965"/>
                                <a:gd name="connsiteX18" fmla="*/ 148917 w 493449"/>
                                <a:gd name="connsiteY18" fmla="*/ 432042 h 803965"/>
                                <a:gd name="connsiteX19" fmla="*/ 169673 w 493449"/>
                                <a:gd name="connsiteY19" fmla="*/ 412588 h 803965"/>
                                <a:gd name="connsiteX20" fmla="*/ 194399 w 493449"/>
                                <a:gd name="connsiteY20" fmla="*/ 388950 h 803965"/>
                                <a:gd name="connsiteX21" fmla="*/ 242854 w 493449"/>
                                <a:gd name="connsiteY21" fmla="*/ 373672 h 803965"/>
                                <a:gd name="connsiteX22" fmla="*/ 311303 w 493449"/>
                                <a:gd name="connsiteY22" fmla="*/ 328761 h 803965"/>
                                <a:gd name="connsiteX23" fmla="*/ 388885 w 493449"/>
                                <a:gd name="connsiteY23" fmla="*/ 318267 h 803965"/>
                                <a:gd name="connsiteX24" fmla="*/ 415902 w 493449"/>
                                <a:gd name="connsiteY24" fmla="*/ 279315 h 803965"/>
                                <a:gd name="connsiteX25" fmla="*/ 412918 w 493449"/>
                                <a:gd name="connsiteY25" fmla="*/ 258811 h 803965"/>
                                <a:gd name="connsiteX26" fmla="*/ 484057 w 493449"/>
                                <a:gd name="connsiteY26" fmla="*/ 135395 h 803965"/>
                                <a:gd name="connsiteX27" fmla="*/ 482813 w 493449"/>
                                <a:gd name="connsiteY27" fmla="*/ 99963 h 803965"/>
                                <a:gd name="connsiteX28" fmla="*/ 379767 w 493449"/>
                                <a:gd name="connsiteY28" fmla="*/ 263686 h 803965"/>
                                <a:gd name="connsiteX29" fmla="*/ 383279 w 493449"/>
                                <a:gd name="connsiteY29" fmla="*/ 240600 h 803965"/>
                                <a:gd name="connsiteX30" fmla="*/ 412204 w 493449"/>
                                <a:gd name="connsiteY30" fmla="*/ 171326 h 803965"/>
                                <a:gd name="connsiteX31" fmla="*/ 412204 w 493449"/>
                                <a:gd name="connsiteY31" fmla="*/ 73189 h 803965"/>
                                <a:gd name="connsiteX32" fmla="*/ 377370 w 493449"/>
                                <a:gd name="connsiteY32" fmla="*/ 6599 h 803965"/>
                                <a:gd name="connsiteX33" fmla="*/ 317605 w 493449"/>
                                <a:gd name="connsiteY33" fmla="*/ 11259 h 803965"/>
                                <a:gd name="connsiteX0" fmla="*/ 317605 w 493449"/>
                                <a:gd name="connsiteY0" fmla="*/ 11259 h 803965"/>
                                <a:gd name="connsiteX1" fmla="*/ 242784 w 493449"/>
                                <a:gd name="connsiteY1" fmla="*/ 154007 h 803965"/>
                                <a:gd name="connsiteX2" fmla="*/ 220908 w 493449"/>
                                <a:gd name="connsiteY2" fmla="*/ 240676 h 803965"/>
                                <a:gd name="connsiteX3" fmla="*/ 151163 w 493449"/>
                                <a:gd name="connsiteY3" fmla="*/ 346453 h 803965"/>
                                <a:gd name="connsiteX4" fmla="*/ 96097 w 493449"/>
                                <a:gd name="connsiteY4" fmla="*/ 466778 h 803965"/>
                                <a:gd name="connsiteX5" fmla="*/ 84613 w 493449"/>
                                <a:gd name="connsiteY5" fmla="*/ 521259 h 803965"/>
                                <a:gd name="connsiteX6" fmla="*/ 88319 w 493449"/>
                                <a:gd name="connsiteY6" fmla="*/ 586426 h 803965"/>
                                <a:gd name="connsiteX7" fmla="*/ 31697 w 493449"/>
                                <a:gd name="connsiteY7" fmla="*/ 665947 h 803965"/>
                                <a:gd name="connsiteX8" fmla="*/ 707 w 493449"/>
                                <a:gd name="connsiteY8" fmla="*/ 763038 h 803965"/>
                                <a:gd name="connsiteX9" fmla="*/ 12547 w 493449"/>
                                <a:gd name="connsiteY9" fmla="*/ 802877 h 803965"/>
                                <a:gd name="connsiteX10" fmla="*/ 41336 w 493449"/>
                                <a:gd name="connsiteY10" fmla="*/ 724245 h 803965"/>
                                <a:gd name="connsiteX11" fmla="*/ 87597 w 493449"/>
                                <a:gd name="connsiteY11" fmla="*/ 666835 h 803965"/>
                                <a:gd name="connsiteX12" fmla="*/ 91947 w 493449"/>
                                <a:gd name="connsiteY12" fmla="*/ 649906 h 803965"/>
                                <a:gd name="connsiteX13" fmla="*/ 109982 w 493449"/>
                                <a:gd name="connsiteY13" fmla="*/ 609425 h 803965"/>
                                <a:gd name="connsiteX14" fmla="*/ 103355 w 493449"/>
                                <a:gd name="connsiteY14" fmla="*/ 581399 h 803965"/>
                                <a:gd name="connsiteX15" fmla="*/ 96551 w 493449"/>
                                <a:gd name="connsiteY15" fmla="*/ 554065 h 803965"/>
                                <a:gd name="connsiteX16" fmla="*/ 102520 w 493449"/>
                                <a:gd name="connsiteY16" fmla="*/ 527410 h 803965"/>
                                <a:gd name="connsiteX17" fmla="*/ 101936 w 493449"/>
                                <a:gd name="connsiteY17" fmla="*/ 507933 h 803965"/>
                                <a:gd name="connsiteX18" fmla="*/ 148917 w 493449"/>
                                <a:gd name="connsiteY18" fmla="*/ 432042 h 803965"/>
                                <a:gd name="connsiteX19" fmla="*/ 169673 w 493449"/>
                                <a:gd name="connsiteY19" fmla="*/ 412588 h 803965"/>
                                <a:gd name="connsiteX20" fmla="*/ 194399 w 493449"/>
                                <a:gd name="connsiteY20" fmla="*/ 388950 h 803965"/>
                                <a:gd name="connsiteX21" fmla="*/ 242854 w 493449"/>
                                <a:gd name="connsiteY21" fmla="*/ 373672 h 803965"/>
                                <a:gd name="connsiteX22" fmla="*/ 311303 w 493449"/>
                                <a:gd name="connsiteY22" fmla="*/ 328761 h 803965"/>
                                <a:gd name="connsiteX23" fmla="*/ 388885 w 493449"/>
                                <a:gd name="connsiteY23" fmla="*/ 318267 h 803965"/>
                                <a:gd name="connsiteX24" fmla="*/ 399488 w 493449"/>
                                <a:gd name="connsiteY24" fmla="*/ 301868 h 803965"/>
                                <a:gd name="connsiteX25" fmla="*/ 415902 w 493449"/>
                                <a:gd name="connsiteY25" fmla="*/ 279315 h 803965"/>
                                <a:gd name="connsiteX26" fmla="*/ 412918 w 493449"/>
                                <a:gd name="connsiteY26" fmla="*/ 258811 h 803965"/>
                                <a:gd name="connsiteX27" fmla="*/ 484057 w 493449"/>
                                <a:gd name="connsiteY27" fmla="*/ 135395 h 803965"/>
                                <a:gd name="connsiteX28" fmla="*/ 482813 w 493449"/>
                                <a:gd name="connsiteY28" fmla="*/ 99963 h 803965"/>
                                <a:gd name="connsiteX29" fmla="*/ 379767 w 493449"/>
                                <a:gd name="connsiteY29" fmla="*/ 263686 h 803965"/>
                                <a:gd name="connsiteX30" fmla="*/ 383279 w 493449"/>
                                <a:gd name="connsiteY30" fmla="*/ 240600 h 803965"/>
                                <a:gd name="connsiteX31" fmla="*/ 412204 w 493449"/>
                                <a:gd name="connsiteY31" fmla="*/ 171326 h 803965"/>
                                <a:gd name="connsiteX32" fmla="*/ 412204 w 493449"/>
                                <a:gd name="connsiteY32" fmla="*/ 73189 h 803965"/>
                                <a:gd name="connsiteX33" fmla="*/ 377370 w 493449"/>
                                <a:gd name="connsiteY33" fmla="*/ 6599 h 803965"/>
                                <a:gd name="connsiteX34" fmla="*/ 317605 w 493449"/>
                                <a:gd name="connsiteY34" fmla="*/ 11259 h 803965"/>
                                <a:gd name="connsiteX0" fmla="*/ 317605 w 492731"/>
                                <a:gd name="connsiteY0" fmla="*/ 11259 h 803965"/>
                                <a:gd name="connsiteX1" fmla="*/ 242784 w 492731"/>
                                <a:gd name="connsiteY1" fmla="*/ 154007 h 803965"/>
                                <a:gd name="connsiteX2" fmla="*/ 220908 w 492731"/>
                                <a:gd name="connsiteY2" fmla="*/ 240676 h 803965"/>
                                <a:gd name="connsiteX3" fmla="*/ 151163 w 492731"/>
                                <a:gd name="connsiteY3" fmla="*/ 346453 h 803965"/>
                                <a:gd name="connsiteX4" fmla="*/ 96097 w 492731"/>
                                <a:gd name="connsiteY4" fmla="*/ 466778 h 803965"/>
                                <a:gd name="connsiteX5" fmla="*/ 84613 w 492731"/>
                                <a:gd name="connsiteY5" fmla="*/ 521259 h 803965"/>
                                <a:gd name="connsiteX6" fmla="*/ 88319 w 492731"/>
                                <a:gd name="connsiteY6" fmla="*/ 586426 h 803965"/>
                                <a:gd name="connsiteX7" fmla="*/ 31697 w 492731"/>
                                <a:gd name="connsiteY7" fmla="*/ 665947 h 803965"/>
                                <a:gd name="connsiteX8" fmla="*/ 707 w 492731"/>
                                <a:gd name="connsiteY8" fmla="*/ 763038 h 803965"/>
                                <a:gd name="connsiteX9" fmla="*/ 12547 w 492731"/>
                                <a:gd name="connsiteY9" fmla="*/ 802877 h 803965"/>
                                <a:gd name="connsiteX10" fmla="*/ 41336 w 492731"/>
                                <a:gd name="connsiteY10" fmla="*/ 724245 h 803965"/>
                                <a:gd name="connsiteX11" fmla="*/ 87597 w 492731"/>
                                <a:gd name="connsiteY11" fmla="*/ 666835 h 803965"/>
                                <a:gd name="connsiteX12" fmla="*/ 91947 w 492731"/>
                                <a:gd name="connsiteY12" fmla="*/ 649906 h 803965"/>
                                <a:gd name="connsiteX13" fmla="*/ 109982 w 492731"/>
                                <a:gd name="connsiteY13" fmla="*/ 609425 h 803965"/>
                                <a:gd name="connsiteX14" fmla="*/ 103355 w 492731"/>
                                <a:gd name="connsiteY14" fmla="*/ 581399 h 803965"/>
                                <a:gd name="connsiteX15" fmla="*/ 96551 w 492731"/>
                                <a:gd name="connsiteY15" fmla="*/ 554065 h 803965"/>
                                <a:gd name="connsiteX16" fmla="*/ 102520 w 492731"/>
                                <a:gd name="connsiteY16" fmla="*/ 527410 h 803965"/>
                                <a:gd name="connsiteX17" fmla="*/ 101936 w 492731"/>
                                <a:gd name="connsiteY17" fmla="*/ 507933 h 803965"/>
                                <a:gd name="connsiteX18" fmla="*/ 148917 w 492731"/>
                                <a:gd name="connsiteY18" fmla="*/ 432042 h 803965"/>
                                <a:gd name="connsiteX19" fmla="*/ 169673 w 492731"/>
                                <a:gd name="connsiteY19" fmla="*/ 412588 h 803965"/>
                                <a:gd name="connsiteX20" fmla="*/ 194399 w 492731"/>
                                <a:gd name="connsiteY20" fmla="*/ 388950 h 803965"/>
                                <a:gd name="connsiteX21" fmla="*/ 242854 w 492731"/>
                                <a:gd name="connsiteY21" fmla="*/ 373672 h 803965"/>
                                <a:gd name="connsiteX22" fmla="*/ 311303 w 492731"/>
                                <a:gd name="connsiteY22" fmla="*/ 328761 h 803965"/>
                                <a:gd name="connsiteX23" fmla="*/ 388885 w 492731"/>
                                <a:gd name="connsiteY23" fmla="*/ 318267 h 803965"/>
                                <a:gd name="connsiteX24" fmla="*/ 399488 w 492731"/>
                                <a:gd name="connsiteY24" fmla="*/ 301868 h 803965"/>
                                <a:gd name="connsiteX25" fmla="*/ 415902 w 492731"/>
                                <a:gd name="connsiteY25" fmla="*/ 279315 h 803965"/>
                                <a:gd name="connsiteX26" fmla="*/ 424856 w 492731"/>
                                <a:gd name="connsiteY26" fmla="*/ 246509 h 803965"/>
                                <a:gd name="connsiteX27" fmla="*/ 484057 w 492731"/>
                                <a:gd name="connsiteY27" fmla="*/ 135395 h 803965"/>
                                <a:gd name="connsiteX28" fmla="*/ 482813 w 492731"/>
                                <a:gd name="connsiteY28" fmla="*/ 99963 h 803965"/>
                                <a:gd name="connsiteX29" fmla="*/ 379767 w 492731"/>
                                <a:gd name="connsiteY29" fmla="*/ 263686 h 803965"/>
                                <a:gd name="connsiteX30" fmla="*/ 383279 w 492731"/>
                                <a:gd name="connsiteY30" fmla="*/ 240600 h 803965"/>
                                <a:gd name="connsiteX31" fmla="*/ 412204 w 492731"/>
                                <a:gd name="connsiteY31" fmla="*/ 171326 h 803965"/>
                                <a:gd name="connsiteX32" fmla="*/ 412204 w 492731"/>
                                <a:gd name="connsiteY32" fmla="*/ 73189 h 803965"/>
                                <a:gd name="connsiteX33" fmla="*/ 377370 w 492731"/>
                                <a:gd name="connsiteY33" fmla="*/ 6599 h 803965"/>
                                <a:gd name="connsiteX34" fmla="*/ 317605 w 492731"/>
                                <a:gd name="connsiteY34" fmla="*/ 11259 h 803965"/>
                                <a:gd name="connsiteX0" fmla="*/ 317605 w 491804"/>
                                <a:gd name="connsiteY0" fmla="*/ 11259 h 803965"/>
                                <a:gd name="connsiteX1" fmla="*/ 242784 w 491804"/>
                                <a:gd name="connsiteY1" fmla="*/ 154007 h 803965"/>
                                <a:gd name="connsiteX2" fmla="*/ 220908 w 491804"/>
                                <a:gd name="connsiteY2" fmla="*/ 240676 h 803965"/>
                                <a:gd name="connsiteX3" fmla="*/ 151163 w 491804"/>
                                <a:gd name="connsiteY3" fmla="*/ 346453 h 803965"/>
                                <a:gd name="connsiteX4" fmla="*/ 96097 w 491804"/>
                                <a:gd name="connsiteY4" fmla="*/ 466778 h 803965"/>
                                <a:gd name="connsiteX5" fmla="*/ 84613 w 491804"/>
                                <a:gd name="connsiteY5" fmla="*/ 521259 h 803965"/>
                                <a:gd name="connsiteX6" fmla="*/ 88319 w 491804"/>
                                <a:gd name="connsiteY6" fmla="*/ 586426 h 803965"/>
                                <a:gd name="connsiteX7" fmla="*/ 31697 w 491804"/>
                                <a:gd name="connsiteY7" fmla="*/ 665947 h 803965"/>
                                <a:gd name="connsiteX8" fmla="*/ 707 w 491804"/>
                                <a:gd name="connsiteY8" fmla="*/ 763038 h 803965"/>
                                <a:gd name="connsiteX9" fmla="*/ 12547 w 491804"/>
                                <a:gd name="connsiteY9" fmla="*/ 802877 h 803965"/>
                                <a:gd name="connsiteX10" fmla="*/ 41336 w 491804"/>
                                <a:gd name="connsiteY10" fmla="*/ 724245 h 803965"/>
                                <a:gd name="connsiteX11" fmla="*/ 87597 w 491804"/>
                                <a:gd name="connsiteY11" fmla="*/ 666835 h 803965"/>
                                <a:gd name="connsiteX12" fmla="*/ 91947 w 491804"/>
                                <a:gd name="connsiteY12" fmla="*/ 649906 h 803965"/>
                                <a:gd name="connsiteX13" fmla="*/ 109982 w 491804"/>
                                <a:gd name="connsiteY13" fmla="*/ 609425 h 803965"/>
                                <a:gd name="connsiteX14" fmla="*/ 103355 w 491804"/>
                                <a:gd name="connsiteY14" fmla="*/ 581399 h 803965"/>
                                <a:gd name="connsiteX15" fmla="*/ 96551 w 491804"/>
                                <a:gd name="connsiteY15" fmla="*/ 554065 h 803965"/>
                                <a:gd name="connsiteX16" fmla="*/ 102520 w 491804"/>
                                <a:gd name="connsiteY16" fmla="*/ 527410 h 803965"/>
                                <a:gd name="connsiteX17" fmla="*/ 101936 w 491804"/>
                                <a:gd name="connsiteY17" fmla="*/ 507933 h 803965"/>
                                <a:gd name="connsiteX18" fmla="*/ 148917 w 491804"/>
                                <a:gd name="connsiteY18" fmla="*/ 432042 h 803965"/>
                                <a:gd name="connsiteX19" fmla="*/ 169673 w 491804"/>
                                <a:gd name="connsiteY19" fmla="*/ 412588 h 803965"/>
                                <a:gd name="connsiteX20" fmla="*/ 194399 w 491804"/>
                                <a:gd name="connsiteY20" fmla="*/ 388950 h 803965"/>
                                <a:gd name="connsiteX21" fmla="*/ 242854 w 491804"/>
                                <a:gd name="connsiteY21" fmla="*/ 373672 h 803965"/>
                                <a:gd name="connsiteX22" fmla="*/ 311303 w 491804"/>
                                <a:gd name="connsiteY22" fmla="*/ 328761 h 803965"/>
                                <a:gd name="connsiteX23" fmla="*/ 388885 w 491804"/>
                                <a:gd name="connsiteY23" fmla="*/ 318267 h 803965"/>
                                <a:gd name="connsiteX24" fmla="*/ 399488 w 491804"/>
                                <a:gd name="connsiteY24" fmla="*/ 301868 h 803965"/>
                                <a:gd name="connsiteX25" fmla="*/ 415902 w 491804"/>
                                <a:gd name="connsiteY25" fmla="*/ 279315 h 803965"/>
                                <a:gd name="connsiteX26" fmla="*/ 441271 w 491804"/>
                                <a:gd name="connsiteY26" fmla="*/ 264962 h 803965"/>
                                <a:gd name="connsiteX27" fmla="*/ 484057 w 491804"/>
                                <a:gd name="connsiteY27" fmla="*/ 135395 h 803965"/>
                                <a:gd name="connsiteX28" fmla="*/ 482813 w 491804"/>
                                <a:gd name="connsiteY28" fmla="*/ 99963 h 803965"/>
                                <a:gd name="connsiteX29" fmla="*/ 379767 w 491804"/>
                                <a:gd name="connsiteY29" fmla="*/ 263686 h 803965"/>
                                <a:gd name="connsiteX30" fmla="*/ 383279 w 491804"/>
                                <a:gd name="connsiteY30" fmla="*/ 240600 h 803965"/>
                                <a:gd name="connsiteX31" fmla="*/ 412204 w 491804"/>
                                <a:gd name="connsiteY31" fmla="*/ 171326 h 803965"/>
                                <a:gd name="connsiteX32" fmla="*/ 412204 w 491804"/>
                                <a:gd name="connsiteY32" fmla="*/ 73189 h 803965"/>
                                <a:gd name="connsiteX33" fmla="*/ 377370 w 491804"/>
                                <a:gd name="connsiteY33" fmla="*/ 6599 h 803965"/>
                                <a:gd name="connsiteX34" fmla="*/ 317605 w 491804"/>
                                <a:gd name="connsiteY34" fmla="*/ 11259 h 803965"/>
                                <a:gd name="connsiteX0" fmla="*/ 317605 w 491804"/>
                                <a:gd name="connsiteY0" fmla="*/ 11259 h 803965"/>
                                <a:gd name="connsiteX1" fmla="*/ 242784 w 491804"/>
                                <a:gd name="connsiteY1" fmla="*/ 154007 h 803965"/>
                                <a:gd name="connsiteX2" fmla="*/ 220908 w 491804"/>
                                <a:gd name="connsiteY2" fmla="*/ 240676 h 803965"/>
                                <a:gd name="connsiteX3" fmla="*/ 151163 w 491804"/>
                                <a:gd name="connsiteY3" fmla="*/ 346453 h 803965"/>
                                <a:gd name="connsiteX4" fmla="*/ 96097 w 491804"/>
                                <a:gd name="connsiteY4" fmla="*/ 466778 h 803965"/>
                                <a:gd name="connsiteX5" fmla="*/ 84613 w 491804"/>
                                <a:gd name="connsiteY5" fmla="*/ 521259 h 803965"/>
                                <a:gd name="connsiteX6" fmla="*/ 88319 w 491804"/>
                                <a:gd name="connsiteY6" fmla="*/ 586426 h 803965"/>
                                <a:gd name="connsiteX7" fmla="*/ 31697 w 491804"/>
                                <a:gd name="connsiteY7" fmla="*/ 665947 h 803965"/>
                                <a:gd name="connsiteX8" fmla="*/ 707 w 491804"/>
                                <a:gd name="connsiteY8" fmla="*/ 763038 h 803965"/>
                                <a:gd name="connsiteX9" fmla="*/ 12547 w 491804"/>
                                <a:gd name="connsiteY9" fmla="*/ 802877 h 803965"/>
                                <a:gd name="connsiteX10" fmla="*/ 41336 w 491804"/>
                                <a:gd name="connsiteY10" fmla="*/ 724245 h 803965"/>
                                <a:gd name="connsiteX11" fmla="*/ 87597 w 491804"/>
                                <a:gd name="connsiteY11" fmla="*/ 666835 h 803965"/>
                                <a:gd name="connsiteX12" fmla="*/ 91947 w 491804"/>
                                <a:gd name="connsiteY12" fmla="*/ 649906 h 803965"/>
                                <a:gd name="connsiteX13" fmla="*/ 109982 w 491804"/>
                                <a:gd name="connsiteY13" fmla="*/ 609425 h 803965"/>
                                <a:gd name="connsiteX14" fmla="*/ 103355 w 491804"/>
                                <a:gd name="connsiteY14" fmla="*/ 581399 h 803965"/>
                                <a:gd name="connsiteX15" fmla="*/ 96551 w 491804"/>
                                <a:gd name="connsiteY15" fmla="*/ 554065 h 803965"/>
                                <a:gd name="connsiteX16" fmla="*/ 102520 w 491804"/>
                                <a:gd name="connsiteY16" fmla="*/ 527410 h 803965"/>
                                <a:gd name="connsiteX17" fmla="*/ 101936 w 491804"/>
                                <a:gd name="connsiteY17" fmla="*/ 507933 h 803965"/>
                                <a:gd name="connsiteX18" fmla="*/ 148917 w 491804"/>
                                <a:gd name="connsiteY18" fmla="*/ 432042 h 803965"/>
                                <a:gd name="connsiteX19" fmla="*/ 169673 w 491804"/>
                                <a:gd name="connsiteY19" fmla="*/ 412588 h 803965"/>
                                <a:gd name="connsiteX20" fmla="*/ 194399 w 491804"/>
                                <a:gd name="connsiteY20" fmla="*/ 388950 h 803965"/>
                                <a:gd name="connsiteX21" fmla="*/ 242854 w 491804"/>
                                <a:gd name="connsiteY21" fmla="*/ 373672 h 803965"/>
                                <a:gd name="connsiteX22" fmla="*/ 311303 w 491804"/>
                                <a:gd name="connsiteY22" fmla="*/ 328761 h 803965"/>
                                <a:gd name="connsiteX23" fmla="*/ 388885 w 491804"/>
                                <a:gd name="connsiteY23" fmla="*/ 318267 h 803965"/>
                                <a:gd name="connsiteX24" fmla="*/ 399488 w 491804"/>
                                <a:gd name="connsiteY24" fmla="*/ 301868 h 803965"/>
                                <a:gd name="connsiteX25" fmla="*/ 415902 w 491804"/>
                                <a:gd name="connsiteY25" fmla="*/ 279315 h 803965"/>
                                <a:gd name="connsiteX26" fmla="*/ 441271 w 491804"/>
                                <a:gd name="connsiteY26" fmla="*/ 264962 h 803965"/>
                                <a:gd name="connsiteX27" fmla="*/ 484057 w 491804"/>
                                <a:gd name="connsiteY27" fmla="*/ 135395 h 803965"/>
                                <a:gd name="connsiteX28" fmla="*/ 482813 w 491804"/>
                                <a:gd name="connsiteY28" fmla="*/ 99963 h 803965"/>
                                <a:gd name="connsiteX29" fmla="*/ 379767 w 491804"/>
                                <a:gd name="connsiteY29" fmla="*/ 263686 h 803965"/>
                                <a:gd name="connsiteX30" fmla="*/ 383279 w 491804"/>
                                <a:gd name="connsiteY30" fmla="*/ 240600 h 803965"/>
                                <a:gd name="connsiteX31" fmla="*/ 412204 w 491804"/>
                                <a:gd name="connsiteY31" fmla="*/ 171326 h 803965"/>
                                <a:gd name="connsiteX32" fmla="*/ 412204 w 491804"/>
                                <a:gd name="connsiteY32" fmla="*/ 73189 h 803965"/>
                                <a:gd name="connsiteX33" fmla="*/ 377370 w 491804"/>
                                <a:gd name="connsiteY33" fmla="*/ 6599 h 803965"/>
                                <a:gd name="connsiteX34" fmla="*/ 317605 w 491804"/>
                                <a:gd name="connsiteY34" fmla="*/ 11259 h 803965"/>
                                <a:gd name="connsiteX0" fmla="*/ 317605 w 491967"/>
                                <a:gd name="connsiteY0" fmla="*/ 11259 h 803965"/>
                                <a:gd name="connsiteX1" fmla="*/ 242784 w 491967"/>
                                <a:gd name="connsiteY1" fmla="*/ 154007 h 803965"/>
                                <a:gd name="connsiteX2" fmla="*/ 220908 w 491967"/>
                                <a:gd name="connsiteY2" fmla="*/ 240676 h 803965"/>
                                <a:gd name="connsiteX3" fmla="*/ 151163 w 491967"/>
                                <a:gd name="connsiteY3" fmla="*/ 346453 h 803965"/>
                                <a:gd name="connsiteX4" fmla="*/ 96097 w 491967"/>
                                <a:gd name="connsiteY4" fmla="*/ 466778 h 803965"/>
                                <a:gd name="connsiteX5" fmla="*/ 84613 w 491967"/>
                                <a:gd name="connsiteY5" fmla="*/ 521259 h 803965"/>
                                <a:gd name="connsiteX6" fmla="*/ 88319 w 491967"/>
                                <a:gd name="connsiteY6" fmla="*/ 586426 h 803965"/>
                                <a:gd name="connsiteX7" fmla="*/ 31697 w 491967"/>
                                <a:gd name="connsiteY7" fmla="*/ 665947 h 803965"/>
                                <a:gd name="connsiteX8" fmla="*/ 707 w 491967"/>
                                <a:gd name="connsiteY8" fmla="*/ 763038 h 803965"/>
                                <a:gd name="connsiteX9" fmla="*/ 12547 w 491967"/>
                                <a:gd name="connsiteY9" fmla="*/ 802877 h 803965"/>
                                <a:gd name="connsiteX10" fmla="*/ 41336 w 491967"/>
                                <a:gd name="connsiteY10" fmla="*/ 724245 h 803965"/>
                                <a:gd name="connsiteX11" fmla="*/ 87597 w 491967"/>
                                <a:gd name="connsiteY11" fmla="*/ 666835 h 803965"/>
                                <a:gd name="connsiteX12" fmla="*/ 91947 w 491967"/>
                                <a:gd name="connsiteY12" fmla="*/ 649906 h 803965"/>
                                <a:gd name="connsiteX13" fmla="*/ 109982 w 491967"/>
                                <a:gd name="connsiteY13" fmla="*/ 609425 h 803965"/>
                                <a:gd name="connsiteX14" fmla="*/ 103355 w 491967"/>
                                <a:gd name="connsiteY14" fmla="*/ 581399 h 803965"/>
                                <a:gd name="connsiteX15" fmla="*/ 96551 w 491967"/>
                                <a:gd name="connsiteY15" fmla="*/ 554065 h 803965"/>
                                <a:gd name="connsiteX16" fmla="*/ 102520 w 491967"/>
                                <a:gd name="connsiteY16" fmla="*/ 527410 h 803965"/>
                                <a:gd name="connsiteX17" fmla="*/ 101936 w 491967"/>
                                <a:gd name="connsiteY17" fmla="*/ 507933 h 803965"/>
                                <a:gd name="connsiteX18" fmla="*/ 148917 w 491967"/>
                                <a:gd name="connsiteY18" fmla="*/ 432042 h 803965"/>
                                <a:gd name="connsiteX19" fmla="*/ 169673 w 491967"/>
                                <a:gd name="connsiteY19" fmla="*/ 412588 h 803965"/>
                                <a:gd name="connsiteX20" fmla="*/ 194399 w 491967"/>
                                <a:gd name="connsiteY20" fmla="*/ 388950 h 803965"/>
                                <a:gd name="connsiteX21" fmla="*/ 242854 w 491967"/>
                                <a:gd name="connsiteY21" fmla="*/ 373672 h 803965"/>
                                <a:gd name="connsiteX22" fmla="*/ 311303 w 491967"/>
                                <a:gd name="connsiteY22" fmla="*/ 328761 h 803965"/>
                                <a:gd name="connsiteX23" fmla="*/ 388885 w 491967"/>
                                <a:gd name="connsiteY23" fmla="*/ 318267 h 803965"/>
                                <a:gd name="connsiteX24" fmla="*/ 399488 w 491967"/>
                                <a:gd name="connsiteY24" fmla="*/ 301868 h 803965"/>
                                <a:gd name="connsiteX25" fmla="*/ 415902 w 491967"/>
                                <a:gd name="connsiteY25" fmla="*/ 279315 h 803965"/>
                                <a:gd name="connsiteX26" fmla="*/ 441271 w 491967"/>
                                <a:gd name="connsiteY26" fmla="*/ 264962 h 803965"/>
                                <a:gd name="connsiteX27" fmla="*/ 438287 w 491967"/>
                                <a:gd name="connsiteY27" fmla="*/ 223954 h 803965"/>
                                <a:gd name="connsiteX28" fmla="*/ 484057 w 491967"/>
                                <a:gd name="connsiteY28" fmla="*/ 135395 h 803965"/>
                                <a:gd name="connsiteX29" fmla="*/ 482813 w 491967"/>
                                <a:gd name="connsiteY29" fmla="*/ 99963 h 803965"/>
                                <a:gd name="connsiteX30" fmla="*/ 379767 w 491967"/>
                                <a:gd name="connsiteY30" fmla="*/ 263686 h 803965"/>
                                <a:gd name="connsiteX31" fmla="*/ 383279 w 491967"/>
                                <a:gd name="connsiteY31" fmla="*/ 240600 h 803965"/>
                                <a:gd name="connsiteX32" fmla="*/ 412204 w 491967"/>
                                <a:gd name="connsiteY32" fmla="*/ 171326 h 803965"/>
                                <a:gd name="connsiteX33" fmla="*/ 412204 w 491967"/>
                                <a:gd name="connsiteY33" fmla="*/ 73189 h 803965"/>
                                <a:gd name="connsiteX34" fmla="*/ 377370 w 491967"/>
                                <a:gd name="connsiteY34" fmla="*/ 6599 h 803965"/>
                                <a:gd name="connsiteX35" fmla="*/ 317605 w 491967"/>
                                <a:gd name="connsiteY35" fmla="*/ 11259 h 80396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  <a:cxn ang="0">
                                  <a:pos x="connsiteX19" y="connsiteY19"/>
                                </a:cxn>
                                <a:cxn ang="0">
                                  <a:pos x="connsiteX20" y="connsiteY20"/>
                                </a:cxn>
                                <a:cxn ang="0">
                                  <a:pos x="connsiteX21" y="connsiteY21"/>
                                </a:cxn>
                                <a:cxn ang="0">
                                  <a:pos x="connsiteX22" y="connsiteY22"/>
                                </a:cxn>
                                <a:cxn ang="0">
                                  <a:pos x="connsiteX23" y="connsiteY23"/>
                                </a:cxn>
                                <a:cxn ang="0">
                                  <a:pos x="connsiteX24" y="connsiteY24"/>
                                </a:cxn>
                                <a:cxn ang="0">
                                  <a:pos x="connsiteX25" y="connsiteY25"/>
                                </a:cxn>
                                <a:cxn ang="0">
                                  <a:pos x="connsiteX26" y="connsiteY26"/>
                                </a:cxn>
                                <a:cxn ang="0">
                                  <a:pos x="connsiteX27" y="connsiteY27"/>
                                </a:cxn>
                                <a:cxn ang="0">
                                  <a:pos x="connsiteX28" y="connsiteY28"/>
                                </a:cxn>
                                <a:cxn ang="0">
                                  <a:pos x="connsiteX29" y="connsiteY29"/>
                                </a:cxn>
                                <a:cxn ang="0">
                                  <a:pos x="connsiteX30" y="connsiteY30"/>
                                </a:cxn>
                                <a:cxn ang="0">
                                  <a:pos x="connsiteX31" y="connsiteY31"/>
                                </a:cxn>
                                <a:cxn ang="0">
                                  <a:pos x="connsiteX32" y="connsiteY32"/>
                                </a:cxn>
                                <a:cxn ang="0">
                                  <a:pos x="connsiteX33" y="connsiteY33"/>
                                </a:cxn>
                                <a:cxn ang="0">
                                  <a:pos x="connsiteX34" y="connsiteY34"/>
                                </a:cxn>
                                <a:cxn ang="0">
                                  <a:pos x="connsiteX35" y="connsiteY35"/>
                                </a:cxn>
                              </a:cxnLst>
                              <a:rect l="l" t="t" r="r" b="b"/>
                              <a:pathLst>
                                <a:path w="491967" h="803965">
                                  <a:moveTo>
                                    <a:pt x="317605" y="11259"/>
                                  </a:moveTo>
                                  <a:cubicBezTo>
                                    <a:pt x="274513" y="24281"/>
                                    <a:pt x="252702" y="127317"/>
                                    <a:pt x="242784" y="154007"/>
                                  </a:cubicBezTo>
                                  <a:cubicBezTo>
                                    <a:pt x="232866" y="180698"/>
                                    <a:pt x="236178" y="208602"/>
                                    <a:pt x="220908" y="240676"/>
                                  </a:cubicBezTo>
                                  <a:cubicBezTo>
                                    <a:pt x="205638" y="272750"/>
                                    <a:pt x="171965" y="308769"/>
                                    <a:pt x="151163" y="346453"/>
                                  </a:cubicBezTo>
                                  <a:cubicBezTo>
                                    <a:pt x="130361" y="384137"/>
                                    <a:pt x="107189" y="437644"/>
                                    <a:pt x="96097" y="466778"/>
                                  </a:cubicBezTo>
                                  <a:cubicBezTo>
                                    <a:pt x="85005" y="495912"/>
                                    <a:pt x="85909" y="501318"/>
                                    <a:pt x="84613" y="521259"/>
                                  </a:cubicBezTo>
                                  <a:cubicBezTo>
                                    <a:pt x="83317" y="541200"/>
                                    <a:pt x="97138" y="562311"/>
                                    <a:pt x="88319" y="586426"/>
                                  </a:cubicBezTo>
                                  <a:cubicBezTo>
                                    <a:pt x="79500" y="610541"/>
                                    <a:pt x="46299" y="636512"/>
                                    <a:pt x="31697" y="665947"/>
                                  </a:cubicBezTo>
                                  <a:cubicBezTo>
                                    <a:pt x="17095" y="695382"/>
                                    <a:pt x="3899" y="740216"/>
                                    <a:pt x="707" y="763038"/>
                                  </a:cubicBezTo>
                                  <a:cubicBezTo>
                                    <a:pt x="-2485" y="785860"/>
                                    <a:pt x="5776" y="809342"/>
                                    <a:pt x="12547" y="802877"/>
                                  </a:cubicBezTo>
                                  <a:cubicBezTo>
                                    <a:pt x="19318" y="796412"/>
                                    <a:pt x="29574" y="747944"/>
                                    <a:pt x="41336" y="724245"/>
                                  </a:cubicBezTo>
                                  <a:cubicBezTo>
                                    <a:pt x="53098" y="700546"/>
                                    <a:pt x="79162" y="679225"/>
                                    <a:pt x="87597" y="666835"/>
                                  </a:cubicBezTo>
                                  <a:cubicBezTo>
                                    <a:pt x="96032" y="654445"/>
                                    <a:pt x="88216" y="659474"/>
                                    <a:pt x="91947" y="649906"/>
                                  </a:cubicBezTo>
                                  <a:cubicBezTo>
                                    <a:pt x="95678" y="640338"/>
                                    <a:pt x="108081" y="620843"/>
                                    <a:pt x="109982" y="609425"/>
                                  </a:cubicBezTo>
                                  <a:cubicBezTo>
                                    <a:pt x="111883" y="598007"/>
                                    <a:pt x="105593" y="590626"/>
                                    <a:pt x="103355" y="581399"/>
                                  </a:cubicBezTo>
                                  <a:cubicBezTo>
                                    <a:pt x="101117" y="572172"/>
                                    <a:pt x="97436" y="563063"/>
                                    <a:pt x="96551" y="554065"/>
                                  </a:cubicBezTo>
                                  <a:cubicBezTo>
                                    <a:pt x="95666" y="545067"/>
                                    <a:pt x="101623" y="535099"/>
                                    <a:pt x="102520" y="527410"/>
                                  </a:cubicBezTo>
                                  <a:cubicBezTo>
                                    <a:pt x="103418" y="519721"/>
                                    <a:pt x="94203" y="523828"/>
                                    <a:pt x="101936" y="507933"/>
                                  </a:cubicBezTo>
                                  <a:cubicBezTo>
                                    <a:pt x="109669" y="492038"/>
                                    <a:pt x="137628" y="447933"/>
                                    <a:pt x="148917" y="432042"/>
                                  </a:cubicBezTo>
                                  <a:cubicBezTo>
                                    <a:pt x="160206" y="416151"/>
                                    <a:pt x="162341" y="421137"/>
                                    <a:pt x="169673" y="412588"/>
                                  </a:cubicBezTo>
                                  <a:cubicBezTo>
                                    <a:pt x="177005" y="404039"/>
                                    <a:pt x="182202" y="395436"/>
                                    <a:pt x="194399" y="388950"/>
                                  </a:cubicBezTo>
                                  <a:cubicBezTo>
                                    <a:pt x="206596" y="382464"/>
                                    <a:pt x="223370" y="383703"/>
                                    <a:pt x="242854" y="373672"/>
                                  </a:cubicBezTo>
                                  <a:cubicBezTo>
                                    <a:pt x="262338" y="363641"/>
                                    <a:pt x="285490" y="338257"/>
                                    <a:pt x="311303" y="328761"/>
                                  </a:cubicBezTo>
                                  <a:cubicBezTo>
                                    <a:pt x="337116" y="319265"/>
                                    <a:pt x="374188" y="322749"/>
                                    <a:pt x="388885" y="318267"/>
                                  </a:cubicBezTo>
                                  <a:cubicBezTo>
                                    <a:pt x="403583" y="313785"/>
                                    <a:pt x="394985" y="308360"/>
                                    <a:pt x="399488" y="301868"/>
                                  </a:cubicBezTo>
                                  <a:cubicBezTo>
                                    <a:pt x="403991" y="295376"/>
                                    <a:pt x="414410" y="287175"/>
                                    <a:pt x="415902" y="279315"/>
                                  </a:cubicBezTo>
                                  <a:cubicBezTo>
                                    <a:pt x="417394" y="271455"/>
                                    <a:pt x="434556" y="276923"/>
                                    <a:pt x="441271" y="264962"/>
                                  </a:cubicBezTo>
                                  <a:cubicBezTo>
                                    <a:pt x="447986" y="253001"/>
                                    <a:pt x="431156" y="245548"/>
                                    <a:pt x="438287" y="223954"/>
                                  </a:cubicBezTo>
                                  <a:cubicBezTo>
                                    <a:pt x="445418" y="202360"/>
                                    <a:pt x="476636" y="156060"/>
                                    <a:pt x="484057" y="135395"/>
                                  </a:cubicBezTo>
                                  <a:cubicBezTo>
                                    <a:pt x="491478" y="114730"/>
                                    <a:pt x="497861" y="78797"/>
                                    <a:pt x="482813" y="99963"/>
                                  </a:cubicBezTo>
                                  <a:cubicBezTo>
                                    <a:pt x="488797" y="47440"/>
                                    <a:pt x="401009" y="259770"/>
                                    <a:pt x="379767" y="263686"/>
                                  </a:cubicBezTo>
                                  <a:cubicBezTo>
                                    <a:pt x="361801" y="277504"/>
                                    <a:pt x="383678" y="283448"/>
                                    <a:pt x="383279" y="240600"/>
                                  </a:cubicBezTo>
                                  <a:cubicBezTo>
                                    <a:pt x="379732" y="225207"/>
                                    <a:pt x="400496" y="196341"/>
                                    <a:pt x="412204" y="171326"/>
                                  </a:cubicBezTo>
                                  <a:cubicBezTo>
                                    <a:pt x="423912" y="146311"/>
                                    <a:pt x="409057" y="100644"/>
                                    <a:pt x="412204" y="73189"/>
                                  </a:cubicBezTo>
                                  <a:cubicBezTo>
                                    <a:pt x="415351" y="45735"/>
                                    <a:pt x="393136" y="16921"/>
                                    <a:pt x="377370" y="6599"/>
                                  </a:cubicBezTo>
                                  <a:cubicBezTo>
                                    <a:pt x="361604" y="-3723"/>
                                    <a:pt x="360697" y="-1763"/>
                                    <a:pt x="317605" y="11259"/>
                                  </a:cubicBezTo>
                                  <a:close/>
                                </a:path>
                              </a:pathLst>
                            </a:custGeom>
                            <a:solidFill>
                              <a:schemeClr val="bg1">
                                <a:lumMod val="75000"/>
                                <a:alpha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401" name="Oval 1"/>
                            <p:cNvSpPr/>
                            <p:nvPr/>
                          </p:nvSpPr>
                          <p:spPr>
                            <a:xfrm>
                              <a:off x="6781167" y="2889178"/>
                              <a:ext cx="445344" cy="631327"/>
                            </a:xfrm>
                            <a:custGeom>
                              <a:avLst/>
                              <a:gdLst>
                                <a:gd name="connsiteX0" fmla="*/ 0 w 175290"/>
                                <a:gd name="connsiteY0" fmla="*/ 415689 h 831377"/>
                                <a:gd name="connsiteX1" fmla="*/ 87645 w 175290"/>
                                <a:gd name="connsiteY1" fmla="*/ 0 h 831377"/>
                                <a:gd name="connsiteX2" fmla="*/ 175290 w 175290"/>
                                <a:gd name="connsiteY2" fmla="*/ 415689 h 831377"/>
                                <a:gd name="connsiteX3" fmla="*/ 87645 w 175290"/>
                                <a:gd name="connsiteY3" fmla="*/ 831378 h 831377"/>
                                <a:gd name="connsiteX4" fmla="*/ 0 w 175290"/>
                                <a:gd name="connsiteY4" fmla="*/ 415689 h 831377"/>
                                <a:gd name="connsiteX0" fmla="*/ 277887 w 453177"/>
                                <a:gd name="connsiteY0" fmla="*/ 415689 h 781372"/>
                                <a:gd name="connsiteX1" fmla="*/ 365532 w 453177"/>
                                <a:gd name="connsiteY1" fmla="*/ 0 h 781372"/>
                                <a:gd name="connsiteX2" fmla="*/ 453177 w 453177"/>
                                <a:gd name="connsiteY2" fmla="*/ 415689 h 781372"/>
                                <a:gd name="connsiteX3" fmla="*/ 5963 w 453177"/>
                                <a:gd name="connsiteY3" fmla="*/ 781372 h 781372"/>
                                <a:gd name="connsiteX4" fmla="*/ 277887 w 453177"/>
                                <a:gd name="connsiteY4" fmla="*/ 415689 h 781372"/>
                                <a:gd name="connsiteX0" fmla="*/ 273064 w 388823"/>
                                <a:gd name="connsiteY0" fmla="*/ 415694 h 781381"/>
                                <a:gd name="connsiteX1" fmla="*/ 360709 w 388823"/>
                                <a:gd name="connsiteY1" fmla="*/ 5 h 781381"/>
                                <a:gd name="connsiteX2" fmla="*/ 388823 w 388823"/>
                                <a:gd name="connsiteY2" fmla="*/ 408551 h 781381"/>
                                <a:gd name="connsiteX3" fmla="*/ 1140 w 388823"/>
                                <a:gd name="connsiteY3" fmla="*/ 781377 h 781381"/>
                                <a:gd name="connsiteX4" fmla="*/ 273064 w 388823"/>
                                <a:gd name="connsiteY4" fmla="*/ 415694 h 781381"/>
                                <a:gd name="connsiteX0" fmla="*/ 273690 w 420406"/>
                                <a:gd name="connsiteY0" fmla="*/ 415694 h 781381"/>
                                <a:gd name="connsiteX1" fmla="*/ 361335 w 420406"/>
                                <a:gd name="connsiteY1" fmla="*/ 5 h 781381"/>
                                <a:gd name="connsiteX2" fmla="*/ 420406 w 420406"/>
                                <a:gd name="connsiteY2" fmla="*/ 408551 h 781381"/>
                                <a:gd name="connsiteX3" fmla="*/ 1766 w 420406"/>
                                <a:gd name="connsiteY3" fmla="*/ 781377 h 781381"/>
                                <a:gd name="connsiteX4" fmla="*/ 273690 w 420406"/>
                                <a:gd name="connsiteY4" fmla="*/ 415694 h 781381"/>
                                <a:gd name="connsiteX0" fmla="*/ 273715 w 420431"/>
                                <a:gd name="connsiteY0" fmla="*/ 308548 h 674235"/>
                                <a:gd name="connsiteX1" fmla="*/ 382791 w 420431"/>
                                <a:gd name="connsiteY1" fmla="*/ 15 h 674235"/>
                                <a:gd name="connsiteX2" fmla="*/ 420431 w 420431"/>
                                <a:gd name="connsiteY2" fmla="*/ 301405 h 674235"/>
                                <a:gd name="connsiteX3" fmla="*/ 1791 w 420431"/>
                                <a:gd name="connsiteY3" fmla="*/ 674231 h 674235"/>
                                <a:gd name="connsiteX4" fmla="*/ 273715 w 420431"/>
                                <a:gd name="connsiteY4" fmla="*/ 308548 h 674235"/>
                                <a:gd name="connsiteX0" fmla="*/ 219346 w 366062"/>
                                <a:gd name="connsiteY0" fmla="*/ 308548 h 688521"/>
                                <a:gd name="connsiteX1" fmla="*/ 328422 w 366062"/>
                                <a:gd name="connsiteY1" fmla="*/ 15 h 688521"/>
                                <a:gd name="connsiteX2" fmla="*/ 366062 w 366062"/>
                                <a:gd name="connsiteY2" fmla="*/ 301405 h 688521"/>
                                <a:gd name="connsiteX3" fmla="*/ 2191 w 366062"/>
                                <a:gd name="connsiteY3" fmla="*/ 688518 h 688521"/>
                                <a:gd name="connsiteX4" fmla="*/ 219346 w 366062"/>
                                <a:gd name="connsiteY4" fmla="*/ 308548 h 688521"/>
                                <a:gd name="connsiteX0" fmla="*/ 219036 w 353846"/>
                                <a:gd name="connsiteY0" fmla="*/ 308574 h 688554"/>
                                <a:gd name="connsiteX1" fmla="*/ 328112 w 353846"/>
                                <a:gd name="connsiteY1" fmla="*/ 41 h 688554"/>
                                <a:gd name="connsiteX2" fmla="*/ 353846 w 353846"/>
                                <a:gd name="connsiteY2" fmla="*/ 296669 h 688554"/>
                                <a:gd name="connsiteX3" fmla="*/ 1881 w 353846"/>
                                <a:gd name="connsiteY3" fmla="*/ 688544 h 688554"/>
                                <a:gd name="connsiteX4" fmla="*/ 219036 w 353846"/>
                                <a:gd name="connsiteY4" fmla="*/ 308574 h 688554"/>
                                <a:gd name="connsiteX0" fmla="*/ 219036 w 390008"/>
                                <a:gd name="connsiteY0" fmla="*/ 312239 h 692219"/>
                                <a:gd name="connsiteX1" fmla="*/ 328112 w 390008"/>
                                <a:gd name="connsiteY1" fmla="*/ 3706 h 692219"/>
                                <a:gd name="connsiteX2" fmla="*/ 379870 w 390008"/>
                                <a:gd name="connsiteY2" fmla="*/ 151655 h 692219"/>
                                <a:gd name="connsiteX3" fmla="*/ 353846 w 390008"/>
                                <a:gd name="connsiteY3" fmla="*/ 300334 h 692219"/>
                                <a:gd name="connsiteX4" fmla="*/ 1881 w 390008"/>
                                <a:gd name="connsiteY4" fmla="*/ 692209 h 692219"/>
                                <a:gd name="connsiteX5" fmla="*/ 219036 w 390008"/>
                                <a:gd name="connsiteY5" fmla="*/ 312239 h 692219"/>
                                <a:gd name="connsiteX0" fmla="*/ 217522 w 379622"/>
                                <a:gd name="connsiteY0" fmla="*/ 312239 h 695223"/>
                                <a:gd name="connsiteX1" fmla="*/ 326598 w 379622"/>
                                <a:gd name="connsiteY1" fmla="*/ 3706 h 695223"/>
                                <a:gd name="connsiteX2" fmla="*/ 378356 w 379622"/>
                                <a:gd name="connsiteY2" fmla="*/ 151655 h 695223"/>
                                <a:gd name="connsiteX3" fmla="*/ 352332 w 379622"/>
                                <a:gd name="connsiteY3" fmla="*/ 300334 h 695223"/>
                                <a:gd name="connsiteX4" fmla="*/ 273581 w 379622"/>
                                <a:gd name="connsiteY4" fmla="*/ 480269 h 695223"/>
                                <a:gd name="connsiteX5" fmla="*/ 367 w 379622"/>
                                <a:gd name="connsiteY5" fmla="*/ 692209 h 695223"/>
                                <a:gd name="connsiteX6" fmla="*/ 217522 w 379622"/>
                                <a:gd name="connsiteY6" fmla="*/ 312239 h 695223"/>
                                <a:gd name="connsiteX0" fmla="*/ 217522 w 382225"/>
                                <a:gd name="connsiteY0" fmla="*/ 312239 h 695223"/>
                                <a:gd name="connsiteX1" fmla="*/ 326598 w 382225"/>
                                <a:gd name="connsiteY1" fmla="*/ 3706 h 695223"/>
                                <a:gd name="connsiteX2" fmla="*/ 378356 w 382225"/>
                                <a:gd name="connsiteY2" fmla="*/ 151655 h 695223"/>
                                <a:gd name="connsiteX3" fmla="*/ 364238 w 382225"/>
                                <a:gd name="connsiteY3" fmla="*/ 297953 h 695223"/>
                                <a:gd name="connsiteX4" fmla="*/ 273581 w 382225"/>
                                <a:gd name="connsiteY4" fmla="*/ 480269 h 695223"/>
                                <a:gd name="connsiteX5" fmla="*/ 367 w 382225"/>
                                <a:gd name="connsiteY5" fmla="*/ 692209 h 695223"/>
                                <a:gd name="connsiteX6" fmla="*/ 217522 w 382225"/>
                                <a:gd name="connsiteY6" fmla="*/ 312239 h 695223"/>
                                <a:gd name="connsiteX0" fmla="*/ 217522 w 382225"/>
                                <a:gd name="connsiteY0" fmla="*/ 359366 h 695816"/>
                                <a:gd name="connsiteX1" fmla="*/ 326598 w 382225"/>
                                <a:gd name="connsiteY1" fmla="*/ 5589 h 695816"/>
                                <a:gd name="connsiteX2" fmla="*/ 378356 w 382225"/>
                                <a:gd name="connsiteY2" fmla="*/ 153538 h 695816"/>
                                <a:gd name="connsiteX3" fmla="*/ 364238 w 382225"/>
                                <a:gd name="connsiteY3" fmla="*/ 299836 h 695816"/>
                                <a:gd name="connsiteX4" fmla="*/ 273581 w 382225"/>
                                <a:gd name="connsiteY4" fmla="*/ 482152 h 695816"/>
                                <a:gd name="connsiteX5" fmla="*/ 367 w 382225"/>
                                <a:gd name="connsiteY5" fmla="*/ 694092 h 695816"/>
                                <a:gd name="connsiteX6" fmla="*/ 217522 w 382225"/>
                                <a:gd name="connsiteY6" fmla="*/ 359366 h 695816"/>
                                <a:gd name="connsiteX0" fmla="*/ 243444 w 381953"/>
                                <a:gd name="connsiteY0" fmla="*/ 366828 h 695957"/>
                                <a:gd name="connsiteX1" fmla="*/ 326326 w 381953"/>
                                <a:gd name="connsiteY1" fmla="*/ 5907 h 695957"/>
                                <a:gd name="connsiteX2" fmla="*/ 378084 w 381953"/>
                                <a:gd name="connsiteY2" fmla="*/ 153856 h 695957"/>
                                <a:gd name="connsiteX3" fmla="*/ 363966 w 381953"/>
                                <a:gd name="connsiteY3" fmla="*/ 300154 h 695957"/>
                                <a:gd name="connsiteX4" fmla="*/ 273309 w 381953"/>
                                <a:gd name="connsiteY4" fmla="*/ 482470 h 695957"/>
                                <a:gd name="connsiteX5" fmla="*/ 95 w 381953"/>
                                <a:gd name="connsiteY5" fmla="*/ 694410 h 695957"/>
                                <a:gd name="connsiteX6" fmla="*/ 243444 w 381953"/>
                                <a:gd name="connsiteY6" fmla="*/ 366828 h 695957"/>
                                <a:gd name="connsiteX0" fmla="*/ 243444 w 379080"/>
                                <a:gd name="connsiteY0" fmla="*/ 366828 h 695838"/>
                                <a:gd name="connsiteX1" fmla="*/ 326326 w 379080"/>
                                <a:gd name="connsiteY1" fmla="*/ 5907 h 695838"/>
                                <a:gd name="connsiteX2" fmla="*/ 378084 w 379080"/>
                                <a:gd name="connsiteY2" fmla="*/ 153856 h 695838"/>
                                <a:gd name="connsiteX3" fmla="*/ 363966 w 379080"/>
                                <a:gd name="connsiteY3" fmla="*/ 300154 h 695838"/>
                                <a:gd name="connsiteX4" fmla="*/ 335222 w 379080"/>
                                <a:gd name="connsiteY4" fmla="*/ 406271 h 695838"/>
                                <a:gd name="connsiteX5" fmla="*/ 273309 w 379080"/>
                                <a:gd name="connsiteY5" fmla="*/ 482470 h 695838"/>
                                <a:gd name="connsiteX6" fmla="*/ 95 w 379080"/>
                                <a:gd name="connsiteY6" fmla="*/ 694410 h 695838"/>
                                <a:gd name="connsiteX7" fmla="*/ 243444 w 379080"/>
                                <a:gd name="connsiteY7" fmla="*/ 366828 h 695838"/>
                                <a:gd name="connsiteX0" fmla="*/ 243441 w 379077"/>
                                <a:gd name="connsiteY0" fmla="*/ 372957 h 701967"/>
                                <a:gd name="connsiteX1" fmla="*/ 292201 w 379077"/>
                                <a:gd name="connsiteY1" fmla="*/ 49685 h 701967"/>
                                <a:gd name="connsiteX2" fmla="*/ 326323 w 379077"/>
                                <a:gd name="connsiteY2" fmla="*/ 12036 h 701967"/>
                                <a:gd name="connsiteX3" fmla="*/ 378081 w 379077"/>
                                <a:gd name="connsiteY3" fmla="*/ 159985 h 701967"/>
                                <a:gd name="connsiteX4" fmla="*/ 363963 w 379077"/>
                                <a:gd name="connsiteY4" fmla="*/ 306283 h 701967"/>
                                <a:gd name="connsiteX5" fmla="*/ 335219 w 379077"/>
                                <a:gd name="connsiteY5" fmla="*/ 412400 h 701967"/>
                                <a:gd name="connsiteX6" fmla="*/ 273306 w 379077"/>
                                <a:gd name="connsiteY6" fmla="*/ 488599 h 701967"/>
                                <a:gd name="connsiteX7" fmla="*/ 92 w 379077"/>
                                <a:gd name="connsiteY7" fmla="*/ 700539 h 701967"/>
                                <a:gd name="connsiteX8" fmla="*/ 243441 w 379077"/>
                                <a:gd name="connsiteY8" fmla="*/ 372957 h 701967"/>
                                <a:gd name="connsiteX0" fmla="*/ 243441 w 379299"/>
                                <a:gd name="connsiteY0" fmla="*/ 444886 h 773896"/>
                                <a:gd name="connsiteX1" fmla="*/ 292201 w 379299"/>
                                <a:gd name="connsiteY1" fmla="*/ 121614 h 773896"/>
                                <a:gd name="connsiteX2" fmla="*/ 334383 w 379299"/>
                                <a:gd name="connsiteY2" fmla="*/ 2764 h 773896"/>
                                <a:gd name="connsiteX3" fmla="*/ 378081 w 379299"/>
                                <a:gd name="connsiteY3" fmla="*/ 231914 h 773896"/>
                                <a:gd name="connsiteX4" fmla="*/ 363963 w 379299"/>
                                <a:gd name="connsiteY4" fmla="*/ 378212 h 773896"/>
                                <a:gd name="connsiteX5" fmla="*/ 335219 w 379299"/>
                                <a:gd name="connsiteY5" fmla="*/ 484329 h 773896"/>
                                <a:gd name="connsiteX6" fmla="*/ 273306 w 379299"/>
                                <a:gd name="connsiteY6" fmla="*/ 560528 h 773896"/>
                                <a:gd name="connsiteX7" fmla="*/ 92 w 379299"/>
                                <a:gd name="connsiteY7" fmla="*/ 772468 h 773896"/>
                                <a:gd name="connsiteX8" fmla="*/ 243441 w 379299"/>
                                <a:gd name="connsiteY8" fmla="*/ 444886 h 773896"/>
                                <a:gd name="connsiteX0" fmla="*/ 424134 w 570110"/>
                                <a:gd name="connsiteY0" fmla="*/ 626479 h 955489"/>
                                <a:gd name="connsiteX1" fmla="*/ 472894 w 570110"/>
                                <a:gd name="connsiteY1" fmla="*/ 303207 h 955489"/>
                                <a:gd name="connsiteX2" fmla="*/ 73 w 570110"/>
                                <a:gd name="connsiteY2" fmla="*/ 1980 h 955489"/>
                                <a:gd name="connsiteX3" fmla="*/ 515076 w 570110"/>
                                <a:gd name="connsiteY3" fmla="*/ 184357 h 955489"/>
                                <a:gd name="connsiteX4" fmla="*/ 558774 w 570110"/>
                                <a:gd name="connsiteY4" fmla="*/ 413507 h 955489"/>
                                <a:gd name="connsiteX5" fmla="*/ 544656 w 570110"/>
                                <a:gd name="connsiteY5" fmla="*/ 559805 h 955489"/>
                                <a:gd name="connsiteX6" fmla="*/ 515912 w 570110"/>
                                <a:gd name="connsiteY6" fmla="*/ 665922 h 955489"/>
                                <a:gd name="connsiteX7" fmla="*/ 453999 w 570110"/>
                                <a:gd name="connsiteY7" fmla="*/ 742121 h 955489"/>
                                <a:gd name="connsiteX8" fmla="*/ 180785 w 570110"/>
                                <a:gd name="connsiteY8" fmla="*/ 954061 h 955489"/>
                                <a:gd name="connsiteX9" fmla="*/ 424134 w 570110"/>
                                <a:gd name="connsiteY9" fmla="*/ 626479 h 955489"/>
                                <a:gd name="connsiteX0" fmla="*/ 467547 w 613523"/>
                                <a:gd name="connsiteY0" fmla="*/ 629550 h 958560"/>
                                <a:gd name="connsiteX1" fmla="*/ 516307 w 613523"/>
                                <a:gd name="connsiteY1" fmla="*/ 306278 h 958560"/>
                                <a:gd name="connsiteX2" fmla="*/ 81098 w 613523"/>
                                <a:gd name="connsiteY2" fmla="*/ 101969 h 958560"/>
                                <a:gd name="connsiteX3" fmla="*/ 43486 w 613523"/>
                                <a:gd name="connsiteY3" fmla="*/ 5051 h 958560"/>
                                <a:gd name="connsiteX4" fmla="*/ 558489 w 613523"/>
                                <a:gd name="connsiteY4" fmla="*/ 187428 h 958560"/>
                                <a:gd name="connsiteX5" fmla="*/ 602187 w 613523"/>
                                <a:gd name="connsiteY5" fmla="*/ 416578 h 958560"/>
                                <a:gd name="connsiteX6" fmla="*/ 588069 w 613523"/>
                                <a:gd name="connsiteY6" fmla="*/ 562876 h 958560"/>
                                <a:gd name="connsiteX7" fmla="*/ 559325 w 613523"/>
                                <a:gd name="connsiteY7" fmla="*/ 668993 h 958560"/>
                                <a:gd name="connsiteX8" fmla="*/ 497412 w 613523"/>
                                <a:gd name="connsiteY8" fmla="*/ 745192 h 958560"/>
                                <a:gd name="connsiteX9" fmla="*/ 224198 w 613523"/>
                                <a:gd name="connsiteY9" fmla="*/ 957132 h 958560"/>
                                <a:gd name="connsiteX10" fmla="*/ 467547 w 613523"/>
                                <a:gd name="connsiteY10" fmla="*/ 629550 h 958560"/>
                                <a:gd name="connsiteX0" fmla="*/ 467547 w 605112"/>
                                <a:gd name="connsiteY0" fmla="*/ 629550 h 958560"/>
                                <a:gd name="connsiteX1" fmla="*/ 516307 w 605112"/>
                                <a:gd name="connsiteY1" fmla="*/ 306278 h 958560"/>
                                <a:gd name="connsiteX2" fmla="*/ 81098 w 605112"/>
                                <a:gd name="connsiteY2" fmla="*/ 101969 h 958560"/>
                                <a:gd name="connsiteX3" fmla="*/ 43486 w 605112"/>
                                <a:gd name="connsiteY3" fmla="*/ 5051 h 958560"/>
                                <a:gd name="connsiteX4" fmla="*/ 531625 w 605112"/>
                                <a:gd name="connsiteY4" fmla="*/ 187428 h 958560"/>
                                <a:gd name="connsiteX5" fmla="*/ 602187 w 605112"/>
                                <a:gd name="connsiteY5" fmla="*/ 416578 h 958560"/>
                                <a:gd name="connsiteX6" fmla="*/ 588069 w 605112"/>
                                <a:gd name="connsiteY6" fmla="*/ 562876 h 958560"/>
                                <a:gd name="connsiteX7" fmla="*/ 559325 w 605112"/>
                                <a:gd name="connsiteY7" fmla="*/ 668993 h 958560"/>
                                <a:gd name="connsiteX8" fmla="*/ 497412 w 605112"/>
                                <a:gd name="connsiteY8" fmla="*/ 745192 h 958560"/>
                                <a:gd name="connsiteX9" fmla="*/ 224198 w 605112"/>
                                <a:gd name="connsiteY9" fmla="*/ 957132 h 958560"/>
                                <a:gd name="connsiteX10" fmla="*/ 467547 w 605112"/>
                                <a:gd name="connsiteY10" fmla="*/ 629550 h 958560"/>
                                <a:gd name="connsiteX0" fmla="*/ 387915 w 625491"/>
                                <a:gd name="connsiteY0" fmla="*/ 759503 h 1088513"/>
                                <a:gd name="connsiteX1" fmla="*/ 436675 w 625491"/>
                                <a:gd name="connsiteY1" fmla="*/ 436231 h 1088513"/>
                                <a:gd name="connsiteX2" fmla="*/ 1466 w 625491"/>
                                <a:gd name="connsiteY2" fmla="*/ 231922 h 1088513"/>
                                <a:gd name="connsiteX3" fmla="*/ 608606 w 625491"/>
                                <a:gd name="connsiteY3" fmla="*/ 2289 h 1088513"/>
                                <a:gd name="connsiteX4" fmla="*/ 451993 w 625491"/>
                                <a:gd name="connsiteY4" fmla="*/ 317381 h 1088513"/>
                                <a:gd name="connsiteX5" fmla="*/ 522555 w 625491"/>
                                <a:gd name="connsiteY5" fmla="*/ 546531 h 1088513"/>
                                <a:gd name="connsiteX6" fmla="*/ 508437 w 625491"/>
                                <a:gd name="connsiteY6" fmla="*/ 692829 h 1088513"/>
                                <a:gd name="connsiteX7" fmla="*/ 479693 w 625491"/>
                                <a:gd name="connsiteY7" fmla="*/ 798946 h 1088513"/>
                                <a:gd name="connsiteX8" fmla="*/ 417780 w 625491"/>
                                <a:gd name="connsiteY8" fmla="*/ 875145 h 1088513"/>
                                <a:gd name="connsiteX9" fmla="*/ 144566 w 625491"/>
                                <a:gd name="connsiteY9" fmla="*/ 1087085 h 1088513"/>
                                <a:gd name="connsiteX10" fmla="*/ 387915 w 625491"/>
                                <a:gd name="connsiteY10" fmla="*/ 759503 h 1088513"/>
                                <a:gd name="connsiteX0" fmla="*/ 387915 w 650065"/>
                                <a:gd name="connsiteY0" fmla="*/ 758050 h 1087060"/>
                                <a:gd name="connsiteX1" fmla="*/ 436675 w 650065"/>
                                <a:gd name="connsiteY1" fmla="*/ 434778 h 1087060"/>
                                <a:gd name="connsiteX2" fmla="*/ 1466 w 650065"/>
                                <a:gd name="connsiteY2" fmla="*/ 230469 h 1087060"/>
                                <a:gd name="connsiteX3" fmla="*/ 608606 w 650065"/>
                                <a:gd name="connsiteY3" fmla="*/ 836 h 1087060"/>
                                <a:gd name="connsiteX4" fmla="*/ 588108 w 650065"/>
                                <a:gd name="connsiteY4" fmla="*/ 315928 h 1087060"/>
                                <a:gd name="connsiteX5" fmla="*/ 522555 w 650065"/>
                                <a:gd name="connsiteY5" fmla="*/ 545078 h 1087060"/>
                                <a:gd name="connsiteX6" fmla="*/ 508437 w 650065"/>
                                <a:gd name="connsiteY6" fmla="*/ 691376 h 1087060"/>
                                <a:gd name="connsiteX7" fmla="*/ 479693 w 650065"/>
                                <a:gd name="connsiteY7" fmla="*/ 797493 h 1087060"/>
                                <a:gd name="connsiteX8" fmla="*/ 417780 w 650065"/>
                                <a:gd name="connsiteY8" fmla="*/ 873692 h 1087060"/>
                                <a:gd name="connsiteX9" fmla="*/ 144566 w 650065"/>
                                <a:gd name="connsiteY9" fmla="*/ 1085632 h 1087060"/>
                                <a:gd name="connsiteX10" fmla="*/ 387915 w 650065"/>
                                <a:gd name="connsiteY10" fmla="*/ 758050 h 1087060"/>
                                <a:gd name="connsiteX0" fmla="*/ 243441 w 468943"/>
                                <a:gd name="connsiteY0" fmla="*/ 757770 h 1086780"/>
                                <a:gd name="connsiteX1" fmla="*/ 292201 w 468943"/>
                                <a:gd name="connsiteY1" fmla="*/ 434498 h 1086780"/>
                                <a:gd name="connsiteX2" fmla="*/ 358466 w 468943"/>
                                <a:gd name="connsiteY2" fmla="*/ 244159 h 1086780"/>
                                <a:gd name="connsiteX3" fmla="*/ 464132 w 468943"/>
                                <a:gd name="connsiteY3" fmla="*/ 556 h 1086780"/>
                                <a:gd name="connsiteX4" fmla="*/ 443634 w 468943"/>
                                <a:gd name="connsiteY4" fmla="*/ 315648 h 1086780"/>
                                <a:gd name="connsiteX5" fmla="*/ 378081 w 468943"/>
                                <a:gd name="connsiteY5" fmla="*/ 544798 h 1086780"/>
                                <a:gd name="connsiteX6" fmla="*/ 363963 w 468943"/>
                                <a:gd name="connsiteY6" fmla="*/ 691096 h 1086780"/>
                                <a:gd name="connsiteX7" fmla="*/ 335219 w 468943"/>
                                <a:gd name="connsiteY7" fmla="*/ 797213 h 1086780"/>
                                <a:gd name="connsiteX8" fmla="*/ 273306 w 468943"/>
                                <a:gd name="connsiteY8" fmla="*/ 873412 h 1086780"/>
                                <a:gd name="connsiteX9" fmla="*/ 92 w 468943"/>
                                <a:gd name="connsiteY9" fmla="*/ 1085352 h 1086780"/>
                                <a:gd name="connsiteX10" fmla="*/ 243441 w 468943"/>
                                <a:gd name="connsiteY10" fmla="*/ 757770 h 1086780"/>
                                <a:gd name="connsiteX0" fmla="*/ 243441 w 468943"/>
                                <a:gd name="connsiteY0" fmla="*/ 757732 h 1086742"/>
                                <a:gd name="connsiteX1" fmla="*/ 292201 w 468943"/>
                                <a:gd name="connsiteY1" fmla="*/ 434460 h 1086742"/>
                                <a:gd name="connsiteX2" fmla="*/ 343053 w 468943"/>
                                <a:gd name="connsiteY2" fmla="*/ 351389 h 1086742"/>
                                <a:gd name="connsiteX3" fmla="*/ 358466 w 468943"/>
                                <a:gd name="connsiteY3" fmla="*/ 244121 h 1086742"/>
                                <a:gd name="connsiteX4" fmla="*/ 464132 w 468943"/>
                                <a:gd name="connsiteY4" fmla="*/ 518 h 1086742"/>
                                <a:gd name="connsiteX5" fmla="*/ 443634 w 468943"/>
                                <a:gd name="connsiteY5" fmla="*/ 315610 h 1086742"/>
                                <a:gd name="connsiteX6" fmla="*/ 378081 w 468943"/>
                                <a:gd name="connsiteY6" fmla="*/ 544760 h 1086742"/>
                                <a:gd name="connsiteX7" fmla="*/ 363963 w 468943"/>
                                <a:gd name="connsiteY7" fmla="*/ 691058 h 1086742"/>
                                <a:gd name="connsiteX8" fmla="*/ 335219 w 468943"/>
                                <a:gd name="connsiteY8" fmla="*/ 797175 h 1086742"/>
                                <a:gd name="connsiteX9" fmla="*/ 273306 w 468943"/>
                                <a:gd name="connsiteY9" fmla="*/ 873374 h 1086742"/>
                                <a:gd name="connsiteX10" fmla="*/ 92 w 468943"/>
                                <a:gd name="connsiteY10" fmla="*/ 1085314 h 1086742"/>
                                <a:gd name="connsiteX11" fmla="*/ 243441 w 468943"/>
                                <a:gd name="connsiteY11" fmla="*/ 757732 h 1086742"/>
                                <a:gd name="connsiteX0" fmla="*/ 243441 w 449000"/>
                                <a:gd name="connsiteY0" fmla="*/ 757732 h 1086742"/>
                                <a:gd name="connsiteX1" fmla="*/ 292201 w 449000"/>
                                <a:gd name="connsiteY1" fmla="*/ 434460 h 1086742"/>
                                <a:gd name="connsiteX2" fmla="*/ 343053 w 449000"/>
                                <a:gd name="connsiteY2" fmla="*/ 351389 h 1086742"/>
                                <a:gd name="connsiteX3" fmla="*/ 358466 w 449000"/>
                                <a:gd name="connsiteY3" fmla="*/ 244121 h 1086742"/>
                                <a:gd name="connsiteX4" fmla="*/ 435477 w 449000"/>
                                <a:gd name="connsiteY4" fmla="*/ 518 h 1086742"/>
                                <a:gd name="connsiteX5" fmla="*/ 443634 w 449000"/>
                                <a:gd name="connsiteY5" fmla="*/ 315610 h 1086742"/>
                                <a:gd name="connsiteX6" fmla="*/ 378081 w 449000"/>
                                <a:gd name="connsiteY6" fmla="*/ 544760 h 1086742"/>
                                <a:gd name="connsiteX7" fmla="*/ 363963 w 449000"/>
                                <a:gd name="connsiteY7" fmla="*/ 691058 h 1086742"/>
                                <a:gd name="connsiteX8" fmla="*/ 335219 w 449000"/>
                                <a:gd name="connsiteY8" fmla="*/ 797175 h 1086742"/>
                                <a:gd name="connsiteX9" fmla="*/ 273306 w 449000"/>
                                <a:gd name="connsiteY9" fmla="*/ 873374 h 1086742"/>
                                <a:gd name="connsiteX10" fmla="*/ 92 w 449000"/>
                                <a:gd name="connsiteY10" fmla="*/ 1085314 h 1086742"/>
                                <a:gd name="connsiteX11" fmla="*/ 243441 w 449000"/>
                                <a:gd name="connsiteY11" fmla="*/ 757732 h 1086742"/>
                                <a:gd name="connsiteX0" fmla="*/ 250600 w 456159"/>
                                <a:gd name="connsiteY0" fmla="*/ 757732 h 1086742"/>
                                <a:gd name="connsiteX1" fmla="*/ 299360 w 456159"/>
                                <a:gd name="connsiteY1" fmla="*/ 434460 h 1086742"/>
                                <a:gd name="connsiteX2" fmla="*/ 350212 w 456159"/>
                                <a:gd name="connsiteY2" fmla="*/ 351389 h 1086742"/>
                                <a:gd name="connsiteX3" fmla="*/ 365625 w 456159"/>
                                <a:gd name="connsiteY3" fmla="*/ 244121 h 1086742"/>
                                <a:gd name="connsiteX4" fmla="*/ 442636 w 456159"/>
                                <a:gd name="connsiteY4" fmla="*/ 518 h 1086742"/>
                                <a:gd name="connsiteX5" fmla="*/ 450793 w 456159"/>
                                <a:gd name="connsiteY5" fmla="*/ 315610 h 1086742"/>
                                <a:gd name="connsiteX6" fmla="*/ 385240 w 456159"/>
                                <a:gd name="connsiteY6" fmla="*/ 544760 h 1086742"/>
                                <a:gd name="connsiteX7" fmla="*/ 371122 w 456159"/>
                                <a:gd name="connsiteY7" fmla="*/ 691058 h 1086742"/>
                                <a:gd name="connsiteX8" fmla="*/ 342378 w 456159"/>
                                <a:gd name="connsiteY8" fmla="*/ 797175 h 1086742"/>
                                <a:gd name="connsiteX9" fmla="*/ 280465 w 456159"/>
                                <a:gd name="connsiteY9" fmla="*/ 873374 h 1086742"/>
                                <a:gd name="connsiteX10" fmla="*/ 88 w 456159"/>
                                <a:gd name="connsiteY10" fmla="*/ 1085314 h 1086742"/>
                                <a:gd name="connsiteX11" fmla="*/ 250600 w 456159"/>
                                <a:gd name="connsiteY11" fmla="*/ 757732 h 1086742"/>
                                <a:gd name="connsiteX0" fmla="*/ 186156 w 391715"/>
                                <a:gd name="connsiteY0" fmla="*/ 757732 h 1114504"/>
                                <a:gd name="connsiteX1" fmla="*/ 234916 w 391715"/>
                                <a:gd name="connsiteY1" fmla="*/ 434460 h 1114504"/>
                                <a:gd name="connsiteX2" fmla="*/ 285768 w 391715"/>
                                <a:gd name="connsiteY2" fmla="*/ 351389 h 1114504"/>
                                <a:gd name="connsiteX3" fmla="*/ 301181 w 391715"/>
                                <a:gd name="connsiteY3" fmla="*/ 244121 h 1114504"/>
                                <a:gd name="connsiteX4" fmla="*/ 378192 w 391715"/>
                                <a:gd name="connsiteY4" fmla="*/ 518 h 1114504"/>
                                <a:gd name="connsiteX5" fmla="*/ 386349 w 391715"/>
                                <a:gd name="connsiteY5" fmla="*/ 315610 h 1114504"/>
                                <a:gd name="connsiteX6" fmla="*/ 320796 w 391715"/>
                                <a:gd name="connsiteY6" fmla="*/ 544760 h 1114504"/>
                                <a:gd name="connsiteX7" fmla="*/ 306678 w 391715"/>
                                <a:gd name="connsiteY7" fmla="*/ 691058 h 1114504"/>
                                <a:gd name="connsiteX8" fmla="*/ 277934 w 391715"/>
                                <a:gd name="connsiteY8" fmla="*/ 797175 h 1114504"/>
                                <a:gd name="connsiteX9" fmla="*/ 216021 w 391715"/>
                                <a:gd name="connsiteY9" fmla="*/ 873374 h 1114504"/>
                                <a:gd name="connsiteX10" fmla="*/ 119 w 391715"/>
                                <a:gd name="connsiteY10" fmla="*/ 1113254 h 1114504"/>
                                <a:gd name="connsiteX11" fmla="*/ 186156 w 391715"/>
                                <a:gd name="connsiteY11" fmla="*/ 757732 h 1114504"/>
                                <a:gd name="connsiteX0" fmla="*/ 201911 w 407470"/>
                                <a:gd name="connsiteY0" fmla="*/ 757732 h 1116615"/>
                                <a:gd name="connsiteX1" fmla="*/ 250671 w 407470"/>
                                <a:gd name="connsiteY1" fmla="*/ 434460 h 1116615"/>
                                <a:gd name="connsiteX2" fmla="*/ 301523 w 407470"/>
                                <a:gd name="connsiteY2" fmla="*/ 351389 h 1116615"/>
                                <a:gd name="connsiteX3" fmla="*/ 316936 w 407470"/>
                                <a:gd name="connsiteY3" fmla="*/ 244121 h 1116615"/>
                                <a:gd name="connsiteX4" fmla="*/ 393947 w 407470"/>
                                <a:gd name="connsiteY4" fmla="*/ 518 h 1116615"/>
                                <a:gd name="connsiteX5" fmla="*/ 402104 w 407470"/>
                                <a:gd name="connsiteY5" fmla="*/ 315610 h 1116615"/>
                                <a:gd name="connsiteX6" fmla="*/ 336551 w 407470"/>
                                <a:gd name="connsiteY6" fmla="*/ 544760 h 1116615"/>
                                <a:gd name="connsiteX7" fmla="*/ 322433 w 407470"/>
                                <a:gd name="connsiteY7" fmla="*/ 691058 h 1116615"/>
                                <a:gd name="connsiteX8" fmla="*/ 293689 w 407470"/>
                                <a:gd name="connsiteY8" fmla="*/ 797175 h 1116615"/>
                                <a:gd name="connsiteX9" fmla="*/ 231776 w 407470"/>
                                <a:gd name="connsiteY9" fmla="*/ 873374 h 1116615"/>
                                <a:gd name="connsiteX10" fmla="*/ 15874 w 407470"/>
                                <a:gd name="connsiteY10" fmla="*/ 1113254 h 1116615"/>
                                <a:gd name="connsiteX11" fmla="*/ 201911 w 407470"/>
                                <a:gd name="connsiteY11" fmla="*/ 757732 h 1116615"/>
                                <a:gd name="connsiteX0" fmla="*/ 201911 w 538128"/>
                                <a:gd name="connsiteY0" fmla="*/ 757732 h 1116615"/>
                                <a:gd name="connsiteX1" fmla="*/ 250671 w 538128"/>
                                <a:gd name="connsiteY1" fmla="*/ 434460 h 1116615"/>
                                <a:gd name="connsiteX2" fmla="*/ 301523 w 538128"/>
                                <a:gd name="connsiteY2" fmla="*/ 351389 h 1116615"/>
                                <a:gd name="connsiteX3" fmla="*/ 316936 w 538128"/>
                                <a:gd name="connsiteY3" fmla="*/ 244121 h 1116615"/>
                                <a:gd name="connsiteX4" fmla="*/ 393947 w 538128"/>
                                <a:gd name="connsiteY4" fmla="*/ 518 h 1116615"/>
                                <a:gd name="connsiteX5" fmla="*/ 402104 w 538128"/>
                                <a:gd name="connsiteY5" fmla="*/ 315610 h 1116615"/>
                                <a:gd name="connsiteX6" fmla="*/ 537140 w 538128"/>
                                <a:gd name="connsiteY6" fmla="*/ 530790 h 1116615"/>
                                <a:gd name="connsiteX7" fmla="*/ 322433 w 538128"/>
                                <a:gd name="connsiteY7" fmla="*/ 691058 h 1116615"/>
                                <a:gd name="connsiteX8" fmla="*/ 293689 w 538128"/>
                                <a:gd name="connsiteY8" fmla="*/ 797175 h 1116615"/>
                                <a:gd name="connsiteX9" fmla="*/ 231776 w 538128"/>
                                <a:gd name="connsiteY9" fmla="*/ 873374 h 1116615"/>
                                <a:gd name="connsiteX10" fmla="*/ 15874 w 538128"/>
                                <a:gd name="connsiteY10" fmla="*/ 1113254 h 1116615"/>
                                <a:gd name="connsiteX11" fmla="*/ 201911 w 538128"/>
                                <a:gd name="connsiteY11" fmla="*/ 757732 h 1116615"/>
                                <a:gd name="connsiteX0" fmla="*/ 204149 w 540366"/>
                                <a:gd name="connsiteY0" fmla="*/ 757732 h 1116615"/>
                                <a:gd name="connsiteX1" fmla="*/ 474990 w 540366"/>
                                <a:gd name="connsiteY1" fmla="*/ 497325 h 1116615"/>
                                <a:gd name="connsiteX2" fmla="*/ 303761 w 540366"/>
                                <a:gd name="connsiteY2" fmla="*/ 351389 h 1116615"/>
                                <a:gd name="connsiteX3" fmla="*/ 319174 w 540366"/>
                                <a:gd name="connsiteY3" fmla="*/ 244121 h 1116615"/>
                                <a:gd name="connsiteX4" fmla="*/ 396185 w 540366"/>
                                <a:gd name="connsiteY4" fmla="*/ 518 h 1116615"/>
                                <a:gd name="connsiteX5" fmla="*/ 404342 w 540366"/>
                                <a:gd name="connsiteY5" fmla="*/ 315610 h 1116615"/>
                                <a:gd name="connsiteX6" fmla="*/ 539378 w 540366"/>
                                <a:gd name="connsiteY6" fmla="*/ 530790 h 1116615"/>
                                <a:gd name="connsiteX7" fmla="*/ 324671 w 540366"/>
                                <a:gd name="connsiteY7" fmla="*/ 691058 h 1116615"/>
                                <a:gd name="connsiteX8" fmla="*/ 295927 w 540366"/>
                                <a:gd name="connsiteY8" fmla="*/ 797175 h 1116615"/>
                                <a:gd name="connsiteX9" fmla="*/ 234014 w 540366"/>
                                <a:gd name="connsiteY9" fmla="*/ 873374 h 1116615"/>
                                <a:gd name="connsiteX10" fmla="*/ 18112 w 540366"/>
                                <a:gd name="connsiteY10" fmla="*/ 1113254 h 1116615"/>
                                <a:gd name="connsiteX11" fmla="*/ 204149 w 540366"/>
                                <a:gd name="connsiteY11" fmla="*/ 757732 h 1116615"/>
                                <a:gd name="connsiteX0" fmla="*/ 204149 w 539529"/>
                                <a:gd name="connsiteY0" fmla="*/ 757732 h 1116615"/>
                                <a:gd name="connsiteX1" fmla="*/ 474990 w 539529"/>
                                <a:gd name="connsiteY1" fmla="*/ 497325 h 1116615"/>
                                <a:gd name="connsiteX2" fmla="*/ 303761 w 539529"/>
                                <a:gd name="connsiteY2" fmla="*/ 351389 h 1116615"/>
                                <a:gd name="connsiteX3" fmla="*/ 319174 w 539529"/>
                                <a:gd name="connsiteY3" fmla="*/ 244121 h 1116615"/>
                                <a:gd name="connsiteX4" fmla="*/ 396185 w 539529"/>
                                <a:gd name="connsiteY4" fmla="*/ 518 h 1116615"/>
                                <a:gd name="connsiteX5" fmla="*/ 404342 w 539529"/>
                                <a:gd name="connsiteY5" fmla="*/ 315610 h 1116615"/>
                                <a:gd name="connsiteX6" fmla="*/ 539378 w 539529"/>
                                <a:gd name="connsiteY6" fmla="*/ 530790 h 1116615"/>
                                <a:gd name="connsiteX7" fmla="*/ 374818 w 539529"/>
                                <a:gd name="connsiteY7" fmla="*/ 712013 h 1116615"/>
                                <a:gd name="connsiteX8" fmla="*/ 295927 w 539529"/>
                                <a:gd name="connsiteY8" fmla="*/ 797175 h 1116615"/>
                                <a:gd name="connsiteX9" fmla="*/ 234014 w 539529"/>
                                <a:gd name="connsiteY9" fmla="*/ 873374 h 1116615"/>
                                <a:gd name="connsiteX10" fmla="*/ 18112 w 539529"/>
                                <a:gd name="connsiteY10" fmla="*/ 1113254 h 1116615"/>
                                <a:gd name="connsiteX11" fmla="*/ 204149 w 539529"/>
                                <a:gd name="connsiteY11" fmla="*/ 757732 h 1116615"/>
                                <a:gd name="connsiteX0" fmla="*/ 204149 w 573637"/>
                                <a:gd name="connsiteY0" fmla="*/ 757223 h 1116106"/>
                                <a:gd name="connsiteX1" fmla="*/ 474990 w 573637"/>
                                <a:gd name="connsiteY1" fmla="*/ 496816 h 1116106"/>
                                <a:gd name="connsiteX2" fmla="*/ 303761 w 573637"/>
                                <a:gd name="connsiteY2" fmla="*/ 350880 h 1116106"/>
                                <a:gd name="connsiteX3" fmla="*/ 319174 w 573637"/>
                                <a:gd name="connsiteY3" fmla="*/ 243612 h 1116106"/>
                                <a:gd name="connsiteX4" fmla="*/ 396185 w 573637"/>
                                <a:gd name="connsiteY4" fmla="*/ 9 h 1116106"/>
                                <a:gd name="connsiteX5" fmla="*/ 561948 w 573637"/>
                                <a:gd name="connsiteY5" fmla="*/ 252236 h 1116106"/>
                                <a:gd name="connsiteX6" fmla="*/ 539378 w 573637"/>
                                <a:gd name="connsiteY6" fmla="*/ 530281 h 1116106"/>
                                <a:gd name="connsiteX7" fmla="*/ 374818 w 573637"/>
                                <a:gd name="connsiteY7" fmla="*/ 711504 h 1116106"/>
                                <a:gd name="connsiteX8" fmla="*/ 295927 w 573637"/>
                                <a:gd name="connsiteY8" fmla="*/ 796666 h 1116106"/>
                                <a:gd name="connsiteX9" fmla="*/ 234014 w 573637"/>
                                <a:gd name="connsiteY9" fmla="*/ 872865 h 1116106"/>
                                <a:gd name="connsiteX10" fmla="*/ 18112 w 573637"/>
                                <a:gd name="connsiteY10" fmla="*/ 1112745 h 1116106"/>
                                <a:gd name="connsiteX11" fmla="*/ 204149 w 573637"/>
                                <a:gd name="connsiteY11" fmla="*/ 757223 h 1116106"/>
                                <a:gd name="connsiteX0" fmla="*/ 204149 w 573637"/>
                                <a:gd name="connsiteY0" fmla="*/ 757223 h 1116106"/>
                                <a:gd name="connsiteX1" fmla="*/ 474990 w 573637"/>
                                <a:gd name="connsiteY1" fmla="*/ 496816 h 1116106"/>
                                <a:gd name="connsiteX2" fmla="*/ 475695 w 573637"/>
                                <a:gd name="connsiteY2" fmla="*/ 315955 h 1116106"/>
                                <a:gd name="connsiteX3" fmla="*/ 319174 w 573637"/>
                                <a:gd name="connsiteY3" fmla="*/ 243612 h 1116106"/>
                                <a:gd name="connsiteX4" fmla="*/ 396185 w 573637"/>
                                <a:gd name="connsiteY4" fmla="*/ 9 h 1116106"/>
                                <a:gd name="connsiteX5" fmla="*/ 561948 w 573637"/>
                                <a:gd name="connsiteY5" fmla="*/ 252236 h 1116106"/>
                                <a:gd name="connsiteX6" fmla="*/ 539378 w 573637"/>
                                <a:gd name="connsiteY6" fmla="*/ 530281 h 1116106"/>
                                <a:gd name="connsiteX7" fmla="*/ 374818 w 573637"/>
                                <a:gd name="connsiteY7" fmla="*/ 711504 h 1116106"/>
                                <a:gd name="connsiteX8" fmla="*/ 295927 w 573637"/>
                                <a:gd name="connsiteY8" fmla="*/ 796666 h 1116106"/>
                                <a:gd name="connsiteX9" fmla="*/ 234014 w 573637"/>
                                <a:gd name="connsiteY9" fmla="*/ 872865 h 1116106"/>
                                <a:gd name="connsiteX10" fmla="*/ 18112 w 573637"/>
                                <a:gd name="connsiteY10" fmla="*/ 1112745 h 1116106"/>
                                <a:gd name="connsiteX11" fmla="*/ 204149 w 573637"/>
                                <a:gd name="connsiteY11" fmla="*/ 757223 h 1116106"/>
                                <a:gd name="connsiteX0" fmla="*/ 207751 w 577239"/>
                                <a:gd name="connsiteY0" fmla="*/ 834761 h 1193644"/>
                                <a:gd name="connsiteX1" fmla="*/ 478592 w 577239"/>
                                <a:gd name="connsiteY1" fmla="*/ 574354 h 1193644"/>
                                <a:gd name="connsiteX2" fmla="*/ 479297 w 577239"/>
                                <a:gd name="connsiteY2" fmla="*/ 393493 h 1193644"/>
                                <a:gd name="connsiteX3" fmla="*/ 401 w 577239"/>
                                <a:gd name="connsiteY3" fmla="*/ 20794 h 1193644"/>
                                <a:gd name="connsiteX4" fmla="*/ 399787 w 577239"/>
                                <a:gd name="connsiteY4" fmla="*/ 77547 h 1193644"/>
                                <a:gd name="connsiteX5" fmla="*/ 565550 w 577239"/>
                                <a:gd name="connsiteY5" fmla="*/ 329774 h 1193644"/>
                                <a:gd name="connsiteX6" fmla="*/ 542980 w 577239"/>
                                <a:gd name="connsiteY6" fmla="*/ 607819 h 1193644"/>
                                <a:gd name="connsiteX7" fmla="*/ 378420 w 577239"/>
                                <a:gd name="connsiteY7" fmla="*/ 789042 h 1193644"/>
                                <a:gd name="connsiteX8" fmla="*/ 299529 w 577239"/>
                                <a:gd name="connsiteY8" fmla="*/ 874204 h 1193644"/>
                                <a:gd name="connsiteX9" fmla="*/ 237616 w 577239"/>
                                <a:gd name="connsiteY9" fmla="*/ 950403 h 1193644"/>
                                <a:gd name="connsiteX10" fmla="*/ 21714 w 577239"/>
                                <a:gd name="connsiteY10" fmla="*/ 1190283 h 1193644"/>
                                <a:gd name="connsiteX11" fmla="*/ 207751 w 577239"/>
                                <a:gd name="connsiteY11" fmla="*/ 834761 h 1193644"/>
                                <a:gd name="connsiteX0" fmla="*/ 207367 w 576855"/>
                                <a:gd name="connsiteY0" fmla="*/ 820897 h 1179780"/>
                                <a:gd name="connsiteX1" fmla="*/ 478208 w 576855"/>
                                <a:gd name="connsiteY1" fmla="*/ 560490 h 1179780"/>
                                <a:gd name="connsiteX2" fmla="*/ 478913 w 576855"/>
                                <a:gd name="connsiteY2" fmla="*/ 379629 h 1179780"/>
                                <a:gd name="connsiteX3" fmla="*/ 383586 w 576855"/>
                                <a:gd name="connsiteY3" fmla="*/ 184850 h 1179780"/>
                                <a:gd name="connsiteX4" fmla="*/ 17 w 576855"/>
                                <a:gd name="connsiteY4" fmla="*/ 6930 h 1179780"/>
                                <a:gd name="connsiteX5" fmla="*/ 399403 w 576855"/>
                                <a:gd name="connsiteY5" fmla="*/ 63683 h 1179780"/>
                                <a:gd name="connsiteX6" fmla="*/ 565166 w 576855"/>
                                <a:gd name="connsiteY6" fmla="*/ 315910 h 1179780"/>
                                <a:gd name="connsiteX7" fmla="*/ 542596 w 576855"/>
                                <a:gd name="connsiteY7" fmla="*/ 593955 h 1179780"/>
                                <a:gd name="connsiteX8" fmla="*/ 378036 w 576855"/>
                                <a:gd name="connsiteY8" fmla="*/ 775178 h 1179780"/>
                                <a:gd name="connsiteX9" fmla="*/ 299145 w 576855"/>
                                <a:gd name="connsiteY9" fmla="*/ 860340 h 1179780"/>
                                <a:gd name="connsiteX10" fmla="*/ 237232 w 576855"/>
                                <a:gd name="connsiteY10" fmla="*/ 936539 h 1179780"/>
                                <a:gd name="connsiteX11" fmla="*/ 21330 w 576855"/>
                                <a:gd name="connsiteY11" fmla="*/ 1176419 h 1179780"/>
                                <a:gd name="connsiteX12" fmla="*/ 207367 w 576855"/>
                                <a:gd name="connsiteY12" fmla="*/ 820897 h 1179780"/>
                                <a:gd name="connsiteX0" fmla="*/ 207406 w 580077"/>
                                <a:gd name="connsiteY0" fmla="*/ 815404 h 1174287"/>
                                <a:gd name="connsiteX1" fmla="*/ 478247 w 580077"/>
                                <a:gd name="connsiteY1" fmla="*/ 554997 h 1174287"/>
                                <a:gd name="connsiteX2" fmla="*/ 478952 w 580077"/>
                                <a:gd name="connsiteY2" fmla="*/ 374136 h 1174287"/>
                                <a:gd name="connsiteX3" fmla="*/ 383625 w 580077"/>
                                <a:gd name="connsiteY3" fmla="*/ 179357 h 1174287"/>
                                <a:gd name="connsiteX4" fmla="*/ 56 w 580077"/>
                                <a:gd name="connsiteY4" fmla="*/ 1437 h 1174287"/>
                                <a:gd name="connsiteX5" fmla="*/ 356459 w 580077"/>
                                <a:gd name="connsiteY5" fmla="*/ 107086 h 1174287"/>
                                <a:gd name="connsiteX6" fmla="*/ 565205 w 580077"/>
                                <a:gd name="connsiteY6" fmla="*/ 310417 h 1174287"/>
                                <a:gd name="connsiteX7" fmla="*/ 542635 w 580077"/>
                                <a:gd name="connsiteY7" fmla="*/ 588462 h 1174287"/>
                                <a:gd name="connsiteX8" fmla="*/ 378075 w 580077"/>
                                <a:gd name="connsiteY8" fmla="*/ 769685 h 1174287"/>
                                <a:gd name="connsiteX9" fmla="*/ 299184 w 580077"/>
                                <a:gd name="connsiteY9" fmla="*/ 854847 h 1174287"/>
                                <a:gd name="connsiteX10" fmla="*/ 237271 w 580077"/>
                                <a:gd name="connsiteY10" fmla="*/ 931046 h 1174287"/>
                                <a:gd name="connsiteX11" fmla="*/ 21369 w 580077"/>
                                <a:gd name="connsiteY11" fmla="*/ 1170926 h 1174287"/>
                                <a:gd name="connsiteX12" fmla="*/ 207406 w 580077"/>
                                <a:gd name="connsiteY12" fmla="*/ 815404 h 1174287"/>
                                <a:gd name="connsiteX0" fmla="*/ 204150 w 576821"/>
                                <a:gd name="connsiteY0" fmla="*/ 713707 h 1072590"/>
                                <a:gd name="connsiteX1" fmla="*/ 474991 w 576821"/>
                                <a:gd name="connsiteY1" fmla="*/ 453300 h 1072590"/>
                                <a:gd name="connsiteX2" fmla="*/ 475696 w 576821"/>
                                <a:gd name="connsiteY2" fmla="*/ 272439 h 1072590"/>
                                <a:gd name="connsiteX3" fmla="*/ 380369 w 576821"/>
                                <a:gd name="connsiteY3" fmla="*/ 77660 h 1072590"/>
                                <a:gd name="connsiteX4" fmla="*/ 412306 w 576821"/>
                                <a:gd name="connsiteY4" fmla="*/ 60395 h 1072590"/>
                                <a:gd name="connsiteX5" fmla="*/ 353203 w 576821"/>
                                <a:gd name="connsiteY5" fmla="*/ 5389 h 1072590"/>
                                <a:gd name="connsiteX6" fmla="*/ 561949 w 576821"/>
                                <a:gd name="connsiteY6" fmla="*/ 208720 h 1072590"/>
                                <a:gd name="connsiteX7" fmla="*/ 539379 w 576821"/>
                                <a:gd name="connsiteY7" fmla="*/ 486765 h 1072590"/>
                                <a:gd name="connsiteX8" fmla="*/ 374819 w 576821"/>
                                <a:gd name="connsiteY8" fmla="*/ 667988 h 1072590"/>
                                <a:gd name="connsiteX9" fmla="*/ 295928 w 576821"/>
                                <a:gd name="connsiteY9" fmla="*/ 753150 h 1072590"/>
                                <a:gd name="connsiteX10" fmla="*/ 234015 w 576821"/>
                                <a:gd name="connsiteY10" fmla="*/ 829349 h 1072590"/>
                                <a:gd name="connsiteX11" fmla="*/ 18113 w 576821"/>
                                <a:gd name="connsiteY11" fmla="*/ 1069229 h 1072590"/>
                                <a:gd name="connsiteX12" fmla="*/ 204150 w 576821"/>
                                <a:gd name="connsiteY12" fmla="*/ 713707 h 1072590"/>
                                <a:gd name="connsiteX0" fmla="*/ 204150 w 572444"/>
                                <a:gd name="connsiteY0" fmla="*/ 676201 h 1035084"/>
                                <a:gd name="connsiteX1" fmla="*/ 474991 w 572444"/>
                                <a:gd name="connsiteY1" fmla="*/ 415794 h 1035084"/>
                                <a:gd name="connsiteX2" fmla="*/ 475696 w 572444"/>
                                <a:gd name="connsiteY2" fmla="*/ 234933 h 1035084"/>
                                <a:gd name="connsiteX3" fmla="*/ 380369 w 572444"/>
                                <a:gd name="connsiteY3" fmla="*/ 40154 h 1035084"/>
                                <a:gd name="connsiteX4" fmla="*/ 412306 w 572444"/>
                                <a:gd name="connsiteY4" fmla="*/ 22889 h 1035084"/>
                                <a:gd name="connsiteX5" fmla="*/ 561949 w 572444"/>
                                <a:gd name="connsiteY5" fmla="*/ 171214 h 1035084"/>
                                <a:gd name="connsiteX6" fmla="*/ 539379 w 572444"/>
                                <a:gd name="connsiteY6" fmla="*/ 449259 h 1035084"/>
                                <a:gd name="connsiteX7" fmla="*/ 374819 w 572444"/>
                                <a:gd name="connsiteY7" fmla="*/ 630482 h 1035084"/>
                                <a:gd name="connsiteX8" fmla="*/ 295928 w 572444"/>
                                <a:gd name="connsiteY8" fmla="*/ 715644 h 1035084"/>
                                <a:gd name="connsiteX9" fmla="*/ 234015 w 572444"/>
                                <a:gd name="connsiteY9" fmla="*/ 791843 h 1035084"/>
                                <a:gd name="connsiteX10" fmla="*/ 18113 w 572444"/>
                                <a:gd name="connsiteY10" fmla="*/ 1031723 h 1035084"/>
                                <a:gd name="connsiteX11" fmla="*/ 204150 w 572444"/>
                                <a:gd name="connsiteY11" fmla="*/ 676201 h 1035084"/>
                                <a:gd name="connsiteX0" fmla="*/ 204150 w 572444"/>
                                <a:gd name="connsiteY0" fmla="*/ 676201 h 1035084"/>
                                <a:gd name="connsiteX1" fmla="*/ 474991 w 572444"/>
                                <a:gd name="connsiteY1" fmla="*/ 415794 h 1035084"/>
                                <a:gd name="connsiteX2" fmla="*/ 524052 w 572444"/>
                                <a:gd name="connsiteY2" fmla="*/ 164210 h 1035084"/>
                                <a:gd name="connsiteX3" fmla="*/ 380369 w 572444"/>
                                <a:gd name="connsiteY3" fmla="*/ 40154 h 1035084"/>
                                <a:gd name="connsiteX4" fmla="*/ 412306 w 572444"/>
                                <a:gd name="connsiteY4" fmla="*/ 22889 h 1035084"/>
                                <a:gd name="connsiteX5" fmla="*/ 561949 w 572444"/>
                                <a:gd name="connsiteY5" fmla="*/ 171214 h 1035084"/>
                                <a:gd name="connsiteX6" fmla="*/ 539379 w 572444"/>
                                <a:gd name="connsiteY6" fmla="*/ 449259 h 1035084"/>
                                <a:gd name="connsiteX7" fmla="*/ 374819 w 572444"/>
                                <a:gd name="connsiteY7" fmla="*/ 630482 h 1035084"/>
                                <a:gd name="connsiteX8" fmla="*/ 295928 w 572444"/>
                                <a:gd name="connsiteY8" fmla="*/ 715644 h 1035084"/>
                                <a:gd name="connsiteX9" fmla="*/ 234015 w 572444"/>
                                <a:gd name="connsiteY9" fmla="*/ 791843 h 1035084"/>
                                <a:gd name="connsiteX10" fmla="*/ 18113 w 572444"/>
                                <a:gd name="connsiteY10" fmla="*/ 1031723 h 1035084"/>
                                <a:gd name="connsiteX11" fmla="*/ 204150 w 572444"/>
                                <a:gd name="connsiteY11" fmla="*/ 676201 h 1035084"/>
                                <a:gd name="connsiteX0" fmla="*/ 204553 w 572847"/>
                                <a:gd name="connsiteY0" fmla="*/ 676201 h 1035084"/>
                                <a:gd name="connsiteX1" fmla="*/ 510318 w 572847"/>
                                <a:gd name="connsiteY1" fmla="*/ 386982 h 1035084"/>
                                <a:gd name="connsiteX2" fmla="*/ 524455 w 572847"/>
                                <a:gd name="connsiteY2" fmla="*/ 164210 h 1035084"/>
                                <a:gd name="connsiteX3" fmla="*/ 380772 w 572847"/>
                                <a:gd name="connsiteY3" fmla="*/ 40154 h 1035084"/>
                                <a:gd name="connsiteX4" fmla="*/ 412709 w 572847"/>
                                <a:gd name="connsiteY4" fmla="*/ 22889 h 1035084"/>
                                <a:gd name="connsiteX5" fmla="*/ 562352 w 572847"/>
                                <a:gd name="connsiteY5" fmla="*/ 171214 h 1035084"/>
                                <a:gd name="connsiteX6" fmla="*/ 539782 w 572847"/>
                                <a:gd name="connsiteY6" fmla="*/ 449259 h 1035084"/>
                                <a:gd name="connsiteX7" fmla="*/ 375222 w 572847"/>
                                <a:gd name="connsiteY7" fmla="*/ 630482 h 1035084"/>
                                <a:gd name="connsiteX8" fmla="*/ 296331 w 572847"/>
                                <a:gd name="connsiteY8" fmla="*/ 715644 h 1035084"/>
                                <a:gd name="connsiteX9" fmla="*/ 234418 w 572847"/>
                                <a:gd name="connsiteY9" fmla="*/ 791843 h 1035084"/>
                                <a:gd name="connsiteX10" fmla="*/ 18516 w 572847"/>
                                <a:gd name="connsiteY10" fmla="*/ 1031723 h 1035084"/>
                                <a:gd name="connsiteX11" fmla="*/ 204553 w 572847"/>
                                <a:gd name="connsiteY11" fmla="*/ 676201 h 1035084"/>
                                <a:gd name="connsiteX0" fmla="*/ 204553 w 572847"/>
                                <a:gd name="connsiteY0" fmla="*/ 676201 h 1035084"/>
                                <a:gd name="connsiteX1" fmla="*/ 510318 w 572847"/>
                                <a:gd name="connsiteY1" fmla="*/ 386982 h 1035084"/>
                                <a:gd name="connsiteX2" fmla="*/ 524455 w 572847"/>
                                <a:gd name="connsiteY2" fmla="*/ 164210 h 1035084"/>
                                <a:gd name="connsiteX3" fmla="*/ 380772 w 572847"/>
                                <a:gd name="connsiteY3" fmla="*/ 40154 h 1035084"/>
                                <a:gd name="connsiteX4" fmla="*/ 412709 w 572847"/>
                                <a:gd name="connsiteY4" fmla="*/ 22889 h 1035084"/>
                                <a:gd name="connsiteX5" fmla="*/ 562352 w 572847"/>
                                <a:gd name="connsiteY5" fmla="*/ 171214 h 1035084"/>
                                <a:gd name="connsiteX6" fmla="*/ 539782 w 572847"/>
                                <a:gd name="connsiteY6" fmla="*/ 449259 h 1035084"/>
                                <a:gd name="connsiteX7" fmla="*/ 375222 w 572847"/>
                                <a:gd name="connsiteY7" fmla="*/ 630482 h 1035084"/>
                                <a:gd name="connsiteX8" fmla="*/ 296331 w 572847"/>
                                <a:gd name="connsiteY8" fmla="*/ 715644 h 1035084"/>
                                <a:gd name="connsiteX9" fmla="*/ 234418 w 572847"/>
                                <a:gd name="connsiteY9" fmla="*/ 791843 h 1035084"/>
                                <a:gd name="connsiteX10" fmla="*/ 18516 w 572847"/>
                                <a:gd name="connsiteY10" fmla="*/ 1031723 h 1035084"/>
                                <a:gd name="connsiteX11" fmla="*/ 204553 w 572847"/>
                                <a:gd name="connsiteY11" fmla="*/ 676201 h 1035084"/>
                                <a:gd name="connsiteX0" fmla="*/ 250659 w 554478"/>
                                <a:gd name="connsiteY0" fmla="*/ 689298 h 1032723"/>
                                <a:gd name="connsiteX1" fmla="*/ 491949 w 554478"/>
                                <a:gd name="connsiteY1" fmla="*/ 386982 h 1032723"/>
                                <a:gd name="connsiteX2" fmla="*/ 506086 w 554478"/>
                                <a:gd name="connsiteY2" fmla="*/ 164210 h 1032723"/>
                                <a:gd name="connsiteX3" fmla="*/ 362403 w 554478"/>
                                <a:gd name="connsiteY3" fmla="*/ 40154 h 1032723"/>
                                <a:gd name="connsiteX4" fmla="*/ 394340 w 554478"/>
                                <a:gd name="connsiteY4" fmla="*/ 22889 h 1032723"/>
                                <a:gd name="connsiteX5" fmla="*/ 543983 w 554478"/>
                                <a:gd name="connsiteY5" fmla="*/ 171214 h 1032723"/>
                                <a:gd name="connsiteX6" fmla="*/ 521413 w 554478"/>
                                <a:gd name="connsiteY6" fmla="*/ 449259 h 1032723"/>
                                <a:gd name="connsiteX7" fmla="*/ 356853 w 554478"/>
                                <a:gd name="connsiteY7" fmla="*/ 630482 h 1032723"/>
                                <a:gd name="connsiteX8" fmla="*/ 277962 w 554478"/>
                                <a:gd name="connsiteY8" fmla="*/ 715644 h 1032723"/>
                                <a:gd name="connsiteX9" fmla="*/ 216049 w 554478"/>
                                <a:gd name="connsiteY9" fmla="*/ 791843 h 1032723"/>
                                <a:gd name="connsiteX10" fmla="*/ 147 w 554478"/>
                                <a:gd name="connsiteY10" fmla="*/ 1031723 h 1032723"/>
                                <a:gd name="connsiteX11" fmla="*/ 250659 w 554478"/>
                                <a:gd name="connsiteY11" fmla="*/ 689298 h 1032723"/>
                                <a:gd name="connsiteX0" fmla="*/ 250659 w 554478"/>
                                <a:gd name="connsiteY0" fmla="*/ 689298 h 1032723"/>
                                <a:gd name="connsiteX1" fmla="*/ 491949 w 554478"/>
                                <a:gd name="connsiteY1" fmla="*/ 386982 h 1032723"/>
                                <a:gd name="connsiteX2" fmla="*/ 506086 w 554478"/>
                                <a:gd name="connsiteY2" fmla="*/ 164210 h 1032723"/>
                                <a:gd name="connsiteX3" fmla="*/ 362403 w 554478"/>
                                <a:gd name="connsiteY3" fmla="*/ 40154 h 1032723"/>
                                <a:gd name="connsiteX4" fmla="*/ 394340 w 554478"/>
                                <a:gd name="connsiteY4" fmla="*/ 22889 h 1032723"/>
                                <a:gd name="connsiteX5" fmla="*/ 543983 w 554478"/>
                                <a:gd name="connsiteY5" fmla="*/ 171214 h 1032723"/>
                                <a:gd name="connsiteX6" fmla="*/ 521413 w 554478"/>
                                <a:gd name="connsiteY6" fmla="*/ 449259 h 1032723"/>
                                <a:gd name="connsiteX7" fmla="*/ 356853 w 554478"/>
                                <a:gd name="connsiteY7" fmla="*/ 630482 h 1032723"/>
                                <a:gd name="connsiteX8" fmla="*/ 277962 w 554478"/>
                                <a:gd name="connsiteY8" fmla="*/ 715644 h 1032723"/>
                                <a:gd name="connsiteX9" fmla="*/ 216049 w 554478"/>
                                <a:gd name="connsiteY9" fmla="*/ 791843 h 1032723"/>
                                <a:gd name="connsiteX10" fmla="*/ 147 w 554478"/>
                                <a:gd name="connsiteY10" fmla="*/ 1031723 h 1032723"/>
                                <a:gd name="connsiteX11" fmla="*/ 250659 w 554478"/>
                                <a:gd name="connsiteY11" fmla="*/ 689298 h 1032723"/>
                                <a:gd name="connsiteX0" fmla="*/ 250659 w 554478"/>
                                <a:gd name="connsiteY0" fmla="*/ 689298 h 1032723"/>
                                <a:gd name="connsiteX1" fmla="*/ 491949 w 554478"/>
                                <a:gd name="connsiteY1" fmla="*/ 386982 h 1032723"/>
                                <a:gd name="connsiteX2" fmla="*/ 506086 w 554478"/>
                                <a:gd name="connsiteY2" fmla="*/ 164210 h 1032723"/>
                                <a:gd name="connsiteX3" fmla="*/ 362403 w 554478"/>
                                <a:gd name="connsiteY3" fmla="*/ 40154 h 1032723"/>
                                <a:gd name="connsiteX4" fmla="*/ 394340 w 554478"/>
                                <a:gd name="connsiteY4" fmla="*/ 22889 h 1032723"/>
                                <a:gd name="connsiteX5" fmla="*/ 543983 w 554478"/>
                                <a:gd name="connsiteY5" fmla="*/ 171214 h 1032723"/>
                                <a:gd name="connsiteX6" fmla="*/ 521413 w 554478"/>
                                <a:gd name="connsiteY6" fmla="*/ 449259 h 1032723"/>
                                <a:gd name="connsiteX7" fmla="*/ 356853 w 554478"/>
                                <a:gd name="connsiteY7" fmla="*/ 630482 h 1032723"/>
                                <a:gd name="connsiteX8" fmla="*/ 277962 w 554478"/>
                                <a:gd name="connsiteY8" fmla="*/ 715644 h 1032723"/>
                                <a:gd name="connsiteX9" fmla="*/ 216049 w 554478"/>
                                <a:gd name="connsiteY9" fmla="*/ 791843 h 1032723"/>
                                <a:gd name="connsiteX10" fmla="*/ 147 w 554478"/>
                                <a:gd name="connsiteY10" fmla="*/ 1031723 h 1032723"/>
                                <a:gd name="connsiteX11" fmla="*/ 250659 w 554478"/>
                                <a:gd name="connsiteY11" fmla="*/ 689298 h 1032723"/>
                                <a:gd name="connsiteX0" fmla="*/ 251886 w 555705"/>
                                <a:gd name="connsiteY0" fmla="*/ 689298 h 1033363"/>
                                <a:gd name="connsiteX1" fmla="*/ 493176 w 555705"/>
                                <a:gd name="connsiteY1" fmla="*/ 386982 h 1033363"/>
                                <a:gd name="connsiteX2" fmla="*/ 507313 w 555705"/>
                                <a:gd name="connsiteY2" fmla="*/ 164210 h 1033363"/>
                                <a:gd name="connsiteX3" fmla="*/ 363630 w 555705"/>
                                <a:gd name="connsiteY3" fmla="*/ 40154 h 1033363"/>
                                <a:gd name="connsiteX4" fmla="*/ 395567 w 555705"/>
                                <a:gd name="connsiteY4" fmla="*/ 22889 h 1033363"/>
                                <a:gd name="connsiteX5" fmla="*/ 545210 w 555705"/>
                                <a:gd name="connsiteY5" fmla="*/ 171214 h 1033363"/>
                                <a:gd name="connsiteX6" fmla="*/ 522640 w 555705"/>
                                <a:gd name="connsiteY6" fmla="*/ 449259 h 1033363"/>
                                <a:gd name="connsiteX7" fmla="*/ 358080 w 555705"/>
                                <a:gd name="connsiteY7" fmla="*/ 630482 h 1033363"/>
                                <a:gd name="connsiteX8" fmla="*/ 279189 w 555705"/>
                                <a:gd name="connsiteY8" fmla="*/ 715644 h 1033363"/>
                                <a:gd name="connsiteX9" fmla="*/ 217276 w 555705"/>
                                <a:gd name="connsiteY9" fmla="*/ 791843 h 1033363"/>
                                <a:gd name="connsiteX10" fmla="*/ 1374 w 555705"/>
                                <a:gd name="connsiteY10" fmla="*/ 1031723 h 1033363"/>
                                <a:gd name="connsiteX11" fmla="*/ 251886 w 555705"/>
                                <a:gd name="connsiteY11" fmla="*/ 689298 h 1033363"/>
                                <a:gd name="connsiteX0" fmla="*/ 251886 w 551387"/>
                                <a:gd name="connsiteY0" fmla="*/ 689298 h 1033363"/>
                                <a:gd name="connsiteX1" fmla="*/ 493176 w 551387"/>
                                <a:gd name="connsiteY1" fmla="*/ 386982 h 1033363"/>
                                <a:gd name="connsiteX2" fmla="*/ 507313 w 551387"/>
                                <a:gd name="connsiteY2" fmla="*/ 164210 h 1033363"/>
                                <a:gd name="connsiteX3" fmla="*/ 363630 w 551387"/>
                                <a:gd name="connsiteY3" fmla="*/ 40154 h 1033363"/>
                                <a:gd name="connsiteX4" fmla="*/ 395567 w 551387"/>
                                <a:gd name="connsiteY4" fmla="*/ 22889 h 1033363"/>
                                <a:gd name="connsiteX5" fmla="*/ 545210 w 551387"/>
                                <a:gd name="connsiteY5" fmla="*/ 171214 h 1033363"/>
                                <a:gd name="connsiteX6" fmla="*/ 506520 w 551387"/>
                                <a:gd name="connsiteY6" fmla="*/ 446640 h 1033363"/>
                                <a:gd name="connsiteX7" fmla="*/ 358080 w 551387"/>
                                <a:gd name="connsiteY7" fmla="*/ 630482 h 1033363"/>
                                <a:gd name="connsiteX8" fmla="*/ 279189 w 551387"/>
                                <a:gd name="connsiteY8" fmla="*/ 715644 h 1033363"/>
                                <a:gd name="connsiteX9" fmla="*/ 217276 w 551387"/>
                                <a:gd name="connsiteY9" fmla="*/ 791843 h 1033363"/>
                                <a:gd name="connsiteX10" fmla="*/ 1374 w 551387"/>
                                <a:gd name="connsiteY10" fmla="*/ 1031723 h 1033363"/>
                                <a:gd name="connsiteX11" fmla="*/ 251886 w 551387"/>
                                <a:gd name="connsiteY11" fmla="*/ 689298 h 1033363"/>
                                <a:gd name="connsiteX0" fmla="*/ 251886 w 544404"/>
                                <a:gd name="connsiteY0" fmla="*/ 689455 h 1033520"/>
                                <a:gd name="connsiteX1" fmla="*/ 493176 w 544404"/>
                                <a:gd name="connsiteY1" fmla="*/ 387139 h 1033520"/>
                                <a:gd name="connsiteX2" fmla="*/ 507313 w 544404"/>
                                <a:gd name="connsiteY2" fmla="*/ 164367 h 1033520"/>
                                <a:gd name="connsiteX3" fmla="*/ 363630 w 544404"/>
                                <a:gd name="connsiteY3" fmla="*/ 40311 h 1033520"/>
                                <a:gd name="connsiteX4" fmla="*/ 395567 w 544404"/>
                                <a:gd name="connsiteY4" fmla="*/ 23046 h 1033520"/>
                                <a:gd name="connsiteX5" fmla="*/ 537151 w 544404"/>
                                <a:gd name="connsiteY5" fmla="*/ 173990 h 1033520"/>
                                <a:gd name="connsiteX6" fmla="*/ 506520 w 544404"/>
                                <a:gd name="connsiteY6" fmla="*/ 446797 h 1033520"/>
                                <a:gd name="connsiteX7" fmla="*/ 358080 w 544404"/>
                                <a:gd name="connsiteY7" fmla="*/ 630639 h 1033520"/>
                                <a:gd name="connsiteX8" fmla="*/ 279189 w 544404"/>
                                <a:gd name="connsiteY8" fmla="*/ 715801 h 1033520"/>
                                <a:gd name="connsiteX9" fmla="*/ 217276 w 544404"/>
                                <a:gd name="connsiteY9" fmla="*/ 792000 h 1033520"/>
                                <a:gd name="connsiteX10" fmla="*/ 1374 w 544404"/>
                                <a:gd name="connsiteY10" fmla="*/ 1031880 h 1033520"/>
                                <a:gd name="connsiteX11" fmla="*/ 251886 w 544404"/>
                                <a:gd name="connsiteY11" fmla="*/ 689455 h 1033520"/>
                                <a:gd name="connsiteX0" fmla="*/ 245140 w 537658"/>
                                <a:gd name="connsiteY0" fmla="*/ 689455 h 989386"/>
                                <a:gd name="connsiteX1" fmla="*/ 486430 w 537658"/>
                                <a:gd name="connsiteY1" fmla="*/ 387139 h 989386"/>
                                <a:gd name="connsiteX2" fmla="*/ 500567 w 537658"/>
                                <a:gd name="connsiteY2" fmla="*/ 164367 h 989386"/>
                                <a:gd name="connsiteX3" fmla="*/ 356884 w 537658"/>
                                <a:gd name="connsiteY3" fmla="*/ 40311 h 989386"/>
                                <a:gd name="connsiteX4" fmla="*/ 388821 w 537658"/>
                                <a:gd name="connsiteY4" fmla="*/ 23046 h 989386"/>
                                <a:gd name="connsiteX5" fmla="*/ 530405 w 537658"/>
                                <a:gd name="connsiteY5" fmla="*/ 173990 h 989386"/>
                                <a:gd name="connsiteX6" fmla="*/ 499774 w 537658"/>
                                <a:gd name="connsiteY6" fmla="*/ 446797 h 989386"/>
                                <a:gd name="connsiteX7" fmla="*/ 351334 w 537658"/>
                                <a:gd name="connsiteY7" fmla="*/ 630639 h 989386"/>
                                <a:gd name="connsiteX8" fmla="*/ 272443 w 537658"/>
                                <a:gd name="connsiteY8" fmla="*/ 715801 h 989386"/>
                                <a:gd name="connsiteX9" fmla="*/ 210530 w 537658"/>
                                <a:gd name="connsiteY9" fmla="*/ 792000 h 989386"/>
                                <a:gd name="connsiteX10" fmla="*/ 0 w 537658"/>
                                <a:gd name="connsiteY10" fmla="*/ 987351 h 989386"/>
                                <a:gd name="connsiteX11" fmla="*/ 245140 w 537658"/>
                                <a:gd name="connsiteY11" fmla="*/ 689455 h 989386"/>
                                <a:gd name="connsiteX0" fmla="*/ 250871 w 543389"/>
                                <a:gd name="connsiteY0" fmla="*/ 689455 h 988976"/>
                                <a:gd name="connsiteX1" fmla="*/ 492161 w 543389"/>
                                <a:gd name="connsiteY1" fmla="*/ 387139 h 988976"/>
                                <a:gd name="connsiteX2" fmla="*/ 506298 w 543389"/>
                                <a:gd name="connsiteY2" fmla="*/ 164367 h 988976"/>
                                <a:gd name="connsiteX3" fmla="*/ 362615 w 543389"/>
                                <a:gd name="connsiteY3" fmla="*/ 40311 h 988976"/>
                                <a:gd name="connsiteX4" fmla="*/ 394552 w 543389"/>
                                <a:gd name="connsiteY4" fmla="*/ 23046 h 988976"/>
                                <a:gd name="connsiteX5" fmla="*/ 536136 w 543389"/>
                                <a:gd name="connsiteY5" fmla="*/ 173990 h 988976"/>
                                <a:gd name="connsiteX6" fmla="*/ 505505 w 543389"/>
                                <a:gd name="connsiteY6" fmla="*/ 446797 h 988976"/>
                                <a:gd name="connsiteX7" fmla="*/ 357065 w 543389"/>
                                <a:gd name="connsiteY7" fmla="*/ 630639 h 988976"/>
                                <a:gd name="connsiteX8" fmla="*/ 278174 w 543389"/>
                                <a:gd name="connsiteY8" fmla="*/ 715801 h 988976"/>
                                <a:gd name="connsiteX9" fmla="*/ 216261 w 543389"/>
                                <a:gd name="connsiteY9" fmla="*/ 792000 h 988976"/>
                                <a:gd name="connsiteX10" fmla="*/ 5731 w 543389"/>
                                <a:gd name="connsiteY10" fmla="*/ 987351 h 988976"/>
                                <a:gd name="connsiteX11" fmla="*/ 250871 w 543389"/>
                                <a:gd name="connsiteY11" fmla="*/ 689455 h 988976"/>
                                <a:gd name="connsiteX0" fmla="*/ 245449 w 537967"/>
                                <a:gd name="connsiteY0" fmla="*/ 689455 h 988320"/>
                                <a:gd name="connsiteX1" fmla="*/ 486739 w 537967"/>
                                <a:gd name="connsiteY1" fmla="*/ 387139 h 988320"/>
                                <a:gd name="connsiteX2" fmla="*/ 500876 w 537967"/>
                                <a:gd name="connsiteY2" fmla="*/ 164367 h 988320"/>
                                <a:gd name="connsiteX3" fmla="*/ 357193 w 537967"/>
                                <a:gd name="connsiteY3" fmla="*/ 40311 h 988320"/>
                                <a:gd name="connsiteX4" fmla="*/ 389130 w 537967"/>
                                <a:gd name="connsiteY4" fmla="*/ 23046 h 988320"/>
                                <a:gd name="connsiteX5" fmla="*/ 530714 w 537967"/>
                                <a:gd name="connsiteY5" fmla="*/ 173990 h 988320"/>
                                <a:gd name="connsiteX6" fmla="*/ 500083 w 537967"/>
                                <a:gd name="connsiteY6" fmla="*/ 446797 h 988320"/>
                                <a:gd name="connsiteX7" fmla="*/ 351643 w 537967"/>
                                <a:gd name="connsiteY7" fmla="*/ 630639 h 988320"/>
                                <a:gd name="connsiteX8" fmla="*/ 272752 w 537967"/>
                                <a:gd name="connsiteY8" fmla="*/ 715801 h 988320"/>
                                <a:gd name="connsiteX9" fmla="*/ 197406 w 537967"/>
                                <a:gd name="connsiteY9" fmla="*/ 781522 h 988320"/>
                                <a:gd name="connsiteX10" fmla="*/ 309 w 537967"/>
                                <a:gd name="connsiteY10" fmla="*/ 987351 h 988320"/>
                                <a:gd name="connsiteX11" fmla="*/ 245449 w 537967"/>
                                <a:gd name="connsiteY11" fmla="*/ 689455 h 988320"/>
                                <a:gd name="connsiteX0" fmla="*/ 226685 w 519203"/>
                                <a:gd name="connsiteY0" fmla="*/ 689455 h 975297"/>
                                <a:gd name="connsiteX1" fmla="*/ 467975 w 519203"/>
                                <a:gd name="connsiteY1" fmla="*/ 387139 h 975297"/>
                                <a:gd name="connsiteX2" fmla="*/ 482112 w 519203"/>
                                <a:gd name="connsiteY2" fmla="*/ 164367 h 975297"/>
                                <a:gd name="connsiteX3" fmla="*/ 338429 w 519203"/>
                                <a:gd name="connsiteY3" fmla="*/ 40311 h 975297"/>
                                <a:gd name="connsiteX4" fmla="*/ 370366 w 519203"/>
                                <a:gd name="connsiteY4" fmla="*/ 23046 h 975297"/>
                                <a:gd name="connsiteX5" fmla="*/ 511950 w 519203"/>
                                <a:gd name="connsiteY5" fmla="*/ 173990 h 975297"/>
                                <a:gd name="connsiteX6" fmla="*/ 481319 w 519203"/>
                                <a:gd name="connsiteY6" fmla="*/ 446797 h 975297"/>
                                <a:gd name="connsiteX7" fmla="*/ 332879 w 519203"/>
                                <a:gd name="connsiteY7" fmla="*/ 630639 h 975297"/>
                                <a:gd name="connsiteX8" fmla="*/ 253988 w 519203"/>
                                <a:gd name="connsiteY8" fmla="*/ 715801 h 975297"/>
                                <a:gd name="connsiteX9" fmla="*/ 178642 w 519203"/>
                                <a:gd name="connsiteY9" fmla="*/ 781522 h 975297"/>
                                <a:gd name="connsiteX10" fmla="*/ 351 w 519203"/>
                                <a:gd name="connsiteY10" fmla="*/ 974253 h 975297"/>
                                <a:gd name="connsiteX11" fmla="*/ 226685 w 519203"/>
                                <a:gd name="connsiteY11" fmla="*/ 689455 h 975297"/>
                                <a:gd name="connsiteX0" fmla="*/ 231922 w 524440"/>
                                <a:gd name="connsiteY0" fmla="*/ 689455 h 975646"/>
                                <a:gd name="connsiteX1" fmla="*/ 473212 w 524440"/>
                                <a:gd name="connsiteY1" fmla="*/ 387139 h 975646"/>
                                <a:gd name="connsiteX2" fmla="*/ 487349 w 524440"/>
                                <a:gd name="connsiteY2" fmla="*/ 164367 h 975646"/>
                                <a:gd name="connsiteX3" fmla="*/ 343666 w 524440"/>
                                <a:gd name="connsiteY3" fmla="*/ 40311 h 975646"/>
                                <a:gd name="connsiteX4" fmla="*/ 375603 w 524440"/>
                                <a:gd name="connsiteY4" fmla="*/ 23046 h 975646"/>
                                <a:gd name="connsiteX5" fmla="*/ 517187 w 524440"/>
                                <a:gd name="connsiteY5" fmla="*/ 173990 h 975646"/>
                                <a:gd name="connsiteX6" fmla="*/ 486556 w 524440"/>
                                <a:gd name="connsiteY6" fmla="*/ 446797 h 975646"/>
                                <a:gd name="connsiteX7" fmla="*/ 338116 w 524440"/>
                                <a:gd name="connsiteY7" fmla="*/ 630639 h 975646"/>
                                <a:gd name="connsiteX8" fmla="*/ 259225 w 524440"/>
                                <a:gd name="connsiteY8" fmla="*/ 715801 h 975646"/>
                                <a:gd name="connsiteX9" fmla="*/ 183879 w 524440"/>
                                <a:gd name="connsiteY9" fmla="*/ 781522 h 975646"/>
                                <a:gd name="connsiteX10" fmla="*/ 5588 w 524440"/>
                                <a:gd name="connsiteY10" fmla="*/ 974253 h 975646"/>
                                <a:gd name="connsiteX11" fmla="*/ 231922 w 524440"/>
                                <a:gd name="connsiteY11" fmla="*/ 689455 h 975646"/>
                                <a:gd name="connsiteX0" fmla="*/ 153769 w 446287"/>
                                <a:gd name="connsiteY0" fmla="*/ 689455 h 898196"/>
                                <a:gd name="connsiteX1" fmla="*/ 395059 w 446287"/>
                                <a:gd name="connsiteY1" fmla="*/ 387139 h 898196"/>
                                <a:gd name="connsiteX2" fmla="*/ 409196 w 446287"/>
                                <a:gd name="connsiteY2" fmla="*/ 164367 h 898196"/>
                                <a:gd name="connsiteX3" fmla="*/ 265513 w 446287"/>
                                <a:gd name="connsiteY3" fmla="*/ 40311 h 898196"/>
                                <a:gd name="connsiteX4" fmla="*/ 297450 w 446287"/>
                                <a:gd name="connsiteY4" fmla="*/ 23046 h 898196"/>
                                <a:gd name="connsiteX5" fmla="*/ 439034 w 446287"/>
                                <a:gd name="connsiteY5" fmla="*/ 173990 h 898196"/>
                                <a:gd name="connsiteX6" fmla="*/ 408403 w 446287"/>
                                <a:gd name="connsiteY6" fmla="*/ 446797 h 898196"/>
                                <a:gd name="connsiteX7" fmla="*/ 259963 w 446287"/>
                                <a:gd name="connsiteY7" fmla="*/ 630639 h 898196"/>
                                <a:gd name="connsiteX8" fmla="*/ 181072 w 446287"/>
                                <a:gd name="connsiteY8" fmla="*/ 715801 h 898196"/>
                                <a:gd name="connsiteX9" fmla="*/ 105726 w 446287"/>
                                <a:gd name="connsiteY9" fmla="*/ 781522 h 898196"/>
                                <a:gd name="connsiteX10" fmla="*/ 8029 w 446287"/>
                                <a:gd name="connsiteY10" fmla="*/ 895673 h 898196"/>
                                <a:gd name="connsiteX11" fmla="*/ 153769 w 446287"/>
                                <a:gd name="connsiteY11" fmla="*/ 689455 h 898196"/>
                                <a:gd name="connsiteX0" fmla="*/ 195853 w 488371"/>
                                <a:gd name="connsiteY0" fmla="*/ 689455 h 895933"/>
                                <a:gd name="connsiteX1" fmla="*/ 437143 w 488371"/>
                                <a:gd name="connsiteY1" fmla="*/ 387139 h 895933"/>
                                <a:gd name="connsiteX2" fmla="*/ 451280 w 488371"/>
                                <a:gd name="connsiteY2" fmla="*/ 164367 h 895933"/>
                                <a:gd name="connsiteX3" fmla="*/ 307597 w 488371"/>
                                <a:gd name="connsiteY3" fmla="*/ 40311 h 895933"/>
                                <a:gd name="connsiteX4" fmla="*/ 339534 w 488371"/>
                                <a:gd name="connsiteY4" fmla="*/ 23046 h 895933"/>
                                <a:gd name="connsiteX5" fmla="*/ 481118 w 488371"/>
                                <a:gd name="connsiteY5" fmla="*/ 173990 h 895933"/>
                                <a:gd name="connsiteX6" fmla="*/ 450487 w 488371"/>
                                <a:gd name="connsiteY6" fmla="*/ 446797 h 895933"/>
                                <a:gd name="connsiteX7" fmla="*/ 302047 w 488371"/>
                                <a:gd name="connsiteY7" fmla="*/ 630639 h 895933"/>
                                <a:gd name="connsiteX8" fmla="*/ 223156 w 488371"/>
                                <a:gd name="connsiteY8" fmla="*/ 715801 h 895933"/>
                                <a:gd name="connsiteX9" fmla="*/ 147810 w 488371"/>
                                <a:gd name="connsiteY9" fmla="*/ 781522 h 895933"/>
                                <a:gd name="connsiteX10" fmla="*/ 50113 w 488371"/>
                                <a:gd name="connsiteY10" fmla="*/ 895673 h 895933"/>
                                <a:gd name="connsiteX11" fmla="*/ 7111 w 488371"/>
                                <a:gd name="connsiteY11" fmla="*/ 808993 h 895933"/>
                                <a:gd name="connsiteX12" fmla="*/ 195853 w 488371"/>
                                <a:gd name="connsiteY12" fmla="*/ 689455 h 895933"/>
                                <a:gd name="connsiteX0" fmla="*/ 215780 w 508298"/>
                                <a:gd name="connsiteY0" fmla="*/ 689455 h 895713"/>
                                <a:gd name="connsiteX1" fmla="*/ 457070 w 508298"/>
                                <a:gd name="connsiteY1" fmla="*/ 387139 h 895713"/>
                                <a:gd name="connsiteX2" fmla="*/ 471207 w 508298"/>
                                <a:gd name="connsiteY2" fmla="*/ 164367 h 895713"/>
                                <a:gd name="connsiteX3" fmla="*/ 327524 w 508298"/>
                                <a:gd name="connsiteY3" fmla="*/ 40311 h 895713"/>
                                <a:gd name="connsiteX4" fmla="*/ 359461 w 508298"/>
                                <a:gd name="connsiteY4" fmla="*/ 23046 h 895713"/>
                                <a:gd name="connsiteX5" fmla="*/ 501045 w 508298"/>
                                <a:gd name="connsiteY5" fmla="*/ 173990 h 895713"/>
                                <a:gd name="connsiteX6" fmla="*/ 470414 w 508298"/>
                                <a:gd name="connsiteY6" fmla="*/ 446797 h 895713"/>
                                <a:gd name="connsiteX7" fmla="*/ 321974 w 508298"/>
                                <a:gd name="connsiteY7" fmla="*/ 630639 h 895713"/>
                                <a:gd name="connsiteX8" fmla="*/ 243083 w 508298"/>
                                <a:gd name="connsiteY8" fmla="*/ 715801 h 895713"/>
                                <a:gd name="connsiteX9" fmla="*/ 167737 w 508298"/>
                                <a:gd name="connsiteY9" fmla="*/ 781522 h 895713"/>
                                <a:gd name="connsiteX10" fmla="*/ 70040 w 508298"/>
                                <a:gd name="connsiteY10" fmla="*/ 895673 h 895713"/>
                                <a:gd name="connsiteX11" fmla="*/ 5546 w 508298"/>
                                <a:gd name="connsiteY11" fmla="*/ 793278 h 895713"/>
                                <a:gd name="connsiteX12" fmla="*/ 215780 w 508298"/>
                                <a:gd name="connsiteY12" fmla="*/ 689455 h 895713"/>
                                <a:gd name="connsiteX0" fmla="*/ 211770 w 504288"/>
                                <a:gd name="connsiteY0" fmla="*/ 689455 h 895709"/>
                                <a:gd name="connsiteX1" fmla="*/ 453060 w 504288"/>
                                <a:gd name="connsiteY1" fmla="*/ 387139 h 895709"/>
                                <a:gd name="connsiteX2" fmla="*/ 467197 w 504288"/>
                                <a:gd name="connsiteY2" fmla="*/ 164367 h 895709"/>
                                <a:gd name="connsiteX3" fmla="*/ 323514 w 504288"/>
                                <a:gd name="connsiteY3" fmla="*/ 40311 h 895709"/>
                                <a:gd name="connsiteX4" fmla="*/ 355451 w 504288"/>
                                <a:gd name="connsiteY4" fmla="*/ 23046 h 895709"/>
                                <a:gd name="connsiteX5" fmla="*/ 497035 w 504288"/>
                                <a:gd name="connsiteY5" fmla="*/ 173990 h 895709"/>
                                <a:gd name="connsiteX6" fmla="*/ 466404 w 504288"/>
                                <a:gd name="connsiteY6" fmla="*/ 446797 h 895709"/>
                                <a:gd name="connsiteX7" fmla="*/ 317964 w 504288"/>
                                <a:gd name="connsiteY7" fmla="*/ 630639 h 895709"/>
                                <a:gd name="connsiteX8" fmla="*/ 239073 w 504288"/>
                                <a:gd name="connsiteY8" fmla="*/ 715801 h 895709"/>
                                <a:gd name="connsiteX9" fmla="*/ 163727 w 504288"/>
                                <a:gd name="connsiteY9" fmla="*/ 781522 h 895709"/>
                                <a:gd name="connsiteX10" fmla="*/ 66030 w 504288"/>
                                <a:gd name="connsiteY10" fmla="*/ 895673 h 895709"/>
                                <a:gd name="connsiteX11" fmla="*/ 1536 w 504288"/>
                                <a:gd name="connsiteY11" fmla="*/ 793278 h 895709"/>
                                <a:gd name="connsiteX12" fmla="*/ 114369 w 504288"/>
                                <a:gd name="connsiteY12" fmla="*/ 725172 h 895709"/>
                                <a:gd name="connsiteX13" fmla="*/ 211770 w 504288"/>
                                <a:gd name="connsiteY13" fmla="*/ 689455 h 895709"/>
                                <a:gd name="connsiteX0" fmla="*/ 211770 w 504288"/>
                                <a:gd name="connsiteY0" fmla="*/ 689455 h 895709"/>
                                <a:gd name="connsiteX1" fmla="*/ 453060 w 504288"/>
                                <a:gd name="connsiteY1" fmla="*/ 387139 h 895709"/>
                                <a:gd name="connsiteX2" fmla="*/ 467197 w 504288"/>
                                <a:gd name="connsiteY2" fmla="*/ 164367 h 895709"/>
                                <a:gd name="connsiteX3" fmla="*/ 323514 w 504288"/>
                                <a:gd name="connsiteY3" fmla="*/ 40311 h 895709"/>
                                <a:gd name="connsiteX4" fmla="*/ 355451 w 504288"/>
                                <a:gd name="connsiteY4" fmla="*/ 23046 h 895709"/>
                                <a:gd name="connsiteX5" fmla="*/ 497035 w 504288"/>
                                <a:gd name="connsiteY5" fmla="*/ 173990 h 895709"/>
                                <a:gd name="connsiteX6" fmla="*/ 466404 w 504288"/>
                                <a:gd name="connsiteY6" fmla="*/ 446797 h 895709"/>
                                <a:gd name="connsiteX7" fmla="*/ 317964 w 504288"/>
                                <a:gd name="connsiteY7" fmla="*/ 630639 h 895709"/>
                                <a:gd name="connsiteX8" fmla="*/ 239073 w 504288"/>
                                <a:gd name="connsiteY8" fmla="*/ 715801 h 895709"/>
                                <a:gd name="connsiteX9" fmla="*/ 163727 w 504288"/>
                                <a:gd name="connsiteY9" fmla="*/ 781522 h 895709"/>
                                <a:gd name="connsiteX10" fmla="*/ 66030 w 504288"/>
                                <a:gd name="connsiteY10" fmla="*/ 895673 h 895709"/>
                                <a:gd name="connsiteX11" fmla="*/ 1536 w 504288"/>
                                <a:gd name="connsiteY11" fmla="*/ 793278 h 895709"/>
                                <a:gd name="connsiteX12" fmla="*/ 114369 w 504288"/>
                                <a:gd name="connsiteY12" fmla="*/ 725172 h 895709"/>
                                <a:gd name="connsiteX13" fmla="*/ 211770 w 504288"/>
                                <a:gd name="connsiteY13" fmla="*/ 689455 h 895709"/>
                                <a:gd name="connsiteX0" fmla="*/ 211770 w 504288"/>
                                <a:gd name="connsiteY0" fmla="*/ 689455 h 895709"/>
                                <a:gd name="connsiteX1" fmla="*/ 453060 w 504288"/>
                                <a:gd name="connsiteY1" fmla="*/ 387139 h 895709"/>
                                <a:gd name="connsiteX2" fmla="*/ 467197 w 504288"/>
                                <a:gd name="connsiteY2" fmla="*/ 164367 h 895709"/>
                                <a:gd name="connsiteX3" fmla="*/ 323514 w 504288"/>
                                <a:gd name="connsiteY3" fmla="*/ 40311 h 895709"/>
                                <a:gd name="connsiteX4" fmla="*/ 355451 w 504288"/>
                                <a:gd name="connsiteY4" fmla="*/ 23046 h 895709"/>
                                <a:gd name="connsiteX5" fmla="*/ 497035 w 504288"/>
                                <a:gd name="connsiteY5" fmla="*/ 173990 h 895709"/>
                                <a:gd name="connsiteX6" fmla="*/ 466404 w 504288"/>
                                <a:gd name="connsiteY6" fmla="*/ 446797 h 895709"/>
                                <a:gd name="connsiteX7" fmla="*/ 317964 w 504288"/>
                                <a:gd name="connsiteY7" fmla="*/ 630639 h 895709"/>
                                <a:gd name="connsiteX8" fmla="*/ 239073 w 504288"/>
                                <a:gd name="connsiteY8" fmla="*/ 715801 h 895709"/>
                                <a:gd name="connsiteX9" fmla="*/ 163727 w 504288"/>
                                <a:gd name="connsiteY9" fmla="*/ 781522 h 895709"/>
                                <a:gd name="connsiteX10" fmla="*/ 66030 w 504288"/>
                                <a:gd name="connsiteY10" fmla="*/ 895673 h 895709"/>
                                <a:gd name="connsiteX11" fmla="*/ 1536 w 504288"/>
                                <a:gd name="connsiteY11" fmla="*/ 793278 h 895709"/>
                                <a:gd name="connsiteX12" fmla="*/ 114369 w 504288"/>
                                <a:gd name="connsiteY12" fmla="*/ 725172 h 895709"/>
                                <a:gd name="connsiteX13" fmla="*/ 125115 w 504288"/>
                                <a:gd name="connsiteY13" fmla="*/ 698979 h 895709"/>
                                <a:gd name="connsiteX14" fmla="*/ 211770 w 504288"/>
                                <a:gd name="connsiteY14" fmla="*/ 689455 h 895709"/>
                                <a:gd name="connsiteX0" fmla="*/ 211770 w 504288"/>
                                <a:gd name="connsiteY0" fmla="*/ 689455 h 895709"/>
                                <a:gd name="connsiteX1" fmla="*/ 453060 w 504288"/>
                                <a:gd name="connsiteY1" fmla="*/ 387139 h 895709"/>
                                <a:gd name="connsiteX2" fmla="*/ 467197 w 504288"/>
                                <a:gd name="connsiteY2" fmla="*/ 164367 h 895709"/>
                                <a:gd name="connsiteX3" fmla="*/ 323514 w 504288"/>
                                <a:gd name="connsiteY3" fmla="*/ 40311 h 895709"/>
                                <a:gd name="connsiteX4" fmla="*/ 355451 w 504288"/>
                                <a:gd name="connsiteY4" fmla="*/ 23046 h 895709"/>
                                <a:gd name="connsiteX5" fmla="*/ 497035 w 504288"/>
                                <a:gd name="connsiteY5" fmla="*/ 173990 h 895709"/>
                                <a:gd name="connsiteX6" fmla="*/ 466404 w 504288"/>
                                <a:gd name="connsiteY6" fmla="*/ 446797 h 895709"/>
                                <a:gd name="connsiteX7" fmla="*/ 317964 w 504288"/>
                                <a:gd name="connsiteY7" fmla="*/ 630639 h 895709"/>
                                <a:gd name="connsiteX8" fmla="*/ 239073 w 504288"/>
                                <a:gd name="connsiteY8" fmla="*/ 715801 h 895709"/>
                                <a:gd name="connsiteX9" fmla="*/ 163727 w 504288"/>
                                <a:gd name="connsiteY9" fmla="*/ 781522 h 895709"/>
                                <a:gd name="connsiteX10" fmla="*/ 66030 w 504288"/>
                                <a:gd name="connsiteY10" fmla="*/ 895673 h 895709"/>
                                <a:gd name="connsiteX11" fmla="*/ 1536 w 504288"/>
                                <a:gd name="connsiteY11" fmla="*/ 793278 h 895709"/>
                                <a:gd name="connsiteX12" fmla="*/ 92878 w 504288"/>
                                <a:gd name="connsiteY12" fmla="*/ 693740 h 895709"/>
                                <a:gd name="connsiteX13" fmla="*/ 125115 w 504288"/>
                                <a:gd name="connsiteY13" fmla="*/ 698979 h 895709"/>
                                <a:gd name="connsiteX14" fmla="*/ 211770 w 504288"/>
                                <a:gd name="connsiteY14" fmla="*/ 689455 h 895709"/>
                                <a:gd name="connsiteX0" fmla="*/ 211770 w 504288"/>
                                <a:gd name="connsiteY0" fmla="*/ 689455 h 895709"/>
                                <a:gd name="connsiteX1" fmla="*/ 453060 w 504288"/>
                                <a:gd name="connsiteY1" fmla="*/ 387139 h 895709"/>
                                <a:gd name="connsiteX2" fmla="*/ 467197 w 504288"/>
                                <a:gd name="connsiteY2" fmla="*/ 164367 h 895709"/>
                                <a:gd name="connsiteX3" fmla="*/ 323514 w 504288"/>
                                <a:gd name="connsiteY3" fmla="*/ 40311 h 895709"/>
                                <a:gd name="connsiteX4" fmla="*/ 355451 w 504288"/>
                                <a:gd name="connsiteY4" fmla="*/ 23046 h 895709"/>
                                <a:gd name="connsiteX5" fmla="*/ 497035 w 504288"/>
                                <a:gd name="connsiteY5" fmla="*/ 173990 h 895709"/>
                                <a:gd name="connsiteX6" fmla="*/ 466404 w 504288"/>
                                <a:gd name="connsiteY6" fmla="*/ 446797 h 895709"/>
                                <a:gd name="connsiteX7" fmla="*/ 317964 w 504288"/>
                                <a:gd name="connsiteY7" fmla="*/ 630639 h 895709"/>
                                <a:gd name="connsiteX8" fmla="*/ 239073 w 504288"/>
                                <a:gd name="connsiteY8" fmla="*/ 715801 h 895709"/>
                                <a:gd name="connsiteX9" fmla="*/ 232573 w 504288"/>
                                <a:gd name="connsiteY9" fmla="*/ 756605 h 895709"/>
                                <a:gd name="connsiteX10" fmla="*/ 163727 w 504288"/>
                                <a:gd name="connsiteY10" fmla="*/ 781522 h 895709"/>
                                <a:gd name="connsiteX11" fmla="*/ 66030 w 504288"/>
                                <a:gd name="connsiteY11" fmla="*/ 895673 h 895709"/>
                                <a:gd name="connsiteX12" fmla="*/ 1536 w 504288"/>
                                <a:gd name="connsiteY12" fmla="*/ 793278 h 895709"/>
                                <a:gd name="connsiteX13" fmla="*/ 92878 w 504288"/>
                                <a:gd name="connsiteY13" fmla="*/ 693740 h 895709"/>
                                <a:gd name="connsiteX14" fmla="*/ 125115 w 504288"/>
                                <a:gd name="connsiteY14" fmla="*/ 698979 h 895709"/>
                                <a:gd name="connsiteX15" fmla="*/ 211770 w 504288"/>
                                <a:gd name="connsiteY15" fmla="*/ 689455 h 895709"/>
                                <a:gd name="connsiteX0" fmla="*/ 211601 w 504119"/>
                                <a:gd name="connsiteY0" fmla="*/ 689455 h 899171"/>
                                <a:gd name="connsiteX1" fmla="*/ 452891 w 504119"/>
                                <a:gd name="connsiteY1" fmla="*/ 387139 h 899171"/>
                                <a:gd name="connsiteX2" fmla="*/ 467028 w 504119"/>
                                <a:gd name="connsiteY2" fmla="*/ 164367 h 899171"/>
                                <a:gd name="connsiteX3" fmla="*/ 323345 w 504119"/>
                                <a:gd name="connsiteY3" fmla="*/ 40311 h 899171"/>
                                <a:gd name="connsiteX4" fmla="*/ 355282 w 504119"/>
                                <a:gd name="connsiteY4" fmla="*/ 23046 h 899171"/>
                                <a:gd name="connsiteX5" fmla="*/ 496866 w 504119"/>
                                <a:gd name="connsiteY5" fmla="*/ 173990 h 899171"/>
                                <a:gd name="connsiteX6" fmla="*/ 466235 w 504119"/>
                                <a:gd name="connsiteY6" fmla="*/ 446797 h 899171"/>
                                <a:gd name="connsiteX7" fmla="*/ 317795 w 504119"/>
                                <a:gd name="connsiteY7" fmla="*/ 630639 h 899171"/>
                                <a:gd name="connsiteX8" fmla="*/ 238904 w 504119"/>
                                <a:gd name="connsiteY8" fmla="*/ 715801 h 899171"/>
                                <a:gd name="connsiteX9" fmla="*/ 232404 w 504119"/>
                                <a:gd name="connsiteY9" fmla="*/ 756605 h 899171"/>
                                <a:gd name="connsiteX10" fmla="*/ 163558 w 504119"/>
                                <a:gd name="connsiteY10" fmla="*/ 781522 h 899171"/>
                                <a:gd name="connsiteX11" fmla="*/ 119573 w 504119"/>
                                <a:gd name="connsiteY11" fmla="*/ 866619 h 899171"/>
                                <a:gd name="connsiteX12" fmla="*/ 65861 w 504119"/>
                                <a:gd name="connsiteY12" fmla="*/ 895673 h 899171"/>
                                <a:gd name="connsiteX13" fmla="*/ 1367 w 504119"/>
                                <a:gd name="connsiteY13" fmla="*/ 793278 h 899171"/>
                                <a:gd name="connsiteX14" fmla="*/ 92709 w 504119"/>
                                <a:gd name="connsiteY14" fmla="*/ 693740 h 899171"/>
                                <a:gd name="connsiteX15" fmla="*/ 124946 w 504119"/>
                                <a:gd name="connsiteY15" fmla="*/ 698979 h 899171"/>
                                <a:gd name="connsiteX16" fmla="*/ 211601 w 504119"/>
                                <a:gd name="connsiteY16" fmla="*/ 689455 h 899171"/>
                                <a:gd name="connsiteX0" fmla="*/ 211601 w 504119"/>
                                <a:gd name="connsiteY0" fmla="*/ 689455 h 899171"/>
                                <a:gd name="connsiteX1" fmla="*/ 452891 w 504119"/>
                                <a:gd name="connsiteY1" fmla="*/ 387139 h 899171"/>
                                <a:gd name="connsiteX2" fmla="*/ 467028 w 504119"/>
                                <a:gd name="connsiteY2" fmla="*/ 164367 h 899171"/>
                                <a:gd name="connsiteX3" fmla="*/ 323345 w 504119"/>
                                <a:gd name="connsiteY3" fmla="*/ 40311 h 899171"/>
                                <a:gd name="connsiteX4" fmla="*/ 355282 w 504119"/>
                                <a:gd name="connsiteY4" fmla="*/ 23046 h 899171"/>
                                <a:gd name="connsiteX5" fmla="*/ 496866 w 504119"/>
                                <a:gd name="connsiteY5" fmla="*/ 173990 h 899171"/>
                                <a:gd name="connsiteX6" fmla="*/ 466235 w 504119"/>
                                <a:gd name="connsiteY6" fmla="*/ 446797 h 899171"/>
                                <a:gd name="connsiteX7" fmla="*/ 317795 w 504119"/>
                                <a:gd name="connsiteY7" fmla="*/ 630639 h 899171"/>
                                <a:gd name="connsiteX8" fmla="*/ 238904 w 504119"/>
                                <a:gd name="connsiteY8" fmla="*/ 715801 h 899171"/>
                                <a:gd name="connsiteX9" fmla="*/ 232404 w 504119"/>
                                <a:gd name="connsiteY9" fmla="*/ 756605 h 899171"/>
                                <a:gd name="connsiteX10" fmla="*/ 190423 w 504119"/>
                                <a:gd name="connsiteY10" fmla="*/ 792000 h 899171"/>
                                <a:gd name="connsiteX11" fmla="*/ 119573 w 504119"/>
                                <a:gd name="connsiteY11" fmla="*/ 866619 h 899171"/>
                                <a:gd name="connsiteX12" fmla="*/ 65861 w 504119"/>
                                <a:gd name="connsiteY12" fmla="*/ 895673 h 899171"/>
                                <a:gd name="connsiteX13" fmla="*/ 1367 w 504119"/>
                                <a:gd name="connsiteY13" fmla="*/ 793278 h 899171"/>
                                <a:gd name="connsiteX14" fmla="*/ 92709 w 504119"/>
                                <a:gd name="connsiteY14" fmla="*/ 693740 h 899171"/>
                                <a:gd name="connsiteX15" fmla="*/ 124946 w 504119"/>
                                <a:gd name="connsiteY15" fmla="*/ 698979 h 899171"/>
                                <a:gd name="connsiteX16" fmla="*/ 211601 w 504119"/>
                                <a:gd name="connsiteY16" fmla="*/ 689455 h 899171"/>
                                <a:gd name="connsiteX0" fmla="*/ 211601 w 503448"/>
                                <a:gd name="connsiteY0" fmla="*/ 689455 h 899171"/>
                                <a:gd name="connsiteX1" fmla="*/ 452891 w 503448"/>
                                <a:gd name="connsiteY1" fmla="*/ 387139 h 899171"/>
                                <a:gd name="connsiteX2" fmla="*/ 467028 w 503448"/>
                                <a:gd name="connsiteY2" fmla="*/ 164367 h 899171"/>
                                <a:gd name="connsiteX3" fmla="*/ 323345 w 503448"/>
                                <a:gd name="connsiteY3" fmla="*/ 40311 h 899171"/>
                                <a:gd name="connsiteX4" fmla="*/ 355282 w 503448"/>
                                <a:gd name="connsiteY4" fmla="*/ 23046 h 899171"/>
                                <a:gd name="connsiteX5" fmla="*/ 496866 w 503448"/>
                                <a:gd name="connsiteY5" fmla="*/ 173990 h 899171"/>
                                <a:gd name="connsiteX6" fmla="*/ 466235 w 503448"/>
                                <a:gd name="connsiteY6" fmla="*/ 446797 h 899171"/>
                                <a:gd name="connsiteX7" fmla="*/ 344659 w 503448"/>
                                <a:gd name="connsiteY7" fmla="*/ 656832 h 899171"/>
                                <a:gd name="connsiteX8" fmla="*/ 238904 w 503448"/>
                                <a:gd name="connsiteY8" fmla="*/ 715801 h 899171"/>
                                <a:gd name="connsiteX9" fmla="*/ 232404 w 503448"/>
                                <a:gd name="connsiteY9" fmla="*/ 756605 h 899171"/>
                                <a:gd name="connsiteX10" fmla="*/ 190423 w 503448"/>
                                <a:gd name="connsiteY10" fmla="*/ 792000 h 899171"/>
                                <a:gd name="connsiteX11" fmla="*/ 119573 w 503448"/>
                                <a:gd name="connsiteY11" fmla="*/ 866619 h 899171"/>
                                <a:gd name="connsiteX12" fmla="*/ 65861 w 503448"/>
                                <a:gd name="connsiteY12" fmla="*/ 895673 h 899171"/>
                                <a:gd name="connsiteX13" fmla="*/ 1367 w 503448"/>
                                <a:gd name="connsiteY13" fmla="*/ 793278 h 899171"/>
                                <a:gd name="connsiteX14" fmla="*/ 92709 w 503448"/>
                                <a:gd name="connsiteY14" fmla="*/ 693740 h 899171"/>
                                <a:gd name="connsiteX15" fmla="*/ 124946 w 503448"/>
                                <a:gd name="connsiteY15" fmla="*/ 698979 h 899171"/>
                                <a:gd name="connsiteX16" fmla="*/ 211601 w 503448"/>
                                <a:gd name="connsiteY16" fmla="*/ 689455 h 899171"/>
                                <a:gd name="connsiteX0" fmla="*/ 211601 w 503448"/>
                                <a:gd name="connsiteY0" fmla="*/ 689455 h 899171"/>
                                <a:gd name="connsiteX1" fmla="*/ 329116 w 503448"/>
                                <a:gd name="connsiteY1" fmla="*/ 615159 h 899171"/>
                                <a:gd name="connsiteX2" fmla="*/ 452891 w 503448"/>
                                <a:gd name="connsiteY2" fmla="*/ 387139 h 899171"/>
                                <a:gd name="connsiteX3" fmla="*/ 467028 w 503448"/>
                                <a:gd name="connsiteY3" fmla="*/ 164367 h 899171"/>
                                <a:gd name="connsiteX4" fmla="*/ 323345 w 503448"/>
                                <a:gd name="connsiteY4" fmla="*/ 40311 h 899171"/>
                                <a:gd name="connsiteX5" fmla="*/ 355282 w 503448"/>
                                <a:gd name="connsiteY5" fmla="*/ 23046 h 899171"/>
                                <a:gd name="connsiteX6" fmla="*/ 496866 w 503448"/>
                                <a:gd name="connsiteY6" fmla="*/ 173990 h 899171"/>
                                <a:gd name="connsiteX7" fmla="*/ 466235 w 503448"/>
                                <a:gd name="connsiteY7" fmla="*/ 446797 h 899171"/>
                                <a:gd name="connsiteX8" fmla="*/ 344659 w 503448"/>
                                <a:gd name="connsiteY8" fmla="*/ 656832 h 899171"/>
                                <a:gd name="connsiteX9" fmla="*/ 238904 w 503448"/>
                                <a:gd name="connsiteY9" fmla="*/ 715801 h 899171"/>
                                <a:gd name="connsiteX10" fmla="*/ 232404 w 503448"/>
                                <a:gd name="connsiteY10" fmla="*/ 756605 h 899171"/>
                                <a:gd name="connsiteX11" fmla="*/ 190423 w 503448"/>
                                <a:gd name="connsiteY11" fmla="*/ 792000 h 899171"/>
                                <a:gd name="connsiteX12" fmla="*/ 119573 w 503448"/>
                                <a:gd name="connsiteY12" fmla="*/ 866619 h 899171"/>
                                <a:gd name="connsiteX13" fmla="*/ 65861 w 503448"/>
                                <a:gd name="connsiteY13" fmla="*/ 895673 h 899171"/>
                                <a:gd name="connsiteX14" fmla="*/ 1367 w 503448"/>
                                <a:gd name="connsiteY14" fmla="*/ 793278 h 899171"/>
                                <a:gd name="connsiteX15" fmla="*/ 92709 w 503448"/>
                                <a:gd name="connsiteY15" fmla="*/ 693740 h 899171"/>
                                <a:gd name="connsiteX16" fmla="*/ 124946 w 503448"/>
                                <a:gd name="connsiteY16" fmla="*/ 698979 h 899171"/>
                                <a:gd name="connsiteX17" fmla="*/ 211601 w 503448"/>
                                <a:gd name="connsiteY17" fmla="*/ 689455 h 899171"/>
                                <a:gd name="connsiteX0" fmla="*/ 211601 w 503448"/>
                                <a:gd name="connsiteY0" fmla="*/ 689455 h 899171"/>
                                <a:gd name="connsiteX1" fmla="*/ 329116 w 503448"/>
                                <a:gd name="connsiteY1" fmla="*/ 615159 h 899171"/>
                                <a:gd name="connsiteX2" fmla="*/ 452891 w 503448"/>
                                <a:gd name="connsiteY2" fmla="*/ 387139 h 899171"/>
                                <a:gd name="connsiteX3" fmla="*/ 467028 w 503448"/>
                                <a:gd name="connsiteY3" fmla="*/ 164367 h 899171"/>
                                <a:gd name="connsiteX4" fmla="*/ 323345 w 503448"/>
                                <a:gd name="connsiteY4" fmla="*/ 40311 h 899171"/>
                                <a:gd name="connsiteX5" fmla="*/ 355282 w 503448"/>
                                <a:gd name="connsiteY5" fmla="*/ 23046 h 899171"/>
                                <a:gd name="connsiteX6" fmla="*/ 496866 w 503448"/>
                                <a:gd name="connsiteY6" fmla="*/ 173990 h 899171"/>
                                <a:gd name="connsiteX7" fmla="*/ 466235 w 503448"/>
                                <a:gd name="connsiteY7" fmla="*/ 446797 h 899171"/>
                                <a:gd name="connsiteX8" fmla="*/ 344659 w 503448"/>
                                <a:gd name="connsiteY8" fmla="*/ 656832 h 899171"/>
                                <a:gd name="connsiteX9" fmla="*/ 265767 w 503448"/>
                                <a:gd name="connsiteY9" fmla="*/ 736756 h 899171"/>
                                <a:gd name="connsiteX10" fmla="*/ 232404 w 503448"/>
                                <a:gd name="connsiteY10" fmla="*/ 756605 h 899171"/>
                                <a:gd name="connsiteX11" fmla="*/ 190423 w 503448"/>
                                <a:gd name="connsiteY11" fmla="*/ 792000 h 899171"/>
                                <a:gd name="connsiteX12" fmla="*/ 119573 w 503448"/>
                                <a:gd name="connsiteY12" fmla="*/ 866619 h 899171"/>
                                <a:gd name="connsiteX13" fmla="*/ 65861 w 503448"/>
                                <a:gd name="connsiteY13" fmla="*/ 895673 h 899171"/>
                                <a:gd name="connsiteX14" fmla="*/ 1367 w 503448"/>
                                <a:gd name="connsiteY14" fmla="*/ 793278 h 899171"/>
                                <a:gd name="connsiteX15" fmla="*/ 92709 w 503448"/>
                                <a:gd name="connsiteY15" fmla="*/ 693740 h 899171"/>
                                <a:gd name="connsiteX16" fmla="*/ 124946 w 503448"/>
                                <a:gd name="connsiteY16" fmla="*/ 698979 h 899171"/>
                                <a:gd name="connsiteX17" fmla="*/ 211601 w 503448"/>
                                <a:gd name="connsiteY17" fmla="*/ 689455 h 899171"/>
                                <a:gd name="connsiteX0" fmla="*/ 211601 w 501478"/>
                                <a:gd name="connsiteY0" fmla="*/ 689455 h 899171"/>
                                <a:gd name="connsiteX1" fmla="*/ 329116 w 501478"/>
                                <a:gd name="connsiteY1" fmla="*/ 615159 h 899171"/>
                                <a:gd name="connsiteX2" fmla="*/ 452891 w 501478"/>
                                <a:gd name="connsiteY2" fmla="*/ 387139 h 899171"/>
                                <a:gd name="connsiteX3" fmla="*/ 467028 w 501478"/>
                                <a:gd name="connsiteY3" fmla="*/ 164367 h 899171"/>
                                <a:gd name="connsiteX4" fmla="*/ 323345 w 501478"/>
                                <a:gd name="connsiteY4" fmla="*/ 40311 h 899171"/>
                                <a:gd name="connsiteX5" fmla="*/ 355282 w 501478"/>
                                <a:gd name="connsiteY5" fmla="*/ 23046 h 899171"/>
                                <a:gd name="connsiteX6" fmla="*/ 496866 w 501478"/>
                                <a:gd name="connsiteY6" fmla="*/ 173990 h 899171"/>
                                <a:gd name="connsiteX7" fmla="*/ 466235 w 501478"/>
                                <a:gd name="connsiteY7" fmla="*/ 446797 h 899171"/>
                                <a:gd name="connsiteX8" fmla="*/ 458066 w 501478"/>
                                <a:gd name="connsiteY8" fmla="*/ 547055 h 899171"/>
                                <a:gd name="connsiteX9" fmla="*/ 344659 w 501478"/>
                                <a:gd name="connsiteY9" fmla="*/ 656832 h 899171"/>
                                <a:gd name="connsiteX10" fmla="*/ 265767 w 501478"/>
                                <a:gd name="connsiteY10" fmla="*/ 736756 h 899171"/>
                                <a:gd name="connsiteX11" fmla="*/ 232404 w 501478"/>
                                <a:gd name="connsiteY11" fmla="*/ 756605 h 899171"/>
                                <a:gd name="connsiteX12" fmla="*/ 190423 w 501478"/>
                                <a:gd name="connsiteY12" fmla="*/ 792000 h 899171"/>
                                <a:gd name="connsiteX13" fmla="*/ 119573 w 501478"/>
                                <a:gd name="connsiteY13" fmla="*/ 866619 h 899171"/>
                                <a:gd name="connsiteX14" fmla="*/ 65861 w 501478"/>
                                <a:gd name="connsiteY14" fmla="*/ 895673 h 899171"/>
                                <a:gd name="connsiteX15" fmla="*/ 1367 w 501478"/>
                                <a:gd name="connsiteY15" fmla="*/ 793278 h 899171"/>
                                <a:gd name="connsiteX16" fmla="*/ 92709 w 501478"/>
                                <a:gd name="connsiteY16" fmla="*/ 693740 h 899171"/>
                                <a:gd name="connsiteX17" fmla="*/ 124946 w 501478"/>
                                <a:gd name="connsiteY17" fmla="*/ 698979 h 899171"/>
                                <a:gd name="connsiteX18" fmla="*/ 211601 w 501478"/>
                                <a:gd name="connsiteY18" fmla="*/ 689455 h 899171"/>
                                <a:gd name="connsiteX0" fmla="*/ 211601 w 505849"/>
                                <a:gd name="connsiteY0" fmla="*/ 689455 h 899171"/>
                                <a:gd name="connsiteX1" fmla="*/ 329116 w 505849"/>
                                <a:gd name="connsiteY1" fmla="*/ 615159 h 899171"/>
                                <a:gd name="connsiteX2" fmla="*/ 452891 w 505849"/>
                                <a:gd name="connsiteY2" fmla="*/ 387139 h 899171"/>
                                <a:gd name="connsiteX3" fmla="*/ 467028 w 505849"/>
                                <a:gd name="connsiteY3" fmla="*/ 164367 h 899171"/>
                                <a:gd name="connsiteX4" fmla="*/ 323345 w 505849"/>
                                <a:gd name="connsiteY4" fmla="*/ 40311 h 899171"/>
                                <a:gd name="connsiteX5" fmla="*/ 355282 w 505849"/>
                                <a:gd name="connsiteY5" fmla="*/ 23046 h 899171"/>
                                <a:gd name="connsiteX6" fmla="*/ 496866 w 505849"/>
                                <a:gd name="connsiteY6" fmla="*/ 173990 h 899171"/>
                                <a:gd name="connsiteX7" fmla="*/ 487727 w 505849"/>
                                <a:gd name="connsiteY7" fmla="*/ 446798 h 899171"/>
                                <a:gd name="connsiteX8" fmla="*/ 458066 w 505849"/>
                                <a:gd name="connsiteY8" fmla="*/ 547055 h 899171"/>
                                <a:gd name="connsiteX9" fmla="*/ 344659 w 505849"/>
                                <a:gd name="connsiteY9" fmla="*/ 656832 h 899171"/>
                                <a:gd name="connsiteX10" fmla="*/ 265767 w 505849"/>
                                <a:gd name="connsiteY10" fmla="*/ 736756 h 899171"/>
                                <a:gd name="connsiteX11" fmla="*/ 232404 w 505849"/>
                                <a:gd name="connsiteY11" fmla="*/ 756605 h 899171"/>
                                <a:gd name="connsiteX12" fmla="*/ 190423 w 505849"/>
                                <a:gd name="connsiteY12" fmla="*/ 792000 h 899171"/>
                                <a:gd name="connsiteX13" fmla="*/ 119573 w 505849"/>
                                <a:gd name="connsiteY13" fmla="*/ 866619 h 899171"/>
                                <a:gd name="connsiteX14" fmla="*/ 65861 w 505849"/>
                                <a:gd name="connsiteY14" fmla="*/ 895673 h 899171"/>
                                <a:gd name="connsiteX15" fmla="*/ 1367 w 505849"/>
                                <a:gd name="connsiteY15" fmla="*/ 793278 h 899171"/>
                                <a:gd name="connsiteX16" fmla="*/ 92709 w 505849"/>
                                <a:gd name="connsiteY16" fmla="*/ 693740 h 899171"/>
                                <a:gd name="connsiteX17" fmla="*/ 124946 w 505849"/>
                                <a:gd name="connsiteY17" fmla="*/ 698979 h 899171"/>
                                <a:gd name="connsiteX18" fmla="*/ 211601 w 505849"/>
                                <a:gd name="connsiteY18" fmla="*/ 689455 h 899171"/>
                                <a:gd name="connsiteX0" fmla="*/ 211601 w 505849"/>
                                <a:gd name="connsiteY0" fmla="*/ 689455 h 899171"/>
                                <a:gd name="connsiteX1" fmla="*/ 329116 w 505849"/>
                                <a:gd name="connsiteY1" fmla="*/ 615159 h 899171"/>
                                <a:gd name="connsiteX2" fmla="*/ 372100 w 505849"/>
                                <a:gd name="connsiteY2" fmla="*/ 457997 h 899171"/>
                                <a:gd name="connsiteX3" fmla="*/ 452891 w 505849"/>
                                <a:gd name="connsiteY3" fmla="*/ 387139 h 899171"/>
                                <a:gd name="connsiteX4" fmla="*/ 467028 w 505849"/>
                                <a:gd name="connsiteY4" fmla="*/ 164367 h 899171"/>
                                <a:gd name="connsiteX5" fmla="*/ 323345 w 505849"/>
                                <a:gd name="connsiteY5" fmla="*/ 40311 h 899171"/>
                                <a:gd name="connsiteX6" fmla="*/ 355282 w 505849"/>
                                <a:gd name="connsiteY6" fmla="*/ 23046 h 899171"/>
                                <a:gd name="connsiteX7" fmla="*/ 496866 w 505849"/>
                                <a:gd name="connsiteY7" fmla="*/ 173990 h 899171"/>
                                <a:gd name="connsiteX8" fmla="*/ 487727 w 505849"/>
                                <a:gd name="connsiteY8" fmla="*/ 446798 h 899171"/>
                                <a:gd name="connsiteX9" fmla="*/ 458066 w 505849"/>
                                <a:gd name="connsiteY9" fmla="*/ 547055 h 899171"/>
                                <a:gd name="connsiteX10" fmla="*/ 344659 w 505849"/>
                                <a:gd name="connsiteY10" fmla="*/ 656832 h 899171"/>
                                <a:gd name="connsiteX11" fmla="*/ 265767 w 505849"/>
                                <a:gd name="connsiteY11" fmla="*/ 736756 h 899171"/>
                                <a:gd name="connsiteX12" fmla="*/ 232404 w 505849"/>
                                <a:gd name="connsiteY12" fmla="*/ 756605 h 899171"/>
                                <a:gd name="connsiteX13" fmla="*/ 190423 w 505849"/>
                                <a:gd name="connsiteY13" fmla="*/ 792000 h 899171"/>
                                <a:gd name="connsiteX14" fmla="*/ 119573 w 505849"/>
                                <a:gd name="connsiteY14" fmla="*/ 866619 h 899171"/>
                                <a:gd name="connsiteX15" fmla="*/ 65861 w 505849"/>
                                <a:gd name="connsiteY15" fmla="*/ 895673 h 899171"/>
                                <a:gd name="connsiteX16" fmla="*/ 1367 w 505849"/>
                                <a:gd name="connsiteY16" fmla="*/ 793278 h 899171"/>
                                <a:gd name="connsiteX17" fmla="*/ 92709 w 505849"/>
                                <a:gd name="connsiteY17" fmla="*/ 693740 h 899171"/>
                                <a:gd name="connsiteX18" fmla="*/ 124946 w 505849"/>
                                <a:gd name="connsiteY18" fmla="*/ 698979 h 899171"/>
                                <a:gd name="connsiteX19" fmla="*/ 211601 w 505849"/>
                                <a:gd name="connsiteY19" fmla="*/ 689455 h 899171"/>
                                <a:gd name="connsiteX0" fmla="*/ 211601 w 505849"/>
                                <a:gd name="connsiteY0" fmla="*/ 689455 h 899171"/>
                                <a:gd name="connsiteX1" fmla="*/ 329116 w 505849"/>
                                <a:gd name="connsiteY1" fmla="*/ 615159 h 899171"/>
                                <a:gd name="connsiteX2" fmla="*/ 388218 w 505849"/>
                                <a:gd name="connsiteY2" fmla="*/ 520862 h 899171"/>
                                <a:gd name="connsiteX3" fmla="*/ 372100 w 505849"/>
                                <a:gd name="connsiteY3" fmla="*/ 457997 h 899171"/>
                                <a:gd name="connsiteX4" fmla="*/ 452891 w 505849"/>
                                <a:gd name="connsiteY4" fmla="*/ 387139 h 899171"/>
                                <a:gd name="connsiteX5" fmla="*/ 467028 w 505849"/>
                                <a:gd name="connsiteY5" fmla="*/ 164367 h 899171"/>
                                <a:gd name="connsiteX6" fmla="*/ 323345 w 505849"/>
                                <a:gd name="connsiteY6" fmla="*/ 40311 h 899171"/>
                                <a:gd name="connsiteX7" fmla="*/ 355282 w 505849"/>
                                <a:gd name="connsiteY7" fmla="*/ 23046 h 899171"/>
                                <a:gd name="connsiteX8" fmla="*/ 496866 w 505849"/>
                                <a:gd name="connsiteY8" fmla="*/ 173990 h 899171"/>
                                <a:gd name="connsiteX9" fmla="*/ 487727 w 505849"/>
                                <a:gd name="connsiteY9" fmla="*/ 446798 h 899171"/>
                                <a:gd name="connsiteX10" fmla="*/ 458066 w 505849"/>
                                <a:gd name="connsiteY10" fmla="*/ 547055 h 899171"/>
                                <a:gd name="connsiteX11" fmla="*/ 344659 w 505849"/>
                                <a:gd name="connsiteY11" fmla="*/ 656832 h 899171"/>
                                <a:gd name="connsiteX12" fmla="*/ 265767 w 505849"/>
                                <a:gd name="connsiteY12" fmla="*/ 736756 h 899171"/>
                                <a:gd name="connsiteX13" fmla="*/ 232404 w 505849"/>
                                <a:gd name="connsiteY13" fmla="*/ 756605 h 899171"/>
                                <a:gd name="connsiteX14" fmla="*/ 190423 w 505849"/>
                                <a:gd name="connsiteY14" fmla="*/ 792000 h 899171"/>
                                <a:gd name="connsiteX15" fmla="*/ 119573 w 505849"/>
                                <a:gd name="connsiteY15" fmla="*/ 866619 h 899171"/>
                                <a:gd name="connsiteX16" fmla="*/ 65861 w 505849"/>
                                <a:gd name="connsiteY16" fmla="*/ 895673 h 899171"/>
                                <a:gd name="connsiteX17" fmla="*/ 1367 w 505849"/>
                                <a:gd name="connsiteY17" fmla="*/ 793278 h 899171"/>
                                <a:gd name="connsiteX18" fmla="*/ 92709 w 505849"/>
                                <a:gd name="connsiteY18" fmla="*/ 693740 h 899171"/>
                                <a:gd name="connsiteX19" fmla="*/ 124946 w 505849"/>
                                <a:gd name="connsiteY19" fmla="*/ 698979 h 899171"/>
                                <a:gd name="connsiteX20" fmla="*/ 211601 w 505849"/>
                                <a:gd name="connsiteY20" fmla="*/ 689455 h 899171"/>
                                <a:gd name="connsiteX0" fmla="*/ 211601 w 508197"/>
                                <a:gd name="connsiteY0" fmla="*/ 649170 h 858886"/>
                                <a:gd name="connsiteX1" fmla="*/ 329116 w 508197"/>
                                <a:gd name="connsiteY1" fmla="*/ 574874 h 858886"/>
                                <a:gd name="connsiteX2" fmla="*/ 388218 w 508197"/>
                                <a:gd name="connsiteY2" fmla="*/ 480577 h 858886"/>
                                <a:gd name="connsiteX3" fmla="*/ 372100 w 508197"/>
                                <a:gd name="connsiteY3" fmla="*/ 417712 h 858886"/>
                                <a:gd name="connsiteX4" fmla="*/ 452891 w 508197"/>
                                <a:gd name="connsiteY4" fmla="*/ 346854 h 858886"/>
                                <a:gd name="connsiteX5" fmla="*/ 467028 w 508197"/>
                                <a:gd name="connsiteY5" fmla="*/ 124082 h 858886"/>
                                <a:gd name="connsiteX6" fmla="*/ 323345 w 508197"/>
                                <a:gd name="connsiteY6" fmla="*/ 26 h 858886"/>
                                <a:gd name="connsiteX7" fmla="*/ 496866 w 508197"/>
                                <a:gd name="connsiteY7" fmla="*/ 133705 h 858886"/>
                                <a:gd name="connsiteX8" fmla="*/ 487727 w 508197"/>
                                <a:gd name="connsiteY8" fmla="*/ 406513 h 858886"/>
                                <a:gd name="connsiteX9" fmla="*/ 458066 w 508197"/>
                                <a:gd name="connsiteY9" fmla="*/ 506770 h 858886"/>
                                <a:gd name="connsiteX10" fmla="*/ 344659 w 508197"/>
                                <a:gd name="connsiteY10" fmla="*/ 616547 h 858886"/>
                                <a:gd name="connsiteX11" fmla="*/ 265767 w 508197"/>
                                <a:gd name="connsiteY11" fmla="*/ 696471 h 858886"/>
                                <a:gd name="connsiteX12" fmla="*/ 232404 w 508197"/>
                                <a:gd name="connsiteY12" fmla="*/ 716320 h 858886"/>
                                <a:gd name="connsiteX13" fmla="*/ 190423 w 508197"/>
                                <a:gd name="connsiteY13" fmla="*/ 751715 h 858886"/>
                                <a:gd name="connsiteX14" fmla="*/ 119573 w 508197"/>
                                <a:gd name="connsiteY14" fmla="*/ 826334 h 858886"/>
                                <a:gd name="connsiteX15" fmla="*/ 65861 w 508197"/>
                                <a:gd name="connsiteY15" fmla="*/ 855388 h 858886"/>
                                <a:gd name="connsiteX16" fmla="*/ 1367 w 508197"/>
                                <a:gd name="connsiteY16" fmla="*/ 752993 h 858886"/>
                                <a:gd name="connsiteX17" fmla="*/ 92709 w 508197"/>
                                <a:gd name="connsiteY17" fmla="*/ 653455 h 858886"/>
                                <a:gd name="connsiteX18" fmla="*/ 124946 w 508197"/>
                                <a:gd name="connsiteY18" fmla="*/ 658694 h 858886"/>
                                <a:gd name="connsiteX19" fmla="*/ 211601 w 508197"/>
                                <a:gd name="connsiteY19" fmla="*/ 649170 h 858886"/>
                                <a:gd name="connsiteX0" fmla="*/ 211601 w 497861"/>
                                <a:gd name="connsiteY0" fmla="*/ 551318 h 761034"/>
                                <a:gd name="connsiteX1" fmla="*/ 329116 w 497861"/>
                                <a:gd name="connsiteY1" fmla="*/ 477022 h 761034"/>
                                <a:gd name="connsiteX2" fmla="*/ 388218 w 497861"/>
                                <a:gd name="connsiteY2" fmla="*/ 382725 h 761034"/>
                                <a:gd name="connsiteX3" fmla="*/ 372100 w 497861"/>
                                <a:gd name="connsiteY3" fmla="*/ 319860 h 761034"/>
                                <a:gd name="connsiteX4" fmla="*/ 452891 w 497861"/>
                                <a:gd name="connsiteY4" fmla="*/ 249002 h 761034"/>
                                <a:gd name="connsiteX5" fmla="*/ 467028 w 497861"/>
                                <a:gd name="connsiteY5" fmla="*/ 26230 h 761034"/>
                                <a:gd name="connsiteX6" fmla="*/ 496866 w 497861"/>
                                <a:gd name="connsiteY6" fmla="*/ 35853 h 761034"/>
                                <a:gd name="connsiteX7" fmla="*/ 487727 w 497861"/>
                                <a:gd name="connsiteY7" fmla="*/ 308661 h 761034"/>
                                <a:gd name="connsiteX8" fmla="*/ 458066 w 497861"/>
                                <a:gd name="connsiteY8" fmla="*/ 408918 h 761034"/>
                                <a:gd name="connsiteX9" fmla="*/ 344659 w 497861"/>
                                <a:gd name="connsiteY9" fmla="*/ 518695 h 761034"/>
                                <a:gd name="connsiteX10" fmla="*/ 265767 w 497861"/>
                                <a:gd name="connsiteY10" fmla="*/ 598619 h 761034"/>
                                <a:gd name="connsiteX11" fmla="*/ 232404 w 497861"/>
                                <a:gd name="connsiteY11" fmla="*/ 618468 h 761034"/>
                                <a:gd name="connsiteX12" fmla="*/ 190423 w 497861"/>
                                <a:gd name="connsiteY12" fmla="*/ 653863 h 761034"/>
                                <a:gd name="connsiteX13" fmla="*/ 119573 w 497861"/>
                                <a:gd name="connsiteY13" fmla="*/ 728482 h 761034"/>
                                <a:gd name="connsiteX14" fmla="*/ 65861 w 497861"/>
                                <a:gd name="connsiteY14" fmla="*/ 757536 h 761034"/>
                                <a:gd name="connsiteX15" fmla="*/ 1367 w 497861"/>
                                <a:gd name="connsiteY15" fmla="*/ 655141 h 761034"/>
                                <a:gd name="connsiteX16" fmla="*/ 92709 w 497861"/>
                                <a:gd name="connsiteY16" fmla="*/ 555603 h 761034"/>
                                <a:gd name="connsiteX17" fmla="*/ 124946 w 497861"/>
                                <a:gd name="connsiteY17" fmla="*/ 560842 h 761034"/>
                                <a:gd name="connsiteX18" fmla="*/ 211601 w 497861"/>
                                <a:gd name="connsiteY18" fmla="*/ 551318 h 761034"/>
                                <a:gd name="connsiteX0" fmla="*/ 211601 w 499314"/>
                                <a:gd name="connsiteY0" fmla="*/ 530018 h 739734"/>
                                <a:gd name="connsiteX1" fmla="*/ 329116 w 499314"/>
                                <a:gd name="connsiteY1" fmla="*/ 455722 h 739734"/>
                                <a:gd name="connsiteX2" fmla="*/ 388218 w 499314"/>
                                <a:gd name="connsiteY2" fmla="*/ 361425 h 739734"/>
                                <a:gd name="connsiteX3" fmla="*/ 372100 w 499314"/>
                                <a:gd name="connsiteY3" fmla="*/ 298560 h 739734"/>
                                <a:gd name="connsiteX4" fmla="*/ 452891 w 499314"/>
                                <a:gd name="connsiteY4" fmla="*/ 227702 h 739734"/>
                                <a:gd name="connsiteX5" fmla="*/ 445536 w 499314"/>
                                <a:gd name="connsiteY5" fmla="*/ 57317 h 739734"/>
                                <a:gd name="connsiteX6" fmla="*/ 496866 w 499314"/>
                                <a:gd name="connsiteY6" fmla="*/ 14553 h 739734"/>
                                <a:gd name="connsiteX7" fmla="*/ 487727 w 499314"/>
                                <a:gd name="connsiteY7" fmla="*/ 287361 h 739734"/>
                                <a:gd name="connsiteX8" fmla="*/ 458066 w 499314"/>
                                <a:gd name="connsiteY8" fmla="*/ 387618 h 739734"/>
                                <a:gd name="connsiteX9" fmla="*/ 344659 w 499314"/>
                                <a:gd name="connsiteY9" fmla="*/ 497395 h 739734"/>
                                <a:gd name="connsiteX10" fmla="*/ 265767 w 499314"/>
                                <a:gd name="connsiteY10" fmla="*/ 577319 h 739734"/>
                                <a:gd name="connsiteX11" fmla="*/ 232404 w 499314"/>
                                <a:gd name="connsiteY11" fmla="*/ 597168 h 739734"/>
                                <a:gd name="connsiteX12" fmla="*/ 190423 w 499314"/>
                                <a:gd name="connsiteY12" fmla="*/ 632563 h 739734"/>
                                <a:gd name="connsiteX13" fmla="*/ 119573 w 499314"/>
                                <a:gd name="connsiteY13" fmla="*/ 707182 h 739734"/>
                                <a:gd name="connsiteX14" fmla="*/ 65861 w 499314"/>
                                <a:gd name="connsiteY14" fmla="*/ 736236 h 739734"/>
                                <a:gd name="connsiteX15" fmla="*/ 1367 w 499314"/>
                                <a:gd name="connsiteY15" fmla="*/ 633841 h 739734"/>
                                <a:gd name="connsiteX16" fmla="*/ 92709 w 499314"/>
                                <a:gd name="connsiteY16" fmla="*/ 534303 h 739734"/>
                                <a:gd name="connsiteX17" fmla="*/ 124946 w 499314"/>
                                <a:gd name="connsiteY17" fmla="*/ 539542 h 739734"/>
                                <a:gd name="connsiteX18" fmla="*/ 211601 w 499314"/>
                                <a:gd name="connsiteY18" fmla="*/ 530018 h 739734"/>
                                <a:gd name="connsiteX0" fmla="*/ 211601 w 504141"/>
                                <a:gd name="connsiteY0" fmla="*/ 482496 h 692212"/>
                                <a:gd name="connsiteX1" fmla="*/ 329116 w 504141"/>
                                <a:gd name="connsiteY1" fmla="*/ 408200 h 692212"/>
                                <a:gd name="connsiteX2" fmla="*/ 388218 w 504141"/>
                                <a:gd name="connsiteY2" fmla="*/ 313903 h 692212"/>
                                <a:gd name="connsiteX3" fmla="*/ 372100 w 504141"/>
                                <a:gd name="connsiteY3" fmla="*/ 251038 h 692212"/>
                                <a:gd name="connsiteX4" fmla="*/ 452891 w 504141"/>
                                <a:gd name="connsiteY4" fmla="*/ 180180 h 692212"/>
                                <a:gd name="connsiteX5" fmla="*/ 445536 w 504141"/>
                                <a:gd name="connsiteY5" fmla="*/ 9795 h 692212"/>
                                <a:gd name="connsiteX6" fmla="*/ 502239 w 504141"/>
                                <a:gd name="connsiteY6" fmla="*/ 82284 h 692212"/>
                                <a:gd name="connsiteX7" fmla="*/ 487727 w 504141"/>
                                <a:gd name="connsiteY7" fmla="*/ 239839 h 692212"/>
                                <a:gd name="connsiteX8" fmla="*/ 458066 w 504141"/>
                                <a:gd name="connsiteY8" fmla="*/ 340096 h 692212"/>
                                <a:gd name="connsiteX9" fmla="*/ 344659 w 504141"/>
                                <a:gd name="connsiteY9" fmla="*/ 449873 h 692212"/>
                                <a:gd name="connsiteX10" fmla="*/ 265767 w 504141"/>
                                <a:gd name="connsiteY10" fmla="*/ 529797 h 692212"/>
                                <a:gd name="connsiteX11" fmla="*/ 232404 w 504141"/>
                                <a:gd name="connsiteY11" fmla="*/ 549646 h 692212"/>
                                <a:gd name="connsiteX12" fmla="*/ 190423 w 504141"/>
                                <a:gd name="connsiteY12" fmla="*/ 585041 h 692212"/>
                                <a:gd name="connsiteX13" fmla="*/ 119573 w 504141"/>
                                <a:gd name="connsiteY13" fmla="*/ 659660 h 692212"/>
                                <a:gd name="connsiteX14" fmla="*/ 65861 w 504141"/>
                                <a:gd name="connsiteY14" fmla="*/ 688714 h 692212"/>
                                <a:gd name="connsiteX15" fmla="*/ 1367 w 504141"/>
                                <a:gd name="connsiteY15" fmla="*/ 586319 h 692212"/>
                                <a:gd name="connsiteX16" fmla="*/ 92709 w 504141"/>
                                <a:gd name="connsiteY16" fmla="*/ 486781 h 692212"/>
                                <a:gd name="connsiteX17" fmla="*/ 124946 w 504141"/>
                                <a:gd name="connsiteY17" fmla="*/ 492020 h 692212"/>
                                <a:gd name="connsiteX18" fmla="*/ 211601 w 504141"/>
                                <a:gd name="connsiteY18" fmla="*/ 482496 h 692212"/>
                                <a:gd name="connsiteX0" fmla="*/ 211601 w 502424"/>
                                <a:gd name="connsiteY0" fmla="*/ 484746 h 694462"/>
                                <a:gd name="connsiteX1" fmla="*/ 329116 w 502424"/>
                                <a:gd name="connsiteY1" fmla="*/ 410450 h 694462"/>
                                <a:gd name="connsiteX2" fmla="*/ 388218 w 502424"/>
                                <a:gd name="connsiteY2" fmla="*/ 316153 h 694462"/>
                                <a:gd name="connsiteX3" fmla="*/ 372100 w 502424"/>
                                <a:gd name="connsiteY3" fmla="*/ 253288 h 694462"/>
                                <a:gd name="connsiteX4" fmla="*/ 452891 w 502424"/>
                                <a:gd name="connsiteY4" fmla="*/ 182430 h 694462"/>
                                <a:gd name="connsiteX5" fmla="*/ 445536 w 502424"/>
                                <a:gd name="connsiteY5" fmla="*/ 12045 h 694462"/>
                                <a:gd name="connsiteX6" fmla="*/ 502239 w 502424"/>
                                <a:gd name="connsiteY6" fmla="*/ 84534 h 694462"/>
                                <a:gd name="connsiteX7" fmla="*/ 487727 w 502424"/>
                                <a:gd name="connsiteY7" fmla="*/ 242089 h 694462"/>
                                <a:gd name="connsiteX8" fmla="*/ 458066 w 502424"/>
                                <a:gd name="connsiteY8" fmla="*/ 342346 h 694462"/>
                                <a:gd name="connsiteX9" fmla="*/ 344659 w 502424"/>
                                <a:gd name="connsiteY9" fmla="*/ 452123 h 694462"/>
                                <a:gd name="connsiteX10" fmla="*/ 265767 w 502424"/>
                                <a:gd name="connsiteY10" fmla="*/ 532047 h 694462"/>
                                <a:gd name="connsiteX11" fmla="*/ 232404 w 502424"/>
                                <a:gd name="connsiteY11" fmla="*/ 551896 h 694462"/>
                                <a:gd name="connsiteX12" fmla="*/ 190423 w 502424"/>
                                <a:gd name="connsiteY12" fmla="*/ 587291 h 694462"/>
                                <a:gd name="connsiteX13" fmla="*/ 119573 w 502424"/>
                                <a:gd name="connsiteY13" fmla="*/ 661910 h 694462"/>
                                <a:gd name="connsiteX14" fmla="*/ 65861 w 502424"/>
                                <a:gd name="connsiteY14" fmla="*/ 690964 h 694462"/>
                                <a:gd name="connsiteX15" fmla="*/ 1367 w 502424"/>
                                <a:gd name="connsiteY15" fmla="*/ 588569 h 694462"/>
                                <a:gd name="connsiteX16" fmla="*/ 92709 w 502424"/>
                                <a:gd name="connsiteY16" fmla="*/ 489031 h 694462"/>
                                <a:gd name="connsiteX17" fmla="*/ 124946 w 502424"/>
                                <a:gd name="connsiteY17" fmla="*/ 494270 h 694462"/>
                                <a:gd name="connsiteX18" fmla="*/ 211601 w 502424"/>
                                <a:gd name="connsiteY18" fmla="*/ 484746 h 69446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  <a:cxn ang="0">
                                  <a:pos x="connsiteX18" y="connsiteY18"/>
                                </a:cxn>
                              </a:cxnLst>
                              <a:rect l="l" t="t" r="r" b="b"/>
                              <a:pathLst>
                                <a:path w="502424" h="694462">
                                  <a:moveTo>
                                    <a:pt x="211601" y="484746"/>
                                  </a:moveTo>
                                  <a:cubicBezTo>
                                    <a:pt x="245629" y="470776"/>
                                    <a:pt x="288901" y="460836"/>
                                    <a:pt x="329116" y="410450"/>
                                  </a:cubicBezTo>
                                  <a:cubicBezTo>
                                    <a:pt x="354075" y="381478"/>
                                    <a:pt x="381054" y="342347"/>
                                    <a:pt x="388218" y="316153"/>
                                  </a:cubicBezTo>
                                  <a:cubicBezTo>
                                    <a:pt x="395382" y="289959"/>
                                    <a:pt x="356844" y="274702"/>
                                    <a:pt x="372100" y="253288"/>
                                  </a:cubicBezTo>
                                  <a:cubicBezTo>
                                    <a:pt x="387356" y="231874"/>
                                    <a:pt x="446025" y="231368"/>
                                    <a:pt x="452891" y="182430"/>
                                  </a:cubicBezTo>
                                  <a:cubicBezTo>
                                    <a:pt x="459941" y="114706"/>
                                    <a:pt x="434492" y="43768"/>
                                    <a:pt x="445536" y="12045"/>
                                  </a:cubicBezTo>
                                  <a:cubicBezTo>
                                    <a:pt x="452865" y="-23480"/>
                                    <a:pt x="505953" y="25238"/>
                                    <a:pt x="502239" y="84534"/>
                                  </a:cubicBezTo>
                                  <a:cubicBezTo>
                                    <a:pt x="498525" y="143830"/>
                                    <a:pt x="495089" y="199120"/>
                                    <a:pt x="487727" y="242089"/>
                                  </a:cubicBezTo>
                                  <a:cubicBezTo>
                                    <a:pt x="480365" y="285058"/>
                                    <a:pt x="478329" y="307340"/>
                                    <a:pt x="458066" y="342346"/>
                                  </a:cubicBezTo>
                                  <a:cubicBezTo>
                                    <a:pt x="437803" y="377352"/>
                                    <a:pt x="376709" y="420506"/>
                                    <a:pt x="344659" y="452123"/>
                                  </a:cubicBezTo>
                                  <a:cubicBezTo>
                                    <a:pt x="312609" y="483740"/>
                                    <a:pt x="284476" y="515418"/>
                                    <a:pt x="265767" y="532047"/>
                                  </a:cubicBezTo>
                                  <a:cubicBezTo>
                                    <a:pt x="247058" y="548676"/>
                                    <a:pt x="244962" y="540943"/>
                                    <a:pt x="232404" y="551896"/>
                                  </a:cubicBezTo>
                                  <a:cubicBezTo>
                                    <a:pt x="219846" y="562850"/>
                                    <a:pt x="211019" y="570702"/>
                                    <a:pt x="190423" y="587291"/>
                                  </a:cubicBezTo>
                                  <a:cubicBezTo>
                                    <a:pt x="169827" y="603880"/>
                                    <a:pt x="135856" y="642885"/>
                                    <a:pt x="119573" y="661910"/>
                                  </a:cubicBezTo>
                                  <a:cubicBezTo>
                                    <a:pt x="103290" y="680935"/>
                                    <a:pt x="85562" y="703188"/>
                                    <a:pt x="65861" y="690964"/>
                                  </a:cubicBezTo>
                                  <a:cubicBezTo>
                                    <a:pt x="46160" y="678740"/>
                                    <a:pt x="-9376" y="615239"/>
                                    <a:pt x="1367" y="588569"/>
                                  </a:cubicBezTo>
                                  <a:cubicBezTo>
                                    <a:pt x="12110" y="561899"/>
                                    <a:pt x="69426" y="502128"/>
                                    <a:pt x="92709" y="489031"/>
                                  </a:cubicBezTo>
                                  <a:cubicBezTo>
                                    <a:pt x="115992" y="475934"/>
                                    <a:pt x="108713" y="500223"/>
                                    <a:pt x="124946" y="494270"/>
                                  </a:cubicBezTo>
                                  <a:cubicBezTo>
                                    <a:pt x="141180" y="488317"/>
                                    <a:pt x="177573" y="498716"/>
                                    <a:pt x="211601" y="48474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371" name="Freeform 222"/>
                          <p:cNvSpPr/>
                          <p:nvPr/>
                        </p:nvSpPr>
                        <p:spPr>
                          <a:xfrm rot="11700000">
                            <a:off x="4206124" y="4401160"/>
                            <a:ext cx="8311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72" name="Freeform 223"/>
                          <p:cNvSpPr/>
                          <p:nvPr/>
                        </p:nvSpPr>
                        <p:spPr>
                          <a:xfrm rot="11700000">
                            <a:off x="4193598" y="4553560"/>
                            <a:ext cx="8311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73" name="DF"/>
                          <p:cNvSpPr/>
                          <p:nvPr/>
                        </p:nvSpPr>
                        <p:spPr bwMode="auto">
                          <a:xfrm>
                            <a:off x="6830834" y="2657738"/>
                            <a:ext cx="128692" cy="63993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</a:cxnLst>
                            <a:rect l="l" t="t" r="r" b="b"/>
                            <a:pathLst>
                              <a:path w="128692" h="85175">
                                <a:moveTo>
                                  <a:pt x="4020" y="76745"/>
                                </a:moveTo>
                                <a:cubicBezTo>
                                  <a:pt x="-9920" y="64138"/>
                                  <a:pt x="16247" y="11241"/>
                                  <a:pt x="23990" y="4803"/>
                                </a:cubicBezTo>
                                <a:cubicBezTo>
                                  <a:pt x="31733" y="-1635"/>
                                  <a:pt x="71131" y="-1735"/>
                                  <a:pt x="88581" y="5318"/>
                                </a:cubicBezTo>
                                <a:cubicBezTo>
                                  <a:pt x="106031" y="12371"/>
                                  <a:pt x="128692" y="25786"/>
                                  <a:pt x="128692" y="47119"/>
                                </a:cubicBezTo>
                                <a:cubicBezTo>
                                  <a:pt x="128692" y="68452"/>
                                  <a:pt x="128410" y="75508"/>
                                  <a:pt x="107631" y="80446"/>
                                </a:cubicBezTo>
                                <a:cubicBezTo>
                                  <a:pt x="86852" y="85384"/>
                                  <a:pt x="17960" y="89352"/>
                                  <a:pt x="4020" y="76745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75" name="DF"/>
                          <p:cNvSpPr/>
                          <p:nvPr/>
                        </p:nvSpPr>
                        <p:spPr bwMode="auto">
                          <a:xfrm>
                            <a:off x="6587744" y="2942493"/>
                            <a:ext cx="77084" cy="70946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</a:cxnLst>
                            <a:rect l="l" t="t" r="r" b="b"/>
                            <a:pathLst>
                              <a:path w="77084" h="94429">
                                <a:moveTo>
                                  <a:pt x="42560" y="82618"/>
                                </a:moveTo>
                                <a:cubicBezTo>
                                  <a:pt x="32209" y="71081"/>
                                  <a:pt x="6901" y="46329"/>
                                  <a:pt x="1516" y="24491"/>
                                </a:cubicBezTo>
                                <a:cubicBezTo>
                                  <a:pt x="-3869" y="2653"/>
                                  <a:pt x="6543" y="26250"/>
                                  <a:pt x="10247" y="14981"/>
                                </a:cubicBezTo>
                                <a:cubicBezTo>
                                  <a:pt x="13328" y="-10378"/>
                                  <a:pt x="24534" y="2304"/>
                                  <a:pt x="29297" y="10756"/>
                                </a:cubicBezTo>
                                <a:cubicBezTo>
                                  <a:pt x="34060" y="19208"/>
                                  <a:pt x="34871" y="24503"/>
                                  <a:pt x="43585" y="30829"/>
                                </a:cubicBezTo>
                                <a:cubicBezTo>
                                  <a:pt x="52299" y="37155"/>
                                  <a:pt x="64217" y="49342"/>
                                  <a:pt x="72054" y="50823"/>
                                </a:cubicBezTo>
                                <a:cubicBezTo>
                                  <a:pt x="79891" y="52304"/>
                                  <a:pt x="76200" y="71226"/>
                                  <a:pt x="76320" y="74581"/>
                                </a:cubicBezTo>
                                <a:cubicBezTo>
                                  <a:pt x="76440" y="77936"/>
                                  <a:pt x="72775" y="49618"/>
                                  <a:pt x="72775" y="70951"/>
                                </a:cubicBezTo>
                                <a:cubicBezTo>
                                  <a:pt x="72775" y="92284"/>
                                  <a:pt x="68656" y="91771"/>
                                  <a:pt x="63620" y="93715"/>
                                </a:cubicBezTo>
                                <a:cubicBezTo>
                                  <a:pt x="58584" y="95660"/>
                                  <a:pt x="52911" y="94155"/>
                                  <a:pt x="42560" y="82618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77" name="DF"/>
                          <p:cNvSpPr/>
                          <p:nvPr/>
                        </p:nvSpPr>
                        <p:spPr bwMode="auto">
                          <a:xfrm rot="10800000">
                            <a:off x="6482701" y="2446409"/>
                            <a:ext cx="76322" cy="47481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76322" h="63197">
                                <a:moveTo>
                                  <a:pt x="42560" y="51797"/>
                                </a:moveTo>
                                <a:cubicBezTo>
                                  <a:pt x="32209" y="46599"/>
                                  <a:pt x="6901" y="53541"/>
                                  <a:pt x="1516" y="31703"/>
                                </a:cubicBezTo>
                                <a:cubicBezTo>
                                  <a:pt x="-3869" y="9865"/>
                                  <a:pt x="6543" y="27122"/>
                                  <a:pt x="10247" y="15853"/>
                                </a:cubicBezTo>
                                <a:cubicBezTo>
                                  <a:pt x="13328" y="-9506"/>
                                  <a:pt x="24534" y="6347"/>
                                  <a:pt x="29297" y="14799"/>
                                </a:cubicBezTo>
                                <a:cubicBezTo>
                                  <a:pt x="34060" y="23251"/>
                                  <a:pt x="38306" y="553"/>
                                  <a:pt x="43585" y="8"/>
                                </a:cubicBezTo>
                                <a:cubicBezTo>
                                  <a:pt x="48864" y="-537"/>
                                  <a:pt x="39560" y="27210"/>
                                  <a:pt x="44305" y="30542"/>
                                </a:cubicBezTo>
                                <a:cubicBezTo>
                                  <a:pt x="49050" y="33874"/>
                                  <a:pt x="69496" y="14630"/>
                                  <a:pt x="72054" y="20002"/>
                                </a:cubicBezTo>
                                <a:cubicBezTo>
                                  <a:pt x="74612" y="25374"/>
                                  <a:pt x="76200" y="40405"/>
                                  <a:pt x="76320" y="43760"/>
                                </a:cubicBezTo>
                                <a:cubicBezTo>
                                  <a:pt x="76440" y="47115"/>
                                  <a:pt x="72775" y="18797"/>
                                  <a:pt x="72775" y="40130"/>
                                </a:cubicBezTo>
                                <a:cubicBezTo>
                                  <a:pt x="72775" y="61463"/>
                                  <a:pt x="68656" y="60950"/>
                                  <a:pt x="63620" y="62894"/>
                                </a:cubicBezTo>
                                <a:cubicBezTo>
                                  <a:pt x="58584" y="64839"/>
                                  <a:pt x="52911" y="56995"/>
                                  <a:pt x="42560" y="51797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79" name="Freeform 228"/>
                          <p:cNvSpPr/>
                          <p:nvPr/>
                        </p:nvSpPr>
                        <p:spPr>
                          <a:xfrm rot="11700000">
                            <a:off x="5283410" y="4028716"/>
                            <a:ext cx="6244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1" name="Freeform 229"/>
                          <p:cNvSpPr/>
                          <p:nvPr/>
                        </p:nvSpPr>
                        <p:spPr>
                          <a:xfrm rot="11700000">
                            <a:off x="5149382" y="4259842"/>
                            <a:ext cx="6244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3" name="DF"/>
                          <p:cNvSpPr/>
                          <p:nvPr/>
                        </p:nvSpPr>
                        <p:spPr bwMode="auto">
                          <a:xfrm rot="10800000">
                            <a:off x="4267201" y="3886200"/>
                            <a:ext cx="76322" cy="47481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76322" h="63197">
                                <a:moveTo>
                                  <a:pt x="42560" y="51797"/>
                                </a:moveTo>
                                <a:cubicBezTo>
                                  <a:pt x="32209" y="46599"/>
                                  <a:pt x="6901" y="53541"/>
                                  <a:pt x="1516" y="31703"/>
                                </a:cubicBezTo>
                                <a:cubicBezTo>
                                  <a:pt x="-3869" y="9865"/>
                                  <a:pt x="6543" y="27122"/>
                                  <a:pt x="10247" y="15853"/>
                                </a:cubicBezTo>
                                <a:cubicBezTo>
                                  <a:pt x="13328" y="-9506"/>
                                  <a:pt x="24534" y="6347"/>
                                  <a:pt x="29297" y="14799"/>
                                </a:cubicBezTo>
                                <a:cubicBezTo>
                                  <a:pt x="34060" y="23251"/>
                                  <a:pt x="38306" y="553"/>
                                  <a:pt x="43585" y="8"/>
                                </a:cubicBezTo>
                                <a:cubicBezTo>
                                  <a:pt x="48864" y="-537"/>
                                  <a:pt x="39560" y="27210"/>
                                  <a:pt x="44305" y="30542"/>
                                </a:cubicBezTo>
                                <a:cubicBezTo>
                                  <a:pt x="49050" y="33874"/>
                                  <a:pt x="69496" y="14630"/>
                                  <a:pt x="72054" y="20002"/>
                                </a:cubicBezTo>
                                <a:cubicBezTo>
                                  <a:pt x="74612" y="25374"/>
                                  <a:pt x="76200" y="40405"/>
                                  <a:pt x="76320" y="43760"/>
                                </a:cubicBezTo>
                                <a:cubicBezTo>
                                  <a:pt x="76440" y="47115"/>
                                  <a:pt x="72775" y="18797"/>
                                  <a:pt x="72775" y="40130"/>
                                </a:cubicBezTo>
                                <a:cubicBezTo>
                                  <a:pt x="72775" y="61463"/>
                                  <a:pt x="68656" y="60950"/>
                                  <a:pt x="63620" y="62894"/>
                                </a:cubicBezTo>
                                <a:cubicBezTo>
                                  <a:pt x="58584" y="64839"/>
                                  <a:pt x="52911" y="56995"/>
                                  <a:pt x="42560" y="51797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5" name="DF"/>
                          <p:cNvSpPr/>
                          <p:nvPr/>
                        </p:nvSpPr>
                        <p:spPr bwMode="auto">
                          <a:xfrm rot="10800000">
                            <a:off x="4287590" y="2353052"/>
                            <a:ext cx="111742" cy="218177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76322" h="63197">
                                <a:moveTo>
                                  <a:pt x="42560" y="51797"/>
                                </a:moveTo>
                                <a:cubicBezTo>
                                  <a:pt x="32209" y="46599"/>
                                  <a:pt x="6901" y="53541"/>
                                  <a:pt x="1516" y="31703"/>
                                </a:cubicBezTo>
                                <a:cubicBezTo>
                                  <a:pt x="-3869" y="9865"/>
                                  <a:pt x="6543" y="27122"/>
                                  <a:pt x="10247" y="15853"/>
                                </a:cubicBezTo>
                                <a:cubicBezTo>
                                  <a:pt x="13328" y="-9506"/>
                                  <a:pt x="24534" y="6347"/>
                                  <a:pt x="29297" y="14799"/>
                                </a:cubicBezTo>
                                <a:cubicBezTo>
                                  <a:pt x="34060" y="23251"/>
                                  <a:pt x="38306" y="553"/>
                                  <a:pt x="43585" y="8"/>
                                </a:cubicBezTo>
                                <a:cubicBezTo>
                                  <a:pt x="48864" y="-537"/>
                                  <a:pt x="39560" y="27210"/>
                                  <a:pt x="44305" y="30542"/>
                                </a:cubicBezTo>
                                <a:cubicBezTo>
                                  <a:pt x="49050" y="33874"/>
                                  <a:pt x="69496" y="14630"/>
                                  <a:pt x="72054" y="20002"/>
                                </a:cubicBezTo>
                                <a:cubicBezTo>
                                  <a:pt x="74612" y="25374"/>
                                  <a:pt x="76200" y="40405"/>
                                  <a:pt x="76320" y="43760"/>
                                </a:cubicBezTo>
                                <a:cubicBezTo>
                                  <a:pt x="76440" y="47115"/>
                                  <a:pt x="72775" y="18797"/>
                                  <a:pt x="72775" y="40130"/>
                                </a:cubicBezTo>
                                <a:cubicBezTo>
                                  <a:pt x="72775" y="61463"/>
                                  <a:pt x="68656" y="60950"/>
                                  <a:pt x="63620" y="62894"/>
                                </a:cubicBezTo>
                                <a:cubicBezTo>
                                  <a:pt x="58584" y="64839"/>
                                  <a:pt x="52911" y="56995"/>
                                  <a:pt x="42560" y="51797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6" name="DF"/>
                          <p:cNvSpPr/>
                          <p:nvPr/>
                        </p:nvSpPr>
                        <p:spPr bwMode="auto">
                          <a:xfrm rot="10800000">
                            <a:off x="3721170" y="2276621"/>
                            <a:ext cx="101584" cy="111959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76322" h="63197">
                                <a:moveTo>
                                  <a:pt x="42560" y="51797"/>
                                </a:moveTo>
                                <a:cubicBezTo>
                                  <a:pt x="32209" y="46599"/>
                                  <a:pt x="6901" y="53541"/>
                                  <a:pt x="1516" y="31703"/>
                                </a:cubicBezTo>
                                <a:cubicBezTo>
                                  <a:pt x="-3869" y="9865"/>
                                  <a:pt x="6543" y="27122"/>
                                  <a:pt x="10247" y="15853"/>
                                </a:cubicBezTo>
                                <a:cubicBezTo>
                                  <a:pt x="13328" y="-9506"/>
                                  <a:pt x="24534" y="6347"/>
                                  <a:pt x="29297" y="14799"/>
                                </a:cubicBezTo>
                                <a:cubicBezTo>
                                  <a:pt x="34060" y="23251"/>
                                  <a:pt x="38306" y="553"/>
                                  <a:pt x="43585" y="8"/>
                                </a:cubicBezTo>
                                <a:cubicBezTo>
                                  <a:pt x="48864" y="-537"/>
                                  <a:pt x="39560" y="27210"/>
                                  <a:pt x="44305" y="30542"/>
                                </a:cubicBezTo>
                                <a:cubicBezTo>
                                  <a:pt x="49050" y="33874"/>
                                  <a:pt x="69496" y="14630"/>
                                  <a:pt x="72054" y="20002"/>
                                </a:cubicBezTo>
                                <a:cubicBezTo>
                                  <a:pt x="74612" y="25374"/>
                                  <a:pt x="76200" y="40405"/>
                                  <a:pt x="76320" y="43760"/>
                                </a:cubicBezTo>
                                <a:cubicBezTo>
                                  <a:pt x="76440" y="47115"/>
                                  <a:pt x="72775" y="18797"/>
                                  <a:pt x="72775" y="40130"/>
                                </a:cubicBezTo>
                                <a:cubicBezTo>
                                  <a:pt x="72775" y="61463"/>
                                  <a:pt x="68656" y="60950"/>
                                  <a:pt x="63620" y="62894"/>
                                </a:cubicBezTo>
                                <a:cubicBezTo>
                                  <a:pt x="58584" y="64839"/>
                                  <a:pt x="52911" y="56995"/>
                                  <a:pt x="42560" y="51797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7" name="DF"/>
                          <p:cNvSpPr/>
                          <p:nvPr/>
                        </p:nvSpPr>
                        <p:spPr bwMode="auto">
                          <a:xfrm>
                            <a:off x="5489448" y="2097508"/>
                            <a:ext cx="48220" cy="48175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  <a:gd name="connsiteX0" fmla="*/ 42560 w 76322"/>
                              <a:gd name="connsiteY0" fmla="*/ 51797 h 94666"/>
                              <a:gd name="connsiteX1" fmla="*/ 1516 w 76322"/>
                              <a:gd name="connsiteY1" fmla="*/ 31703 h 94666"/>
                              <a:gd name="connsiteX2" fmla="*/ 10247 w 76322"/>
                              <a:gd name="connsiteY2" fmla="*/ 15853 h 94666"/>
                              <a:gd name="connsiteX3" fmla="*/ 29297 w 76322"/>
                              <a:gd name="connsiteY3" fmla="*/ 14799 h 94666"/>
                              <a:gd name="connsiteX4" fmla="*/ 43585 w 76322"/>
                              <a:gd name="connsiteY4" fmla="*/ 8 h 94666"/>
                              <a:gd name="connsiteX5" fmla="*/ 44305 w 76322"/>
                              <a:gd name="connsiteY5" fmla="*/ 30542 h 94666"/>
                              <a:gd name="connsiteX6" fmla="*/ 72054 w 76322"/>
                              <a:gd name="connsiteY6" fmla="*/ 20002 h 94666"/>
                              <a:gd name="connsiteX7" fmla="*/ 76320 w 76322"/>
                              <a:gd name="connsiteY7" fmla="*/ 43760 h 94666"/>
                              <a:gd name="connsiteX8" fmla="*/ 72775 w 76322"/>
                              <a:gd name="connsiteY8" fmla="*/ 40130 h 94666"/>
                              <a:gd name="connsiteX9" fmla="*/ 51714 w 76322"/>
                              <a:gd name="connsiteY9" fmla="*/ 94587 h 94666"/>
                              <a:gd name="connsiteX10" fmla="*/ 42560 w 76322"/>
                              <a:gd name="connsiteY10" fmla="*/ 51797 h 94666"/>
                              <a:gd name="connsiteX0" fmla="*/ 28272 w 76322"/>
                              <a:gd name="connsiteY0" fmla="*/ 48628 h 94626"/>
                              <a:gd name="connsiteX1" fmla="*/ 1516 w 76322"/>
                              <a:gd name="connsiteY1" fmla="*/ 31703 h 94626"/>
                              <a:gd name="connsiteX2" fmla="*/ 10247 w 76322"/>
                              <a:gd name="connsiteY2" fmla="*/ 15853 h 94626"/>
                              <a:gd name="connsiteX3" fmla="*/ 29297 w 76322"/>
                              <a:gd name="connsiteY3" fmla="*/ 14799 h 94626"/>
                              <a:gd name="connsiteX4" fmla="*/ 43585 w 76322"/>
                              <a:gd name="connsiteY4" fmla="*/ 8 h 94626"/>
                              <a:gd name="connsiteX5" fmla="*/ 44305 w 76322"/>
                              <a:gd name="connsiteY5" fmla="*/ 30542 h 94626"/>
                              <a:gd name="connsiteX6" fmla="*/ 72054 w 76322"/>
                              <a:gd name="connsiteY6" fmla="*/ 20002 h 94626"/>
                              <a:gd name="connsiteX7" fmla="*/ 76320 w 76322"/>
                              <a:gd name="connsiteY7" fmla="*/ 43760 h 94626"/>
                              <a:gd name="connsiteX8" fmla="*/ 72775 w 76322"/>
                              <a:gd name="connsiteY8" fmla="*/ 40130 h 94626"/>
                              <a:gd name="connsiteX9" fmla="*/ 51714 w 76322"/>
                              <a:gd name="connsiteY9" fmla="*/ 94587 h 94626"/>
                              <a:gd name="connsiteX10" fmla="*/ 28272 w 76322"/>
                              <a:gd name="connsiteY10" fmla="*/ 48628 h 94626"/>
                              <a:gd name="connsiteX0" fmla="*/ 28272 w 76322"/>
                              <a:gd name="connsiteY0" fmla="*/ 44915 h 90913"/>
                              <a:gd name="connsiteX1" fmla="*/ 1516 w 76322"/>
                              <a:gd name="connsiteY1" fmla="*/ 27990 h 90913"/>
                              <a:gd name="connsiteX2" fmla="*/ 10247 w 76322"/>
                              <a:gd name="connsiteY2" fmla="*/ 12140 h 90913"/>
                              <a:gd name="connsiteX3" fmla="*/ 29297 w 76322"/>
                              <a:gd name="connsiteY3" fmla="*/ 11086 h 90913"/>
                              <a:gd name="connsiteX4" fmla="*/ 44305 w 76322"/>
                              <a:gd name="connsiteY4" fmla="*/ 26829 h 90913"/>
                              <a:gd name="connsiteX5" fmla="*/ 72054 w 76322"/>
                              <a:gd name="connsiteY5" fmla="*/ 16289 h 90913"/>
                              <a:gd name="connsiteX6" fmla="*/ 76320 w 76322"/>
                              <a:gd name="connsiteY6" fmla="*/ 40047 h 90913"/>
                              <a:gd name="connsiteX7" fmla="*/ 72775 w 76322"/>
                              <a:gd name="connsiteY7" fmla="*/ 36417 h 90913"/>
                              <a:gd name="connsiteX8" fmla="*/ 51714 w 76322"/>
                              <a:gd name="connsiteY8" fmla="*/ 90874 h 90913"/>
                              <a:gd name="connsiteX9" fmla="*/ 28272 w 76322"/>
                              <a:gd name="connsiteY9" fmla="*/ 44915 h 90913"/>
                              <a:gd name="connsiteX0" fmla="*/ 28272 w 76322"/>
                              <a:gd name="connsiteY0" fmla="*/ 32778 h 78776"/>
                              <a:gd name="connsiteX1" fmla="*/ 1516 w 76322"/>
                              <a:gd name="connsiteY1" fmla="*/ 15853 h 78776"/>
                              <a:gd name="connsiteX2" fmla="*/ 10247 w 76322"/>
                              <a:gd name="connsiteY2" fmla="*/ 3 h 78776"/>
                              <a:gd name="connsiteX3" fmla="*/ 44305 w 76322"/>
                              <a:gd name="connsiteY3" fmla="*/ 14692 h 78776"/>
                              <a:gd name="connsiteX4" fmla="*/ 72054 w 76322"/>
                              <a:gd name="connsiteY4" fmla="*/ 4152 h 78776"/>
                              <a:gd name="connsiteX5" fmla="*/ 76320 w 76322"/>
                              <a:gd name="connsiteY5" fmla="*/ 27910 h 78776"/>
                              <a:gd name="connsiteX6" fmla="*/ 72775 w 76322"/>
                              <a:gd name="connsiteY6" fmla="*/ 24280 h 78776"/>
                              <a:gd name="connsiteX7" fmla="*/ 51714 w 76322"/>
                              <a:gd name="connsiteY7" fmla="*/ 78737 h 78776"/>
                              <a:gd name="connsiteX8" fmla="*/ 28272 w 76322"/>
                              <a:gd name="connsiteY8" fmla="*/ 32778 h 78776"/>
                              <a:gd name="connsiteX0" fmla="*/ 26989 w 75039"/>
                              <a:gd name="connsiteY0" fmla="*/ 29848 h 75846"/>
                              <a:gd name="connsiteX1" fmla="*/ 233 w 75039"/>
                              <a:gd name="connsiteY1" fmla="*/ 12923 h 75846"/>
                              <a:gd name="connsiteX2" fmla="*/ 43022 w 75039"/>
                              <a:gd name="connsiteY2" fmla="*/ 11762 h 75846"/>
                              <a:gd name="connsiteX3" fmla="*/ 70771 w 75039"/>
                              <a:gd name="connsiteY3" fmla="*/ 1222 h 75846"/>
                              <a:gd name="connsiteX4" fmla="*/ 75037 w 75039"/>
                              <a:gd name="connsiteY4" fmla="*/ 24980 h 75846"/>
                              <a:gd name="connsiteX5" fmla="*/ 71492 w 75039"/>
                              <a:gd name="connsiteY5" fmla="*/ 21350 h 75846"/>
                              <a:gd name="connsiteX6" fmla="*/ 50431 w 75039"/>
                              <a:gd name="connsiteY6" fmla="*/ 75807 h 75846"/>
                              <a:gd name="connsiteX7" fmla="*/ 26989 w 75039"/>
                              <a:gd name="connsiteY7" fmla="*/ 29848 h 75846"/>
                              <a:gd name="connsiteX0" fmla="*/ 105 w 48155"/>
                              <a:gd name="connsiteY0" fmla="*/ 30057 h 76055"/>
                              <a:gd name="connsiteX1" fmla="*/ 16138 w 48155"/>
                              <a:gd name="connsiteY1" fmla="*/ 11971 h 76055"/>
                              <a:gd name="connsiteX2" fmla="*/ 43887 w 48155"/>
                              <a:gd name="connsiteY2" fmla="*/ 1431 h 76055"/>
                              <a:gd name="connsiteX3" fmla="*/ 48153 w 48155"/>
                              <a:gd name="connsiteY3" fmla="*/ 25189 h 76055"/>
                              <a:gd name="connsiteX4" fmla="*/ 44608 w 48155"/>
                              <a:gd name="connsiteY4" fmla="*/ 21559 h 76055"/>
                              <a:gd name="connsiteX5" fmla="*/ 23547 w 48155"/>
                              <a:gd name="connsiteY5" fmla="*/ 76016 h 76055"/>
                              <a:gd name="connsiteX6" fmla="*/ 105 w 48155"/>
                              <a:gd name="connsiteY6" fmla="*/ 30057 h 76055"/>
                              <a:gd name="connsiteX0" fmla="*/ 111 w 48161"/>
                              <a:gd name="connsiteY0" fmla="*/ 18125 h 64123"/>
                              <a:gd name="connsiteX1" fmla="*/ 16144 w 48161"/>
                              <a:gd name="connsiteY1" fmla="*/ 39 h 64123"/>
                              <a:gd name="connsiteX2" fmla="*/ 48159 w 48161"/>
                              <a:gd name="connsiteY2" fmla="*/ 13257 h 64123"/>
                              <a:gd name="connsiteX3" fmla="*/ 44614 w 48161"/>
                              <a:gd name="connsiteY3" fmla="*/ 9627 h 64123"/>
                              <a:gd name="connsiteX4" fmla="*/ 23553 w 48161"/>
                              <a:gd name="connsiteY4" fmla="*/ 64084 h 64123"/>
                              <a:gd name="connsiteX5" fmla="*/ 111 w 48161"/>
                              <a:gd name="connsiteY5" fmla="*/ 18125 h 64123"/>
                              <a:gd name="connsiteX0" fmla="*/ 111 w 48220"/>
                              <a:gd name="connsiteY0" fmla="*/ 18124 h 64122"/>
                              <a:gd name="connsiteX1" fmla="*/ 16144 w 48220"/>
                              <a:gd name="connsiteY1" fmla="*/ 38 h 64122"/>
                              <a:gd name="connsiteX2" fmla="*/ 48159 w 48220"/>
                              <a:gd name="connsiteY2" fmla="*/ 13256 h 64122"/>
                              <a:gd name="connsiteX3" fmla="*/ 23553 w 48220"/>
                              <a:gd name="connsiteY3" fmla="*/ 64083 h 64122"/>
                              <a:gd name="connsiteX4" fmla="*/ 111 w 48220"/>
                              <a:gd name="connsiteY4" fmla="*/ 18124 h 6412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48220" h="64122">
                                <a:moveTo>
                                  <a:pt x="111" y="18124"/>
                                </a:moveTo>
                                <a:cubicBezTo>
                                  <a:pt x="-1124" y="7450"/>
                                  <a:pt x="8136" y="849"/>
                                  <a:pt x="16144" y="38"/>
                                </a:cubicBezTo>
                                <a:cubicBezTo>
                                  <a:pt x="24152" y="-773"/>
                                  <a:pt x="43414" y="11658"/>
                                  <a:pt x="48159" y="13256"/>
                                </a:cubicBezTo>
                                <a:cubicBezTo>
                                  <a:pt x="49394" y="23930"/>
                                  <a:pt x="31561" y="63272"/>
                                  <a:pt x="23553" y="64083"/>
                                </a:cubicBezTo>
                                <a:cubicBezTo>
                                  <a:pt x="16136" y="65499"/>
                                  <a:pt x="8477" y="28605"/>
                                  <a:pt x="111" y="1812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89" name="DF"/>
                          <p:cNvSpPr/>
                          <p:nvPr/>
                        </p:nvSpPr>
                        <p:spPr bwMode="auto">
                          <a:xfrm rot="10800000">
                            <a:off x="2935431" y="3212877"/>
                            <a:ext cx="271663" cy="165756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  <a:gd name="connsiteX0" fmla="*/ 42560 w 76376"/>
                              <a:gd name="connsiteY0" fmla="*/ 51797 h 63197"/>
                              <a:gd name="connsiteX1" fmla="*/ 1516 w 76376"/>
                              <a:gd name="connsiteY1" fmla="*/ 31703 h 63197"/>
                              <a:gd name="connsiteX2" fmla="*/ 10247 w 76376"/>
                              <a:gd name="connsiteY2" fmla="*/ 15853 h 63197"/>
                              <a:gd name="connsiteX3" fmla="*/ 29297 w 76376"/>
                              <a:gd name="connsiteY3" fmla="*/ 14799 h 63197"/>
                              <a:gd name="connsiteX4" fmla="*/ 43585 w 76376"/>
                              <a:gd name="connsiteY4" fmla="*/ 8 h 63197"/>
                              <a:gd name="connsiteX5" fmla="*/ 44305 w 76376"/>
                              <a:gd name="connsiteY5" fmla="*/ 30542 h 63197"/>
                              <a:gd name="connsiteX6" fmla="*/ 73843 w 76376"/>
                              <a:gd name="connsiteY6" fmla="*/ 38820 h 63197"/>
                              <a:gd name="connsiteX7" fmla="*/ 76320 w 76376"/>
                              <a:gd name="connsiteY7" fmla="*/ 43760 h 63197"/>
                              <a:gd name="connsiteX8" fmla="*/ 72775 w 76376"/>
                              <a:gd name="connsiteY8" fmla="*/ 40130 h 63197"/>
                              <a:gd name="connsiteX9" fmla="*/ 63620 w 76376"/>
                              <a:gd name="connsiteY9" fmla="*/ 62894 h 63197"/>
                              <a:gd name="connsiteX10" fmla="*/ 42560 w 76376"/>
                              <a:gd name="connsiteY10" fmla="*/ 51797 h 63197"/>
                              <a:gd name="connsiteX0" fmla="*/ 3918 w 77094"/>
                              <a:gd name="connsiteY0" fmla="*/ 57174 h 63929"/>
                              <a:gd name="connsiteX1" fmla="*/ 2234 w 77094"/>
                              <a:gd name="connsiteY1" fmla="*/ 31703 h 63929"/>
                              <a:gd name="connsiteX2" fmla="*/ 10965 w 77094"/>
                              <a:gd name="connsiteY2" fmla="*/ 15853 h 63929"/>
                              <a:gd name="connsiteX3" fmla="*/ 30015 w 77094"/>
                              <a:gd name="connsiteY3" fmla="*/ 14799 h 63929"/>
                              <a:gd name="connsiteX4" fmla="*/ 44303 w 77094"/>
                              <a:gd name="connsiteY4" fmla="*/ 8 h 63929"/>
                              <a:gd name="connsiteX5" fmla="*/ 45023 w 77094"/>
                              <a:gd name="connsiteY5" fmla="*/ 30542 h 63929"/>
                              <a:gd name="connsiteX6" fmla="*/ 74561 w 77094"/>
                              <a:gd name="connsiteY6" fmla="*/ 38820 h 63929"/>
                              <a:gd name="connsiteX7" fmla="*/ 77038 w 77094"/>
                              <a:gd name="connsiteY7" fmla="*/ 43760 h 63929"/>
                              <a:gd name="connsiteX8" fmla="*/ 73493 w 77094"/>
                              <a:gd name="connsiteY8" fmla="*/ 40130 h 63929"/>
                              <a:gd name="connsiteX9" fmla="*/ 64338 w 77094"/>
                              <a:gd name="connsiteY9" fmla="*/ 62894 h 63929"/>
                              <a:gd name="connsiteX10" fmla="*/ 3918 w 77094"/>
                              <a:gd name="connsiteY10" fmla="*/ 57174 h 63929"/>
                              <a:gd name="connsiteX0" fmla="*/ 3918 w 77094"/>
                              <a:gd name="connsiteY0" fmla="*/ 57173 h 63928"/>
                              <a:gd name="connsiteX1" fmla="*/ 2234 w 77094"/>
                              <a:gd name="connsiteY1" fmla="*/ 31702 h 63928"/>
                              <a:gd name="connsiteX2" fmla="*/ 10965 w 77094"/>
                              <a:gd name="connsiteY2" fmla="*/ 15852 h 63928"/>
                              <a:gd name="connsiteX3" fmla="*/ 30015 w 77094"/>
                              <a:gd name="connsiteY3" fmla="*/ 14798 h 63928"/>
                              <a:gd name="connsiteX4" fmla="*/ 44303 w 77094"/>
                              <a:gd name="connsiteY4" fmla="*/ 7 h 63928"/>
                              <a:gd name="connsiteX5" fmla="*/ 32500 w 77094"/>
                              <a:gd name="connsiteY5" fmla="*/ 38606 h 63928"/>
                              <a:gd name="connsiteX6" fmla="*/ 74561 w 77094"/>
                              <a:gd name="connsiteY6" fmla="*/ 38819 h 63928"/>
                              <a:gd name="connsiteX7" fmla="*/ 77038 w 77094"/>
                              <a:gd name="connsiteY7" fmla="*/ 43759 h 63928"/>
                              <a:gd name="connsiteX8" fmla="*/ 73493 w 77094"/>
                              <a:gd name="connsiteY8" fmla="*/ 40129 h 63928"/>
                              <a:gd name="connsiteX9" fmla="*/ 64338 w 77094"/>
                              <a:gd name="connsiteY9" fmla="*/ 62893 h 63928"/>
                              <a:gd name="connsiteX10" fmla="*/ 3918 w 77094"/>
                              <a:gd name="connsiteY10" fmla="*/ 57173 h 63928"/>
                              <a:gd name="connsiteX0" fmla="*/ 3918 w 77094"/>
                              <a:gd name="connsiteY0" fmla="*/ 53801 h 60556"/>
                              <a:gd name="connsiteX1" fmla="*/ 2234 w 77094"/>
                              <a:gd name="connsiteY1" fmla="*/ 28330 h 60556"/>
                              <a:gd name="connsiteX2" fmla="*/ 10965 w 77094"/>
                              <a:gd name="connsiteY2" fmla="*/ 12480 h 60556"/>
                              <a:gd name="connsiteX3" fmla="*/ 30015 w 77094"/>
                              <a:gd name="connsiteY3" fmla="*/ 11426 h 60556"/>
                              <a:gd name="connsiteX4" fmla="*/ 32500 w 77094"/>
                              <a:gd name="connsiteY4" fmla="*/ 35234 h 60556"/>
                              <a:gd name="connsiteX5" fmla="*/ 74561 w 77094"/>
                              <a:gd name="connsiteY5" fmla="*/ 35447 h 60556"/>
                              <a:gd name="connsiteX6" fmla="*/ 77038 w 77094"/>
                              <a:gd name="connsiteY6" fmla="*/ 40387 h 60556"/>
                              <a:gd name="connsiteX7" fmla="*/ 73493 w 77094"/>
                              <a:gd name="connsiteY7" fmla="*/ 36757 h 60556"/>
                              <a:gd name="connsiteX8" fmla="*/ 64338 w 77094"/>
                              <a:gd name="connsiteY8" fmla="*/ 59521 h 60556"/>
                              <a:gd name="connsiteX9" fmla="*/ 3918 w 77094"/>
                              <a:gd name="connsiteY9" fmla="*/ 53801 h 60556"/>
                              <a:gd name="connsiteX0" fmla="*/ 3918 w 77094"/>
                              <a:gd name="connsiteY0" fmla="*/ 41321 h 48076"/>
                              <a:gd name="connsiteX1" fmla="*/ 2234 w 77094"/>
                              <a:gd name="connsiteY1" fmla="*/ 15850 h 48076"/>
                              <a:gd name="connsiteX2" fmla="*/ 10965 w 77094"/>
                              <a:gd name="connsiteY2" fmla="*/ 0 h 48076"/>
                              <a:gd name="connsiteX3" fmla="*/ 32500 w 77094"/>
                              <a:gd name="connsiteY3" fmla="*/ 22754 h 48076"/>
                              <a:gd name="connsiteX4" fmla="*/ 74561 w 77094"/>
                              <a:gd name="connsiteY4" fmla="*/ 22967 h 48076"/>
                              <a:gd name="connsiteX5" fmla="*/ 77038 w 77094"/>
                              <a:gd name="connsiteY5" fmla="*/ 27907 h 48076"/>
                              <a:gd name="connsiteX6" fmla="*/ 73493 w 77094"/>
                              <a:gd name="connsiteY6" fmla="*/ 24277 h 48076"/>
                              <a:gd name="connsiteX7" fmla="*/ 64338 w 77094"/>
                              <a:gd name="connsiteY7" fmla="*/ 47041 h 48076"/>
                              <a:gd name="connsiteX8" fmla="*/ 3918 w 77094"/>
                              <a:gd name="connsiteY8" fmla="*/ 41321 h 48076"/>
                              <a:gd name="connsiteX0" fmla="*/ 6540 w 79716"/>
                              <a:gd name="connsiteY0" fmla="*/ 26126 h 32881"/>
                              <a:gd name="connsiteX1" fmla="*/ 4856 w 79716"/>
                              <a:gd name="connsiteY1" fmla="*/ 655 h 32881"/>
                              <a:gd name="connsiteX2" fmla="*/ 35122 w 79716"/>
                              <a:gd name="connsiteY2" fmla="*/ 7559 h 32881"/>
                              <a:gd name="connsiteX3" fmla="*/ 77183 w 79716"/>
                              <a:gd name="connsiteY3" fmla="*/ 7772 h 32881"/>
                              <a:gd name="connsiteX4" fmla="*/ 79660 w 79716"/>
                              <a:gd name="connsiteY4" fmla="*/ 12712 h 32881"/>
                              <a:gd name="connsiteX5" fmla="*/ 76115 w 79716"/>
                              <a:gd name="connsiteY5" fmla="*/ 9082 h 32881"/>
                              <a:gd name="connsiteX6" fmla="*/ 66960 w 79716"/>
                              <a:gd name="connsiteY6" fmla="*/ 31846 h 32881"/>
                              <a:gd name="connsiteX7" fmla="*/ 6540 w 79716"/>
                              <a:gd name="connsiteY7" fmla="*/ 26126 h 32881"/>
                              <a:gd name="connsiteX0" fmla="*/ 6540 w 79716"/>
                              <a:gd name="connsiteY0" fmla="*/ 25627 h 32089"/>
                              <a:gd name="connsiteX1" fmla="*/ 4856 w 79716"/>
                              <a:gd name="connsiteY1" fmla="*/ 16285 h 32089"/>
                              <a:gd name="connsiteX2" fmla="*/ 35122 w 79716"/>
                              <a:gd name="connsiteY2" fmla="*/ 7060 h 32089"/>
                              <a:gd name="connsiteX3" fmla="*/ 77183 w 79716"/>
                              <a:gd name="connsiteY3" fmla="*/ 7273 h 32089"/>
                              <a:gd name="connsiteX4" fmla="*/ 79660 w 79716"/>
                              <a:gd name="connsiteY4" fmla="*/ 12213 h 32089"/>
                              <a:gd name="connsiteX5" fmla="*/ 76115 w 79716"/>
                              <a:gd name="connsiteY5" fmla="*/ 8583 h 32089"/>
                              <a:gd name="connsiteX6" fmla="*/ 66960 w 79716"/>
                              <a:gd name="connsiteY6" fmla="*/ 31347 h 32089"/>
                              <a:gd name="connsiteX7" fmla="*/ 6540 w 79716"/>
                              <a:gd name="connsiteY7" fmla="*/ 25627 h 32089"/>
                              <a:gd name="connsiteX0" fmla="*/ 4704 w 83247"/>
                              <a:gd name="connsiteY0" fmla="*/ 26971 h 32320"/>
                              <a:gd name="connsiteX1" fmla="*/ 8387 w 83247"/>
                              <a:gd name="connsiteY1" fmla="*/ 16285 h 32320"/>
                              <a:gd name="connsiteX2" fmla="*/ 38653 w 83247"/>
                              <a:gd name="connsiteY2" fmla="*/ 7060 h 32320"/>
                              <a:gd name="connsiteX3" fmla="*/ 80714 w 83247"/>
                              <a:gd name="connsiteY3" fmla="*/ 7273 h 32320"/>
                              <a:gd name="connsiteX4" fmla="*/ 83191 w 83247"/>
                              <a:gd name="connsiteY4" fmla="*/ 12213 h 32320"/>
                              <a:gd name="connsiteX5" fmla="*/ 79646 w 83247"/>
                              <a:gd name="connsiteY5" fmla="*/ 8583 h 32320"/>
                              <a:gd name="connsiteX6" fmla="*/ 70491 w 83247"/>
                              <a:gd name="connsiteY6" fmla="*/ 31347 h 32320"/>
                              <a:gd name="connsiteX7" fmla="*/ 4704 w 83247"/>
                              <a:gd name="connsiteY7" fmla="*/ 26971 h 32320"/>
                              <a:gd name="connsiteX0" fmla="*/ 17474 w 96017"/>
                              <a:gd name="connsiteY0" fmla="*/ 26971 h 32320"/>
                              <a:gd name="connsiteX1" fmla="*/ 1477 w 96017"/>
                              <a:gd name="connsiteY1" fmla="*/ 16285 h 32320"/>
                              <a:gd name="connsiteX2" fmla="*/ 51423 w 96017"/>
                              <a:gd name="connsiteY2" fmla="*/ 7060 h 32320"/>
                              <a:gd name="connsiteX3" fmla="*/ 93484 w 96017"/>
                              <a:gd name="connsiteY3" fmla="*/ 7273 h 32320"/>
                              <a:gd name="connsiteX4" fmla="*/ 95961 w 96017"/>
                              <a:gd name="connsiteY4" fmla="*/ 12213 h 32320"/>
                              <a:gd name="connsiteX5" fmla="*/ 92416 w 96017"/>
                              <a:gd name="connsiteY5" fmla="*/ 8583 h 32320"/>
                              <a:gd name="connsiteX6" fmla="*/ 83261 w 96017"/>
                              <a:gd name="connsiteY6" fmla="*/ 31347 h 32320"/>
                              <a:gd name="connsiteX7" fmla="*/ 17474 w 96017"/>
                              <a:gd name="connsiteY7" fmla="*/ 26971 h 32320"/>
                              <a:gd name="connsiteX0" fmla="*/ 33795 w 112338"/>
                              <a:gd name="connsiteY0" fmla="*/ 26971 h 32320"/>
                              <a:gd name="connsiteX1" fmla="*/ 17798 w 112338"/>
                              <a:gd name="connsiteY1" fmla="*/ 16285 h 32320"/>
                              <a:gd name="connsiteX2" fmla="*/ 67744 w 112338"/>
                              <a:gd name="connsiteY2" fmla="*/ 7060 h 32320"/>
                              <a:gd name="connsiteX3" fmla="*/ 109805 w 112338"/>
                              <a:gd name="connsiteY3" fmla="*/ 7273 h 32320"/>
                              <a:gd name="connsiteX4" fmla="*/ 112282 w 112338"/>
                              <a:gd name="connsiteY4" fmla="*/ 12213 h 32320"/>
                              <a:gd name="connsiteX5" fmla="*/ 108737 w 112338"/>
                              <a:gd name="connsiteY5" fmla="*/ 8583 h 32320"/>
                              <a:gd name="connsiteX6" fmla="*/ 99582 w 112338"/>
                              <a:gd name="connsiteY6" fmla="*/ 31347 h 32320"/>
                              <a:gd name="connsiteX7" fmla="*/ 33795 w 112338"/>
                              <a:gd name="connsiteY7" fmla="*/ 26971 h 32320"/>
                              <a:gd name="connsiteX0" fmla="*/ 95126 w 173669"/>
                              <a:gd name="connsiteY0" fmla="*/ 26971 h 32674"/>
                              <a:gd name="connsiteX1" fmla="*/ 73 w 173669"/>
                              <a:gd name="connsiteY1" fmla="*/ 2116 h 32674"/>
                              <a:gd name="connsiteX2" fmla="*/ 79129 w 173669"/>
                              <a:gd name="connsiteY2" fmla="*/ 16285 h 32674"/>
                              <a:gd name="connsiteX3" fmla="*/ 129075 w 173669"/>
                              <a:gd name="connsiteY3" fmla="*/ 7060 h 32674"/>
                              <a:gd name="connsiteX4" fmla="*/ 171136 w 173669"/>
                              <a:gd name="connsiteY4" fmla="*/ 7273 h 32674"/>
                              <a:gd name="connsiteX5" fmla="*/ 173613 w 173669"/>
                              <a:gd name="connsiteY5" fmla="*/ 12213 h 32674"/>
                              <a:gd name="connsiteX6" fmla="*/ 170068 w 173669"/>
                              <a:gd name="connsiteY6" fmla="*/ 8583 h 32674"/>
                              <a:gd name="connsiteX7" fmla="*/ 160913 w 173669"/>
                              <a:gd name="connsiteY7" fmla="*/ 31347 h 32674"/>
                              <a:gd name="connsiteX8" fmla="*/ 95126 w 173669"/>
                              <a:gd name="connsiteY8" fmla="*/ 26971 h 32674"/>
                              <a:gd name="connsiteX0" fmla="*/ 95471 w 174014"/>
                              <a:gd name="connsiteY0" fmla="*/ 26971 h 32153"/>
                              <a:gd name="connsiteX1" fmla="*/ 45145 w 174014"/>
                              <a:gd name="connsiteY1" fmla="*/ 26310 h 32153"/>
                              <a:gd name="connsiteX2" fmla="*/ 418 w 174014"/>
                              <a:gd name="connsiteY2" fmla="*/ 2116 h 32153"/>
                              <a:gd name="connsiteX3" fmla="*/ 79474 w 174014"/>
                              <a:gd name="connsiteY3" fmla="*/ 16285 h 32153"/>
                              <a:gd name="connsiteX4" fmla="*/ 129420 w 174014"/>
                              <a:gd name="connsiteY4" fmla="*/ 7060 h 32153"/>
                              <a:gd name="connsiteX5" fmla="*/ 171481 w 174014"/>
                              <a:gd name="connsiteY5" fmla="*/ 7273 h 32153"/>
                              <a:gd name="connsiteX6" fmla="*/ 173958 w 174014"/>
                              <a:gd name="connsiteY6" fmla="*/ 12213 h 32153"/>
                              <a:gd name="connsiteX7" fmla="*/ 170413 w 174014"/>
                              <a:gd name="connsiteY7" fmla="*/ 8583 h 32153"/>
                              <a:gd name="connsiteX8" fmla="*/ 161258 w 174014"/>
                              <a:gd name="connsiteY8" fmla="*/ 31347 h 32153"/>
                              <a:gd name="connsiteX9" fmla="*/ 95471 w 174014"/>
                              <a:gd name="connsiteY9" fmla="*/ 26971 h 32153"/>
                              <a:gd name="connsiteX0" fmla="*/ 95106 w 173649"/>
                              <a:gd name="connsiteY0" fmla="*/ 26971 h 32153"/>
                              <a:gd name="connsiteX1" fmla="*/ 44780 w 173649"/>
                              <a:gd name="connsiteY1" fmla="*/ 26310 h 32153"/>
                              <a:gd name="connsiteX2" fmla="*/ 53 w 173649"/>
                              <a:gd name="connsiteY2" fmla="*/ 2116 h 32153"/>
                              <a:gd name="connsiteX3" fmla="*/ 50147 w 173649"/>
                              <a:gd name="connsiteY3" fmla="*/ 6148 h 32153"/>
                              <a:gd name="connsiteX4" fmla="*/ 79109 w 173649"/>
                              <a:gd name="connsiteY4" fmla="*/ 16285 h 32153"/>
                              <a:gd name="connsiteX5" fmla="*/ 129055 w 173649"/>
                              <a:gd name="connsiteY5" fmla="*/ 7060 h 32153"/>
                              <a:gd name="connsiteX6" fmla="*/ 171116 w 173649"/>
                              <a:gd name="connsiteY6" fmla="*/ 7273 h 32153"/>
                              <a:gd name="connsiteX7" fmla="*/ 173593 w 173649"/>
                              <a:gd name="connsiteY7" fmla="*/ 12213 h 32153"/>
                              <a:gd name="connsiteX8" fmla="*/ 170048 w 173649"/>
                              <a:gd name="connsiteY8" fmla="*/ 8583 h 32153"/>
                              <a:gd name="connsiteX9" fmla="*/ 160893 w 173649"/>
                              <a:gd name="connsiteY9" fmla="*/ 31347 h 32153"/>
                              <a:gd name="connsiteX10" fmla="*/ 95106 w 173649"/>
                              <a:gd name="connsiteY10" fmla="*/ 26971 h 32153"/>
                              <a:gd name="connsiteX0" fmla="*/ 95106 w 173649"/>
                              <a:gd name="connsiteY0" fmla="*/ 31843 h 37025"/>
                              <a:gd name="connsiteX1" fmla="*/ 44780 w 173649"/>
                              <a:gd name="connsiteY1" fmla="*/ 31182 h 37025"/>
                              <a:gd name="connsiteX2" fmla="*/ 53 w 173649"/>
                              <a:gd name="connsiteY2" fmla="*/ 6988 h 37025"/>
                              <a:gd name="connsiteX3" fmla="*/ 50147 w 173649"/>
                              <a:gd name="connsiteY3" fmla="*/ 11020 h 37025"/>
                              <a:gd name="connsiteX4" fmla="*/ 79109 w 173649"/>
                              <a:gd name="connsiteY4" fmla="*/ 21157 h 37025"/>
                              <a:gd name="connsiteX5" fmla="*/ 129055 w 173649"/>
                              <a:gd name="connsiteY5" fmla="*/ 11932 h 37025"/>
                              <a:gd name="connsiteX6" fmla="*/ 171116 w 173649"/>
                              <a:gd name="connsiteY6" fmla="*/ 12145 h 37025"/>
                              <a:gd name="connsiteX7" fmla="*/ 173593 w 173649"/>
                              <a:gd name="connsiteY7" fmla="*/ 17085 h 37025"/>
                              <a:gd name="connsiteX8" fmla="*/ 170048 w 173649"/>
                              <a:gd name="connsiteY8" fmla="*/ 13455 h 37025"/>
                              <a:gd name="connsiteX9" fmla="*/ 160893 w 173649"/>
                              <a:gd name="connsiteY9" fmla="*/ 36219 h 37025"/>
                              <a:gd name="connsiteX10" fmla="*/ 95106 w 173649"/>
                              <a:gd name="connsiteY10" fmla="*/ 31843 h 37025"/>
                              <a:gd name="connsiteX0" fmla="*/ 95079 w 173622"/>
                              <a:gd name="connsiteY0" fmla="*/ 45038 h 50220"/>
                              <a:gd name="connsiteX1" fmla="*/ 44753 w 173622"/>
                              <a:gd name="connsiteY1" fmla="*/ 44377 h 50220"/>
                              <a:gd name="connsiteX2" fmla="*/ 26 w 173622"/>
                              <a:gd name="connsiteY2" fmla="*/ 20183 h 50220"/>
                              <a:gd name="connsiteX3" fmla="*/ 48331 w 173622"/>
                              <a:gd name="connsiteY3" fmla="*/ 20 h 50220"/>
                              <a:gd name="connsiteX4" fmla="*/ 50120 w 173622"/>
                              <a:gd name="connsiteY4" fmla="*/ 24215 h 50220"/>
                              <a:gd name="connsiteX5" fmla="*/ 79082 w 173622"/>
                              <a:gd name="connsiteY5" fmla="*/ 34352 h 50220"/>
                              <a:gd name="connsiteX6" fmla="*/ 129028 w 173622"/>
                              <a:gd name="connsiteY6" fmla="*/ 25127 h 50220"/>
                              <a:gd name="connsiteX7" fmla="*/ 171089 w 173622"/>
                              <a:gd name="connsiteY7" fmla="*/ 25340 h 50220"/>
                              <a:gd name="connsiteX8" fmla="*/ 173566 w 173622"/>
                              <a:gd name="connsiteY8" fmla="*/ 30280 h 50220"/>
                              <a:gd name="connsiteX9" fmla="*/ 170021 w 173622"/>
                              <a:gd name="connsiteY9" fmla="*/ 26650 h 50220"/>
                              <a:gd name="connsiteX10" fmla="*/ 160866 w 173622"/>
                              <a:gd name="connsiteY10" fmla="*/ 49414 h 50220"/>
                              <a:gd name="connsiteX11" fmla="*/ 95079 w 173622"/>
                              <a:gd name="connsiteY11" fmla="*/ 45038 h 50220"/>
                              <a:gd name="connsiteX0" fmla="*/ 149485 w 228028"/>
                              <a:gd name="connsiteY0" fmla="*/ 46676 h 51858"/>
                              <a:gd name="connsiteX1" fmla="*/ 99159 w 228028"/>
                              <a:gd name="connsiteY1" fmla="*/ 46015 h 51858"/>
                              <a:gd name="connsiteX2" fmla="*/ 54432 w 228028"/>
                              <a:gd name="connsiteY2" fmla="*/ 21821 h 51858"/>
                              <a:gd name="connsiteX3" fmla="*/ 760 w 228028"/>
                              <a:gd name="connsiteY3" fmla="*/ 3003 h 51858"/>
                              <a:gd name="connsiteX4" fmla="*/ 102737 w 228028"/>
                              <a:gd name="connsiteY4" fmla="*/ 1658 h 51858"/>
                              <a:gd name="connsiteX5" fmla="*/ 104526 w 228028"/>
                              <a:gd name="connsiteY5" fmla="*/ 25853 h 51858"/>
                              <a:gd name="connsiteX6" fmla="*/ 133488 w 228028"/>
                              <a:gd name="connsiteY6" fmla="*/ 35990 h 51858"/>
                              <a:gd name="connsiteX7" fmla="*/ 183434 w 228028"/>
                              <a:gd name="connsiteY7" fmla="*/ 26765 h 51858"/>
                              <a:gd name="connsiteX8" fmla="*/ 225495 w 228028"/>
                              <a:gd name="connsiteY8" fmla="*/ 26978 h 51858"/>
                              <a:gd name="connsiteX9" fmla="*/ 227972 w 228028"/>
                              <a:gd name="connsiteY9" fmla="*/ 31918 h 51858"/>
                              <a:gd name="connsiteX10" fmla="*/ 224427 w 228028"/>
                              <a:gd name="connsiteY10" fmla="*/ 28288 h 51858"/>
                              <a:gd name="connsiteX11" fmla="*/ 215272 w 228028"/>
                              <a:gd name="connsiteY11" fmla="*/ 51052 h 51858"/>
                              <a:gd name="connsiteX12" fmla="*/ 149485 w 228028"/>
                              <a:gd name="connsiteY12" fmla="*/ 46676 h 51858"/>
                              <a:gd name="connsiteX0" fmla="*/ 150228 w 228771"/>
                              <a:gd name="connsiteY0" fmla="*/ 46483 h 51665"/>
                              <a:gd name="connsiteX1" fmla="*/ 99902 w 228771"/>
                              <a:gd name="connsiteY1" fmla="*/ 45822 h 51665"/>
                              <a:gd name="connsiteX2" fmla="*/ 55175 w 228771"/>
                              <a:gd name="connsiteY2" fmla="*/ 21628 h 51665"/>
                              <a:gd name="connsiteX3" fmla="*/ 44440 w 228771"/>
                              <a:gd name="connsiteY3" fmla="*/ 13563 h 51665"/>
                              <a:gd name="connsiteX4" fmla="*/ 1503 w 228771"/>
                              <a:gd name="connsiteY4" fmla="*/ 2810 h 51665"/>
                              <a:gd name="connsiteX5" fmla="*/ 103480 w 228771"/>
                              <a:gd name="connsiteY5" fmla="*/ 1465 h 51665"/>
                              <a:gd name="connsiteX6" fmla="*/ 105269 w 228771"/>
                              <a:gd name="connsiteY6" fmla="*/ 25660 h 51665"/>
                              <a:gd name="connsiteX7" fmla="*/ 134231 w 228771"/>
                              <a:gd name="connsiteY7" fmla="*/ 35797 h 51665"/>
                              <a:gd name="connsiteX8" fmla="*/ 184177 w 228771"/>
                              <a:gd name="connsiteY8" fmla="*/ 26572 h 51665"/>
                              <a:gd name="connsiteX9" fmla="*/ 226238 w 228771"/>
                              <a:gd name="connsiteY9" fmla="*/ 26785 h 51665"/>
                              <a:gd name="connsiteX10" fmla="*/ 228715 w 228771"/>
                              <a:gd name="connsiteY10" fmla="*/ 31725 h 51665"/>
                              <a:gd name="connsiteX11" fmla="*/ 225170 w 228771"/>
                              <a:gd name="connsiteY11" fmla="*/ 28095 h 51665"/>
                              <a:gd name="connsiteX12" fmla="*/ 216015 w 228771"/>
                              <a:gd name="connsiteY12" fmla="*/ 50859 h 51665"/>
                              <a:gd name="connsiteX13" fmla="*/ 150228 w 228771"/>
                              <a:gd name="connsiteY13" fmla="*/ 46483 h 51665"/>
                              <a:gd name="connsiteX0" fmla="*/ 150228 w 228771"/>
                              <a:gd name="connsiteY0" fmla="*/ 46483 h 53319"/>
                              <a:gd name="connsiteX1" fmla="*/ 99902 w 228771"/>
                              <a:gd name="connsiteY1" fmla="*/ 45822 h 53319"/>
                              <a:gd name="connsiteX2" fmla="*/ 60542 w 228771"/>
                              <a:gd name="connsiteY2" fmla="*/ 52543 h 53319"/>
                              <a:gd name="connsiteX3" fmla="*/ 55175 w 228771"/>
                              <a:gd name="connsiteY3" fmla="*/ 21628 h 53319"/>
                              <a:gd name="connsiteX4" fmla="*/ 44440 w 228771"/>
                              <a:gd name="connsiteY4" fmla="*/ 13563 h 53319"/>
                              <a:gd name="connsiteX5" fmla="*/ 1503 w 228771"/>
                              <a:gd name="connsiteY5" fmla="*/ 2810 h 53319"/>
                              <a:gd name="connsiteX6" fmla="*/ 103480 w 228771"/>
                              <a:gd name="connsiteY6" fmla="*/ 1465 h 53319"/>
                              <a:gd name="connsiteX7" fmla="*/ 105269 w 228771"/>
                              <a:gd name="connsiteY7" fmla="*/ 25660 h 53319"/>
                              <a:gd name="connsiteX8" fmla="*/ 134231 w 228771"/>
                              <a:gd name="connsiteY8" fmla="*/ 35797 h 53319"/>
                              <a:gd name="connsiteX9" fmla="*/ 184177 w 228771"/>
                              <a:gd name="connsiteY9" fmla="*/ 26572 h 53319"/>
                              <a:gd name="connsiteX10" fmla="*/ 226238 w 228771"/>
                              <a:gd name="connsiteY10" fmla="*/ 26785 h 53319"/>
                              <a:gd name="connsiteX11" fmla="*/ 228715 w 228771"/>
                              <a:gd name="connsiteY11" fmla="*/ 31725 h 53319"/>
                              <a:gd name="connsiteX12" fmla="*/ 225170 w 228771"/>
                              <a:gd name="connsiteY12" fmla="*/ 28095 h 53319"/>
                              <a:gd name="connsiteX13" fmla="*/ 216015 w 228771"/>
                              <a:gd name="connsiteY13" fmla="*/ 50859 h 53319"/>
                              <a:gd name="connsiteX14" fmla="*/ 150228 w 228771"/>
                              <a:gd name="connsiteY14" fmla="*/ 46483 h 53319"/>
                              <a:gd name="connsiteX0" fmla="*/ 150228 w 228771"/>
                              <a:gd name="connsiteY0" fmla="*/ 46483 h 75624"/>
                              <a:gd name="connsiteX1" fmla="*/ 99902 w 228771"/>
                              <a:gd name="connsiteY1" fmla="*/ 45822 h 75624"/>
                              <a:gd name="connsiteX2" fmla="*/ 60542 w 228771"/>
                              <a:gd name="connsiteY2" fmla="*/ 52543 h 75624"/>
                              <a:gd name="connsiteX3" fmla="*/ 40863 w 228771"/>
                              <a:gd name="connsiteY3" fmla="*/ 75394 h 75624"/>
                              <a:gd name="connsiteX4" fmla="*/ 44440 w 228771"/>
                              <a:gd name="connsiteY4" fmla="*/ 13563 h 75624"/>
                              <a:gd name="connsiteX5" fmla="*/ 1503 w 228771"/>
                              <a:gd name="connsiteY5" fmla="*/ 2810 h 75624"/>
                              <a:gd name="connsiteX6" fmla="*/ 103480 w 228771"/>
                              <a:gd name="connsiteY6" fmla="*/ 1465 h 75624"/>
                              <a:gd name="connsiteX7" fmla="*/ 105269 w 228771"/>
                              <a:gd name="connsiteY7" fmla="*/ 25660 h 75624"/>
                              <a:gd name="connsiteX8" fmla="*/ 134231 w 228771"/>
                              <a:gd name="connsiteY8" fmla="*/ 35797 h 75624"/>
                              <a:gd name="connsiteX9" fmla="*/ 184177 w 228771"/>
                              <a:gd name="connsiteY9" fmla="*/ 26572 h 75624"/>
                              <a:gd name="connsiteX10" fmla="*/ 226238 w 228771"/>
                              <a:gd name="connsiteY10" fmla="*/ 26785 h 75624"/>
                              <a:gd name="connsiteX11" fmla="*/ 228715 w 228771"/>
                              <a:gd name="connsiteY11" fmla="*/ 31725 h 75624"/>
                              <a:gd name="connsiteX12" fmla="*/ 225170 w 228771"/>
                              <a:gd name="connsiteY12" fmla="*/ 28095 h 75624"/>
                              <a:gd name="connsiteX13" fmla="*/ 216015 w 228771"/>
                              <a:gd name="connsiteY13" fmla="*/ 50859 h 75624"/>
                              <a:gd name="connsiteX14" fmla="*/ 150228 w 228771"/>
                              <a:gd name="connsiteY14" fmla="*/ 46483 h 75624"/>
                              <a:gd name="connsiteX0" fmla="*/ 150228 w 228771"/>
                              <a:gd name="connsiteY0" fmla="*/ 46483 h 78602"/>
                              <a:gd name="connsiteX1" fmla="*/ 99902 w 228771"/>
                              <a:gd name="connsiteY1" fmla="*/ 45822 h 78602"/>
                              <a:gd name="connsiteX2" fmla="*/ 60542 w 228771"/>
                              <a:gd name="connsiteY2" fmla="*/ 52543 h 78602"/>
                              <a:gd name="connsiteX3" fmla="*/ 55175 w 228771"/>
                              <a:gd name="connsiteY3" fmla="*/ 71361 h 78602"/>
                              <a:gd name="connsiteX4" fmla="*/ 40863 w 228771"/>
                              <a:gd name="connsiteY4" fmla="*/ 75394 h 78602"/>
                              <a:gd name="connsiteX5" fmla="*/ 44440 w 228771"/>
                              <a:gd name="connsiteY5" fmla="*/ 13563 h 78602"/>
                              <a:gd name="connsiteX6" fmla="*/ 1503 w 228771"/>
                              <a:gd name="connsiteY6" fmla="*/ 2810 h 78602"/>
                              <a:gd name="connsiteX7" fmla="*/ 103480 w 228771"/>
                              <a:gd name="connsiteY7" fmla="*/ 1465 h 78602"/>
                              <a:gd name="connsiteX8" fmla="*/ 105269 w 228771"/>
                              <a:gd name="connsiteY8" fmla="*/ 25660 h 78602"/>
                              <a:gd name="connsiteX9" fmla="*/ 134231 w 228771"/>
                              <a:gd name="connsiteY9" fmla="*/ 35797 h 78602"/>
                              <a:gd name="connsiteX10" fmla="*/ 184177 w 228771"/>
                              <a:gd name="connsiteY10" fmla="*/ 26572 h 78602"/>
                              <a:gd name="connsiteX11" fmla="*/ 226238 w 228771"/>
                              <a:gd name="connsiteY11" fmla="*/ 26785 h 78602"/>
                              <a:gd name="connsiteX12" fmla="*/ 228715 w 228771"/>
                              <a:gd name="connsiteY12" fmla="*/ 31725 h 78602"/>
                              <a:gd name="connsiteX13" fmla="*/ 225170 w 228771"/>
                              <a:gd name="connsiteY13" fmla="*/ 28095 h 78602"/>
                              <a:gd name="connsiteX14" fmla="*/ 216015 w 228771"/>
                              <a:gd name="connsiteY14" fmla="*/ 50859 h 78602"/>
                              <a:gd name="connsiteX15" fmla="*/ 150228 w 228771"/>
                              <a:gd name="connsiteY15" fmla="*/ 46483 h 78602"/>
                              <a:gd name="connsiteX0" fmla="*/ 150228 w 228771"/>
                              <a:gd name="connsiteY0" fmla="*/ 46483 h 78602"/>
                              <a:gd name="connsiteX1" fmla="*/ 99902 w 228771"/>
                              <a:gd name="connsiteY1" fmla="*/ 45822 h 78602"/>
                              <a:gd name="connsiteX2" fmla="*/ 62331 w 228771"/>
                              <a:gd name="connsiteY2" fmla="*/ 59264 h 78602"/>
                              <a:gd name="connsiteX3" fmla="*/ 55175 w 228771"/>
                              <a:gd name="connsiteY3" fmla="*/ 71361 h 78602"/>
                              <a:gd name="connsiteX4" fmla="*/ 40863 w 228771"/>
                              <a:gd name="connsiteY4" fmla="*/ 75394 h 78602"/>
                              <a:gd name="connsiteX5" fmla="*/ 44440 w 228771"/>
                              <a:gd name="connsiteY5" fmla="*/ 13563 h 78602"/>
                              <a:gd name="connsiteX6" fmla="*/ 1503 w 228771"/>
                              <a:gd name="connsiteY6" fmla="*/ 2810 h 78602"/>
                              <a:gd name="connsiteX7" fmla="*/ 103480 w 228771"/>
                              <a:gd name="connsiteY7" fmla="*/ 1465 h 78602"/>
                              <a:gd name="connsiteX8" fmla="*/ 105269 w 228771"/>
                              <a:gd name="connsiteY8" fmla="*/ 25660 h 78602"/>
                              <a:gd name="connsiteX9" fmla="*/ 134231 w 228771"/>
                              <a:gd name="connsiteY9" fmla="*/ 35797 h 78602"/>
                              <a:gd name="connsiteX10" fmla="*/ 184177 w 228771"/>
                              <a:gd name="connsiteY10" fmla="*/ 26572 h 78602"/>
                              <a:gd name="connsiteX11" fmla="*/ 226238 w 228771"/>
                              <a:gd name="connsiteY11" fmla="*/ 26785 h 78602"/>
                              <a:gd name="connsiteX12" fmla="*/ 228715 w 228771"/>
                              <a:gd name="connsiteY12" fmla="*/ 31725 h 78602"/>
                              <a:gd name="connsiteX13" fmla="*/ 225170 w 228771"/>
                              <a:gd name="connsiteY13" fmla="*/ 28095 h 78602"/>
                              <a:gd name="connsiteX14" fmla="*/ 216015 w 228771"/>
                              <a:gd name="connsiteY14" fmla="*/ 50859 h 78602"/>
                              <a:gd name="connsiteX15" fmla="*/ 150228 w 228771"/>
                              <a:gd name="connsiteY15" fmla="*/ 46483 h 78602"/>
                              <a:gd name="connsiteX0" fmla="*/ 115063 w 193606"/>
                              <a:gd name="connsiteY0" fmla="*/ 45406 h 77525"/>
                              <a:gd name="connsiteX1" fmla="*/ 64737 w 193606"/>
                              <a:gd name="connsiteY1" fmla="*/ 44745 h 77525"/>
                              <a:gd name="connsiteX2" fmla="*/ 27166 w 193606"/>
                              <a:gd name="connsiteY2" fmla="*/ 58187 h 77525"/>
                              <a:gd name="connsiteX3" fmla="*/ 20010 w 193606"/>
                              <a:gd name="connsiteY3" fmla="*/ 70284 h 77525"/>
                              <a:gd name="connsiteX4" fmla="*/ 5698 w 193606"/>
                              <a:gd name="connsiteY4" fmla="*/ 74317 h 77525"/>
                              <a:gd name="connsiteX5" fmla="*/ 9275 w 193606"/>
                              <a:gd name="connsiteY5" fmla="*/ 12486 h 77525"/>
                              <a:gd name="connsiteX6" fmla="*/ 5698 w 193606"/>
                              <a:gd name="connsiteY6" fmla="*/ 12486 h 77525"/>
                              <a:gd name="connsiteX7" fmla="*/ 68315 w 193606"/>
                              <a:gd name="connsiteY7" fmla="*/ 388 h 77525"/>
                              <a:gd name="connsiteX8" fmla="*/ 70104 w 193606"/>
                              <a:gd name="connsiteY8" fmla="*/ 24583 h 77525"/>
                              <a:gd name="connsiteX9" fmla="*/ 99066 w 193606"/>
                              <a:gd name="connsiteY9" fmla="*/ 34720 h 77525"/>
                              <a:gd name="connsiteX10" fmla="*/ 149012 w 193606"/>
                              <a:gd name="connsiteY10" fmla="*/ 25495 h 77525"/>
                              <a:gd name="connsiteX11" fmla="*/ 191073 w 193606"/>
                              <a:gd name="connsiteY11" fmla="*/ 25708 h 77525"/>
                              <a:gd name="connsiteX12" fmla="*/ 193550 w 193606"/>
                              <a:gd name="connsiteY12" fmla="*/ 30648 h 77525"/>
                              <a:gd name="connsiteX13" fmla="*/ 190005 w 193606"/>
                              <a:gd name="connsiteY13" fmla="*/ 27018 h 77525"/>
                              <a:gd name="connsiteX14" fmla="*/ 180850 w 193606"/>
                              <a:gd name="connsiteY14" fmla="*/ 49782 h 77525"/>
                              <a:gd name="connsiteX15" fmla="*/ 115063 w 193606"/>
                              <a:gd name="connsiteY15" fmla="*/ 45406 h 77525"/>
                              <a:gd name="connsiteX0" fmla="*/ 125485 w 204028"/>
                              <a:gd name="connsiteY0" fmla="*/ 45406 h 85220"/>
                              <a:gd name="connsiteX1" fmla="*/ 75159 w 204028"/>
                              <a:gd name="connsiteY1" fmla="*/ 44745 h 85220"/>
                              <a:gd name="connsiteX2" fmla="*/ 37588 w 204028"/>
                              <a:gd name="connsiteY2" fmla="*/ 58187 h 85220"/>
                              <a:gd name="connsiteX3" fmla="*/ 30432 w 204028"/>
                              <a:gd name="connsiteY3" fmla="*/ 70284 h 85220"/>
                              <a:gd name="connsiteX4" fmla="*/ 16120 w 204028"/>
                              <a:gd name="connsiteY4" fmla="*/ 74317 h 85220"/>
                              <a:gd name="connsiteX5" fmla="*/ 17 w 204028"/>
                              <a:gd name="connsiteY5" fmla="*/ 82381 h 85220"/>
                              <a:gd name="connsiteX6" fmla="*/ 19697 w 204028"/>
                              <a:gd name="connsiteY6" fmla="*/ 12486 h 85220"/>
                              <a:gd name="connsiteX7" fmla="*/ 16120 w 204028"/>
                              <a:gd name="connsiteY7" fmla="*/ 12486 h 85220"/>
                              <a:gd name="connsiteX8" fmla="*/ 78737 w 204028"/>
                              <a:gd name="connsiteY8" fmla="*/ 388 h 85220"/>
                              <a:gd name="connsiteX9" fmla="*/ 80526 w 204028"/>
                              <a:gd name="connsiteY9" fmla="*/ 24583 h 85220"/>
                              <a:gd name="connsiteX10" fmla="*/ 109488 w 204028"/>
                              <a:gd name="connsiteY10" fmla="*/ 34720 h 85220"/>
                              <a:gd name="connsiteX11" fmla="*/ 159434 w 204028"/>
                              <a:gd name="connsiteY11" fmla="*/ 25495 h 85220"/>
                              <a:gd name="connsiteX12" fmla="*/ 201495 w 204028"/>
                              <a:gd name="connsiteY12" fmla="*/ 25708 h 85220"/>
                              <a:gd name="connsiteX13" fmla="*/ 203972 w 204028"/>
                              <a:gd name="connsiteY13" fmla="*/ 30648 h 85220"/>
                              <a:gd name="connsiteX14" fmla="*/ 200427 w 204028"/>
                              <a:gd name="connsiteY14" fmla="*/ 27018 h 85220"/>
                              <a:gd name="connsiteX15" fmla="*/ 191272 w 204028"/>
                              <a:gd name="connsiteY15" fmla="*/ 49782 h 85220"/>
                              <a:gd name="connsiteX16" fmla="*/ 125485 w 204028"/>
                              <a:gd name="connsiteY16" fmla="*/ 45406 h 85220"/>
                              <a:gd name="connsiteX0" fmla="*/ 125562 w 204105"/>
                              <a:gd name="connsiteY0" fmla="*/ 45406 h 93564"/>
                              <a:gd name="connsiteX1" fmla="*/ 75236 w 204105"/>
                              <a:gd name="connsiteY1" fmla="*/ 44745 h 93564"/>
                              <a:gd name="connsiteX2" fmla="*/ 37665 w 204105"/>
                              <a:gd name="connsiteY2" fmla="*/ 58187 h 93564"/>
                              <a:gd name="connsiteX3" fmla="*/ 30509 w 204105"/>
                              <a:gd name="connsiteY3" fmla="*/ 70284 h 93564"/>
                              <a:gd name="connsiteX4" fmla="*/ 16197 w 204105"/>
                              <a:gd name="connsiteY4" fmla="*/ 74317 h 93564"/>
                              <a:gd name="connsiteX5" fmla="*/ 17985 w 204105"/>
                              <a:gd name="connsiteY5" fmla="*/ 93134 h 93564"/>
                              <a:gd name="connsiteX6" fmla="*/ 94 w 204105"/>
                              <a:gd name="connsiteY6" fmla="*/ 82381 h 93564"/>
                              <a:gd name="connsiteX7" fmla="*/ 19774 w 204105"/>
                              <a:gd name="connsiteY7" fmla="*/ 12486 h 93564"/>
                              <a:gd name="connsiteX8" fmla="*/ 16197 w 204105"/>
                              <a:gd name="connsiteY8" fmla="*/ 12486 h 93564"/>
                              <a:gd name="connsiteX9" fmla="*/ 78814 w 204105"/>
                              <a:gd name="connsiteY9" fmla="*/ 388 h 93564"/>
                              <a:gd name="connsiteX10" fmla="*/ 80603 w 204105"/>
                              <a:gd name="connsiteY10" fmla="*/ 24583 h 93564"/>
                              <a:gd name="connsiteX11" fmla="*/ 109565 w 204105"/>
                              <a:gd name="connsiteY11" fmla="*/ 34720 h 93564"/>
                              <a:gd name="connsiteX12" fmla="*/ 159511 w 204105"/>
                              <a:gd name="connsiteY12" fmla="*/ 25495 h 93564"/>
                              <a:gd name="connsiteX13" fmla="*/ 201572 w 204105"/>
                              <a:gd name="connsiteY13" fmla="*/ 25708 h 93564"/>
                              <a:gd name="connsiteX14" fmla="*/ 204049 w 204105"/>
                              <a:gd name="connsiteY14" fmla="*/ 30648 h 93564"/>
                              <a:gd name="connsiteX15" fmla="*/ 200504 w 204105"/>
                              <a:gd name="connsiteY15" fmla="*/ 27018 h 93564"/>
                              <a:gd name="connsiteX16" fmla="*/ 191349 w 204105"/>
                              <a:gd name="connsiteY16" fmla="*/ 49782 h 93564"/>
                              <a:gd name="connsiteX17" fmla="*/ 125562 w 204105"/>
                              <a:gd name="connsiteY17" fmla="*/ 45406 h 93564"/>
                              <a:gd name="connsiteX0" fmla="*/ 125562 w 204105"/>
                              <a:gd name="connsiteY0" fmla="*/ 45406 h 93564"/>
                              <a:gd name="connsiteX1" fmla="*/ 75236 w 204105"/>
                              <a:gd name="connsiteY1" fmla="*/ 44745 h 93564"/>
                              <a:gd name="connsiteX2" fmla="*/ 37665 w 204105"/>
                              <a:gd name="connsiteY2" fmla="*/ 58187 h 93564"/>
                              <a:gd name="connsiteX3" fmla="*/ 30509 w 204105"/>
                              <a:gd name="connsiteY3" fmla="*/ 70284 h 93564"/>
                              <a:gd name="connsiteX4" fmla="*/ 21564 w 204105"/>
                              <a:gd name="connsiteY4" fmla="*/ 79693 h 93564"/>
                              <a:gd name="connsiteX5" fmla="*/ 17985 w 204105"/>
                              <a:gd name="connsiteY5" fmla="*/ 93134 h 93564"/>
                              <a:gd name="connsiteX6" fmla="*/ 94 w 204105"/>
                              <a:gd name="connsiteY6" fmla="*/ 82381 h 93564"/>
                              <a:gd name="connsiteX7" fmla="*/ 19774 w 204105"/>
                              <a:gd name="connsiteY7" fmla="*/ 12486 h 93564"/>
                              <a:gd name="connsiteX8" fmla="*/ 16197 w 204105"/>
                              <a:gd name="connsiteY8" fmla="*/ 12486 h 93564"/>
                              <a:gd name="connsiteX9" fmla="*/ 78814 w 204105"/>
                              <a:gd name="connsiteY9" fmla="*/ 388 h 93564"/>
                              <a:gd name="connsiteX10" fmla="*/ 80603 w 204105"/>
                              <a:gd name="connsiteY10" fmla="*/ 24583 h 93564"/>
                              <a:gd name="connsiteX11" fmla="*/ 109565 w 204105"/>
                              <a:gd name="connsiteY11" fmla="*/ 34720 h 93564"/>
                              <a:gd name="connsiteX12" fmla="*/ 159511 w 204105"/>
                              <a:gd name="connsiteY12" fmla="*/ 25495 h 93564"/>
                              <a:gd name="connsiteX13" fmla="*/ 201572 w 204105"/>
                              <a:gd name="connsiteY13" fmla="*/ 25708 h 93564"/>
                              <a:gd name="connsiteX14" fmla="*/ 204049 w 204105"/>
                              <a:gd name="connsiteY14" fmla="*/ 30648 h 93564"/>
                              <a:gd name="connsiteX15" fmla="*/ 200504 w 204105"/>
                              <a:gd name="connsiteY15" fmla="*/ 27018 h 93564"/>
                              <a:gd name="connsiteX16" fmla="*/ 191349 w 204105"/>
                              <a:gd name="connsiteY16" fmla="*/ 49782 h 93564"/>
                              <a:gd name="connsiteX17" fmla="*/ 125562 w 204105"/>
                              <a:gd name="connsiteY17" fmla="*/ 45406 h 9356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  <a:cxn ang="0">
                                <a:pos x="connsiteX11" y="connsiteY11"/>
                              </a:cxn>
                              <a:cxn ang="0">
                                <a:pos x="connsiteX12" y="connsiteY12"/>
                              </a:cxn>
                              <a:cxn ang="0">
                                <a:pos x="connsiteX13" y="connsiteY13"/>
                              </a:cxn>
                              <a:cxn ang="0">
                                <a:pos x="connsiteX14" y="connsiteY14"/>
                              </a:cxn>
                              <a:cxn ang="0">
                                <a:pos x="connsiteX15" y="connsiteY15"/>
                              </a:cxn>
                              <a:cxn ang="0">
                                <a:pos x="connsiteX16" y="connsiteY16"/>
                              </a:cxn>
                              <a:cxn ang="0">
                                <a:pos x="connsiteX17" y="connsiteY17"/>
                              </a:cxn>
                            </a:cxnLst>
                            <a:rect l="l" t="t" r="r" b="b"/>
                            <a:pathLst>
                              <a:path w="204105" h="93564">
                                <a:moveTo>
                                  <a:pt x="125562" y="45406"/>
                                </a:moveTo>
                                <a:cubicBezTo>
                                  <a:pt x="106210" y="44567"/>
                                  <a:pt x="91078" y="48887"/>
                                  <a:pt x="75236" y="44745"/>
                                </a:cubicBezTo>
                                <a:cubicBezTo>
                                  <a:pt x="61481" y="42395"/>
                                  <a:pt x="45119" y="62219"/>
                                  <a:pt x="37665" y="58187"/>
                                </a:cubicBezTo>
                                <a:cubicBezTo>
                                  <a:pt x="29316" y="60427"/>
                                  <a:pt x="33789" y="66476"/>
                                  <a:pt x="30509" y="70284"/>
                                </a:cubicBezTo>
                                <a:cubicBezTo>
                                  <a:pt x="27229" y="74093"/>
                                  <a:pt x="24844" y="78573"/>
                                  <a:pt x="21564" y="79693"/>
                                </a:cubicBezTo>
                                <a:cubicBezTo>
                                  <a:pt x="18284" y="80813"/>
                                  <a:pt x="20669" y="91790"/>
                                  <a:pt x="17985" y="93134"/>
                                </a:cubicBezTo>
                                <a:cubicBezTo>
                                  <a:pt x="15301" y="94478"/>
                                  <a:pt x="-1397" y="93134"/>
                                  <a:pt x="94" y="82381"/>
                                </a:cubicBezTo>
                                <a:cubicBezTo>
                                  <a:pt x="1585" y="71628"/>
                                  <a:pt x="20072" y="19207"/>
                                  <a:pt x="19774" y="12486"/>
                                </a:cubicBezTo>
                                <a:cubicBezTo>
                                  <a:pt x="19476" y="5765"/>
                                  <a:pt x="6059" y="15174"/>
                                  <a:pt x="16197" y="12486"/>
                                </a:cubicBezTo>
                                <a:cubicBezTo>
                                  <a:pt x="26335" y="9798"/>
                                  <a:pt x="74639" y="-2300"/>
                                  <a:pt x="78814" y="388"/>
                                </a:cubicBezTo>
                                <a:cubicBezTo>
                                  <a:pt x="82989" y="3076"/>
                                  <a:pt x="73689" y="21101"/>
                                  <a:pt x="80603" y="24583"/>
                                </a:cubicBezTo>
                                <a:cubicBezTo>
                                  <a:pt x="93779" y="26944"/>
                                  <a:pt x="97010" y="36360"/>
                                  <a:pt x="109565" y="34720"/>
                                </a:cubicBezTo>
                                <a:cubicBezTo>
                                  <a:pt x="114329" y="31626"/>
                                  <a:pt x="147457" y="24309"/>
                                  <a:pt x="159511" y="25495"/>
                                </a:cubicBezTo>
                                <a:cubicBezTo>
                                  <a:pt x="171566" y="26681"/>
                                  <a:pt x="199014" y="20336"/>
                                  <a:pt x="201572" y="25708"/>
                                </a:cubicBezTo>
                                <a:cubicBezTo>
                                  <a:pt x="204130" y="31080"/>
                                  <a:pt x="204227" y="30430"/>
                                  <a:pt x="204049" y="30648"/>
                                </a:cubicBezTo>
                                <a:cubicBezTo>
                                  <a:pt x="203871" y="30866"/>
                                  <a:pt x="200504" y="5685"/>
                                  <a:pt x="200504" y="27018"/>
                                </a:cubicBezTo>
                                <a:cubicBezTo>
                                  <a:pt x="200504" y="48351"/>
                                  <a:pt x="203839" y="46717"/>
                                  <a:pt x="191349" y="49782"/>
                                </a:cubicBezTo>
                                <a:cubicBezTo>
                                  <a:pt x="178859" y="52847"/>
                                  <a:pt x="144914" y="46245"/>
                                  <a:pt x="125562" y="45406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91" name="Freeform 235"/>
                          <p:cNvSpPr/>
                          <p:nvPr/>
                        </p:nvSpPr>
                        <p:spPr>
                          <a:xfrm rot="11700000">
                            <a:off x="4655061" y="6012395"/>
                            <a:ext cx="121693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93" name="Freeform 236"/>
                          <p:cNvSpPr/>
                          <p:nvPr/>
                        </p:nvSpPr>
                        <p:spPr>
                          <a:xfrm rot="11700000">
                            <a:off x="6330482" y="3324487"/>
                            <a:ext cx="6244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95" name="Freeform 237"/>
                          <p:cNvSpPr/>
                          <p:nvPr/>
                        </p:nvSpPr>
                        <p:spPr>
                          <a:xfrm rot="11700000">
                            <a:off x="6196454" y="3781332"/>
                            <a:ext cx="6244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sp>
                        <p:nvSpPr>
                          <p:cNvPr id="397" name="Freeform 238"/>
                          <p:cNvSpPr/>
                          <p:nvPr/>
                        </p:nvSpPr>
                        <p:spPr>
                          <a:xfrm rot="11700000">
                            <a:off x="6730532" y="3610237"/>
                            <a:ext cx="62448" cy="69032"/>
                          </a:xfrm>
                          <a:custGeom>
                            <a:avLst/>
                            <a:gdLst>
                              <a:gd name="connsiteX0" fmla="*/ 175260 w 541020"/>
                              <a:gd name="connsiteY0" fmla="*/ 45720 h 281940"/>
                              <a:gd name="connsiteX1" fmla="*/ 0 w 541020"/>
                              <a:gd name="connsiteY1" fmla="*/ 121920 h 281940"/>
                              <a:gd name="connsiteX2" fmla="*/ 7620 w 541020"/>
                              <a:gd name="connsiteY2" fmla="*/ 251460 h 281940"/>
                              <a:gd name="connsiteX3" fmla="*/ 160020 w 541020"/>
                              <a:gd name="connsiteY3" fmla="*/ 281940 h 281940"/>
                              <a:gd name="connsiteX4" fmla="*/ 327660 w 541020"/>
                              <a:gd name="connsiteY4" fmla="*/ 236220 h 281940"/>
                              <a:gd name="connsiteX5" fmla="*/ 495300 w 541020"/>
                              <a:gd name="connsiteY5" fmla="*/ 114300 h 281940"/>
                              <a:gd name="connsiteX6" fmla="*/ 541020 w 541020"/>
                              <a:gd name="connsiteY6" fmla="*/ 30480 h 281940"/>
                              <a:gd name="connsiteX7" fmla="*/ 518160 w 541020"/>
                              <a:gd name="connsiteY7" fmla="*/ 0 h 281940"/>
                              <a:gd name="connsiteX8" fmla="*/ 449580 w 541020"/>
                              <a:gd name="connsiteY8" fmla="*/ 0 h 281940"/>
                              <a:gd name="connsiteX9" fmla="*/ 175260 w 541020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1940"/>
                              <a:gd name="connsiteX1" fmla="*/ 17128 w 558148"/>
                              <a:gd name="connsiteY1" fmla="*/ 121920 h 281940"/>
                              <a:gd name="connsiteX2" fmla="*/ 24748 w 558148"/>
                              <a:gd name="connsiteY2" fmla="*/ 251460 h 281940"/>
                              <a:gd name="connsiteX3" fmla="*/ 177148 w 558148"/>
                              <a:gd name="connsiteY3" fmla="*/ 281940 h 281940"/>
                              <a:gd name="connsiteX4" fmla="*/ 344788 w 558148"/>
                              <a:gd name="connsiteY4" fmla="*/ 236220 h 281940"/>
                              <a:gd name="connsiteX5" fmla="*/ 512428 w 558148"/>
                              <a:gd name="connsiteY5" fmla="*/ 114300 h 281940"/>
                              <a:gd name="connsiteX6" fmla="*/ 558148 w 558148"/>
                              <a:gd name="connsiteY6" fmla="*/ 30480 h 281940"/>
                              <a:gd name="connsiteX7" fmla="*/ 535288 w 558148"/>
                              <a:gd name="connsiteY7" fmla="*/ 0 h 281940"/>
                              <a:gd name="connsiteX8" fmla="*/ 466708 w 558148"/>
                              <a:gd name="connsiteY8" fmla="*/ 0 h 281940"/>
                              <a:gd name="connsiteX9" fmla="*/ 192388 w 558148"/>
                              <a:gd name="connsiteY9" fmla="*/ 45720 h 281940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45720 h 282454"/>
                              <a:gd name="connsiteX1" fmla="*/ 17128 w 558148"/>
                              <a:gd name="connsiteY1" fmla="*/ 121920 h 282454"/>
                              <a:gd name="connsiteX2" fmla="*/ 24748 w 558148"/>
                              <a:gd name="connsiteY2" fmla="*/ 251460 h 282454"/>
                              <a:gd name="connsiteX3" fmla="*/ 177148 w 558148"/>
                              <a:gd name="connsiteY3" fmla="*/ 281940 h 282454"/>
                              <a:gd name="connsiteX4" fmla="*/ 344788 w 558148"/>
                              <a:gd name="connsiteY4" fmla="*/ 236220 h 282454"/>
                              <a:gd name="connsiteX5" fmla="*/ 512428 w 558148"/>
                              <a:gd name="connsiteY5" fmla="*/ 114300 h 282454"/>
                              <a:gd name="connsiteX6" fmla="*/ 558148 w 558148"/>
                              <a:gd name="connsiteY6" fmla="*/ 30480 h 282454"/>
                              <a:gd name="connsiteX7" fmla="*/ 535288 w 558148"/>
                              <a:gd name="connsiteY7" fmla="*/ 0 h 282454"/>
                              <a:gd name="connsiteX8" fmla="*/ 466708 w 558148"/>
                              <a:gd name="connsiteY8" fmla="*/ 0 h 282454"/>
                              <a:gd name="connsiteX9" fmla="*/ 192388 w 558148"/>
                              <a:gd name="connsiteY9" fmla="*/ 45720 h 282454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58148"/>
                              <a:gd name="connsiteY0" fmla="*/ 50529 h 287263"/>
                              <a:gd name="connsiteX1" fmla="*/ 17128 w 558148"/>
                              <a:gd name="connsiteY1" fmla="*/ 126729 h 287263"/>
                              <a:gd name="connsiteX2" fmla="*/ 24748 w 558148"/>
                              <a:gd name="connsiteY2" fmla="*/ 256269 h 287263"/>
                              <a:gd name="connsiteX3" fmla="*/ 177148 w 558148"/>
                              <a:gd name="connsiteY3" fmla="*/ 286749 h 287263"/>
                              <a:gd name="connsiteX4" fmla="*/ 344788 w 558148"/>
                              <a:gd name="connsiteY4" fmla="*/ 241029 h 287263"/>
                              <a:gd name="connsiteX5" fmla="*/ 512428 w 558148"/>
                              <a:gd name="connsiteY5" fmla="*/ 119109 h 287263"/>
                              <a:gd name="connsiteX6" fmla="*/ 558148 w 558148"/>
                              <a:gd name="connsiteY6" fmla="*/ 35289 h 287263"/>
                              <a:gd name="connsiteX7" fmla="*/ 535288 w 558148"/>
                              <a:gd name="connsiteY7" fmla="*/ 4809 h 287263"/>
                              <a:gd name="connsiteX8" fmla="*/ 466708 w 558148"/>
                              <a:gd name="connsiteY8" fmla="*/ 4809 h 287263"/>
                              <a:gd name="connsiteX9" fmla="*/ 192388 w 558148"/>
                              <a:gd name="connsiteY9" fmla="*/ 50529 h 287263"/>
                              <a:gd name="connsiteX0" fmla="*/ 192388 w 564165"/>
                              <a:gd name="connsiteY0" fmla="*/ 50529 h 287263"/>
                              <a:gd name="connsiteX1" fmla="*/ 17128 w 564165"/>
                              <a:gd name="connsiteY1" fmla="*/ 126729 h 287263"/>
                              <a:gd name="connsiteX2" fmla="*/ 24748 w 564165"/>
                              <a:gd name="connsiteY2" fmla="*/ 256269 h 287263"/>
                              <a:gd name="connsiteX3" fmla="*/ 177148 w 564165"/>
                              <a:gd name="connsiteY3" fmla="*/ 286749 h 287263"/>
                              <a:gd name="connsiteX4" fmla="*/ 344788 w 564165"/>
                              <a:gd name="connsiteY4" fmla="*/ 241029 h 287263"/>
                              <a:gd name="connsiteX5" fmla="*/ 545402 w 564165"/>
                              <a:gd name="connsiteY5" fmla="*/ 181894 h 287263"/>
                              <a:gd name="connsiteX6" fmla="*/ 558148 w 564165"/>
                              <a:gd name="connsiteY6" fmla="*/ 35289 h 287263"/>
                              <a:gd name="connsiteX7" fmla="*/ 535288 w 564165"/>
                              <a:gd name="connsiteY7" fmla="*/ 4809 h 287263"/>
                              <a:gd name="connsiteX8" fmla="*/ 466708 w 564165"/>
                              <a:gd name="connsiteY8" fmla="*/ 4809 h 287263"/>
                              <a:gd name="connsiteX9" fmla="*/ 192388 w 564165"/>
                              <a:gd name="connsiteY9" fmla="*/ 50529 h 287263"/>
                              <a:gd name="connsiteX0" fmla="*/ 192388 w 564165"/>
                              <a:gd name="connsiteY0" fmla="*/ 50529 h 310225"/>
                              <a:gd name="connsiteX1" fmla="*/ 17128 w 564165"/>
                              <a:gd name="connsiteY1" fmla="*/ 126729 h 310225"/>
                              <a:gd name="connsiteX2" fmla="*/ 24748 w 564165"/>
                              <a:gd name="connsiteY2" fmla="*/ 256269 h 310225"/>
                              <a:gd name="connsiteX3" fmla="*/ 177148 w 564165"/>
                              <a:gd name="connsiteY3" fmla="*/ 286749 h 310225"/>
                              <a:gd name="connsiteX4" fmla="*/ 338214 w 564165"/>
                              <a:gd name="connsiteY4" fmla="*/ 301010 h 310225"/>
                              <a:gd name="connsiteX5" fmla="*/ 545402 w 564165"/>
                              <a:gd name="connsiteY5" fmla="*/ 181894 h 310225"/>
                              <a:gd name="connsiteX6" fmla="*/ 558148 w 564165"/>
                              <a:gd name="connsiteY6" fmla="*/ 35289 h 310225"/>
                              <a:gd name="connsiteX7" fmla="*/ 535288 w 564165"/>
                              <a:gd name="connsiteY7" fmla="*/ 4809 h 310225"/>
                              <a:gd name="connsiteX8" fmla="*/ 466708 w 564165"/>
                              <a:gd name="connsiteY8" fmla="*/ 4809 h 310225"/>
                              <a:gd name="connsiteX9" fmla="*/ 192388 w 564165"/>
                              <a:gd name="connsiteY9" fmla="*/ 50529 h 310225"/>
                              <a:gd name="connsiteX0" fmla="*/ 192388 w 564165"/>
                              <a:gd name="connsiteY0" fmla="*/ 50529 h 353427"/>
                              <a:gd name="connsiteX1" fmla="*/ 17128 w 564165"/>
                              <a:gd name="connsiteY1" fmla="*/ 126729 h 353427"/>
                              <a:gd name="connsiteX2" fmla="*/ 24748 w 564165"/>
                              <a:gd name="connsiteY2" fmla="*/ 256269 h 353427"/>
                              <a:gd name="connsiteX3" fmla="*/ 193096 w 564165"/>
                              <a:gd name="connsiteY3" fmla="*/ 353363 h 353427"/>
                              <a:gd name="connsiteX4" fmla="*/ 338214 w 564165"/>
                              <a:gd name="connsiteY4" fmla="*/ 301010 h 353427"/>
                              <a:gd name="connsiteX5" fmla="*/ 545402 w 564165"/>
                              <a:gd name="connsiteY5" fmla="*/ 181894 h 353427"/>
                              <a:gd name="connsiteX6" fmla="*/ 558148 w 564165"/>
                              <a:gd name="connsiteY6" fmla="*/ 35289 h 353427"/>
                              <a:gd name="connsiteX7" fmla="*/ 535288 w 564165"/>
                              <a:gd name="connsiteY7" fmla="*/ 4809 h 353427"/>
                              <a:gd name="connsiteX8" fmla="*/ 466708 w 564165"/>
                              <a:gd name="connsiteY8" fmla="*/ 4809 h 353427"/>
                              <a:gd name="connsiteX9" fmla="*/ 192388 w 564165"/>
                              <a:gd name="connsiteY9" fmla="*/ 50529 h 353427"/>
                              <a:gd name="connsiteX0" fmla="*/ 183456 w 555233"/>
                              <a:gd name="connsiteY0" fmla="*/ 50529 h 359674"/>
                              <a:gd name="connsiteX1" fmla="*/ 8196 w 555233"/>
                              <a:gd name="connsiteY1" fmla="*/ 126729 h 359674"/>
                              <a:gd name="connsiteX2" fmla="*/ 57235 w 555233"/>
                              <a:gd name="connsiteY2" fmla="*/ 343912 h 359674"/>
                              <a:gd name="connsiteX3" fmla="*/ 184164 w 555233"/>
                              <a:gd name="connsiteY3" fmla="*/ 353363 h 359674"/>
                              <a:gd name="connsiteX4" fmla="*/ 329282 w 555233"/>
                              <a:gd name="connsiteY4" fmla="*/ 301010 h 359674"/>
                              <a:gd name="connsiteX5" fmla="*/ 536470 w 555233"/>
                              <a:gd name="connsiteY5" fmla="*/ 181894 h 359674"/>
                              <a:gd name="connsiteX6" fmla="*/ 549216 w 555233"/>
                              <a:gd name="connsiteY6" fmla="*/ 35289 h 359674"/>
                              <a:gd name="connsiteX7" fmla="*/ 526356 w 555233"/>
                              <a:gd name="connsiteY7" fmla="*/ 4809 h 359674"/>
                              <a:gd name="connsiteX8" fmla="*/ 457776 w 555233"/>
                              <a:gd name="connsiteY8" fmla="*/ 4809 h 359674"/>
                              <a:gd name="connsiteX9" fmla="*/ 183456 w 555233"/>
                              <a:gd name="connsiteY9" fmla="*/ 50529 h 359674"/>
                              <a:gd name="connsiteX0" fmla="*/ 141822 w 513599"/>
                              <a:gd name="connsiteY0" fmla="*/ 50529 h 359674"/>
                              <a:gd name="connsiteX1" fmla="*/ 26880 w 513599"/>
                              <a:gd name="connsiteY1" fmla="*/ 162601 h 359674"/>
                              <a:gd name="connsiteX2" fmla="*/ 15601 w 513599"/>
                              <a:gd name="connsiteY2" fmla="*/ 343912 h 359674"/>
                              <a:gd name="connsiteX3" fmla="*/ 142530 w 513599"/>
                              <a:gd name="connsiteY3" fmla="*/ 353363 h 359674"/>
                              <a:gd name="connsiteX4" fmla="*/ 287648 w 513599"/>
                              <a:gd name="connsiteY4" fmla="*/ 301010 h 359674"/>
                              <a:gd name="connsiteX5" fmla="*/ 494836 w 513599"/>
                              <a:gd name="connsiteY5" fmla="*/ 181894 h 359674"/>
                              <a:gd name="connsiteX6" fmla="*/ 507582 w 513599"/>
                              <a:gd name="connsiteY6" fmla="*/ 35289 h 359674"/>
                              <a:gd name="connsiteX7" fmla="*/ 484722 w 513599"/>
                              <a:gd name="connsiteY7" fmla="*/ 4809 h 359674"/>
                              <a:gd name="connsiteX8" fmla="*/ 416142 w 513599"/>
                              <a:gd name="connsiteY8" fmla="*/ 4809 h 359674"/>
                              <a:gd name="connsiteX9" fmla="*/ 141822 w 513599"/>
                              <a:gd name="connsiteY9" fmla="*/ 50529 h 359674"/>
                              <a:gd name="connsiteX0" fmla="*/ 141822 w 530249"/>
                              <a:gd name="connsiteY0" fmla="*/ 50529 h 359674"/>
                              <a:gd name="connsiteX1" fmla="*/ 26880 w 530249"/>
                              <a:gd name="connsiteY1" fmla="*/ 162601 h 359674"/>
                              <a:gd name="connsiteX2" fmla="*/ 15601 w 530249"/>
                              <a:gd name="connsiteY2" fmla="*/ 343912 h 359674"/>
                              <a:gd name="connsiteX3" fmla="*/ 142530 w 530249"/>
                              <a:gd name="connsiteY3" fmla="*/ 353363 h 359674"/>
                              <a:gd name="connsiteX4" fmla="*/ 287648 w 530249"/>
                              <a:gd name="connsiteY4" fmla="*/ 301010 h 359674"/>
                              <a:gd name="connsiteX5" fmla="*/ 517239 w 530249"/>
                              <a:gd name="connsiteY5" fmla="*/ 238247 h 359674"/>
                              <a:gd name="connsiteX6" fmla="*/ 507582 w 530249"/>
                              <a:gd name="connsiteY6" fmla="*/ 35289 h 359674"/>
                              <a:gd name="connsiteX7" fmla="*/ 484722 w 530249"/>
                              <a:gd name="connsiteY7" fmla="*/ 4809 h 359674"/>
                              <a:gd name="connsiteX8" fmla="*/ 416142 w 530249"/>
                              <a:gd name="connsiteY8" fmla="*/ 4809 h 359674"/>
                              <a:gd name="connsiteX9" fmla="*/ 141822 w 530249"/>
                              <a:gd name="connsiteY9" fmla="*/ 50529 h 35967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50529 h 372204"/>
                              <a:gd name="connsiteX1" fmla="*/ 26880 w 530248"/>
                              <a:gd name="connsiteY1" fmla="*/ 162601 h 372204"/>
                              <a:gd name="connsiteX2" fmla="*/ 15601 w 530248"/>
                              <a:gd name="connsiteY2" fmla="*/ 343912 h 372204"/>
                              <a:gd name="connsiteX3" fmla="*/ 142530 w 530248"/>
                              <a:gd name="connsiteY3" fmla="*/ 353363 h 372204"/>
                              <a:gd name="connsiteX4" fmla="*/ 292200 w 530248"/>
                              <a:gd name="connsiteY4" fmla="*/ 362116 h 372204"/>
                              <a:gd name="connsiteX5" fmla="*/ 517239 w 530248"/>
                              <a:gd name="connsiteY5" fmla="*/ 238247 h 372204"/>
                              <a:gd name="connsiteX6" fmla="*/ 507582 w 530248"/>
                              <a:gd name="connsiteY6" fmla="*/ 35289 h 372204"/>
                              <a:gd name="connsiteX7" fmla="*/ 484722 w 530248"/>
                              <a:gd name="connsiteY7" fmla="*/ 4809 h 372204"/>
                              <a:gd name="connsiteX8" fmla="*/ 416142 w 530248"/>
                              <a:gd name="connsiteY8" fmla="*/ 4809 h 372204"/>
                              <a:gd name="connsiteX9" fmla="*/ 141822 w 530248"/>
                              <a:gd name="connsiteY9" fmla="*/ 50529 h 372204"/>
                              <a:gd name="connsiteX0" fmla="*/ 141822 w 530248"/>
                              <a:gd name="connsiteY0" fmla="*/ 47613 h 369288"/>
                              <a:gd name="connsiteX1" fmla="*/ 26880 w 530248"/>
                              <a:gd name="connsiteY1" fmla="*/ 159685 h 369288"/>
                              <a:gd name="connsiteX2" fmla="*/ 15601 w 530248"/>
                              <a:gd name="connsiteY2" fmla="*/ 340996 h 369288"/>
                              <a:gd name="connsiteX3" fmla="*/ 142530 w 530248"/>
                              <a:gd name="connsiteY3" fmla="*/ 350447 h 369288"/>
                              <a:gd name="connsiteX4" fmla="*/ 292200 w 530248"/>
                              <a:gd name="connsiteY4" fmla="*/ 359200 h 369288"/>
                              <a:gd name="connsiteX5" fmla="*/ 517239 w 530248"/>
                              <a:gd name="connsiteY5" fmla="*/ 235331 h 369288"/>
                              <a:gd name="connsiteX6" fmla="*/ 507582 w 530248"/>
                              <a:gd name="connsiteY6" fmla="*/ 32373 h 369288"/>
                              <a:gd name="connsiteX7" fmla="*/ 416142 w 530248"/>
                              <a:gd name="connsiteY7" fmla="*/ 1893 h 369288"/>
                              <a:gd name="connsiteX8" fmla="*/ 141822 w 530248"/>
                              <a:gd name="connsiteY8" fmla="*/ 47613 h 369288"/>
                              <a:gd name="connsiteX0" fmla="*/ 138197 w 526623"/>
                              <a:gd name="connsiteY0" fmla="*/ 47613 h 376324"/>
                              <a:gd name="connsiteX1" fmla="*/ 23255 w 526623"/>
                              <a:gd name="connsiteY1" fmla="*/ 159685 h 376324"/>
                              <a:gd name="connsiteX2" fmla="*/ 11976 w 526623"/>
                              <a:gd name="connsiteY2" fmla="*/ 340996 h 376324"/>
                              <a:gd name="connsiteX3" fmla="*/ 132119 w 526623"/>
                              <a:gd name="connsiteY3" fmla="*/ 374396 h 376324"/>
                              <a:gd name="connsiteX4" fmla="*/ 288575 w 526623"/>
                              <a:gd name="connsiteY4" fmla="*/ 359200 h 376324"/>
                              <a:gd name="connsiteX5" fmla="*/ 513614 w 526623"/>
                              <a:gd name="connsiteY5" fmla="*/ 235331 h 376324"/>
                              <a:gd name="connsiteX6" fmla="*/ 503957 w 526623"/>
                              <a:gd name="connsiteY6" fmla="*/ 32373 h 376324"/>
                              <a:gd name="connsiteX7" fmla="*/ 412517 w 526623"/>
                              <a:gd name="connsiteY7" fmla="*/ 1893 h 376324"/>
                              <a:gd name="connsiteX8" fmla="*/ 138197 w 526623"/>
                              <a:gd name="connsiteY8" fmla="*/ 47613 h 376324"/>
                              <a:gd name="connsiteX0" fmla="*/ 427441 w 541547"/>
                              <a:gd name="connsiteY0" fmla="*/ 10181 h 384611"/>
                              <a:gd name="connsiteX1" fmla="*/ 38179 w 541547"/>
                              <a:gd name="connsiteY1" fmla="*/ 167973 h 384611"/>
                              <a:gd name="connsiteX2" fmla="*/ 26900 w 541547"/>
                              <a:gd name="connsiteY2" fmla="*/ 349284 h 384611"/>
                              <a:gd name="connsiteX3" fmla="*/ 147043 w 541547"/>
                              <a:gd name="connsiteY3" fmla="*/ 382684 h 384611"/>
                              <a:gd name="connsiteX4" fmla="*/ 303499 w 541547"/>
                              <a:gd name="connsiteY4" fmla="*/ 367488 h 384611"/>
                              <a:gd name="connsiteX5" fmla="*/ 528538 w 541547"/>
                              <a:gd name="connsiteY5" fmla="*/ 243619 h 384611"/>
                              <a:gd name="connsiteX6" fmla="*/ 518881 w 541547"/>
                              <a:gd name="connsiteY6" fmla="*/ 40661 h 384611"/>
                              <a:gd name="connsiteX7" fmla="*/ 427441 w 541547"/>
                              <a:gd name="connsiteY7" fmla="*/ 10181 h 384611"/>
                              <a:gd name="connsiteX0" fmla="*/ 400497 w 514603"/>
                              <a:gd name="connsiteY0" fmla="*/ 10183 h 384613"/>
                              <a:gd name="connsiteX1" fmla="*/ 11235 w 514603"/>
                              <a:gd name="connsiteY1" fmla="*/ 167975 h 384613"/>
                              <a:gd name="connsiteX2" fmla="*/ 120099 w 514603"/>
                              <a:gd name="connsiteY2" fmla="*/ 382686 h 384613"/>
                              <a:gd name="connsiteX3" fmla="*/ 276555 w 514603"/>
                              <a:gd name="connsiteY3" fmla="*/ 367490 h 384613"/>
                              <a:gd name="connsiteX4" fmla="*/ 501594 w 514603"/>
                              <a:gd name="connsiteY4" fmla="*/ 243621 h 384613"/>
                              <a:gd name="connsiteX5" fmla="*/ 491937 w 514603"/>
                              <a:gd name="connsiteY5" fmla="*/ 40663 h 384613"/>
                              <a:gd name="connsiteX6" fmla="*/ 400497 w 514603"/>
                              <a:gd name="connsiteY6" fmla="*/ 10183 h 384613"/>
                              <a:gd name="connsiteX0" fmla="*/ 400497 w 514603"/>
                              <a:gd name="connsiteY0" fmla="*/ 10183 h 383828"/>
                              <a:gd name="connsiteX1" fmla="*/ 11235 w 514603"/>
                              <a:gd name="connsiteY1" fmla="*/ 167975 h 383828"/>
                              <a:gd name="connsiteX2" fmla="*/ 120099 w 514603"/>
                              <a:gd name="connsiteY2" fmla="*/ 382686 h 383828"/>
                              <a:gd name="connsiteX3" fmla="*/ 501594 w 514603"/>
                              <a:gd name="connsiteY3" fmla="*/ 243621 h 383828"/>
                              <a:gd name="connsiteX4" fmla="*/ 491937 w 514603"/>
                              <a:gd name="connsiteY4" fmla="*/ 40663 h 383828"/>
                              <a:gd name="connsiteX5" fmla="*/ 400497 w 514603"/>
                              <a:gd name="connsiteY5" fmla="*/ 10183 h 383828"/>
                              <a:gd name="connsiteX0" fmla="*/ 400497 w 517116"/>
                              <a:gd name="connsiteY0" fmla="*/ 1010 h 374655"/>
                              <a:gd name="connsiteX1" fmla="*/ 11235 w 517116"/>
                              <a:gd name="connsiteY1" fmla="*/ 158802 h 374655"/>
                              <a:gd name="connsiteX2" fmla="*/ 120099 w 517116"/>
                              <a:gd name="connsiteY2" fmla="*/ 373513 h 374655"/>
                              <a:gd name="connsiteX3" fmla="*/ 501594 w 517116"/>
                              <a:gd name="connsiteY3" fmla="*/ 234448 h 374655"/>
                              <a:gd name="connsiteX4" fmla="*/ 400497 w 517116"/>
                              <a:gd name="connsiteY4" fmla="*/ 1010 h 374655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517116" h="374655">
                                <a:moveTo>
                                  <a:pt x="400497" y="1010"/>
                                </a:moveTo>
                                <a:cubicBezTo>
                                  <a:pt x="318771" y="-11598"/>
                                  <a:pt x="57968" y="96718"/>
                                  <a:pt x="11235" y="158802"/>
                                </a:cubicBezTo>
                                <a:cubicBezTo>
                                  <a:pt x="-35498" y="220886"/>
                                  <a:pt x="75879" y="340261"/>
                                  <a:pt x="120099" y="373513"/>
                                </a:cubicBezTo>
                                <a:cubicBezTo>
                                  <a:pt x="201826" y="386121"/>
                                  <a:pt x="439621" y="291452"/>
                                  <a:pt x="501594" y="234448"/>
                                </a:cubicBezTo>
                                <a:cubicBezTo>
                                  <a:pt x="548327" y="172364"/>
                                  <a:pt x="482224" y="13618"/>
                                  <a:pt x="400497" y="1010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pt-BR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</p:grpSp>
                  </p:grpSp>
                </p:grpSp>
                <p:sp>
                  <p:nvSpPr>
                    <p:cNvPr id="362" name="DF"/>
                    <p:cNvSpPr/>
                    <p:nvPr/>
                  </p:nvSpPr>
                  <p:spPr bwMode="auto">
                    <a:xfrm rot="10800000">
                      <a:off x="5385146" y="2771919"/>
                      <a:ext cx="95080" cy="72352"/>
                    </a:xfrm>
                    <a:custGeom>
                      <a:avLst/>
                      <a:gdLst>
                        <a:gd name="connsiteX0" fmla="*/ 0 w 92922"/>
                        <a:gd name="connsiteY0" fmla="*/ 38626 h 77251"/>
                        <a:gd name="connsiteX1" fmla="*/ 46461 w 92922"/>
                        <a:gd name="connsiteY1" fmla="*/ 0 h 77251"/>
                        <a:gd name="connsiteX2" fmla="*/ 92922 w 92922"/>
                        <a:gd name="connsiteY2" fmla="*/ 38626 h 77251"/>
                        <a:gd name="connsiteX3" fmla="*/ 46461 w 92922"/>
                        <a:gd name="connsiteY3" fmla="*/ 77252 h 77251"/>
                        <a:gd name="connsiteX4" fmla="*/ 0 w 92922"/>
                        <a:gd name="connsiteY4" fmla="*/ 38626 h 77251"/>
                        <a:gd name="connsiteX0" fmla="*/ 2773 w 95695"/>
                        <a:gd name="connsiteY0" fmla="*/ 46630 h 85256"/>
                        <a:gd name="connsiteX1" fmla="*/ 10043 w 95695"/>
                        <a:gd name="connsiteY1" fmla="*/ 3241 h 85256"/>
                        <a:gd name="connsiteX2" fmla="*/ 49234 w 95695"/>
                        <a:gd name="connsiteY2" fmla="*/ 8004 h 85256"/>
                        <a:gd name="connsiteX3" fmla="*/ 95695 w 95695"/>
                        <a:gd name="connsiteY3" fmla="*/ 46630 h 85256"/>
                        <a:gd name="connsiteX4" fmla="*/ 49234 w 95695"/>
                        <a:gd name="connsiteY4" fmla="*/ 85256 h 85256"/>
                        <a:gd name="connsiteX5" fmla="*/ 2773 w 95695"/>
                        <a:gd name="connsiteY5" fmla="*/ 46630 h 85256"/>
                        <a:gd name="connsiteX0" fmla="*/ 2217 w 98314"/>
                        <a:gd name="connsiteY0" fmla="*/ 62505 h 85631"/>
                        <a:gd name="connsiteX1" fmla="*/ 12662 w 98314"/>
                        <a:gd name="connsiteY1" fmla="*/ 3241 h 85631"/>
                        <a:gd name="connsiteX2" fmla="*/ 51853 w 98314"/>
                        <a:gd name="connsiteY2" fmla="*/ 8004 h 85631"/>
                        <a:gd name="connsiteX3" fmla="*/ 98314 w 98314"/>
                        <a:gd name="connsiteY3" fmla="*/ 46630 h 85631"/>
                        <a:gd name="connsiteX4" fmla="*/ 51853 w 98314"/>
                        <a:gd name="connsiteY4" fmla="*/ 85256 h 85631"/>
                        <a:gd name="connsiteX5" fmla="*/ 2217 w 98314"/>
                        <a:gd name="connsiteY5" fmla="*/ 62505 h 85631"/>
                        <a:gd name="connsiteX0" fmla="*/ 2659 w 98756"/>
                        <a:gd name="connsiteY0" fmla="*/ 62505 h 69284"/>
                        <a:gd name="connsiteX1" fmla="*/ 13104 w 98756"/>
                        <a:gd name="connsiteY1" fmla="*/ 3241 h 69284"/>
                        <a:gd name="connsiteX2" fmla="*/ 52295 w 98756"/>
                        <a:gd name="connsiteY2" fmla="*/ 8004 h 69284"/>
                        <a:gd name="connsiteX3" fmla="*/ 98756 w 98756"/>
                        <a:gd name="connsiteY3" fmla="*/ 46630 h 69284"/>
                        <a:gd name="connsiteX4" fmla="*/ 58645 w 98756"/>
                        <a:gd name="connsiteY4" fmla="*/ 66206 h 69284"/>
                        <a:gd name="connsiteX5" fmla="*/ 2659 w 98756"/>
                        <a:gd name="connsiteY5" fmla="*/ 62505 h 69284"/>
                        <a:gd name="connsiteX0" fmla="*/ 2659 w 98756"/>
                        <a:gd name="connsiteY0" fmla="*/ 62150 h 69531"/>
                        <a:gd name="connsiteX1" fmla="*/ 13104 w 98756"/>
                        <a:gd name="connsiteY1" fmla="*/ 2886 h 69531"/>
                        <a:gd name="connsiteX2" fmla="*/ 52295 w 98756"/>
                        <a:gd name="connsiteY2" fmla="*/ 7649 h 69531"/>
                        <a:gd name="connsiteX3" fmla="*/ 98756 w 98756"/>
                        <a:gd name="connsiteY3" fmla="*/ 36750 h 69531"/>
                        <a:gd name="connsiteX4" fmla="*/ 58645 w 98756"/>
                        <a:gd name="connsiteY4" fmla="*/ 65851 h 69531"/>
                        <a:gd name="connsiteX5" fmla="*/ 2659 w 98756"/>
                        <a:gd name="connsiteY5" fmla="*/ 62150 h 69531"/>
                        <a:gd name="connsiteX0" fmla="*/ 2659 w 98756"/>
                        <a:gd name="connsiteY0" fmla="*/ 69247 h 76628"/>
                        <a:gd name="connsiteX1" fmla="*/ 13104 w 98756"/>
                        <a:gd name="connsiteY1" fmla="*/ 9983 h 76628"/>
                        <a:gd name="connsiteX2" fmla="*/ 58645 w 98756"/>
                        <a:gd name="connsiteY2" fmla="*/ 2046 h 76628"/>
                        <a:gd name="connsiteX3" fmla="*/ 98756 w 98756"/>
                        <a:gd name="connsiteY3" fmla="*/ 43847 h 76628"/>
                        <a:gd name="connsiteX4" fmla="*/ 58645 w 98756"/>
                        <a:gd name="connsiteY4" fmla="*/ 72948 h 76628"/>
                        <a:gd name="connsiteX5" fmla="*/ 2659 w 98756"/>
                        <a:gd name="connsiteY5" fmla="*/ 69247 h 76628"/>
                        <a:gd name="connsiteX0" fmla="*/ 12211 w 108308"/>
                        <a:gd name="connsiteY0" fmla="*/ 72519 h 80420"/>
                        <a:gd name="connsiteX1" fmla="*/ 3606 w 108308"/>
                        <a:gd name="connsiteY1" fmla="*/ 4803 h 80420"/>
                        <a:gd name="connsiteX2" fmla="*/ 68197 w 108308"/>
                        <a:gd name="connsiteY2" fmla="*/ 5318 h 80420"/>
                        <a:gd name="connsiteX3" fmla="*/ 108308 w 108308"/>
                        <a:gd name="connsiteY3" fmla="*/ 47119 h 80420"/>
                        <a:gd name="connsiteX4" fmla="*/ 68197 w 108308"/>
                        <a:gd name="connsiteY4" fmla="*/ 76220 h 80420"/>
                        <a:gd name="connsiteX5" fmla="*/ 12211 w 108308"/>
                        <a:gd name="connsiteY5" fmla="*/ 72519 h 80420"/>
                        <a:gd name="connsiteX0" fmla="*/ 2818 w 127490"/>
                        <a:gd name="connsiteY0" fmla="*/ 76745 h 83125"/>
                        <a:gd name="connsiteX1" fmla="*/ 22788 w 127490"/>
                        <a:gd name="connsiteY1" fmla="*/ 4803 h 83125"/>
                        <a:gd name="connsiteX2" fmla="*/ 87379 w 127490"/>
                        <a:gd name="connsiteY2" fmla="*/ 5318 h 83125"/>
                        <a:gd name="connsiteX3" fmla="*/ 127490 w 127490"/>
                        <a:gd name="connsiteY3" fmla="*/ 47119 h 83125"/>
                        <a:gd name="connsiteX4" fmla="*/ 87379 w 127490"/>
                        <a:gd name="connsiteY4" fmla="*/ 76220 h 83125"/>
                        <a:gd name="connsiteX5" fmla="*/ 2818 w 127490"/>
                        <a:gd name="connsiteY5" fmla="*/ 76745 h 83125"/>
                        <a:gd name="connsiteX0" fmla="*/ 4020 w 128692"/>
                        <a:gd name="connsiteY0" fmla="*/ 76745 h 85175"/>
                        <a:gd name="connsiteX1" fmla="*/ 23990 w 128692"/>
                        <a:gd name="connsiteY1" fmla="*/ 4803 h 85175"/>
                        <a:gd name="connsiteX2" fmla="*/ 88581 w 128692"/>
                        <a:gd name="connsiteY2" fmla="*/ 5318 h 85175"/>
                        <a:gd name="connsiteX3" fmla="*/ 128692 w 128692"/>
                        <a:gd name="connsiteY3" fmla="*/ 47119 h 85175"/>
                        <a:gd name="connsiteX4" fmla="*/ 107631 w 128692"/>
                        <a:gd name="connsiteY4" fmla="*/ 80446 h 85175"/>
                        <a:gd name="connsiteX5" fmla="*/ 4020 w 128692"/>
                        <a:gd name="connsiteY5" fmla="*/ 76745 h 85175"/>
                        <a:gd name="connsiteX0" fmla="*/ 311 w 124983"/>
                        <a:gd name="connsiteY0" fmla="*/ 114981 h 126242"/>
                        <a:gd name="connsiteX1" fmla="*/ 71081 w 124983"/>
                        <a:gd name="connsiteY1" fmla="*/ 780 h 126242"/>
                        <a:gd name="connsiteX2" fmla="*/ 84872 w 124983"/>
                        <a:gd name="connsiteY2" fmla="*/ 43554 h 126242"/>
                        <a:gd name="connsiteX3" fmla="*/ 124983 w 124983"/>
                        <a:gd name="connsiteY3" fmla="*/ 85355 h 126242"/>
                        <a:gd name="connsiteX4" fmla="*/ 103922 w 124983"/>
                        <a:gd name="connsiteY4" fmla="*/ 118682 h 126242"/>
                        <a:gd name="connsiteX5" fmla="*/ 311 w 124983"/>
                        <a:gd name="connsiteY5" fmla="*/ 114981 h 126242"/>
                        <a:gd name="connsiteX0" fmla="*/ 3123 w 127795"/>
                        <a:gd name="connsiteY0" fmla="*/ 136754 h 149197"/>
                        <a:gd name="connsiteX1" fmla="*/ 31136 w 127795"/>
                        <a:gd name="connsiteY1" fmla="*/ 5728 h 149197"/>
                        <a:gd name="connsiteX2" fmla="*/ 73893 w 127795"/>
                        <a:gd name="connsiteY2" fmla="*/ 22553 h 149197"/>
                        <a:gd name="connsiteX3" fmla="*/ 87684 w 127795"/>
                        <a:gd name="connsiteY3" fmla="*/ 65327 h 149197"/>
                        <a:gd name="connsiteX4" fmla="*/ 127795 w 127795"/>
                        <a:gd name="connsiteY4" fmla="*/ 107128 h 149197"/>
                        <a:gd name="connsiteX5" fmla="*/ 106734 w 127795"/>
                        <a:gd name="connsiteY5" fmla="*/ 140455 h 149197"/>
                        <a:gd name="connsiteX6" fmla="*/ 3123 w 127795"/>
                        <a:gd name="connsiteY6" fmla="*/ 136754 h 149197"/>
                        <a:gd name="connsiteX0" fmla="*/ 9048 w 133720"/>
                        <a:gd name="connsiteY0" fmla="*/ 185654 h 201733"/>
                        <a:gd name="connsiteX1" fmla="*/ 8486 w 133720"/>
                        <a:gd name="connsiteY1" fmla="*/ 3916 h 201733"/>
                        <a:gd name="connsiteX2" fmla="*/ 37061 w 133720"/>
                        <a:gd name="connsiteY2" fmla="*/ 54628 h 201733"/>
                        <a:gd name="connsiteX3" fmla="*/ 79818 w 133720"/>
                        <a:gd name="connsiteY3" fmla="*/ 71453 h 201733"/>
                        <a:gd name="connsiteX4" fmla="*/ 93609 w 133720"/>
                        <a:gd name="connsiteY4" fmla="*/ 114227 h 201733"/>
                        <a:gd name="connsiteX5" fmla="*/ 133720 w 133720"/>
                        <a:gd name="connsiteY5" fmla="*/ 156028 h 201733"/>
                        <a:gd name="connsiteX6" fmla="*/ 112659 w 133720"/>
                        <a:gd name="connsiteY6" fmla="*/ 189355 h 201733"/>
                        <a:gd name="connsiteX7" fmla="*/ 9048 w 133720"/>
                        <a:gd name="connsiteY7" fmla="*/ 185654 h 201733"/>
                        <a:gd name="connsiteX0" fmla="*/ 9048 w 133720"/>
                        <a:gd name="connsiteY0" fmla="*/ 192718 h 208797"/>
                        <a:gd name="connsiteX1" fmla="*/ 8486 w 133720"/>
                        <a:gd name="connsiteY1" fmla="*/ 10980 h 208797"/>
                        <a:gd name="connsiteX2" fmla="*/ 37061 w 133720"/>
                        <a:gd name="connsiteY2" fmla="*/ 19432 h 208797"/>
                        <a:gd name="connsiteX3" fmla="*/ 37061 w 133720"/>
                        <a:gd name="connsiteY3" fmla="*/ 61692 h 208797"/>
                        <a:gd name="connsiteX4" fmla="*/ 79818 w 133720"/>
                        <a:gd name="connsiteY4" fmla="*/ 78517 h 208797"/>
                        <a:gd name="connsiteX5" fmla="*/ 93609 w 133720"/>
                        <a:gd name="connsiteY5" fmla="*/ 121291 h 208797"/>
                        <a:gd name="connsiteX6" fmla="*/ 133720 w 133720"/>
                        <a:gd name="connsiteY6" fmla="*/ 163092 h 208797"/>
                        <a:gd name="connsiteX7" fmla="*/ 112659 w 133720"/>
                        <a:gd name="connsiteY7" fmla="*/ 196419 h 208797"/>
                        <a:gd name="connsiteX8" fmla="*/ 9048 w 133720"/>
                        <a:gd name="connsiteY8" fmla="*/ 192718 h 208797"/>
                        <a:gd name="connsiteX0" fmla="*/ 33011 w 125933"/>
                        <a:gd name="connsiteY0" fmla="*/ 142007 h 196916"/>
                        <a:gd name="connsiteX1" fmla="*/ 699 w 125933"/>
                        <a:gd name="connsiteY1" fmla="*/ 10980 h 196916"/>
                        <a:gd name="connsiteX2" fmla="*/ 29274 w 125933"/>
                        <a:gd name="connsiteY2" fmla="*/ 19432 h 196916"/>
                        <a:gd name="connsiteX3" fmla="*/ 29274 w 125933"/>
                        <a:gd name="connsiteY3" fmla="*/ 61692 h 196916"/>
                        <a:gd name="connsiteX4" fmla="*/ 72031 w 125933"/>
                        <a:gd name="connsiteY4" fmla="*/ 78517 h 196916"/>
                        <a:gd name="connsiteX5" fmla="*/ 85822 w 125933"/>
                        <a:gd name="connsiteY5" fmla="*/ 121291 h 196916"/>
                        <a:gd name="connsiteX6" fmla="*/ 125933 w 125933"/>
                        <a:gd name="connsiteY6" fmla="*/ 163092 h 196916"/>
                        <a:gd name="connsiteX7" fmla="*/ 104872 w 125933"/>
                        <a:gd name="connsiteY7" fmla="*/ 196419 h 196916"/>
                        <a:gd name="connsiteX8" fmla="*/ 33011 w 125933"/>
                        <a:gd name="connsiteY8" fmla="*/ 142007 h 196916"/>
                        <a:gd name="connsiteX0" fmla="*/ 49204 w 142126"/>
                        <a:gd name="connsiteY0" fmla="*/ 142007 h 196916"/>
                        <a:gd name="connsiteX1" fmla="*/ 1017 w 142126"/>
                        <a:gd name="connsiteY1" fmla="*/ 61692 h 196916"/>
                        <a:gd name="connsiteX2" fmla="*/ 16892 w 142126"/>
                        <a:gd name="connsiteY2" fmla="*/ 10980 h 196916"/>
                        <a:gd name="connsiteX3" fmla="*/ 45467 w 142126"/>
                        <a:gd name="connsiteY3" fmla="*/ 19432 h 196916"/>
                        <a:gd name="connsiteX4" fmla="*/ 45467 w 142126"/>
                        <a:gd name="connsiteY4" fmla="*/ 61692 h 196916"/>
                        <a:gd name="connsiteX5" fmla="*/ 88224 w 142126"/>
                        <a:gd name="connsiteY5" fmla="*/ 78517 h 196916"/>
                        <a:gd name="connsiteX6" fmla="*/ 102015 w 142126"/>
                        <a:gd name="connsiteY6" fmla="*/ 121291 h 196916"/>
                        <a:gd name="connsiteX7" fmla="*/ 142126 w 142126"/>
                        <a:gd name="connsiteY7" fmla="*/ 163092 h 196916"/>
                        <a:gd name="connsiteX8" fmla="*/ 121065 w 142126"/>
                        <a:gd name="connsiteY8" fmla="*/ 196419 h 196916"/>
                        <a:gd name="connsiteX9" fmla="*/ 49204 w 142126"/>
                        <a:gd name="connsiteY9" fmla="*/ 142007 h 196916"/>
                        <a:gd name="connsiteX0" fmla="*/ 49204 w 142126"/>
                        <a:gd name="connsiteY0" fmla="*/ 142007 h 173263"/>
                        <a:gd name="connsiteX1" fmla="*/ 1017 w 142126"/>
                        <a:gd name="connsiteY1" fmla="*/ 61692 h 173263"/>
                        <a:gd name="connsiteX2" fmla="*/ 16892 w 142126"/>
                        <a:gd name="connsiteY2" fmla="*/ 10980 h 173263"/>
                        <a:gd name="connsiteX3" fmla="*/ 45467 w 142126"/>
                        <a:gd name="connsiteY3" fmla="*/ 19432 h 173263"/>
                        <a:gd name="connsiteX4" fmla="*/ 45467 w 142126"/>
                        <a:gd name="connsiteY4" fmla="*/ 61692 h 173263"/>
                        <a:gd name="connsiteX5" fmla="*/ 88224 w 142126"/>
                        <a:gd name="connsiteY5" fmla="*/ 78517 h 173263"/>
                        <a:gd name="connsiteX6" fmla="*/ 102015 w 142126"/>
                        <a:gd name="connsiteY6" fmla="*/ 121291 h 173263"/>
                        <a:gd name="connsiteX7" fmla="*/ 142126 w 142126"/>
                        <a:gd name="connsiteY7" fmla="*/ 163092 h 173263"/>
                        <a:gd name="connsiteX8" fmla="*/ 79790 w 142126"/>
                        <a:gd name="connsiteY8" fmla="*/ 162612 h 173263"/>
                        <a:gd name="connsiteX9" fmla="*/ 49204 w 142126"/>
                        <a:gd name="connsiteY9" fmla="*/ 142007 h 17326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45467 w 110376"/>
                        <a:gd name="connsiteY4" fmla="*/ 61692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62136 w 110376"/>
                        <a:gd name="connsiteY4" fmla="*/ 49014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05613"/>
                        <a:gd name="connsiteY0" fmla="*/ 142007 h 164051"/>
                        <a:gd name="connsiteX1" fmla="*/ 1017 w 105613"/>
                        <a:gd name="connsiteY1" fmla="*/ 61692 h 164051"/>
                        <a:gd name="connsiteX2" fmla="*/ 16892 w 105613"/>
                        <a:gd name="connsiteY2" fmla="*/ 10980 h 164051"/>
                        <a:gd name="connsiteX3" fmla="*/ 45467 w 105613"/>
                        <a:gd name="connsiteY3" fmla="*/ 19432 h 164051"/>
                        <a:gd name="connsiteX4" fmla="*/ 62136 w 105613"/>
                        <a:gd name="connsiteY4" fmla="*/ 49014 h 164051"/>
                        <a:gd name="connsiteX5" fmla="*/ 88224 w 105613"/>
                        <a:gd name="connsiteY5" fmla="*/ 78517 h 164051"/>
                        <a:gd name="connsiteX6" fmla="*/ 102015 w 105613"/>
                        <a:gd name="connsiteY6" fmla="*/ 121291 h 164051"/>
                        <a:gd name="connsiteX7" fmla="*/ 105613 w 105613"/>
                        <a:gd name="connsiteY7" fmla="*/ 111323 h 164051"/>
                        <a:gd name="connsiteX8" fmla="*/ 79790 w 105613"/>
                        <a:gd name="connsiteY8" fmla="*/ 162612 h 164051"/>
                        <a:gd name="connsiteX9" fmla="*/ 49204 w 105613"/>
                        <a:gd name="connsiteY9" fmla="*/ 142007 h 164051"/>
                        <a:gd name="connsiteX0" fmla="*/ 49204 w 105613"/>
                        <a:gd name="connsiteY0" fmla="*/ 142007 h 149974"/>
                        <a:gd name="connsiteX1" fmla="*/ 1017 w 105613"/>
                        <a:gd name="connsiteY1" fmla="*/ 61692 h 149974"/>
                        <a:gd name="connsiteX2" fmla="*/ 16892 w 105613"/>
                        <a:gd name="connsiteY2" fmla="*/ 10980 h 149974"/>
                        <a:gd name="connsiteX3" fmla="*/ 45467 w 105613"/>
                        <a:gd name="connsiteY3" fmla="*/ 19432 h 149974"/>
                        <a:gd name="connsiteX4" fmla="*/ 62136 w 105613"/>
                        <a:gd name="connsiteY4" fmla="*/ 49014 h 149974"/>
                        <a:gd name="connsiteX5" fmla="*/ 88224 w 105613"/>
                        <a:gd name="connsiteY5" fmla="*/ 78517 h 149974"/>
                        <a:gd name="connsiteX6" fmla="*/ 102015 w 105613"/>
                        <a:gd name="connsiteY6" fmla="*/ 121291 h 149974"/>
                        <a:gd name="connsiteX7" fmla="*/ 105613 w 105613"/>
                        <a:gd name="connsiteY7" fmla="*/ 111323 h 149974"/>
                        <a:gd name="connsiteX8" fmla="*/ 89315 w 105613"/>
                        <a:gd name="connsiteY8" fmla="*/ 143596 h 149974"/>
                        <a:gd name="connsiteX9" fmla="*/ 49204 w 105613"/>
                        <a:gd name="connsiteY9" fmla="*/ 142007 h 149974"/>
                        <a:gd name="connsiteX0" fmla="*/ 53967 w 105613"/>
                        <a:gd name="connsiteY0" fmla="*/ 122990 h 143862"/>
                        <a:gd name="connsiteX1" fmla="*/ 1017 w 105613"/>
                        <a:gd name="connsiteY1" fmla="*/ 61692 h 143862"/>
                        <a:gd name="connsiteX2" fmla="*/ 16892 w 105613"/>
                        <a:gd name="connsiteY2" fmla="*/ 10980 h 143862"/>
                        <a:gd name="connsiteX3" fmla="*/ 45467 w 105613"/>
                        <a:gd name="connsiteY3" fmla="*/ 19432 h 143862"/>
                        <a:gd name="connsiteX4" fmla="*/ 62136 w 105613"/>
                        <a:gd name="connsiteY4" fmla="*/ 49014 h 143862"/>
                        <a:gd name="connsiteX5" fmla="*/ 88224 w 105613"/>
                        <a:gd name="connsiteY5" fmla="*/ 78517 h 143862"/>
                        <a:gd name="connsiteX6" fmla="*/ 102015 w 105613"/>
                        <a:gd name="connsiteY6" fmla="*/ 121291 h 143862"/>
                        <a:gd name="connsiteX7" fmla="*/ 105613 w 105613"/>
                        <a:gd name="connsiteY7" fmla="*/ 111323 h 143862"/>
                        <a:gd name="connsiteX8" fmla="*/ 89315 w 105613"/>
                        <a:gd name="connsiteY8" fmla="*/ 143596 h 143862"/>
                        <a:gd name="connsiteX9" fmla="*/ 53967 w 105613"/>
                        <a:gd name="connsiteY9" fmla="*/ 122990 h 143862"/>
                        <a:gd name="connsiteX0" fmla="*/ 40087 w 91733"/>
                        <a:gd name="connsiteY0" fmla="*/ 122990 h 143903"/>
                        <a:gd name="connsiteX1" fmla="*/ 3806 w 91733"/>
                        <a:gd name="connsiteY1" fmla="*/ 52185 h 143903"/>
                        <a:gd name="connsiteX2" fmla="*/ 3012 w 91733"/>
                        <a:gd name="connsiteY2" fmla="*/ 10980 h 143903"/>
                        <a:gd name="connsiteX3" fmla="*/ 31587 w 91733"/>
                        <a:gd name="connsiteY3" fmla="*/ 19432 h 143903"/>
                        <a:gd name="connsiteX4" fmla="*/ 48256 w 91733"/>
                        <a:gd name="connsiteY4" fmla="*/ 49014 h 143903"/>
                        <a:gd name="connsiteX5" fmla="*/ 74344 w 91733"/>
                        <a:gd name="connsiteY5" fmla="*/ 78517 h 143903"/>
                        <a:gd name="connsiteX6" fmla="*/ 88135 w 91733"/>
                        <a:gd name="connsiteY6" fmla="*/ 121291 h 143903"/>
                        <a:gd name="connsiteX7" fmla="*/ 91733 w 91733"/>
                        <a:gd name="connsiteY7" fmla="*/ 111323 h 143903"/>
                        <a:gd name="connsiteX8" fmla="*/ 75435 w 91733"/>
                        <a:gd name="connsiteY8" fmla="*/ 143596 h 143903"/>
                        <a:gd name="connsiteX9" fmla="*/ 40087 w 91733"/>
                        <a:gd name="connsiteY9" fmla="*/ 122990 h 143903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88135 w 91733"/>
                        <a:gd name="connsiteY6" fmla="*/ 121291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78610 w 91733"/>
                        <a:gd name="connsiteY6" fmla="*/ 102275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24433"/>
                        <a:gd name="connsiteX1" fmla="*/ 3806 w 91733"/>
                        <a:gd name="connsiteY1" fmla="*/ 52185 h 124433"/>
                        <a:gd name="connsiteX2" fmla="*/ 3012 w 91733"/>
                        <a:gd name="connsiteY2" fmla="*/ 10980 h 124433"/>
                        <a:gd name="connsiteX3" fmla="*/ 31587 w 91733"/>
                        <a:gd name="connsiteY3" fmla="*/ 19432 h 124433"/>
                        <a:gd name="connsiteX4" fmla="*/ 48256 w 91733"/>
                        <a:gd name="connsiteY4" fmla="*/ 49014 h 124433"/>
                        <a:gd name="connsiteX5" fmla="*/ 74344 w 91733"/>
                        <a:gd name="connsiteY5" fmla="*/ 78517 h 124433"/>
                        <a:gd name="connsiteX6" fmla="*/ 78610 w 91733"/>
                        <a:gd name="connsiteY6" fmla="*/ 102275 h 124433"/>
                        <a:gd name="connsiteX7" fmla="*/ 91733 w 91733"/>
                        <a:gd name="connsiteY7" fmla="*/ 111323 h 124433"/>
                        <a:gd name="connsiteX8" fmla="*/ 65910 w 91733"/>
                        <a:gd name="connsiteY8" fmla="*/ 121409 h 124433"/>
                        <a:gd name="connsiteX9" fmla="*/ 44850 w 91733"/>
                        <a:gd name="connsiteY9" fmla="*/ 110312 h 124433"/>
                        <a:gd name="connsiteX0" fmla="*/ 44850 w 79374"/>
                        <a:gd name="connsiteY0" fmla="*/ 110312 h 122122"/>
                        <a:gd name="connsiteX1" fmla="*/ 3806 w 79374"/>
                        <a:gd name="connsiteY1" fmla="*/ 52185 h 122122"/>
                        <a:gd name="connsiteX2" fmla="*/ 3012 w 79374"/>
                        <a:gd name="connsiteY2" fmla="*/ 10980 h 122122"/>
                        <a:gd name="connsiteX3" fmla="*/ 31587 w 79374"/>
                        <a:gd name="connsiteY3" fmla="*/ 19432 h 122122"/>
                        <a:gd name="connsiteX4" fmla="*/ 48256 w 79374"/>
                        <a:gd name="connsiteY4" fmla="*/ 49014 h 122122"/>
                        <a:gd name="connsiteX5" fmla="*/ 74344 w 79374"/>
                        <a:gd name="connsiteY5" fmla="*/ 78517 h 122122"/>
                        <a:gd name="connsiteX6" fmla="*/ 78610 w 79374"/>
                        <a:gd name="connsiteY6" fmla="*/ 102275 h 122122"/>
                        <a:gd name="connsiteX7" fmla="*/ 75065 w 79374"/>
                        <a:gd name="connsiteY7" fmla="*/ 98645 h 122122"/>
                        <a:gd name="connsiteX8" fmla="*/ 65910 w 79374"/>
                        <a:gd name="connsiteY8" fmla="*/ 121409 h 122122"/>
                        <a:gd name="connsiteX9" fmla="*/ 44850 w 79374"/>
                        <a:gd name="connsiteY9" fmla="*/ 110312 h 122122"/>
                        <a:gd name="connsiteX0" fmla="*/ 42560 w 77084"/>
                        <a:gd name="connsiteY0" fmla="*/ 94411 h 106222"/>
                        <a:gd name="connsiteX1" fmla="*/ 1516 w 77084"/>
                        <a:gd name="connsiteY1" fmla="*/ 36284 h 106222"/>
                        <a:gd name="connsiteX2" fmla="*/ 10247 w 77084"/>
                        <a:gd name="connsiteY2" fmla="*/ 26774 h 106222"/>
                        <a:gd name="connsiteX3" fmla="*/ 29297 w 77084"/>
                        <a:gd name="connsiteY3" fmla="*/ 3531 h 106222"/>
                        <a:gd name="connsiteX4" fmla="*/ 45966 w 77084"/>
                        <a:gd name="connsiteY4" fmla="*/ 33113 h 106222"/>
                        <a:gd name="connsiteX5" fmla="*/ 72054 w 77084"/>
                        <a:gd name="connsiteY5" fmla="*/ 62616 h 106222"/>
                        <a:gd name="connsiteX6" fmla="*/ 76320 w 77084"/>
                        <a:gd name="connsiteY6" fmla="*/ 86374 h 106222"/>
                        <a:gd name="connsiteX7" fmla="*/ 72775 w 77084"/>
                        <a:gd name="connsiteY7" fmla="*/ 82744 h 106222"/>
                        <a:gd name="connsiteX8" fmla="*/ 63620 w 77084"/>
                        <a:gd name="connsiteY8" fmla="*/ 105508 h 106222"/>
                        <a:gd name="connsiteX9" fmla="*/ 42560 w 77084"/>
                        <a:gd name="connsiteY9" fmla="*/ 94411 h 106222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5966 w 77084"/>
                        <a:gd name="connsiteY4" fmla="*/ 21320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3585 w 77084"/>
                        <a:gd name="connsiteY4" fmla="*/ 30829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018"/>
                        <a:gd name="connsiteX1" fmla="*/ 1516 w 77084"/>
                        <a:gd name="connsiteY1" fmla="*/ 62524 h 94018"/>
                        <a:gd name="connsiteX2" fmla="*/ 10247 w 77084"/>
                        <a:gd name="connsiteY2" fmla="*/ 14981 h 94018"/>
                        <a:gd name="connsiteX3" fmla="*/ 29297 w 77084"/>
                        <a:gd name="connsiteY3" fmla="*/ 10756 h 94018"/>
                        <a:gd name="connsiteX4" fmla="*/ 43585 w 77084"/>
                        <a:gd name="connsiteY4" fmla="*/ 30829 h 94018"/>
                        <a:gd name="connsiteX5" fmla="*/ 72054 w 77084"/>
                        <a:gd name="connsiteY5" fmla="*/ 50823 h 94018"/>
                        <a:gd name="connsiteX6" fmla="*/ 76320 w 77084"/>
                        <a:gd name="connsiteY6" fmla="*/ 74581 h 94018"/>
                        <a:gd name="connsiteX7" fmla="*/ 72775 w 77084"/>
                        <a:gd name="connsiteY7" fmla="*/ 70951 h 94018"/>
                        <a:gd name="connsiteX8" fmla="*/ 63620 w 77084"/>
                        <a:gd name="connsiteY8" fmla="*/ 93715 h 94018"/>
                        <a:gd name="connsiteX9" fmla="*/ 42560 w 77084"/>
                        <a:gd name="connsiteY9" fmla="*/ 82618 h 94018"/>
                        <a:gd name="connsiteX0" fmla="*/ 42560 w 77084"/>
                        <a:gd name="connsiteY0" fmla="*/ 73899 h 85299"/>
                        <a:gd name="connsiteX1" fmla="*/ 1516 w 77084"/>
                        <a:gd name="connsiteY1" fmla="*/ 53805 h 85299"/>
                        <a:gd name="connsiteX2" fmla="*/ 10247 w 77084"/>
                        <a:gd name="connsiteY2" fmla="*/ 37955 h 85299"/>
                        <a:gd name="connsiteX3" fmla="*/ 29297 w 77084"/>
                        <a:gd name="connsiteY3" fmla="*/ 2037 h 85299"/>
                        <a:gd name="connsiteX4" fmla="*/ 43585 w 77084"/>
                        <a:gd name="connsiteY4" fmla="*/ 22110 h 85299"/>
                        <a:gd name="connsiteX5" fmla="*/ 72054 w 77084"/>
                        <a:gd name="connsiteY5" fmla="*/ 42104 h 85299"/>
                        <a:gd name="connsiteX6" fmla="*/ 76320 w 77084"/>
                        <a:gd name="connsiteY6" fmla="*/ 65862 h 85299"/>
                        <a:gd name="connsiteX7" fmla="*/ 72775 w 77084"/>
                        <a:gd name="connsiteY7" fmla="*/ 62232 h 85299"/>
                        <a:gd name="connsiteX8" fmla="*/ 63620 w 77084"/>
                        <a:gd name="connsiteY8" fmla="*/ 84996 h 85299"/>
                        <a:gd name="connsiteX9" fmla="*/ 42560 w 77084"/>
                        <a:gd name="connsiteY9" fmla="*/ 73899 h 85299"/>
                        <a:gd name="connsiteX0" fmla="*/ 42560 w 77084"/>
                        <a:gd name="connsiteY0" fmla="*/ 52685 h 64085"/>
                        <a:gd name="connsiteX1" fmla="*/ 1516 w 77084"/>
                        <a:gd name="connsiteY1" fmla="*/ 32591 h 64085"/>
                        <a:gd name="connsiteX2" fmla="*/ 10247 w 77084"/>
                        <a:gd name="connsiteY2" fmla="*/ 16741 h 64085"/>
                        <a:gd name="connsiteX3" fmla="*/ 29297 w 77084"/>
                        <a:gd name="connsiteY3" fmla="*/ 15687 h 64085"/>
                        <a:gd name="connsiteX4" fmla="*/ 43585 w 77084"/>
                        <a:gd name="connsiteY4" fmla="*/ 896 h 64085"/>
                        <a:gd name="connsiteX5" fmla="*/ 72054 w 77084"/>
                        <a:gd name="connsiteY5" fmla="*/ 20890 h 64085"/>
                        <a:gd name="connsiteX6" fmla="*/ 76320 w 77084"/>
                        <a:gd name="connsiteY6" fmla="*/ 44648 h 64085"/>
                        <a:gd name="connsiteX7" fmla="*/ 72775 w 77084"/>
                        <a:gd name="connsiteY7" fmla="*/ 41018 h 64085"/>
                        <a:gd name="connsiteX8" fmla="*/ 63620 w 77084"/>
                        <a:gd name="connsiteY8" fmla="*/ 63782 h 64085"/>
                        <a:gd name="connsiteX9" fmla="*/ 42560 w 77084"/>
                        <a:gd name="connsiteY9" fmla="*/ 52685 h 64085"/>
                        <a:gd name="connsiteX0" fmla="*/ 42560 w 76322"/>
                        <a:gd name="connsiteY0" fmla="*/ 51797 h 63197"/>
                        <a:gd name="connsiteX1" fmla="*/ 1516 w 76322"/>
                        <a:gd name="connsiteY1" fmla="*/ 31703 h 63197"/>
                        <a:gd name="connsiteX2" fmla="*/ 10247 w 76322"/>
                        <a:gd name="connsiteY2" fmla="*/ 15853 h 63197"/>
                        <a:gd name="connsiteX3" fmla="*/ 29297 w 76322"/>
                        <a:gd name="connsiteY3" fmla="*/ 14799 h 63197"/>
                        <a:gd name="connsiteX4" fmla="*/ 43585 w 76322"/>
                        <a:gd name="connsiteY4" fmla="*/ 8 h 63197"/>
                        <a:gd name="connsiteX5" fmla="*/ 44305 w 76322"/>
                        <a:gd name="connsiteY5" fmla="*/ 30542 h 63197"/>
                        <a:gd name="connsiteX6" fmla="*/ 72054 w 76322"/>
                        <a:gd name="connsiteY6" fmla="*/ 20002 h 63197"/>
                        <a:gd name="connsiteX7" fmla="*/ 76320 w 76322"/>
                        <a:gd name="connsiteY7" fmla="*/ 43760 h 63197"/>
                        <a:gd name="connsiteX8" fmla="*/ 72775 w 76322"/>
                        <a:gd name="connsiteY8" fmla="*/ 40130 h 63197"/>
                        <a:gd name="connsiteX9" fmla="*/ 63620 w 76322"/>
                        <a:gd name="connsiteY9" fmla="*/ 62894 h 63197"/>
                        <a:gd name="connsiteX10" fmla="*/ 42560 w 76322"/>
                        <a:gd name="connsiteY10" fmla="*/ 51797 h 63197"/>
                        <a:gd name="connsiteX0" fmla="*/ 42560 w 93756"/>
                        <a:gd name="connsiteY0" fmla="*/ 51797 h 63197"/>
                        <a:gd name="connsiteX1" fmla="*/ 1516 w 93756"/>
                        <a:gd name="connsiteY1" fmla="*/ 31703 h 63197"/>
                        <a:gd name="connsiteX2" fmla="*/ 10247 w 93756"/>
                        <a:gd name="connsiteY2" fmla="*/ 15853 h 63197"/>
                        <a:gd name="connsiteX3" fmla="*/ 29297 w 93756"/>
                        <a:gd name="connsiteY3" fmla="*/ 14799 h 63197"/>
                        <a:gd name="connsiteX4" fmla="*/ 43585 w 93756"/>
                        <a:gd name="connsiteY4" fmla="*/ 8 h 63197"/>
                        <a:gd name="connsiteX5" fmla="*/ 44305 w 93756"/>
                        <a:gd name="connsiteY5" fmla="*/ 30542 h 63197"/>
                        <a:gd name="connsiteX6" fmla="*/ 93485 w 93756"/>
                        <a:gd name="connsiteY6" fmla="*/ 986 h 63197"/>
                        <a:gd name="connsiteX7" fmla="*/ 76320 w 93756"/>
                        <a:gd name="connsiteY7" fmla="*/ 43760 h 63197"/>
                        <a:gd name="connsiteX8" fmla="*/ 72775 w 93756"/>
                        <a:gd name="connsiteY8" fmla="*/ 40130 h 63197"/>
                        <a:gd name="connsiteX9" fmla="*/ 63620 w 93756"/>
                        <a:gd name="connsiteY9" fmla="*/ 62894 h 63197"/>
                        <a:gd name="connsiteX10" fmla="*/ 42560 w 93756"/>
                        <a:gd name="connsiteY10" fmla="*/ 51797 h 63197"/>
                        <a:gd name="connsiteX0" fmla="*/ 42560 w 93756"/>
                        <a:gd name="connsiteY0" fmla="*/ 57001 h 68401"/>
                        <a:gd name="connsiteX1" fmla="*/ 1516 w 93756"/>
                        <a:gd name="connsiteY1" fmla="*/ 36907 h 68401"/>
                        <a:gd name="connsiteX2" fmla="*/ 10247 w 93756"/>
                        <a:gd name="connsiteY2" fmla="*/ 21057 h 68401"/>
                        <a:gd name="connsiteX3" fmla="*/ 29297 w 93756"/>
                        <a:gd name="connsiteY3" fmla="*/ 20003 h 68401"/>
                        <a:gd name="connsiteX4" fmla="*/ 43585 w 93756"/>
                        <a:gd name="connsiteY4" fmla="*/ 5212 h 68401"/>
                        <a:gd name="connsiteX5" fmla="*/ 49068 w 93756"/>
                        <a:gd name="connsiteY5" fmla="*/ 884 h 68401"/>
                        <a:gd name="connsiteX6" fmla="*/ 93485 w 93756"/>
                        <a:gd name="connsiteY6" fmla="*/ 6190 h 68401"/>
                        <a:gd name="connsiteX7" fmla="*/ 76320 w 93756"/>
                        <a:gd name="connsiteY7" fmla="*/ 48964 h 68401"/>
                        <a:gd name="connsiteX8" fmla="*/ 72775 w 93756"/>
                        <a:gd name="connsiteY8" fmla="*/ 45334 h 68401"/>
                        <a:gd name="connsiteX9" fmla="*/ 63620 w 93756"/>
                        <a:gd name="connsiteY9" fmla="*/ 68098 h 68401"/>
                        <a:gd name="connsiteX10" fmla="*/ 42560 w 93756"/>
                        <a:gd name="connsiteY10" fmla="*/ 57001 h 68401"/>
                        <a:gd name="connsiteX0" fmla="*/ 42560 w 93756"/>
                        <a:gd name="connsiteY0" fmla="*/ 82885 h 94285"/>
                        <a:gd name="connsiteX1" fmla="*/ 1516 w 93756"/>
                        <a:gd name="connsiteY1" fmla="*/ 62791 h 94285"/>
                        <a:gd name="connsiteX2" fmla="*/ 10247 w 93756"/>
                        <a:gd name="connsiteY2" fmla="*/ 46941 h 94285"/>
                        <a:gd name="connsiteX3" fmla="*/ 7865 w 93756"/>
                        <a:gd name="connsiteY3" fmla="*/ 1515 h 94285"/>
                        <a:gd name="connsiteX4" fmla="*/ 43585 w 93756"/>
                        <a:gd name="connsiteY4" fmla="*/ 31096 h 94285"/>
                        <a:gd name="connsiteX5" fmla="*/ 49068 w 93756"/>
                        <a:gd name="connsiteY5" fmla="*/ 26768 h 94285"/>
                        <a:gd name="connsiteX6" fmla="*/ 93485 w 93756"/>
                        <a:gd name="connsiteY6" fmla="*/ 32074 h 94285"/>
                        <a:gd name="connsiteX7" fmla="*/ 76320 w 93756"/>
                        <a:gd name="connsiteY7" fmla="*/ 74848 h 94285"/>
                        <a:gd name="connsiteX8" fmla="*/ 72775 w 93756"/>
                        <a:gd name="connsiteY8" fmla="*/ 71218 h 94285"/>
                        <a:gd name="connsiteX9" fmla="*/ 63620 w 93756"/>
                        <a:gd name="connsiteY9" fmla="*/ 93982 h 94285"/>
                        <a:gd name="connsiteX10" fmla="*/ 42560 w 93756"/>
                        <a:gd name="connsiteY10" fmla="*/ 82885 h 94285"/>
                        <a:gd name="connsiteX0" fmla="*/ 43884 w 95080"/>
                        <a:gd name="connsiteY0" fmla="*/ 84900 h 96300"/>
                        <a:gd name="connsiteX1" fmla="*/ 2840 w 95080"/>
                        <a:gd name="connsiteY1" fmla="*/ 64806 h 96300"/>
                        <a:gd name="connsiteX2" fmla="*/ 4428 w 95080"/>
                        <a:gd name="connsiteY2" fmla="*/ 26770 h 96300"/>
                        <a:gd name="connsiteX3" fmla="*/ 9189 w 95080"/>
                        <a:gd name="connsiteY3" fmla="*/ 3530 h 96300"/>
                        <a:gd name="connsiteX4" fmla="*/ 44909 w 95080"/>
                        <a:gd name="connsiteY4" fmla="*/ 33111 h 96300"/>
                        <a:gd name="connsiteX5" fmla="*/ 50392 w 95080"/>
                        <a:gd name="connsiteY5" fmla="*/ 28783 h 96300"/>
                        <a:gd name="connsiteX6" fmla="*/ 94809 w 95080"/>
                        <a:gd name="connsiteY6" fmla="*/ 34089 h 96300"/>
                        <a:gd name="connsiteX7" fmla="*/ 77644 w 95080"/>
                        <a:gd name="connsiteY7" fmla="*/ 76863 h 96300"/>
                        <a:gd name="connsiteX8" fmla="*/ 74099 w 95080"/>
                        <a:gd name="connsiteY8" fmla="*/ 73233 h 96300"/>
                        <a:gd name="connsiteX9" fmla="*/ 64944 w 95080"/>
                        <a:gd name="connsiteY9" fmla="*/ 95997 h 96300"/>
                        <a:gd name="connsiteX10" fmla="*/ 43884 w 95080"/>
                        <a:gd name="connsiteY10" fmla="*/ 84900 h 963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95080" h="96300">
                          <a:moveTo>
                            <a:pt x="43884" y="84900"/>
                          </a:moveTo>
                          <a:cubicBezTo>
                            <a:pt x="33533" y="79702"/>
                            <a:pt x="8225" y="86644"/>
                            <a:pt x="2840" y="64806"/>
                          </a:cubicBezTo>
                          <a:cubicBezTo>
                            <a:pt x="-2545" y="42968"/>
                            <a:pt x="724" y="38039"/>
                            <a:pt x="4428" y="26770"/>
                          </a:cubicBezTo>
                          <a:cubicBezTo>
                            <a:pt x="7509" y="1411"/>
                            <a:pt x="4426" y="-4922"/>
                            <a:pt x="9189" y="3530"/>
                          </a:cubicBezTo>
                          <a:cubicBezTo>
                            <a:pt x="13952" y="11982"/>
                            <a:pt x="39630" y="33656"/>
                            <a:pt x="44909" y="33111"/>
                          </a:cubicBezTo>
                          <a:cubicBezTo>
                            <a:pt x="50188" y="32566"/>
                            <a:pt x="45647" y="25451"/>
                            <a:pt x="50392" y="28783"/>
                          </a:cubicBezTo>
                          <a:cubicBezTo>
                            <a:pt x="55137" y="32115"/>
                            <a:pt x="92251" y="28717"/>
                            <a:pt x="94809" y="34089"/>
                          </a:cubicBezTo>
                          <a:cubicBezTo>
                            <a:pt x="97367" y="39461"/>
                            <a:pt x="81096" y="70339"/>
                            <a:pt x="77644" y="76863"/>
                          </a:cubicBezTo>
                          <a:cubicBezTo>
                            <a:pt x="74192" y="83387"/>
                            <a:pt x="74099" y="51900"/>
                            <a:pt x="74099" y="73233"/>
                          </a:cubicBezTo>
                          <a:cubicBezTo>
                            <a:pt x="74099" y="94566"/>
                            <a:pt x="69980" y="94053"/>
                            <a:pt x="64944" y="95997"/>
                          </a:cubicBezTo>
                          <a:cubicBezTo>
                            <a:pt x="59908" y="97942"/>
                            <a:pt x="54235" y="90098"/>
                            <a:pt x="43884" y="8490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US" sz="1100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sp>
                <p:nvSpPr>
                  <p:cNvPr id="353" name="DF"/>
                  <p:cNvSpPr/>
                  <p:nvPr/>
                </p:nvSpPr>
                <p:spPr bwMode="auto">
                  <a:xfrm rot="10800000">
                    <a:off x="5949560" y="2512133"/>
                    <a:ext cx="95080" cy="72352"/>
                  </a:xfrm>
                  <a:custGeom>
                    <a:avLst/>
                    <a:gdLst>
                      <a:gd name="connsiteX0" fmla="*/ 0 w 92922"/>
                      <a:gd name="connsiteY0" fmla="*/ 38626 h 77251"/>
                      <a:gd name="connsiteX1" fmla="*/ 46461 w 92922"/>
                      <a:gd name="connsiteY1" fmla="*/ 0 h 77251"/>
                      <a:gd name="connsiteX2" fmla="*/ 92922 w 92922"/>
                      <a:gd name="connsiteY2" fmla="*/ 38626 h 77251"/>
                      <a:gd name="connsiteX3" fmla="*/ 46461 w 92922"/>
                      <a:gd name="connsiteY3" fmla="*/ 77252 h 77251"/>
                      <a:gd name="connsiteX4" fmla="*/ 0 w 92922"/>
                      <a:gd name="connsiteY4" fmla="*/ 38626 h 77251"/>
                      <a:gd name="connsiteX0" fmla="*/ 2773 w 95695"/>
                      <a:gd name="connsiteY0" fmla="*/ 46630 h 85256"/>
                      <a:gd name="connsiteX1" fmla="*/ 10043 w 95695"/>
                      <a:gd name="connsiteY1" fmla="*/ 3241 h 85256"/>
                      <a:gd name="connsiteX2" fmla="*/ 49234 w 95695"/>
                      <a:gd name="connsiteY2" fmla="*/ 8004 h 85256"/>
                      <a:gd name="connsiteX3" fmla="*/ 95695 w 95695"/>
                      <a:gd name="connsiteY3" fmla="*/ 46630 h 85256"/>
                      <a:gd name="connsiteX4" fmla="*/ 49234 w 95695"/>
                      <a:gd name="connsiteY4" fmla="*/ 85256 h 85256"/>
                      <a:gd name="connsiteX5" fmla="*/ 2773 w 95695"/>
                      <a:gd name="connsiteY5" fmla="*/ 46630 h 85256"/>
                      <a:gd name="connsiteX0" fmla="*/ 2217 w 98314"/>
                      <a:gd name="connsiteY0" fmla="*/ 62505 h 85631"/>
                      <a:gd name="connsiteX1" fmla="*/ 12662 w 98314"/>
                      <a:gd name="connsiteY1" fmla="*/ 3241 h 85631"/>
                      <a:gd name="connsiteX2" fmla="*/ 51853 w 98314"/>
                      <a:gd name="connsiteY2" fmla="*/ 8004 h 85631"/>
                      <a:gd name="connsiteX3" fmla="*/ 98314 w 98314"/>
                      <a:gd name="connsiteY3" fmla="*/ 46630 h 85631"/>
                      <a:gd name="connsiteX4" fmla="*/ 51853 w 98314"/>
                      <a:gd name="connsiteY4" fmla="*/ 85256 h 85631"/>
                      <a:gd name="connsiteX5" fmla="*/ 2217 w 98314"/>
                      <a:gd name="connsiteY5" fmla="*/ 62505 h 85631"/>
                      <a:gd name="connsiteX0" fmla="*/ 2659 w 98756"/>
                      <a:gd name="connsiteY0" fmla="*/ 62505 h 69284"/>
                      <a:gd name="connsiteX1" fmla="*/ 13104 w 98756"/>
                      <a:gd name="connsiteY1" fmla="*/ 3241 h 69284"/>
                      <a:gd name="connsiteX2" fmla="*/ 52295 w 98756"/>
                      <a:gd name="connsiteY2" fmla="*/ 8004 h 69284"/>
                      <a:gd name="connsiteX3" fmla="*/ 98756 w 98756"/>
                      <a:gd name="connsiteY3" fmla="*/ 46630 h 69284"/>
                      <a:gd name="connsiteX4" fmla="*/ 58645 w 98756"/>
                      <a:gd name="connsiteY4" fmla="*/ 66206 h 69284"/>
                      <a:gd name="connsiteX5" fmla="*/ 2659 w 98756"/>
                      <a:gd name="connsiteY5" fmla="*/ 62505 h 69284"/>
                      <a:gd name="connsiteX0" fmla="*/ 2659 w 98756"/>
                      <a:gd name="connsiteY0" fmla="*/ 62150 h 69531"/>
                      <a:gd name="connsiteX1" fmla="*/ 13104 w 98756"/>
                      <a:gd name="connsiteY1" fmla="*/ 2886 h 69531"/>
                      <a:gd name="connsiteX2" fmla="*/ 52295 w 98756"/>
                      <a:gd name="connsiteY2" fmla="*/ 7649 h 69531"/>
                      <a:gd name="connsiteX3" fmla="*/ 98756 w 98756"/>
                      <a:gd name="connsiteY3" fmla="*/ 36750 h 69531"/>
                      <a:gd name="connsiteX4" fmla="*/ 58645 w 98756"/>
                      <a:gd name="connsiteY4" fmla="*/ 65851 h 69531"/>
                      <a:gd name="connsiteX5" fmla="*/ 2659 w 98756"/>
                      <a:gd name="connsiteY5" fmla="*/ 62150 h 69531"/>
                      <a:gd name="connsiteX0" fmla="*/ 2659 w 98756"/>
                      <a:gd name="connsiteY0" fmla="*/ 69247 h 76628"/>
                      <a:gd name="connsiteX1" fmla="*/ 13104 w 98756"/>
                      <a:gd name="connsiteY1" fmla="*/ 9983 h 76628"/>
                      <a:gd name="connsiteX2" fmla="*/ 58645 w 98756"/>
                      <a:gd name="connsiteY2" fmla="*/ 2046 h 76628"/>
                      <a:gd name="connsiteX3" fmla="*/ 98756 w 98756"/>
                      <a:gd name="connsiteY3" fmla="*/ 43847 h 76628"/>
                      <a:gd name="connsiteX4" fmla="*/ 58645 w 98756"/>
                      <a:gd name="connsiteY4" fmla="*/ 72948 h 76628"/>
                      <a:gd name="connsiteX5" fmla="*/ 2659 w 98756"/>
                      <a:gd name="connsiteY5" fmla="*/ 69247 h 76628"/>
                      <a:gd name="connsiteX0" fmla="*/ 12211 w 108308"/>
                      <a:gd name="connsiteY0" fmla="*/ 72519 h 80420"/>
                      <a:gd name="connsiteX1" fmla="*/ 3606 w 108308"/>
                      <a:gd name="connsiteY1" fmla="*/ 4803 h 80420"/>
                      <a:gd name="connsiteX2" fmla="*/ 68197 w 108308"/>
                      <a:gd name="connsiteY2" fmla="*/ 5318 h 80420"/>
                      <a:gd name="connsiteX3" fmla="*/ 108308 w 108308"/>
                      <a:gd name="connsiteY3" fmla="*/ 47119 h 80420"/>
                      <a:gd name="connsiteX4" fmla="*/ 68197 w 108308"/>
                      <a:gd name="connsiteY4" fmla="*/ 76220 h 80420"/>
                      <a:gd name="connsiteX5" fmla="*/ 12211 w 108308"/>
                      <a:gd name="connsiteY5" fmla="*/ 72519 h 80420"/>
                      <a:gd name="connsiteX0" fmla="*/ 2818 w 127490"/>
                      <a:gd name="connsiteY0" fmla="*/ 76745 h 83125"/>
                      <a:gd name="connsiteX1" fmla="*/ 22788 w 127490"/>
                      <a:gd name="connsiteY1" fmla="*/ 4803 h 83125"/>
                      <a:gd name="connsiteX2" fmla="*/ 87379 w 127490"/>
                      <a:gd name="connsiteY2" fmla="*/ 5318 h 83125"/>
                      <a:gd name="connsiteX3" fmla="*/ 127490 w 127490"/>
                      <a:gd name="connsiteY3" fmla="*/ 47119 h 83125"/>
                      <a:gd name="connsiteX4" fmla="*/ 87379 w 127490"/>
                      <a:gd name="connsiteY4" fmla="*/ 76220 h 83125"/>
                      <a:gd name="connsiteX5" fmla="*/ 2818 w 127490"/>
                      <a:gd name="connsiteY5" fmla="*/ 76745 h 83125"/>
                      <a:gd name="connsiteX0" fmla="*/ 4020 w 128692"/>
                      <a:gd name="connsiteY0" fmla="*/ 76745 h 85175"/>
                      <a:gd name="connsiteX1" fmla="*/ 23990 w 128692"/>
                      <a:gd name="connsiteY1" fmla="*/ 4803 h 85175"/>
                      <a:gd name="connsiteX2" fmla="*/ 88581 w 128692"/>
                      <a:gd name="connsiteY2" fmla="*/ 5318 h 85175"/>
                      <a:gd name="connsiteX3" fmla="*/ 128692 w 128692"/>
                      <a:gd name="connsiteY3" fmla="*/ 47119 h 85175"/>
                      <a:gd name="connsiteX4" fmla="*/ 107631 w 128692"/>
                      <a:gd name="connsiteY4" fmla="*/ 80446 h 85175"/>
                      <a:gd name="connsiteX5" fmla="*/ 4020 w 128692"/>
                      <a:gd name="connsiteY5" fmla="*/ 76745 h 85175"/>
                      <a:gd name="connsiteX0" fmla="*/ 311 w 124983"/>
                      <a:gd name="connsiteY0" fmla="*/ 114981 h 126242"/>
                      <a:gd name="connsiteX1" fmla="*/ 71081 w 124983"/>
                      <a:gd name="connsiteY1" fmla="*/ 780 h 126242"/>
                      <a:gd name="connsiteX2" fmla="*/ 84872 w 124983"/>
                      <a:gd name="connsiteY2" fmla="*/ 43554 h 126242"/>
                      <a:gd name="connsiteX3" fmla="*/ 124983 w 124983"/>
                      <a:gd name="connsiteY3" fmla="*/ 85355 h 126242"/>
                      <a:gd name="connsiteX4" fmla="*/ 103922 w 124983"/>
                      <a:gd name="connsiteY4" fmla="*/ 118682 h 126242"/>
                      <a:gd name="connsiteX5" fmla="*/ 311 w 124983"/>
                      <a:gd name="connsiteY5" fmla="*/ 114981 h 126242"/>
                      <a:gd name="connsiteX0" fmla="*/ 3123 w 127795"/>
                      <a:gd name="connsiteY0" fmla="*/ 136754 h 149197"/>
                      <a:gd name="connsiteX1" fmla="*/ 31136 w 127795"/>
                      <a:gd name="connsiteY1" fmla="*/ 5728 h 149197"/>
                      <a:gd name="connsiteX2" fmla="*/ 73893 w 127795"/>
                      <a:gd name="connsiteY2" fmla="*/ 22553 h 149197"/>
                      <a:gd name="connsiteX3" fmla="*/ 87684 w 127795"/>
                      <a:gd name="connsiteY3" fmla="*/ 65327 h 149197"/>
                      <a:gd name="connsiteX4" fmla="*/ 127795 w 127795"/>
                      <a:gd name="connsiteY4" fmla="*/ 107128 h 149197"/>
                      <a:gd name="connsiteX5" fmla="*/ 106734 w 127795"/>
                      <a:gd name="connsiteY5" fmla="*/ 140455 h 149197"/>
                      <a:gd name="connsiteX6" fmla="*/ 3123 w 127795"/>
                      <a:gd name="connsiteY6" fmla="*/ 136754 h 149197"/>
                      <a:gd name="connsiteX0" fmla="*/ 9048 w 133720"/>
                      <a:gd name="connsiteY0" fmla="*/ 185654 h 201733"/>
                      <a:gd name="connsiteX1" fmla="*/ 8486 w 133720"/>
                      <a:gd name="connsiteY1" fmla="*/ 3916 h 201733"/>
                      <a:gd name="connsiteX2" fmla="*/ 37061 w 133720"/>
                      <a:gd name="connsiteY2" fmla="*/ 54628 h 201733"/>
                      <a:gd name="connsiteX3" fmla="*/ 79818 w 133720"/>
                      <a:gd name="connsiteY3" fmla="*/ 71453 h 201733"/>
                      <a:gd name="connsiteX4" fmla="*/ 93609 w 133720"/>
                      <a:gd name="connsiteY4" fmla="*/ 114227 h 201733"/>
                      <a:gd name="connsiteX5" fmla="*/ 133720 w 133720"/>
                      <a:gd name="connsiteY5" fmla="*/ 156028 h 201733"/>
                      <a:gd name="connsiteX6" fmla="*/ 112659 w 133720"/>
                      <a:gd name="connsiteY6" fmla="*/ 189355 h 201733"/>
                      <a:gd name="connsiteX7" fmla="*/ 9048 w 133720"/>
                      <a:gd name="connsiteY7" fmla="*/ 185654 h 201733"/>
                      <a:gd name="connsiteX0" fmla="*/ 9048 w 133720"/>
                      <a:gd name="connsiteY0" fmla="*/ 192718 h 208797"/>
                      <a:gd name="connsiteX1" fmla="*/ 8486 w 133720"/>
                      <a:gd name="connsiteY1" fmla="*/ 10980 h 208797"/>
                      <a:gd name="connsiteX2" fmla="*/ 37061 w 133720"/>
                      <a:gd name="connsiteY2" fmla="*/ 19432 h 208797"/>
                      <a:gd name="connsiteX3" fmla="*/ 37061 w 133720"/>
                      <a:gd name="connsiteY3" fmla="*/ 61692 h 208797"/>
                      <a:gd name="connsiteX4" fmla="*/ 79818 w 133720"/>
                      <a:gd name="connsiteY4" fmla="*/ 78517 h 208797"/>
                      <a:gd name="connsiteX5" fmla="*/ 93609 w 133720"/>
                      <a:gd name="connsiteY5" fmla="*/ 121291 h 208797"/>
                      <a:gd name="connsiteX6" fmla="*/ 133720 w 133720"/>
                      <a:gd name="connsiteY6" fmla="*/ 163092 h 208797"/>
                      <a:gd name="connsiteX7" fmla="*/ 112659 w 133720"/>
                      <a:gd name="connsiteY7" fmla="*/ 196419 h 208797"/>
                      <a:gd name="connsiteX8" fmla="*/ 9048 w 133720"/>
                      <a:gd name="connsiteY8" fmla="*/ 192718 h 208797"/>
                      <a:gd name="connsiteX0" fmla="*/ 33011 w 125933"/>
                      <a:gd name="connsiteY0" fmla="*/ 142007 h 196916"/>
                      <a:gd name="connsiteX1" fmla="*/ 699 w 125933"/>
                      <a:gd name="connsiteY1" fmla="*/ 10980 h 196916"/>
                      <a:gd name="connsiteX2" fmla="*/ 29274 w 125933"/>
                      <a:gd name="connsiteY2" fmla="*/ 19432 h 196916"/>
                      <a:gd name="connsiteX3" fmla="*/ 29274 w 125933"/>
                      <a:gd name="connsiteY3" fmla="*/ 61692 h 196916"/>
                      <a:gd name="connsiteX4" fmla="*/ 72031 w 125933"/>
                      <a:gd name="connsiteY4" fmla="*/ 78517 h 196916"/>
                      <a:gd name="connsiteX5" fmla="*/ 85822 w 125933"/>
                      <a:gd name="connsiteY5" fmla="*/ 121291 h 196916"/>
                      <a:gd name="connsiteX6" fmla="*/ 125933 w 125933"/>
                      <a:gd name="connsiteY6" fmla="*/ 163092 h 196916"/>
                      <a:gd name="connsiteX7" fmla="*/ 104872 w 125933"/>
                      <a:gd name="connsiteY7" fmla="*/ 196419 h 196916"/>
                      <a:gd name="connsiteX8" fmla="*/ 33011 w 125933"/>
                      <a:gd name="connsiteY8" fmla="*/ 142007 h 196916"/>
                      <a:gd name="connsiteX0" fmla="*/ 49204 w 142126"/>
                      <a:gd name="connsiteY0" fmla="*/ 142007 h 196916"/>
                      <a:gd name="connsiteX1" fmla="*/ 1017 w 142126"/>
                      <a:gd name="connsiteY1" fmla="*/ 61692 h 196916"/>
                      <a:gd name="connsiteX2" fmla="*/ 16892 w 142126"/>
                      <a:gd name="connsiteY2" fmla="*/ 10980 h 196916"/>
                      <a:gd name="connsiteX3" fmla="*/ 45467 w 142126"/>
                      <a:gd name="connsiteY3" fmla="*/ 19432 h 196916"/>
                      <a:gd name="connsiteX4" fmla="*/ 45467 w 142126"/>
                      <a:gd name="connsiteY4" fmla="*/ 61692 h 196916"/>
                      <a:gd name="connsiteX5" fmla="*/ 88224 w 142126"/>
                      <a:gd name="connsiteY5" fmla="*/ 78517 h 196916"/>
                      <a:gd name="connsiteX6" fmla="*/ 102015 w 142126"/>
                      <a:gd name="connsiteY6" fmla="*/ 121291 h 196916"/>
                      <a:gd name="connsiteX7" fmla="*/ 142126 w 142126"/>
                      <a:gd name="connsiteY7" fmla="*/ 163092 h 196916"/>
                      <a:gd name="connsiteX8" fmla="*/ 121065 w 142126"/>
                      <a:gd name="connsiteY8" fmla="*/ 196419 h 196916"/>
                      <a:gd name="connsiteX9" fmla="*/ 49204 w 142126"/>
                      <a:gd name="connsiteY9" fmla="*/ 142007 h 196916"/>
                      <a:gd name="connsiteX0" fmla="*/ 49204 w 142126"/>
                      <a:gd name="connsiteY0" fmla="*/ 142007 h 173263"/>
                      <a:gd name="connsiteX1" fmla="*/ 1017 w 142126"/>
                      <a:gd name="connsiteY1" fmla="*/ 61692 h 173263"/>
                      <a:gd name="connsiteX2" fmla="*/ 16892 w 142126"/>
                      <a:gd name="connsiteY2" fmla="*/ 10980 h 173263"/>
                      <a:gd name="connsiteX3" fmla="*/ 45467 w 142126"/>
                      <a:gd name="connsiteY3" fmla="*/ 19432 h 173263"/>
                      <a:gd name="connsiteX4" fmla="*/ 45467 w 142126"/>
                      <a:gd name="connsiteY4" fmla="*/ 61692 h 173263"/>
                      <a:gd name="connsiteX5" fmla="*/ 88224 w 142126"/>
                      <a:gd name="connsiteY5" fmla="*/ 78517 h 173263"/>
                      <a:gd name="connsiteX6" fmla="*/ 102015 w 142126"/>
                      <a:gd name="connsiteY6" fmla="*/ 121291 h 173263"/>
                      <a:gd name="connsiteX7" fmla="*/ 142126 w 142126"/>
                      <a:gd name="connsiteY7" fmla="*/ 163092 h 173263"/>
                      <a:gd name="connsiteX8" fmla="*/ 79790 w 142126"/>
                      <a:gd name="connsiteY8" fmla="*/ 162612 h 173263"/>
                      <a:gd name="connsiteX9" fmla="*/ 49204 w 142126"/>
                      <a:gd name="connsiteY9" fmla="*/ 142007 h 17326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45467 w 110376"/>
                      <a:gd name="connsiteY4" fmla="*/ 61692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62136 w 110376"/>
                      <a:gd name="connsiteY4" fmla="*/ 49014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05613"/>
                      <a:gd name="connsiteY0" fmla="*/ 142007 h 164051"/>
                      <a:gd name="connsiteX1" fmla="*/ 1017 w 105613"/>
                      <a:gd name="connsiteY1" fmla="*/ 61692 h 164051"/>
                      <a:gd name="connsiteX2" fmla="*/ 16892 w 105613"/>
                      <a:gd name="connsiteY2" fmla="*/ 10980 h 164051"/>
                      <a:gd name="connsiteX3" fmla="*/ 45467 w 105613"/>
                      <a:gd name="connsiteY3" fmla="*/ 19432 h 164051"/>
                      <a:gd name="connsiteX4" fmla="*/ 62136 w 105613"/>
                      <a:gd name="connsiteY4" fmla="*/ 49014 h 164051"/>
                      <a:gd name="connsiteX5" fmla="*/ 88224 w 105613"/>
                      <a:gd name="connsiteY5" fmla="*/ 78517 h 164051"/>
                      <a:gd name="connsiteX6" fmla="*/ 102015 w 105613"/>
                      <a:gd name="connsiteY6" fmla="*/ 121291 h 164051"/>
                      <a:gd name="connsiteX7" fmla="*/ 105613 w 105613"/>
                      <a:gd name="connsiteY7" fmla="*/ 111323 h 164051"/>
                      <a:gd name="connsiteX8" fmla="*/ 79790 w 105613"/>
                      <a:gd name="connsiteY8" fmla="*/ 162612 h 164051"/>
                      <a:gd name="connsiteX9" fmla="*/ 49204 w 105613"/>
                      <a:gd name="connsiteY9" fmla="*/ 142007 h 164051"/>
                      <a:gd name="connsiteX0" fmla="*/ 49204 w 105613"/>
                      <a:gd name="connsiteY0" fmla="*/ 142007 h 149974"/>
                      <a:gd name="connsiteX1" fmla="*/ 1017 w 105613"/>
                      <a:gd name="connsiteY1" fmla="*/ 61692 h 149974"/>
                      <a:gd name="connsiteX2" fmla="*/ 16892 w 105613"/>
                      <a:gd name="connsiteY2" fmla="*/ 10980 h 149974"/>
                      <a:gd name="connsiteX3" fmla="*/ 45467 w 105613"/>
                      <a:gd name="connsiteY3" fmla="*/ 19432 h 149974"/>
                      <a:gd name="connsiteX4" fmla="*/ 62136 w 105613"/>
                      <a:gd name="connsiteY4" fmla="*/ 49014 h 149974"/>
                      <a:gd name="connsiteX5" fmla="*/ 88224 w 105613"/>
                      <a:gd name="connsiteY5" fmla="*/ 78517 h 149974"/>
                      <a:gd name="connsiteX6" fmla="*/ 102015 w 105613"/>
                      <a:gd name="connsiteY6" fmla="*/ 121291 h 149974"/>
                      <a:gd name="connsiteX7" fmla="*/ 105613 w 105613"/>
                      <a:gd name="connsiteY7" fmla="*/ 111323 h 149974"/>
                      <a:gd name="connsiteX8" fmla="*/ 89315 w 105613"/>
                      <a:gd name="connsiteY8" fmla="*/ 143596 h 149974"/>
                      <a:gd name="connsiteX9" fmla="*/ 49204 w 105613"/>
                      <a:gd name="connsiteY9" fmla="*/ 142007 h 149974"/>
                      <a:gd name="connsiteX0" fmla="*/ 53967 w 105613"/>
                      <a:gd name="connsiteY0" fmla="*/ 122990 h 143862"/>
                      <a:gd name="connsiteX1" fmla="*/ 1017 w 105613"/>
                      <a:gd name="connsiteY1" fmla="*/ 61692 h 143862"/>
                      <a:gd name="connsiteX2" fmla="*/ 16892 w 105613"/>
                      <a:gd name="connsiteY2" fmla="*/ 10980 h 143862"/>
                      <a:gd name="connsiteX3" fmla="*/ 45467 w 105613"/>
                      <a:gd name="connsiteY3" fmla="*/ 19432 h 143862"/>
                      <a:gd name="connsiteX4" fmla="*/ 62136 w 105613"/>
                      <a:gd name="connsiteY4" fmla="*/ 49014 h 143862"/>
                      <a:gd name="connsiteX5" fmla="*/ 88224 w 105613"/>
                      <a:gd name="connsiteY5" fmla="*/ 78517 h 143862"/>
                      <a:gd name="connsiteX6" fmla="*/ 102015 w 105613"/>
                      <a:gd name="connsiteY6" fmla="*/ 121291 h 143862"/>
                      <a:gd name="connsiteX7" fmla="*/ 105613 w 105613"/>
                      <a:gd name="connsiteY7" fmla="*/ 111323 h 143862"/>
                      <a:gd name="connsiteX8" fmla="*/ 89315 w 105613"/>
                      <a:gd name="connsiteY8" fmla="*/ 143596 h 143862"/>
                      <a:gd name="connsiteX9" fmla="*/ 53967 w 105613"/>
                      <a:gd name="connsiteY9" fmla="*/ 122990 h 143862"/>
                      <a:gd name="connsiteX0" fmla="*/ 40087 w 91733"/>
                      <a:gd name="connsiteY0" fmla="*/ 122990 h 143903"/>
                      <a:gd name="connsiteX1" fmla="*/ 3806 w 91733"/>
                      <a:gd name="connsiteY1" fmla="*/ 52185 h 143903"/>
                      <a:gd name="connsiteX2" fmla="*/ 3012 w 91733"/>
                      <a:gd name="connsiteY2" fmla="*/ 10980 h 143903"/>
                      <a:gd name="connsiteX3" fmla="*/ 31587 w 91733"/>
                      <a:gd name="connsiteY3" fmla="*/ 19432 h 143903"/>
                      <a:gd name="connsiteX4" fmla="*/ 48256 w 91733"/>
                      <a:gd name="connsiteY4" fmla="*/ 49014 h 143903"/>
                      <a:gd name="connsiteX5" fmla="*/ 74344 w 91733"/>
                      <a:gd name="connsiteY5" fmla="*/ 78517 h 143903"/>
                      <a:gd name="connsiteX6" fmla="*/ 88135 w 91733"/>
                      <a:gd name="connsiteY6" fmla="*/ 121291 h 143903"/>
                      <a:gd name="connsiteX7" fmla="*/ 91733 w 91733"/>
                      <a:gd name="connsiteY7" fmla="*/ 111323 h 143903"/>
                      <a:gd name="connsiteX8" fmla="*/ 75435 w 91733"/>
                      <a:gd name="connsiteY8" fmla="*/ 143596 h 143903"/>
                      <a:gd name="connsiteX9" fmla="*/ 40087 w 91733"/>
                      <a:gd name="connsiteY9" fmla="*/ 122990 h 143903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88135 w 91733"/>
                      <a:gd name="connsiteY6" fmla="*/ 121291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78610 w 91733"/>
                      <a:gd name="connsiteY6" fmla="*/ 102275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24433"/>
                      <a:gd name="connsiteX1" fmla="*/ 3806 w 91733"/>
                      <a:gd name="connsiteY1" fmla="*/ 52185 h 124433"/>
                      <a:gd name="connsiteX2" fmla="*/ 3012 w 91733"/>
                      <a:gd name="connsiteY2" fmla="*/ 10980 h 124433"/>
                      <a:gd name="connsiteX3" fmla="*/ 31587 w 91733"/>
                      <a:gd name="connsiteY3" fmla="*/ 19432 h 124433"/>
                      <a:gd name="connsiteX4" fmla="*/ 48256 w 91733"/>
                      <a:gd name="connsiteY4" fmla="*/ 49014 h 124433"/>
                      <a:gd name="connsiteX5" fmla="*/ 74344 w 91733"/>
                      <a:gd name="connsiteY5" fmla="*/ 78517 h 124433"/>
                      <a:gd name="connsiteX6" fmla="*/ 78610 w 91733"/>
                      <a:gd name="connsiteY6" fmla="*/ 102275 h 124433"/>
                      <a:gd name="connsiteX7" fmla="*/ 91733 w 91733"/>
                      <a:gd name="connsiteY7" fmla="*/ 111323 h 124433"/>
                      <a:gd name="connsiteX8" fmla="*/ 65910 w 91733"/>
                      <a:gd name="connsiteY8" fmla="*/ 121409 h 124433"/>
                      <a:gd name="connsiteX9" fmla="*/ 44850 w 91733"/>
                      <a:gd name="connsiteY9" fmla="*/ 110312 h 124433"/>
                      <a:gd name="connsiteX0" fmla="*/ 44850 w 79374"/>
                      <a:gd name="connsiteY0" fmla="*/ 110312 h 122122"/>
                      <a:gd name="connsiteX1" fmla="*/ 3806 w 79374"/>
                      <a:gd name="connsiteY1" fmla="*/ 52185 h 122122"/>
                      <a:gd name="connsiteX2" fmla="*/ 3012 w 79374"/>
                      <a:gd name="connsiteY2" fmla="*/ 10980 h 122122"/>
                      <a:gd name="connsiteX3" fmla="*/ 31587 w 79374"/>
                      <a:gd name="connsiteY3" fmla="*/ 19432 h 122122"/>
                      <a:gd name="connsiteX4" fmla="*/ 48256 w 79374"/>
                      <a:gd name="connsiteY4" fmla="*/ 49014 h 122122"/>
                      <a:gd name="connsiteX5" fmla="*/ 74344 w 79374"/>
                      <a:gd name="connsiteY5" fmla="*/ 78517 h 122122"/>
                      <a:gd name="connsiteX6" fmla="*/ 78610 w 79374"/>
                      <a:gd name="connsiteY6" fmla="*/ 102275 h 122122"/>
                      <a:gd name="connsiteX7" fmla="*/ 75065 w 79374"/>
                      <a:gd name="connsiteY7" fmla="*/ 98645 h 122122"/>
                      <a:gd name="connsiteX8" fmla="*/ 65910 w 79374"/>
                      <a:gd name="connsiteY8" fmla="*/ 121409 h 122122"/>
                      <a:gd name="connsiteX9" fmla="*/ 44850 w 79374"/>
                      <a:gd name="connsiteY9" fmla="*/ 110312 h 122122"/>
                      <a:gd name="connsiteX0" fmla="*/ 42560 w 77084"/>
                      <a:gd name="connsiteY0" fmla="*/ 94411 h 106222"/>
                      <a:gd name="connsiteX1" fmla="*/ 1516 w 77084"/>
                      <a:gd name="connsiteY1" fmla="*/ 36284 h 106222"/>
                      <a:gd name="connsiteX2" fmla="*/ 10247 w 77084"/>
                      <a:gd name="connsiteY2" fmla="*/ 26774 h 106222"/>
                      <a:gd name="connsiteX3" fmla="*/ 29297 w 77084"/>
                      <a:gd name="connsiteY3" fmla="*/ 3531 h 106222"/>
                      <a:gd name="connsiteX4" fmla="*/ 45966 w 77084"/>
                      <a:gd name="connsiteY4" fmla="*/ 33113 h 106222"/>
                      <a:gd name="connsiteX5" fmla="*/ 72054 w 77084"/>
                      <a:gd name="connsiteY5" fmla="*/ 62616 h 106222"/>
                      <a:gd name="connsiteX6" fmla="*/ 76320 w 77084"/>
                      <a:gd name="connsiteY6" fmla="*/ 86374 h 106222"/>
                      <a:gd name="connsiteX7" fmla="*/ 72775 w 77084"/>
                      <a:gd name="connsiteY7" fmla="*/ 82744 h 106222"/>
                      <a:gd name="connsiteX8" fmla="*/ 63620 w 77084"/>
                      <a:gd name="connsiteY8" fmla="*/ 105508 h 106222"/>
                      <a:gd name="connsiteX9" fmla="*/ 42560 w 77084"/>
                      <a:gd name="connsiteY9" fmla="*/ 94411 h 106222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5966 w 77084"/>
                      <a:gd name="connsiteY4" fmla="*/ 21320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3585 w 77084"/>
                      <a:gd name="connsiteY4" fmla="*/ 30829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018"/>
                      <a:gd name="connsiteX1" fmla="*/ 1516 w 77084"/>
                      <a:gd name="connsiteY1" fmla="*/ 62524 h 94018"/>
                      <a:gd name="connsiteX2" fmla="*/ 10247 w 77084"/>
                      <a:gd name="connsiteY2" fmla="*/ 14981 h 94018"/>
                      <a:gd name="connsiteX3" fmla="*/ 29297 w 77084"/>
                      <a:gd name="connsiteY3" fmla="*/ 10756 h 94018"/>
                      <a:gd name="connsiteX4" fmla="*/ 43585 w 77084"/>
                      <a:gd name="connsiteY4" fmla="*/ 30829 h 94018"/>
                      <a:gd name="connsiteX5" fmla="*/ 72054 w 77084"/>
                      <a:gd name="connsiteY5" fmla="*/ 50823 h 94018"/>
                      <a:gd name="connsiteX6" fmla="*/ 76320 w 77084"/>
                      <a:gd name="connsiteY6" fmla="*/ 74581 h 94018"/>
                      <a:gd name="connsiteX7" fmla="*/ 72775 w 77084"/>
                      <a:gd name="connsiteY7" fmla="*/ 70951 h 94018"/>
                      <a:gd name="connsiteX8" fmla="*/ 63620 w 77084"/>
                      <a:gd name="connsiteY8" fmla="*/ 93715 h 94018"/>
                      <a:gd name="connsiteX9" fmla="*/ 42560 w 77084"/>
                      <a:gd name="connsiteY9" fmla="*/ 82618 h 94018"/>
                      <a:gd name="connsiteX0" fmla="*/ 42560 w 77084"/>
                      <a:gd name="connsiteY0" fmla="*/ 73899 h 85299"/>
                      <a:gd name="connsiteX1" fmla="*/ 1516 w 77084"/>
                      <a:gd name="connsiteY1" fmla="*/ 53805 h 85299"/>
                      <a:gd name="connsiteX2" fmla="*/ 10247 w 77084"/>
                      <a:gd name="connsiteY2" fmla="*/ 37955 h 85299"/>
                      <a:gd name="connsiteX3" fmla="*/ 29297 w 77084"/>
                      <a:gd name="connsiteY3" fmla="*/ 2037 h 85299"/>
                      <a:gd name="connsiteX4" fmla="*/ 43585 w 77084"/>
                      <a:gd name="connsiteY4" fmla="*/ 22110 h 85299"/>
                      <a:gd name="connsiteX5" fmla="*/ 72054 w 77084"/>
                      <a:gd name="connsiteY5" fmla="*/ 42104 h 85299"/>
                      <a:gd name="connsiteX6" fmla="*/ 76320 w 77084"/>
                      <a:gd name="connsiteY6" fmla="*/ 65862 h 85299"/>
                      <a:gd name="connsiteX7" fmla="*/ 72775 w 77084"/>
                      <a:gd name="connsiteY7" fmla="*/ 62232 h 85299"/>
                      <a:gd name="connsiteX8" fmla="*/ 63620 w 77084"/>
                      <a:gd name="connsiteY8" fmla="*/ 84996 h 85299"/>
                      <a:gd name="connsiteX9" fmla="*/ 42560 w 77084"/>
                      <a:gd name="connsiteY9" fmla="*/ 73899 h 85299"/>
                      <a:gd name="connsiteX0" fmla="*/ 42560 w 77084"/>
                      <a:gd name="connsiteY0" fmla="*/ 52685 h 64085"/>
                      <a:gd name="connsiteX1" fmla="*/ 1516 w 77084"/>
                      <a:gd name="connsiteY1" fmla="*/ 32591 h 64085"/>
                      <a:gd name="connsiteX2" fmla="*/ 10247 w 77084"/>
                      <a:gd name="connsiteY2" fmla="*/ 16741 h 64085"/>
                      <a:gd name="connsiteX3" fmla="*/ 29297 w 77084"/>
                      <a:gd name="connsiteY3" fmla="*/ 15687 h 64085"/>
                      <a:gd name="connsiteX4" fmla="*/ 43585 w 77084"/>
                      <a:gd name="connsiteY4" fmla="*/ 896 h 64085"/>
                      <a:gd name="connsiteX5" fmla="*/ 72054 w 77084"/>
                      <a:gd name="connsiteY5" fmla="*/ 20890 h 64085"/>
                      <a:gd name="connsiteX6" fmla="*/ 76320 w 77084"/>
                      <a:gd name="connsiteY6" fmla="*/ 44648 h 64085"/>
                      <a:gd name="connsiteX7" fmla="*/ 72775 w 77084"/>
                      <a:gd name="connsiteY7" fmla="*/ 41018 h 64085"/>
                      <a:gd name="connsiteX8" fmla="*/ 63620 w 77084"/>
                      <a:gd name="connsiteY8" fmla="*/ 63782 h 64085"/>
                      <a:gd name="connsiteX9" fmla="*/ 42560 w 77084"/>
                      <a:gd name="connsiteY9" fmla="*/ 52685 h 64085"/>
                      <a:gd name="connsiteX0" fmla="*/ 42560 w 76322"/>
                      <a:gd name="connsiteY0" fmla="*/ 51797 h 63197"/>
                      <a:gd name="connsiteX1" fmla="*/ 1516 w 76322"/>
                      <a:gd name="connsiteY1" fmla="*/ 31703 h 63197"/>
                      <a:gd name="connsiteX2" fmla="*/ 10247 w 76322"/>
                      <a:gd name="connsiteY2" fmla="*/ 15853 h 63197"/>
                      <a:gd name="connsiteX3" fmla="*/ 29297 w 76322"/>
                      <a:gd name="connsiteY3" fmla="*/ 14799 h 63197"/>
                      <a:gd name="connsiteX4" fmla="*/ 43585 w 76322"/>
                      <a:gd name="connsiteY4" fmla="*/ 8 h 63197"/>
                      <a:gd name="connsiteX5" fmla="*/ 44305 w 76322"/>
                      <a:gd name="connsiteY5" fmla="*/ 30542 h 63197"/>
                      <a:gd name="connsiteX6" fmla="*/ 72054 w 76322"/>
                      <a:gd name="connsiteY6" fmla="*/ 20002 h 63197"/>
                      <a:gd name="connsiteX7" fmla="*/ 76320 w 76322"/>
                      <a:gd name="connsiteY7" fmla="*/ 43760 h 63197"/>
                      <a:gd name="connsiteX8" fmla="*/ 72775 w 76322"/>
                      <a:gd name="connsiteY8" fmla="*/ 40130 h 63197"/>
                      <a:gd name="connsiteX9" fmla="*/ 63620 w 76322"/>
                      <a:gd name="connsiteY9" fmla="*/ 62894 h 63197"/>
                      <a:gd name="connsiteX10" fmla="*/ 42560 w 76322"/>
                      <a:gd name="connsiteY10" fmla="*/ 51797 h 63197"/>
                      <a:gd name="connsiteX0" fmla="*/ 42560 w 93756"/>
                      <a:gd name="connsiteY0" fmla="*/ 51797 h 63197"/>
                      <a:gd name="connsiteX1" fmla="*/ 1516 w 93756"/>
                      <a:gd name="connsiteY1" fmla="*/ 31703 h 63197"/>
                      <a:gd name="connsiteX2" fmla="*/ 10247 w 93756"/>
                      <a:gd name="connsiteY2" fmla="*/ 15853 h 63197"/>
                      <a:gd name="connsiteX3" fmla="*/ 29297 w 93756"/>
                      <a:gd name="connsiteY3" fmla="*/ 14799 h 63197"/>
                      <a:gd name="connsiteX4" fmla="*/ 43585 w 93756"/>
                      <a:gd name="connsiteY4" fmla="*/ 8 h 63197"/>
                      <a:gd name="connsiteX5" fmla="*/ 44305 w 93756"/>
                      <a:gd name="connsiteY5" fmla="*/ 30542 h 63197"/>
                      <a:gd name="connsiteX6" fmla="*/ 93485 w 93756"/>
                      <a:gd name="connsiteY6" fmla="*/ 986 h 63197"/>
                      <a:gd name="connsiteX7" fmla="*/ 76320 w 93756"/>
                      <a:gd name="connsiteY7" fmla="*/ 43760 h 63197"/>
                      <a:gd name="connsiteX8" fmla="*/ 72775 w 93756"/>
                      <a:gd name="connsiteY8" fmla="*/ 40130 h 63197"/>
                      <a:gd name="connsiteX9" fmla="*/ 63620 w 93756"/>
                      <a:gd name="connsiteY9" fmla="*/ 62894 h 63197"/>
                      <a:gd name="connsiteX10" fmla="*/ 42560 w 93756"/>
                      <a:gd name="connsiteY10" fmla="*/ 51797 h 63197"/>
                      <a:gd name="connsiteX0" fmla="*/ 42560 w 93756"/>
                      <a:gd name="connsiteY0" fmla="*/ 57001 h 68401"/>
                      <a:gd name="connsiteX1" fmla="*/ 1516 w 93756"/>
                      <a:gd name="connsiteY1" fmla="*/ 36907 h 68401"/>
                      <a:gd name="connsiteX2" fmla="*/ 10247 w 93756"/>
                      <a:gd name="connsiteY2" fmla="*/ 21057 h 68401"/>
                      <a:gd name="connsiteX3" fmla="*/ 29297 w 93756"/>
                      <a:gd name="connsiteY3" fmla="*/ 20003 h 68401"/>
                      <a:gd name="connsiteX4" fmla="*/ 43585 w 93756"/>
                      <a:gd name="connsiteY4" fmla="*/ 5212 h 68401"/>
                      <a:gd name="connsiteX5" fmla="*/ 49068 w 93756"/>
                      <a:gd name="connsiteY5" fmla="*/ 884 h 68401"/>
                      <a:gd name="connsiteX6" fmla="*/ 93485 w 93756"/>
                      <a:gd name="connsiteY6" fmla="*/ 6190 h 68401"/>
                      <a:gd name="connsiteX7" fmla="*/ 76320 w 93756"/>
                      <a:gd name="connsiteY7" fmla="*/ 48964 h 68401"/>
                      <a:gd name="connsiteX8" fmla="*/ 72775 w 93756"/>
                      <a:gd name="connsiteY8" fmla="*/ 45334 h 68401"/>
                      <a:gd name="connsiteX9" fmla="*/ 63620 w 93756"/>
                      <a:gd name="connsiteY9" fmla="*/ 68098 h 68401"/>
                      <a:gd name="connsiteX10" fmla="*/ 42560 w 93756"/>
                      <a:gd name="connsiteY10" fmla="*/ 57001 h 68401"/>
                      <a:gd name="connsiteX0" fmla="*/ 42560 w 93756"/>
                      <a:gd name="connsiteY0" fmla="*/ 82885 h 94285"/>
                      <a:gd name="connsiteX1" fmla="*/ 1516 w 93756"/>
                      <a:gd name="connsiteY1" fmla="*/ 62791 h 94285"/>
                      <a:gd name="connsiteX2" fmla="*/ 10247 w 93756"/>
                      <a:gd name="connsiteY2" fmla="*/ 46941 h 94285"/>
                      <a:gd name="connsiteX3" fmla="*/ 7865 w 93756"/>
                      <a:gd name="connsiteY3" fmla="*/ 1515 h 94285"/>
                      <a:gd name="connsiteX4" fmla="*/ 43585 w 93756"/>
                      <a:gd name="connsiteY4" fmla="*/ 31096 h 94285"/>
                      <a:gd name="connsiteX5" fmla="*/ 49068 w 93756"/>
                      <a:gd name="connsiteY5" fmla="*/ 26768 h 94285"/>
                      <a:gd name="connsiteX6" fmla="*/ 93485 w 93756"/>
                      <a:gd name="connsiteY6" fmla="*/ 32074 h 94285"/>
                      <a:gd name="connsiteX7" fmla="*/ 76320 w 93756"/>
                      <a:gd name="connsiteY7" fmla="*/ 74848 h 94285"/>
                      <a:gd name="connsiteX8" fmla="*/ 72775 w 93756"/>
                      <a:gd name="connsiteY8" fmla="*/ 71218 h 94285"/>
                      <a:gd name="connsiteX9" fmla="*/ 63620 w 93756"/>
                      <a:gd name="connsiteY9" fmla="*/ 93982 h 94285"/>
                      <a:gd name="connsiteX10" fmla="*/ 42560 w 93756"/>
                      <a:gd name="connsiteY10" fmla="*/ 82885 h 94285"/>
                      <a:gd name="connsiteX0" fmla="*/ 43884 w 95080"/>
                      <a:gd name="connsiteY0" fmla="*/ 84900 h 96300"/>
                      <a:gd name="connsiteX1" fmla="*/ 2840 w 95080"/>
                      <a:gd name="connsiteY1" fmla="*/ 64806 h 96300"/>
                      <a:gd name="connsiteX2" fmla="*/ 4428 w 95080"/>
                      <a:gd name="connsiteY2" fmla="*/ 26770 h 96300"/>
                      <a:gd name="connsiteX3" fmla="*/ 9189 w 95080"/>
                      <a:gd name="connsiteY3" fmla="*/ 3530 h 96300"/>
                      <a:gd name="connsiteX4" fmla="*/ 44909 w 95080"/>
                      <a:gd name="connsiteY4" fmla="*/ 33111 h 96300"/>
                      <a:gd name="connsiteX5" fmla="*/ 50392 w 95080"/>
                      <a:gd name="connsiteY5" fmla="*/ 28783 h 96300"/>
                      <a:gd name="connsiteX6" fmla="*/ 94809 w 95080"/>
                      <a:gd name="connsiteY6" fmla="*/ 34089 h 96300"/>
                      <a:gd name="connsiteX7" fmla="*/ 77644 w 95080"/>
                      <a:gd name="connsiteY7" fmla="*/ 76863 h 96300"/>
                      <a:gd name="connsiteX8" fmla="*/ 74099 w 95080"/>
                      <a:gd name="connsiteY8" fmla="*/ 73233 h 96300"/>
                      <a:gd name="connsiteX9" fmla="*/ 64944 w 95080"/>
                      <a:gd name="connsiteY9" fmla="*/ 95997 h 96300"/>
                      <a:gd name="connsiteX10" fmla="*/ 43884 w 95080"/>
                      <a:gd name="connsiteY10" fmla="*/ 84900 h 963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95080" h="96300">
                        <a:moveTo>
                          <a:pt x="43884" y="84900"/>
                        </a:moveTo>
                        <a:cubicBezTo>
                          <a:pt x="33533" y="79702"/>
                          <a:pt x="8225" y="86644"/>
                          <a:pt x="2840" y="64806"/>
                        </a:cubicBezTo>
                        <a:cubicBezTo>
                          <a:pt x="-2545" y="42968"/>
                          <a:pt x="724" y="38039"/>
                          <a:pt x="4428" y="26770"/>
                        </a:cubicBezTo>
                        <a:cubicBezTo>
                          <a:pt x="7509" y="1411"/>
                          <a:pt x="4426" y="-4922"/>
                          <a:pt x="9189" y="3530"/>
                        </a:cubicBezTo>
                        <a:cubicBezTo>
                          <a:pt x="13952" y="11982"/>
                          <a:pt x="39630" y="33656"/>
                          <a:pt x="44909" y="33111"/>
                        </a:cubicBezTo>
                        <a:cubicBezTo>
                          <a:pt x="50188" y="32566"/>
                          <a:pt x="45647" y="25451"/>
                          <a:pt x="50392" y="28783"/>
                        </a:cubicBezTo>
                        <a:cubicBezTo>
                          <a:pt x="55137" y="32115"/>
                          <a:pt x="92251" y="28717"/>
                          <a:pt x="94809" y="34089"/>
                        </a:cubicBezTo>
                        <a:cubicBezTo>
                          <a:pt x="97367" y="39461"/>
                          <a:pt x="81096" y="70339"/>
                          <a:pt x="77644" y="76863"/>
                        </a:cubicBezTo>
                        <a:cubicBezTo>
                          <a:pt x="74192" y="83387"/>
                          <a:pt x="74099" y="51900"/>
                          <a:pt x="74099" y="73233"/>
                        </a:cubicBezTo>
                        <a:cubicBezTo>
                          <a:pt x="74099" y="94566"/>
                          <a:pt x="69980" y="94053"/>
                          <a:pt x="64944" y="95997"/>
                        </a:cubicBezTo>
                        <a:cubicBezTo>
                          <a:pt x="59908" y="97942"/>
                          <a:pt x="54235" y="90098"/>
                          <a:pt x="43884" y="8490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1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55" name="DF"/>
                  <p:cNvSpPr/>
                  <p:nvPr/>
                </p:nvSpPr>
                <p:spPr bwMode="auto">
                  <a:xfrm rot="10800000">
                    <a:off x="5951220" y="2354580"/>
                    <a:ext cx="76322" cy="47481"/>
                  </a:xfrm>
                  <a:custGeom>
                    <a:avLst/>
                    <a:gdLst>
                      <a:gd name="connsiteX0" fmla="*/ 0 w 92922"/>
                      <a:gd name="connsiteY0" fmla="*/ 38626 h 77251"/>
                      <a:gd name="connsiteX1" fmla="*/ 46461 w 92922"/>
                      <a:gd name="connsiteY1" fmla="*/ 0 h 77251"/>
                      <a:gd name="connsiteX2" fmla="*/ 92922 w 92922"/>
                      <a:gd name="connsiteY2" fmla="*/ 38626 h 77251"/>
                      <a:gd name="connsiteX3" fmla="*/ 46461 w 92922"/>
                      <a:gd name="connsiteY3" fmla="*/ 77252 h 77251"/>
                      <a:gd name="connsiteX4" fmla="*/ 0 w 92922"/>
                      <a:gd name="connsiteY4" fmla="*/ 38626 h 77251"/>
                      <a:gd name="connsiteX0" fmla="*/ 2773 w 95695"/>
                      <a:gd name="connsiteY0" fmla="*/ 46630 h 85256"/>
                      <a:gd name="connsiteX1" fmla="*/ 10043 w 95695"/>
                      <a:gd name="connsiteY1" fmla="*/ 3241 h 85256"/>
                      <a:gd name="connsiteX2" fmla="*/ 49234 w 95695"/>
                      <a:gd name="connsiteY2" fmla="*/ 8004 h 85256"/>
                      <a:gd name="connsiteX3" fmla="*/ 95695 w 95695"/>
                      <a:gd name="connsiteY3" fmla="*/ 46630 h 85256"/>
                      <a:gd name="connsiteX4" fmla="*/ 49234 w 95695"/>
                      <a:gd name="connsiteY4" fmla="*/ 85256 h 85256"/>
                      <a:gd name="connsiteX5" fmla="*/ 2773 w 95695"/>
                      <a:gd name="connsiteY5" fmla="*/ 46630 h 85256"/>
                      <a:gd name="connsiteX0" fmla="*/ 2217 w 98314"/>
                      <a:gd name="connsiteY0" fmla="*/ 62505 h 85631"/>
                      <a:gd name="connsiteX1" fmla="*/ 12662 w 98314"/>
                      <a:gd name="connsiteY1" fmla="*/ 3241 h 85631"/>
                      <a:gd name="connsiteX2" fmla="*/ 51853 w 98314"/>
                      <a:gd name="connsiteY2" fmla="*/ 8004 h 85631"/>
                      <a:gd name="connsiteX3" fmla="*/ 98314 w 98314"/>
                      <a:gd name="connsiteY3" fmla="*/ 46630 h 85631"/>
                      <a:gd name="connsiteX4" fmla="*/ 51853 w 98314"/>
                      <a:gd name="connsiteY4" fmla="*/ 85256 h 85631"/>
                      <a:gd name="connsiteX5" fmla="*/ 2217 w 98314"/>
                      <a:gd name="connsiteY5" fmla="*/ 62505 h 85631"/>
                      <a:gd name="connsiteX0" fmla="*/ 2659 w 98756"/>
                      <a:gd name="connsiteY0" fmla="*/ 62505 h 69284"/>
                      <a:gd name="connsiteX1" fmla="*/ 13104 w 98756"/>
                      <a:gd name="connsiteY1" fmla="*/ 3241 h 69284"/>
                      <a:gd name="connsiteX2" fmla="*/ 52295 w 98756"/>
                      <a:gd name="connsiteY2" fmla="*/ 8004 h 69284"/>
                      <a:gd name="connsiteX3" fmla="*/ 98756 w 98756"/>
                      <a:gd name="connsiteY3" fmla="*/ 46630 h 69284"/>
                      <a:gd name="connsiteX4" fmla="*/ 58645 w 98756"/>
                      <a:gd name="connsiteY4" fmla="*/ 66206 h 69284"/>
                      <a:gd name="connsiteX5" fmla="*/ 2659 w 98756"/>
                      <a:gd name="connsiteY5" fmla="*/ 62505 h 69284"/>
                      <a:gd name="connsiteX0" fmla="*/ 2659 w 98756"/>
                      <a:gd name="connsiteY0" fmla="*/ 62150 h 69531"/>
                      <a:gd name="connsiteX1" fmla="*/ 13104 w 98756"/>
                      <a:gd name="connsiteY1" fmla="*/ 2886 h 69531"/>
                      <a:gd name="connsiteX2" fmla="*/ 52295 w 98756"/>
                      <a:gd name="connsiteY2" fmla="*/ 7649 h 69531"/>
                      <a:gd name="connsiteX3" fmla="*/ 98756 w 98756"/>
                      <a:gd name="connsiteY3" fmla="*/ 36750 h 69531"/>
                      <a:gd name="connsiteX4" fmla="*/ 58645 w 98756"/>
                      <a:gd name="connsiteY4" fmla="*/ 65851 h 69531"/>
                      <a:gd name="connsiteX5" fmla="*/ 2659 w 98756"/>
                      <a:gd name="connsiteY5" fmla="*/ 62150 h 69531"/>
                      <a:gd name="connsiteX0" fmla="*/ 2659 w 98756"/>
                      <a:gd name="connsiteY0" fmla="*/ 69247 h 76628"/>
                      <a:gd name="connsiteX1" fmla="*/ 13104 w 98756"/>
                      <a:gd name="connsiteY1" fmla="*/ 9983 h 76628"/>
                      <a:gd name="connsiteX2" fmla="*/ 58645 w 98756"/>
                      <a:gd name="connsiteY2" fmla="*/ 2046 h 76628"/>
                      <a:gd name="connsiteX3" fmla="*/ 98756 w 98756"/>
                      <a:gd name="connsiteY3" fmla="*/ 43847 h 76628"/>
                      <a:gd name="connsiteX4" fmla="*/ 58645 w 98756"/>
                      <a:gd name="connsiteY4" fmla="*/ 72948 h 76628"/>
                      <a:gd name="connsiteX5" fmla="*/ 2659 w 98756"/>
                      <a:gd name="connsiteY5" fmla="*/ 69247 h 76628"/>
                      <a:gd name="connsiteX0" fmla="*/ 12211 w 108308"/>
                      <a:gd name="connsiteY0" fmla="*/ 72519 h 80420"/>
                      <a:gd name="connsiteX1" fmla="*/ 3606 w 108308"/>
                      <a:gd name="connsiteY1" fmla="*/ 4803 h 80420"/>
                      <a:gd name="connsiteX2" fmla="*/ 68197 w 108308"/>
                      <a:gd name="connsiteY2" fmla="*/ 5318 h 80420"/>
                      <a:gd name="connsiteX3" fmla="*/ 108308 w 108308"/>
                      <a:gd name="connsiteY3" fmla="*/ 47119 h 80420"/>
                      <a:gd name="connsiteX4" fmla="*/ 68197 w 108308"/>
                      <a:gd name="connsiteY4" fmla="*/ 76220 h 80420"/>
                      <a:gd name="connsiteX5" fmla="*/ 12211 w 108308"/>
                      <a:gd name="connsiteY5" fmla="*/ 72519 h 80420"/>
                      <a:gd name="connsiteX0" fmla="*/ 2818 w 127490"/>
                      <a:gd name="connsiteY0" fmla="*/ 76745 h 83125"/>
                      <a:gd name="connsiteX1" fmla="*/ 22788 w 127490"/>
                      <a:gd name="connsiteY1" fmla="*/ 4803 h 83125"/>
                      <a:gd name="connsiteX2" fmla="*/ 87379 w 127490"/>
                      <a:gd name="connsiteY2" fmla="*/ 5318 h 83125"/>
                      <a:gd name="connsiteX3" fmla="*/ 127490 w 127490"/>
                      <a:gd name="connsiteY3" fmla="*/ 47119 h 83125"/>
                      <a:gd name="connsiteX4" fmla="*/ 87379 w 127490"/>
                      <a:gd name="connsiteY4" fmla="*/ 76220 h 83125"/>
                      <a:gd name="connsiteX5" fmla="*/ 2818 w 127490"/>
                      <a:gd name="connsiteY5" fmla="*/ 76745 h 83125"/>
                      <a:gd name="connsiteX0" fmla="*/ 4020 w 128692"/>
                      <a:gd name="connsiteY0" fmla="*/ 76745 h 85175"/>
                      <a:gd name="connsiteX1" fmla="*/ 23990 w 128692"/>
                      <a:gd name="connsiteY1" fmla="*/ 4803 h 85175"/>
                      <a:gd name="connsiteX2" fmla="*/ 88581 w 128692"/>
                      <a:gd name="connsiteY2" fmla="*/ 5318 h 85175"/>
                      <a:gd name="connsiteX3" fmla="*/ 128692 w 128692"/>
                      <a:gd name="connsiteY3" fmla="*/ 47119 h 85175"/>
                      <a:gd name="connsiteX4" fmla="*/ 107631 w 128692"/>
                      <a:gd name="connsiteY4" fmla="*/ 80446 h 85175"/>
                      <a:gd name="connsiteX5" fmla="*/ 4020 w 128692"/>
                      <a:gd name="connsiteY5" fmla="*/ 76745 h 85175"/>
                      <a:gd name="connsiteX0" fmla="*/ 311 w 124983"/>
                      <a:gd name="connsiteY0" fmla="*/ 114981 h 126242"/>
                      <a:gd name="connsiteX1" fmla="*/ 71081 w 124983"/>
                      <a:gd name="connsiteY1" fmla="*/ 780 h 126242"/>
                      <a:gd name="connsiteX2" fmla="*/ 84872 w 124983"/>
                      <a:gd name="connsiteY2" fmla="*/ 43554 h 126242"/>
                      <a:gd name="connsiteX3" fmla="*/ 124983 w 124983"/>
                      <a:gd name="connsiteY3" fmla="*/ 85355 h 126242"/>
                      <a:gd name="connsiteX4" fmla="*/ 103922 w 124983"/>
                      <a:gd name="connsiteY4" fmla="*/ 118682 h 126242"/>
                      <a:gd name="connsiteX5" fmla="*/ 311 w 124983"/>
                      <a:gd name="connsiteY5" fmla="*/ 114981 h 126242"/>
                      <a:gd name="connsiteX0" fmla="*/ 3123 w 127795"/>
                      <a:gd name="connsiteY0" fmla="*/ 136754 h 149197"/>
                      <a:gd name="connsiteX1" fmla="*/ 31136 w 127795"/>
                      <a:gd name="connsiteY1" fmla="*/ 5728 h 149197"/>
                      <a:gd name="connsiteX2" fmla="*/ 73893 w 127795"/>
                      <a:gd name="connsiteY2" fmla="*/ 22553 h 149197"/>
                      <a:gd name="connsiteX3" fmla="*/ 87684 w 127795"/>
                      <a:gd name="connsiteY3" fmla="*/ 65327 h 149197"/>
                      <a:gd name="connsiteX4" fmla="*/ 127795 w 127795"/>
                      <a:gd name="connsiteY4" fmla="*/ 107128 h 149197"/>
                      <a:gd name="connsiteX5" fmla="*/ 106734 w 127795"/>
                      <a:gd name="connsiteY5" fmla="*/ 140455 h 149197"/>
                      <a:gd name="connsiteX6" fmla="*/ 3123 w 127795"/>
                      <a:gd name="connsiteY6" fmla="*/ 136754 h 149197"/>
                      <a:gd name="connsiteX0" fmla="*/ 9048 w 133720"/>
                      <a:gd name="connsiteY0" fmla="*/ 185654 h 201733"/>
                      <a:gd name="connsiteX1" fmla="*/ 8486 w 133720"/>
                      <a:gd name="connsiteY1" fmla="*/ 3916 h 201733"/>
                      <a:gd name="connsiteX2" fmla="*/ 37061 w 133720"/>
                      <a:gd name="connsiteY2" fmla="*/ 54628 h 201733"/>
                      <a:gd name="connsiteX3" fmla="*/ 79818 w 133720"/>
                      <a:gd name="connsiteY3" fmla="*/ 71453 h 201733"/>
                      <a:gd name="connsiteX4" fmla="*/ 93609 w 133720"/>
                      <a:gd name="connsiteY4" fmla="*/ 114227 h 201733"/>
                      <a:gd name="connsiteX5" fmla="*/ 133720 w 133720"/>
                      <a:gd name="connsiteY5" fmla="*/ 156028 h 201733"/>
                      <a:gd name="connsiteX6" fmla="*/ 112659 w 133720"/>
                      <a:gd name="connsiteY6" fmla="*/ 189355 h 201733"/>
                      <a:gd name="connsiteX7" fmla="*/ 9048 w 133720"/>
                      <a:gd name="connsiteY7" fmla="*/ 185654 h 201733"/>
                      <a:gd name="connsiteX0" fmla="*/ 9048 w 133720"/>
                      <a:gd name="connsiteY0" fmla="*/ 192718 h 208797"/>
                      <a:gd name="connsiteX1" fmla="*/ 8486 w 133720"/>
                      <a:gd name="connsiteY1" fmla="*/ 10980 h 208797"/>
                      <a:gd name="connsiteX2" fmla="*/ 37061 w 133720"/>
                      <a:gd name="connsiteY2" fmla="*/ 19432 h 208797"/>
                      <a:gd name="connsiteX3" fmla="*/ 37061 w 133720"/>
                      <a:gd name="connsiteY3" fmla="*/ 61692 h 208797"/>
                      <a:gd name="connsiteX4" fmla="*/ 79818 w 133720"/>
                      <a:gd name="connsiteY4" fmla="*/ 78517 h 208797"/>
                      <a:gd name="connsiteX5" fmla="*/ 93609 w 133720"/>
                      <a:gd name="connsiteY5" fmla="*/ 121291 h 208797"/>
                      <a:gd name="connsiteX6" fmla="*/ 133720 w 133720"/>
                      <a:gd name="connsiteY6" fmla="*/ 163092 h 208797"/>
                      <a:gd name="connsiteX7" fmla="*/ 112659 w 133720"/>
                      <a:gd name="connsiteY7" fmla="*/ 196419 h 208797"/>
                      <a:gd name="connsiteX8" fmla="*/ 9048 w 133720"/>
                      <a:gd name="connsiteY8" fmla="*/ 192718 h 208797"/>
                      <a:gd name="connsiteX0" fmla="*/ 33011 w 125933"/>
                      <a:gd name="connsiteY0" fmla="*/ 142007 h 196916"/>
                      <a:gd name="connsiteX1" fmla="*/ 699 w 125933"/>
                      <a:gd name="connsiteY1" fmla="*/ 10980 h 196916"/>
                      <a:gd name="connsiteX2" fmla="*/ 29274 w 125933"/>
                      <a:gd name="connsiteY2" fmla="*/ 19432 h 196916"/>
                      <a:gd name="connsiteX3" fmla="*/ 29274 w 125933"/>
                      <a:gd name="connsiteY3" fmla="*/ 61692 h 196916"/>
                      <a:gd name="connsiteX4" fmla="*/ 72031 w 125933"/>
                      <a:gd name="connsiteY4" fmla="*/ 78517 h 196916"/>
                      <a:gd name="connsiteX5" fmla="*/ 85822 w 125933"/>
                      <a:gd name="connsiteY5" fmla="*/ 121291 h 196916"/>
                      <a:gd name="connsiteX6" fmla="*/ 125933 w 125933"/>
                      <a:gd name="connsiteY6" fmla="*/ 163092 h 196916"/>
                      <a:gd name="connsiteX7" fmla="*/ 104872 w 125933"/>
                      <a:gd name="connsiteY7" fmla="*/ 196419 h 196916"/>
                      <a:gd name="connsiteX8" fmla="*/ 33011 w 125933"/>
                      <a:gd name="connsiteY8" fmla="*/ 142007 h 196916"/>
                      <a:gd name="connsiteX0" fmla="*/ 49204 w 142126"/>
                      <a:gd name="connsiteY0" fmla="*/ 142007 h 196916"/>
                      <a:gd name="connsiteX1" fmla="*/ 1017 w 142126"/>
                      <a:gd name="connsiteY1" fmla="*/ 61692 h 196916"/>
                      <a:gd name="connsiteX2" fmla="*/ 16892 w 142126"/>
                      <a:gd name="connsiteY2" fmla="*/ 10980 h 196916"/>
                      <a:gd name="connsiteX3" fmla="*/ 45467 w 142126"/>
                      <a:gd name="connsiteY3" fmla="*/ 19432 h 196916"/>
                      <a:gd name="connsiteX4" fmla="*/ 45467 w 142126"/>
                      <a:gd name="connsiteY4" fmla="*/ 61692 h 196916"/>
                      <a:gd name="connsiteX5" fmla="*/ 88224 w 142126"/>
                      <a:gd name="connsiteY5" fmla="*/ 78517 h 196916"/>
                      <a:gd name="connsiteX6" fmla="*/ 102015 w 142126"/>
                      <a:gd name="connsiteY6" fmla="*/ 121291 h 196916"/>
                      <a:gd name="connsiteX7" fmla="*/ 142126 w 142126"/>
                      <a:gd name="connsiteY7" fmla="*/ 163092 h 196916"/>
                      <a:gd name="connsiteX8" fmla="*/ 121065 w 142126"/>
                      <a:gd name="connsiteY8" fmla="*/ 196419 h 196916"/>
                      <a:gd name="connsiteX9" fmla="*/ 49204 w 142126"/>
                      <a:gd name="connsiteY9" fmla="*/ 142007 h 196916"/>
                      <a:gd name="connsiteX0" fmla="*/ 49204 w 142126"/>
                      <a:gd name="connsiteY0" fmla="*/ 142007 h 173263"/>
                      <a:gd name="connsiteX1" fmla="*/ 1017 w 142126"/>
                      <a:gd name="connsiteY1" fmla="*/ 61692 h 173263"/>
                      <a:gd name="connsiteX2" fmla="*/ 16892 w 142126"/>
                      <a:gd name="connsiteY2" fmla="*/ 10980 h 173263"/>
                      <a:gd name="connsiteX3" fmla="*/ 45467 w 142126"/>
                      <a:gd name="connsiteY3" fmla="*/ 19432 h 173263"/>
                      <a:gd name="connsiteX4" fmla="*/ 45467 w 142126"/>
                      <a:gd name="connsiteY4" fmla="*/ 61692 h 173263"/>
                      <a:gd name="connsiteX5" fmla="*/ 88224 w 142126"/>
                      <a:gd name="connsiteY5" fmla="*/ 78517 h 173263"/>
                      <a:gd name="connsiteX6" fmla="*/ 102015 w 142126"/>
                      <a:gd name="connsiteY6" fmla="*/ 121291 h 173263"/>
                      <a:gd name="connsiteX7" fmla="*/ 142126 w 142126"/>
                      <a:gd name="connsiteY7" fmla="*/ 163092 h 173263"/>
                      <a:gd name="connsiteX8" fmla="*/ 79790 w 142126"/>
                      <a:gd name="connsiteY8" fmla="*/ 162612 h 173263"/>
                      <a:gd name="connsiteX9" fmla="*/ 49204 w 142126"/>
                      <a:gd name="connsiteY9" fmla="*/ 142007 h 17326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45467 w 110376"/>
                      <a:gd name="connsiteY4" fmla="*/ 61692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62136 w 110376"/>
                      <a:gd name="connsiteY4" fmla="*/ 49014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05613"/>
                      <a:gd name="connsiteY0" fmla="*/ 142007 h 164051"/>
                      <a:gd name="connsiteX1" fmla="*/ 1017 w 105613"/>
                      <a:gd name="connsiteY1" fmla="*/ 61692 h 164051"/>
                      <a:gd name="connsiteX2" fmla="*/ 16892 w 105613"/>
                      <a:gd name="connsiteY2" fmla="*/ 10980 h 164051"/>
                      <a:gd name="connsiteX3" fmla="*/ 45467 w 105613"/>
                      <a:gd name="connsiteY3" fmla="*/ 19432 h 164051"/>
                      <a:gd name="connsiteX4" fmla="*/ 62136 w 105613"/>
                      <a:gd name="connsiteY4" fmla="*/ 49014 h 164051"/>
                      <a:gd name="connsiteX5" fmla="*/ 88224 w 105613"/>
                      <a:gd name="connsiteY5" fmla="*/ 78517 h 164051"/>
                      <a:gd name="connsiteX6" fmla="*/ 102015 w 105613"/>
                      <a:gd name="connsiteY6" fmla="*/ 121291 h 164051"/>
                      <a:gd name="connsiteX7" fmla="*/ 105613 w 105613"/>
                      <a:gd name="connsiteY7" fmla="*/ 111323 h 164051"/>
                      <a:gd name="connsiteX8" fmla="*/ 79790 w 105613"/>
                      <a:gd name="connsiteY8" fmla="*/ 162612 h 164051"/>
                      <a:gd name="connsiteX9" fmla="*/ 49204 w 105613"/>
                      <a:gd name="connsiteY9" fmla="*/ 142007 h 164051"/>
                      <a:gd name="connsiteX0" fmla="*/ 49204 w 105613"/>
                      <a:gd name="connsiteY0" fmla="*/ 142007 h 149974"/>
                      <a:gd name="connsiteX1" fmla="*/ 1017 w 105613"/>
                      <a:gd name="connsiteY1" fmla="*/ 61692 h 149974"/>
                      <a:gd name="connsiteX2" fmla="*/ 16892 w 105613"/>
                      <a:gd name="connsiteY2" fmla="*/ 10980 h 149974"/>
                      <a:gd name="connsiteX3" fmla="*/ 45467 w 105613"/>
                      <a:gd name="connsiteY3" fmla="*/ 19432 h 149974"/>
                      <a:gd name="connsiteX4" fmla="*/ 62136 w 105613"/>
                      <a:gd name="connsiteY4" fmla="*/ 49014 h 149974"/>
                      <a:gd name="connsiteX5" fmla="*/ 88224 w 105613"/>
                      <a:gd name="connsiteY5" fmla="*/ 78517 h 149974"/>
                      <a:gd name="connsiteX6" fmla="*/ 102015 w 105613"/>
                      <a:gd name="connsiteY6" fmla="*/ 121291 h 149974"/>
                      <a:gd name="connsiteX7" fmla="*/ 105613 w 105613"/>
                      <a:gd name="connsiteY7" fmla="*/ 111323 h 149974"/>
                      <a:gd name="connsiteX8" fmla="*/ 89315 w 105613"/>
                      <a:gd name="connsiteY8" fmla="*/ 143596 h 149974"/>
                      <a:gd name="connsiteX9" fmla="*/ 49204 w 105613"/>
                      <a:gd name="connsiteY9" fmla="*/ 142007 h 149974"/>
                      <a:gd name="connsiteX0" fmla="*/ 53967 w 105613"/>
                      <a:gd name="connsiteY0" fmla="*/ 122990 h 143862"/>
                      <a:gd name="connsiteX1" fmla="*/ 1017 w 105613"/>
                      <a:gd name="connsiteY1" fmla="*/ 61692 h 143862"/>
                      <a:gd name="connsiteX2" fmla="*/ 16892 w 105613"/>
                      <a:gd name="connsiteY2" fmla="*/ 10980 h 143862"/>
                      <a:gd name="connsiteX3" fmla="*/ 45467 w 105613"/>
                      <a:gd name="connsiteY3" fmla="*/ 19432 h 143862"/>
                      <a:gd name="connsiteX4" fmla="*/ 62136 w 105613"/>
                      <a:gd name="connsiteY4" fmla="*/ 49014 h 143862"/>
                      <a:gd name="connsiteX5" fmla="*/ 88224 w 105613"/>
                      <a:gd name="connsiteY5" fmla="*/ 78517 h 143862"/>
                      <a:gd name="connsiteX6" fmla="*/ 102015 w 105613"/>
                      <a:gd name="connsiteY6" fmla="*/ 121291 h 143862"/>
                      <a:gd name="connsiteX7" fmla="*/ 105613 w 105613"/>
                      <a:gd name="connsiteY7" fmla="*/ 111323 h 143862"/>
                      <a:gd name="connsiteX8" fmla="*/ 89315 w 105613"/>
                      <a:gd name="connsiteY8" fmla="*/ 143596 h 143862"/>
                      <a:gd name="connsiteX9" fmla="*/ 53967 w 105613"/>
                      <a:gd name="connsiteY9" fmla="*/ 122990 h 143862"/>
                      <a:gd name="connsiteX0" fmla="*/ 40087 w 91733"/>
                      <a:gd name="connsiteY0" fmla="*/ 122990 h 143903"/>
                      <a:gd name="connsiteX1" fmla="*/ 3806 w 91733"/>
                      <a:gd name="connsiteY1" fmla="*/ 52185 h 143903"/>
                      <a:gd name="connsiteX2" fmla="*/ 3012 w 91733"/>
                      <a:gd name="connsiteY2" fmla="*/ 10980 h 143903"/>
                      <a:gd name="connsiteX3" fmla="*/ 31587 w 91733"/>
                      <a:gd name="connsiteY3" fmla="*/ 19432 h 143903"/>
                      <a:gd name="connsiteX4" fmla="*/ 48256 w 91733"/>
                      <a:gd name="connsiteY4" fmla="*/ 49014 h 143903"/>
                      <a:gd name="connsiteX5" fmla="*/ 74344 w 91733"/>
                      <a:gd name="connsiteY5" fmla="*/ 78517 h 143903"/>
                      <a:gd name="connsiteX6" fmla="*/ 88135 w 91733"/>
                      <a:gd name="connsiteY6" fmla="*/ 121291 h 143903"/>
                      <a:gd name="connsiteX7" fmla="*/ 91733 w 91733"/>
                      <a:gd name="connsiteY7" fmla="*/ 111323 h 143903"/>
                      <a:gd name="connsiteX8" fmla="*/ 75435 w 91733"/>
                      <a:gd name="connsiteY8" fmla="*/ 143596 h 143903"/>
                      <a:gd name="connsiteX9" fmla="*/ 40087 w 91733"/>
                      <a:gd name="connsiteY9" fmla="*/ 122990 h 143903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88135 w 91733"/>
                      <a:gd name="connsiteY6" fmla="*/ 121291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78610 w 91733"/>
                      <a:gd name="connsiteY6" fmla="*/ 102275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24433"/>
                      <a:gd name="connsiteX1" fmla="*/ 3806 w 91733"/>
                      <a:gd name="connsiteY1" fmla="*/ 52185 h 124433"/>
                      <a:gd name="connsiteX2" fmla="*/ 3012 w 91733"/>
                      <a:gd name="connsiteY2" fmla="*/ 10980 h 124433"/>
                      <a:gd name="connsiteX3" fmla="*/ 31587 w 91733"/>
                      <a:gd name="connsiteY3" fmla="*/ 19432 h 124433"/>
                      <a:gd name="connsiteX4" fmla="*/ 48256 w 91733"/>
                      <a:gd name="connsiteY4" fmla="*/ 49014 h 124433"/>
                      <a:gd name="connsiteX5" fmla="*/ 74344 w 91733"/>
                      <a:gd name="connsiteY5" fmla="*/ 78517 h 124433"/>
                      <a:gd name="connsiteX6" fmla="*/ 78610 w 91733"/>
                      <a:gd name="connsiteY6" fmla="*/ 102275 h 124433"/>
                      <a:gd name="connsiteX7" fmla="*/ 91733 w 91733"/>
                      <a:gd name="connsiteY7" fmla="*/ 111323 h 124433"/>
                      <a:gd name="connsiteX8" fmla="*/ 65910 w 91733"/>
                      <a:gd name="connsiteY8" fmla="*/ 121409 h 124433"/>
                      <a:gd name="connsiteX9" fmla="*/ 44850 w 91733"/>
                      <a:gd name="connsiteY9" fmla="*/ 110312 h 124433"/>
                      <a:gd name="connsiteX0" fmla="*/ 44850 w 79374"/>
                      <a:gd name="connsiteY0" fmla="*/ 110312 h 122122"/>
                      <a:gd name="connsiteX1" fmla="*/ 3806 w 79374"/>
                      <a:gd name="connsiteY1" fmla="*/ 52185 h 122122"/>
                      <a:gd name="connsiteX2" fmla="*/ 3012 w 79374"/>
                      <a:gd name="connsiteY2" fmla="*/ 10980 h 122122"/>
                      <a:gd name="connsiteX3" fmla="*/ 31587 w 79374"/>
                      <a:gd name="connsiteY3" fmla="*/ 19432 h 122122"/>
                      <a:gd name="connsiteX4" fmla="*/ 48256 w 79374"/>
                      <a:gd name="connsiteY4" fmla="*/ 49014 h 122122"/>
                      <a:gd name="connsiteX5" fmla="*/ 74344 w 79374"/>
                      <a:gd name="connsiteY5" fmla="*/ 78517 h 122122"/>
                      <a:gd name="connsiteX6" fmla="*/ 78610 w 79374"/>
                      <a:gd name="connsiteY6" fmla="*/ 102275 h 122122"/>
                      <a:gd name="connsiteX7" fmla="*/ 75065 w 79374"/>
                      <a:gd name="connsiteY7" fmla="*/ 98645 h 122122"/>
                      <a:gd name="connsiteX8" fmla="*/ 65910 w 79374"/>
                      <a:gd name="connsiteY8" fmla="*/ 121409 h 122122"/>
                      <a:gd name="connsiteX9" fmla="*/ 44850 w 79374"/>
                      <a:gd name="connsiteY9" fmla="*/ 110312 h 122122"/>
                      <a:gd name="connsiteX0" fmla="*/ 42560 w 77084"/>
                      <a:gd name="connsiteY0" fmla="*/ 94411 h 106222"/>
                      <a:gd name="connsiteX1" fmla="*/ 1516 w 77084"/>
                      <a:gd name="connsiteY1" fmla="*/ 36284 h 106222"/>
                      <a:gd name="connsiteX2" fmla="*/ 10247 w 77084"/>
                      <a:gd name="connsiteY2" fmla="*/ 26774 h 106222"/>
                      <a:gd name="connsiteX3" fmla="*/ 29297 w 77084"/>
                      <a:gd name="connsiteY3" fmla="*/ 3531 h 106222"/>
                      <a:gd name="connsiteX4" fmla="*/ 45966 w 77084"/>
                      <a:gd name="connsiteY4" fmla="*/ 33113 h 106222"/>
                      <a:gd name="connsiteX5" fmla="*/ 72054 w 77084"/>
                      <a:gd name="connsiteY5" fmla="*/ 62616 h 106222"/>
                      <a:gd name="connsiteX6" fmla="*/ 76320 w 77084"/>
                      <a:gd name="connsiteY6" fmla="*/ 86374 h 106222"/>
                      <a:gd name="connsiteX7" fmla="*/ 72775 w 77084"/>
                      <a:gd name="connsiteY7" fmla="*/ 82744 h 106222"/>
                      <a:gd name="connsiteX8" fmla="*/ 63620 w 77084"/>
                      <a:gd name="connsiteY8" fmla="*/ 105508 h 106222"/>
                      <a:gd name="connsiteX9" fmla="*/ 42560 w 77084"/>
                      <a:gd name="connsiteY9" fmla="*/ 94411 h 106222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5966 w 77084"/>
                      <a:gd name="connsiteY4" fmla="*/ 21320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3585 w 77084"/>
                      <a:gd name="connsiteY4" fmla="*/ 30829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018"/>
                      <a:gd name="connsiteX1" fmla="*/ 1516 w 77084"/>
                      <a:gd name="connsiteY1" fmla="*/ 62524 h 94018"/>
                      <a:gd name="connsiteX2" fmla="*/ 10247 w 77084"/>
                      <a:gd name="connsiteY2" fmla="*/ 14981 h 94018"/>
                      <a:gd name="connsiteX3" fmla="*/ 29297 w 77084"/>
                      <a:gd name="connsiteY3" fmla="*/ 10756 h 94018"/>
                      <a:gd name="connsiteX4" fmla="*/ 43585 w 77084"/>
                      <a:gd name="connsiteY4" fmla="*/ 30829 h 94018"/>
                      <a:gd name="connsiteX5" fmla="*/ 72054 w 77084"/>
                      <a:gd name="connsiteY5" fmla="*/ 50823 h 94018"/>
                      <a:gd name="connsiteX6" fmla="*/ 76320 w 77084"/>
                      <a:gd name="connsiteY6" fmla="*/ 74581 h 94018"/>
                      <a:gd name="connsiteX7" fmla="*/ 72775 w 77084"/>
                      <a:gd name="connsiteY7" fmla="*/ 70951 h 94018"/>
                      <a:gd name="connsiteX8" fmla="*/ 63620 w 77084"/>
                      <a:gd name="connsiteY8" fmla="*/ 93715 h 94018"/>
                      <a:gd name="connsiteX9" fmla="*/ 42560 w 77084"/>
                      <a:gd name="connsiteY9" fmla="*/ 82618 h 94018"/>
                      <a:gd name="connsiteX0" fmla="*/ 42560 w 77084"/>
                      <a:gd name="connsiteY0" fmla="*/ 73899 h 85299"/>
                      <a:gd name="connsiteX1" fmla="*/ 1516 w 77084"/>
                      <a:gd name="connsiteY1" fmla="*/ 53805 h 85299"/>
                      <a:gd name="connsiteX2" fmla="*/ 10247 w 77084"/>
                      <a:gd name="connsiteY2" fmla="*/ 37955 h 85299"/>
                      <a:gd name="connsiteX3" fmla="*/ 29297 w 77084"/>
                      <a:gd name="connsiteY3" fmla="*/ 2037 h 85299"/>
                      <a:gd name="connsiteX4" fmla="*/ 43585 w 77084"/>
                      <a:gd name="connsiteY4" fmla="*/ 22110 h 85299"/>
                      <a:gd name="connsiteX5" fmla="*/ 72054 w 77084"/>
                      <a:gd name="connsiteY5" fmla="*/ 42104 h 85299"/>
                      <a:gd name="connsiteX6" fmla="*/ 76320 w 77084"/>
                      <a:gd name="connsiteY6" fmla="*/ 65862 h 85299"/>
                      <a:gd name="connsiteX7" fmla="*/ 72775 w 77084"/>
                      <a:gd name="connsiteY7" fmla="*/ 62232 h 85299"/>
                      <a:gd name="connsiteX8" fmla="*/ 63620 w 77084"/>
                      <a:gd name="connsiteY8" fmla="*/ 84996 h 85299"/>
                      <a:gd name="connsiteX9" fmla="*/ 42560 w 77084"/>
                      <a:gd name="connsiteY9" fmla="*/ 73899 h 85299"/>
                      <a:gd name="connsiteX0" fmla="*/ 42560 w 77084"/>
                      <a:gd name="connsiteY0" fmla="*/ 52685 h 64085"/>
                      <a:gd name="connsiteX1" fmla="*/ 1516 w 77084"/>
                      <a:gd name="connsiteY1" fmla="*/ 32591 h 64085"/>
                      <a:gd name="connsiteX2" fmla="*/ 10247 w 77084"/>
                      <a:gd name="connsiteY2" fmla="*/ 16741 h 64085"/>
                      <a:gd name="connsiteX3" fmla="*/ 29297 w 77084"/>
                      <a:gd name="connsiteY3" fmla="*/ 15687 h 64085"/>
                      <a:gd name="connsiteX4" fmla="*/ 43585 w 77084"/>
                      <a:gd name="connsiteY4" fmla="*/ 896 h 64085"/>
                      <a:gd name="connsiteX5" fmla="*/ 72054 w 77084"/>
                      <a:gd name="connsiteY5" fmla="*/ 20890 h 64085"/>
                      <a:gd name="connsiteX6" fmla="*/ 76320 w 77084"/>
                      <a:gd name="connsiteY6" fmla="*/ 44648 h 64085"/>
                      <a:gd name="connsiteX7" fmla="*/ 72775 w 77084"/>
                      <a:gd name="connsiteY7" fmla="*/ 41018 h 64085"/>
                      <a:gd name="connsiteX8" fmla="*/ 63620 w 77084"/>
                      <a:gd name="connsiteY8" fmla="*/ 63782 h 64085"/>
                      <a:gd name="connsiteX9" fmla="*/ 42560 w 77084"/>
                      <a:gd name="connsiteY9" fmla="*/ 52685 h 64085"/>
                      <a:gd name="connsiteX0" fmla="*/ 42560 w 76322"/>
                      <a:gd name="connsiteY0" fmla="*/ 51797 h 63197"/>
                      <a:gd name="connsiteX1" fmla="*/ 1516 w 76322"/>
                      <a:gd name="connsiteY1" fmla="*/ 31703 h 63197"/>
                      <a:gd name="connsiteX2" fmla="*/ 10247 w 76322"/>
                      <a:gd name="connsiteY2" fmla="*/ 15853 h 63197"/>
                      <a:gd name="connsiteX3" fmla="*/ 29297 w 76322"/>
                      <a:gd name="connsiteY3" fmla="*/ 14799 h 63197"/>
                      <a:gd name="connsiteX4" fmla="*/ 43585 w 76322"/>
                      <a:gd name="connsiteY4" fmla="*/ 8 h 63197"/>
                      <a:gd name="connsiteX5" fmla="*/ 44305 w 76322"/>
                      <a:gd name="connsiteY5" fmla="*/ 30542 h 63197"/>
                      <a:gd name="connsiteX6" fmla="*/ 72054 w 76322"/>
                      <a:gd name="connsiteY6" fmla="*/ 20002 h 63197"/>
                      <a:gd name="connsiteX7" fmla="*/ 76320 w 76322"/>
                      <a:gd name="connsiteY7" fmla="*/ 43760 h 63197"/>
                      <a:gd name="connsiteX8" fmla="*/ 72775 w 76322"/>
                      <a:gd name="connsiteY8" fmla="*/ 40130 h 63197"/>
                      <a:gd name="connsiteX9" fmla="*/ 63620 w 76322"/>
                      <a:gd name="connsiteY9" fmla="*/ 62894 h 63197"/>
                      <a:gd name="connsiteX10" fmla="*/ 42560 w 76322"/>
                      <a:gd name="connsiteY10" fmla="*/ 51797 h 6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76322" h="63197">
                        <a:moveTo>
                          <a:pt x="42560" y="51797"/>
                        </a:moveTo>
                        <a:cubicBezTo>
                          <a:pt x="32209" y="46599"/>
                          <a:pt x="6901" y="53541"/>
                          <a:pt x="1516" y="31703"/>
                        </a:cubicBezTo>
                        <a:cubicBezTo>
                          <a:pt x="-3869" y="9865"/>
                          <a:pt x="6543" y="27122"/>
                          <a:pt x="10247" y="15853"/>
                        </a:cubicBezTo>
                        <a:cubicBezTo>
                          <a:pt x="13328" y="-9506"/>
                          <a:pt x="24534" y="6347"/>
                          <a:pt x="29297" y="14799"/>
                        </a:cubicBezTo>
                        <a:cubicBezTo>
                          <a:pt x="34060" y="23251"/>
                          <a:pt x="38306" y="553"/>
                          <a:pt x="43585" y="8"/>
                        </a:cubicBezTo>
                        <a:cubicBezTo>
                          <a:pt x="48864" y="-537"/>
                          <a:pt x="39560" y="27210"/>
                          <a:pt x="44305" y="30542"/>
                        </a:cubicBezTo>
                        <a:cubicBezTo>
                          <a:pt x="49050" y="33874"/>
                          <a:pt x="69496" y="14630"/>
                          <a:pt x="72054" y="20002"/>
                        </a:cubicBezTo>
                        <a:cubicBezTo>
                          <a:pt x="74612" y="25374"/>
                          <a:pt x="76200" y="40405"/>
                          <a:pt x="76320" y="43760"/>
                        </a:cubicBezTo>
                        <a:cubicBezTo>
                          <a:pt x="76440" y="47115"/>
                          <a:pt x="72775" y="18797"/>
                          <a:pt x="72775" y="40130"/>
                        </a:cubicBezTo>
                        <a:cubicBezTo>
                          <a:pt x="72775" y="61463"/>
                          <a:pt x="68656" y="60950"/>
                          <a:pt x="63620" y="62894"/>
                        </a:cubicBezTo>
                        <a:cubicBezTo>
                          <a:pt x="58584" y="64839"/>
                          <a:pt x="52911" y="56995"/>
                          <a:pt x="42560" y="5179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1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57" name="DF"/>
                  <p:cNvSpPr/>
                  <p:nvPr/>
                </p:nvSpPr>
                <p:spPr bwMode="auto">
                  <a:xfrm rot="10800000">
                    <a:off x="6332098" y="2870979"/>
                    <a:ext cx="76322" cy="47481"/>
                  </a:xfrm>
                  <a:custGeom>
                    <a:avLst/>
                    <a:gdLst>
                      <a:gd name="connsiteX0" fmla="*/ 0 w 92922"/>
                      <a:gd name="connsiteY0" fmla="*/ 38626 h 77251"/>
                      <a:gd name="connsiteX1" fmla="*/ 46461 w 92922"/>
                      <a:gd name="connsiteY1" fmla="*/ 0 h 77251"/>
                      <a:gd name="connsiteX2" fmla="*/ 92922 w 92922"/>
                      <a:gd name="connsiteY2" fmla="*/ 38626 h 77251"/>
                      <a:gd name="connsiteX3" fmla="*/ 46461 w 92922"/>
                      <a:gd name="connsiteY3" fmla="*/ 77252 h 77251"/>
                      <a:gd name="connsiteX4" fmla="*/ 0 w 92922"/>
                      <a:gd name="connsiteY4" fmla="*/ 38626 h 77251"/>
                      <a:gd name="connsiteX0" fmla="*/ 2773 w 95695"/>
                      <a:gd name="connsiteY0" fmla="*/ 46630 h 85256"/>
                      <a:gd name="connsiteX1" fmla="*/ 10043 w 95695"/>
                      <a:gd name="connsiteY1" fmla="*/ 3241 h 85256"/>
                      <a:gd name="connsiteX2" fmla="*/ 49234 w 95695"/>
                      <a:gd name="connsiteY2" fmla="*/ 8004 h 85256"/>
                      <a:gd name="connsiteX3" fmla="*/ 95695 w 95695"/>
                      <a:gd name="connsiteY3" fmla="*/ 46630 h 85256"/>
                      <a:gd name="connsiteX4" fmla="*/ 49234 w 95695"/>
                      <a:gd name="connsiteY4" fmla="*/ 85256 h 85256"/>
                      <a:gd name="connsiteX5" fmla="*/ 2773 w 95695"/>
                      <a:gd name="connsiteY5" fmla="*/ 46630 h 85256"/>
                      <a:gd name="connsiteX0" fmla="*/ 2217 w 98314"/>
                      <a:gd name="connsiteY0" fmla="*/ 62505 h 85631"/>
                      <a:gd name="connsiteX1" fmla="*/ 12662 w 98314"/>
                      <a:gd name="connsiteY1" fmla="*/ 3241 h 85631"/>
                      <a:gd name="connsiteX2" fmla="*/ 51853 w 98314"/>
                      <a:gd name="connsiteY2" fmla="*/ 8004 h 85631"/>
                      <a:gd name="connsiteX3" fmla="*/ 98314 w 98314"/>
                      <a:gd name="connsiteY3" fmla="*/ 46630 h 85631"/>
                      <a:gd name="connsiteX4" fmla="*/ 51853 w 98314"/>
                      <a:gd name="connsiteY4" fmla="*/ 85256 h 85631"/>
                      <a:gd name="connsiteX5" fmla="*/ 2217 w 98314"/>
                      <a:gd name="connsiteY5" fmla="*/ 62505 h 85631"/>
                      <a:gd name="connsiteX0" fmla="*/ 2659 w 98756"/>
                      <a:gd name="connsiteY0" fmla="*/ 62505 h 69284"/>
                      <a:gd name="connsiteX1" fmla="*/ 13104 w 98756"/>
                      <a:gd name="connsiteY1" fmla="*/ 3241 h 69284"/>
                      <a:gd name="connsiteX2" fmla="*/ 52295 w 98756"/>
                      <a:gd name="connsiteY2" fmla="*/ 8004 h 69284"/>
                      <a:gd name="connsiteX3" fmla="*/ 98756 w 98756"/>
                      <a:gd name="connsiteY3" fmla="*/ 46630 h 69284"/>
                      <a:gd name="connsiteX4" fmla="*/ 58645 w 98756"/>
                      <a:gd name="connsiteY4" fmla="*/ 66206 h 69284"/>
                      <a:gd name="connsiteX5" fmla="*/ 2659 w 98756"/>
                      <a:gd name="connsiteY5" fmla="*/ 62505 h 69284"/>
                      <a:gd name="connsiteX0" fmla="*/ 2659 w 98756"/>
                      <a:gd name="connsiteY0" fmla="*/ 62150 h 69531"/>
                      <a:gd name="connsiteX1" fmla="*/ 13104 w 98756"/>
                      <a:gd name="connsiteY1" fmla="*/ 2886 h 69531"/>
                      <a:gd name="connsiteX2" fmla="*/ 52295 w 98756"/>
                      <a:gd name="connsiteY2" fmla="*/ 7649 h 69531"/>
                      <a:gd name="connsiteX3" fmla="*/ 98756 w 98756"/>
                      <a:gd name="connsiteY3" fmla="*/ 36750 h 69531"/>
                      <a:gd name="connsiteX4" fmla="*/ 58645 w 98756"/>
                      <a:gd name="connsiteY4" fmla="*/ 65851 h 69531"/>
                      <a:gd name="connsiteX5" fmla="*/ 2659 w 98756"/>
                      <a:gd name="connsiteY5" fmla="*/ 62150 h 69531"/>
                      <a:gd name="connsiteX0" fmla="*/ 2659 w 98756"/>
                      <a:gd name="connsiteY0" fmla="*/ 69247 h 76628"/>
                      <a:gd name="connsiteX1" fmla="*/ 13104 w 98756"/>
                      <a:gd name="connsiteY1" fmla="*/ 9983 h 76628"/>
                      <a:gd name="connsiteX2" fmla="*/ 58645 w 98756"/>
                      <a:gd name="connsiteY2" fmla="*/ 2046 h 76628"/>
                      <a:gd name="connsiteX3" fmla="*/ 98756 w 98756"/>
                      <a:gd name="connsiteY3" fmla="*/ 43847 h 76628"/>
                      <a:gd name="connsiteX4" fmla="*/ 58645 w 98756"/>
                      <a:gd name="connsiteY4" fmla="*/ 72948 h 76628"/>
                      <a:gd name="connsiteX5" fmla="*/ 2659 w 98756"/>
                      <a:gd name="connsiteY5" fmla="*/ 69247 h 76628"/>
                      <a:gd name="connsiteX0" fmla="*/ 12211 w 108308"/>
                      <a:gd name="connsiteY0" fmla="*/ 72519 h 80420"/>
                      <a:gd name="connsiteX1" fmla="*/ 3606 w 108308"/>
                      <a:gd name="connsiteY1" fmla="*/ 4803 h 80420"/>
                      <a:gd name="connsiteX2" fmla="*/ 68197 w 108308"/>
                      <a:gd name="connsiteY2" fmla="*/ 5318 h 80420"/>
                      <a:gd name="connsiteX3" fmla="*/ 108308 w 108308"/>
                      <a:gd name="connsiteY3" fmla="*/ 47119 h 80420"/>
                      <a:gd name="connsiteX4" fmla="*/ 68197 w 108308"/>
                      <a:gd name="connsiteY4" fmla="*/ 76220 h 80420"/>
                      <a:gd name="connsiteX5" fmla="*/ 12211 w 108308"/>
                      <a:gd name="connsiteY5" fmla="*/ 72519 h 80420"/>
                      <a:gd name="connsiteX0" fmla="*/ 2818 w 127490"/>
                      <a:gd name="connsiteY0" fmla="*/ 76745 h 83125"/>
                      <a:gd name="connsiteX1" fmla="*/ 22788 w 127490"/>
                      <a:gd name="connsiteY1" fmla="*/ 4803 h 83125"/>
                      <a:gd name="connsiteX2" fmla="*/ 87379 w 127490"/>
                      <a:gd name="connsiteY2" fmla="*/ 5318 h 83125"/>
                      <a:gd name="connsiteX3" fmla="*/ 127490 w 127490"/>
                      <a:gd name="connsiteY3" fmla="*/ 47119 h 83125"/>
                      <a:gd name="connsiteX4" fmla="*/ 87379 w 127490"/>
                      <a:gd name="connsiteY4" fmla="*/ 76220 h 83125"/>
                      <a:gd name="connsiteX5" fmla="*/ 2818 w 127490"/>
                      <a:gd name="connsiteY5" fmla="*/ 76745 h 83125"/>
                      <a:gd name="connsiteX0" fmla="*/ 4020 w 128692"/>
                      <a:gd name="connsiteY0" fmla="*/ 76745 h 85175"/>
                      <a:gd name="connsiteX1" fmla="*/ 23990 w 128692"/>
                      <a:gd name="connsiteY1" fmla="*/ 4803 h 85175"/>
                      <a:gd name="connsiteX2" fmla="*/ 88581 w 128692"/>
                      <a:gd name="connsiteY2" fmla="*/ 5318 h 85175"/>
                      <a:gd name="connsiteX3" fmla="*/ 128692 w 128692"/>
                      <a:gd name="connsiteY3" fmla="*/ 47119 h 85175"/>
                      <a:gd name="connsiteX4" fmla="*/ 107631 w 128692"/>
                      <a:gd name="connsiteY4" fmla="*/ 80446 h 85175"/>
                      <a:gd name="connsiteX5" fmla="*/ 4020 w 128692"/>
                      <a:gd name="connsiteY5" fmla="*/ 76745 h 85175"/>
                      <a:gd name="connsiteX0" fmla="*/ 311 w 124983"/>
                      <a:gd name="connsiteY0" fmla="*/ 114981 h 126242"/>
                      <a:gd name="connsiteX1" fmla="*/ 71081 w 124983"/>
                      <a:gd name="connsiteY1" fmla="*/ 780 h 126242"/>
                      <a:gd name="connsiteX2" fmla="*/ 84872 w 124983"/>
                      <a:gd name="connsiteY2" fmla="*/ 43554 h 126242"/>
                      <a:gd name="connsiteX3" fmla="*/ 124983 w 124983"/>
                      <a:gd name="connsiteY3" fmla="*/ 85355 h 126242"/>
                      <a:gd name="connsiteX4" fmla="*/ 103922 w 124983"/>
                      <a:gd name="connsiteY4" fmla="*/ 118682 h 126242"/>
                      <a:gd name="connsiteX5" fmla="*/ 311 w 124983"/>
                      <a:gd name="connsiteY5" fmla="*/ 114981 h 126242"/>
                      <a:gd name="connsiteX0" fmla="*/ 3123 w 127795"/>
                      <a:gd name="connsiteY0" fmla="*/ 136754 h 149197"/>
                      <a:gd name="connsiteX1" fmla="*/ 31136 w 127795"/>
                      <a:gd name="connsiteY1" fmla="*/ 5728 h 149197"/>
                      <a:gd name="connsiteX2" fmla="*/ 73893 w 127795"/>
                      <a:gd name="connsiteY2" fmla="*/ 22553 h 149197"/>
                      <a:gd name="connsiteX3" fmla="*/ 87684 w 127795"/>
                      <a:gd name="connsiteY3" fmla="*/ 65327 h 149197"/>
                      <a:gd name="connsiteX4" fmla="*/ 127795 w 127795"/>
                      <a:gd name="connsiteY4" fmla="*/ 107128 h 149197"/>
                      <a:gd name="connsiteX5" fmla="*/ 106734 w 127795"/>
                      <a:gd name="connsiteY5" fmla="*/ 140455 h 149197"/>
                      <a:gd name="connsiteX6" fmla="*/ 3123 w 127795"/>
                      <a:gd name="connsiteY6" fmla="*/ 136754 h 149197"/>
                      <a:gd name="connsiteX0" fmla="*/ 9048 w 133720"/>
                      <a:gd name="connsiteY0" fmla="*/ 185654 h 201733"/>
                      <a:gd name="connsiteX1" fmla="*/ 8486 w 133720"/>
                      <a:gd name="connsiteY1" fmla="*/ 3916 h 201733"/>
                      <a:gd name="connsiteX2" fmla="*/ 37061 w 133720"/>
                      <a:gd name="connsiteY2" fmla="*/ 54628 h 201733"/>
                      <a:gd name="connsiteX3" fmla="*/ 79818 w 133720"/>
                      <a:gd name="connsiteY3" fmla="*/ 71453 h 201733"/>
                      <a:gd name="connsiteX4" fmla="*/ 93609 w 133720"/>
                      <a:gd name="connsiteY4" fmla="*/ 114227 h 201733"/>
                      <a:gd name="connsiteX5" fmla="*/ 133720 w 133720"/>
                      <a:gd name="connsiteY5" fmla="*/ 156028 h 201733"/>
                      <a:gd name="connsiteX6" fmla="*/ 112659 w 133720"/>
                      <a:gd name="connsiteY6" fmla="*/ 189355 h 201733"/>
                      <a:gd name="connsiteX7" fmla="*/ 9048 w 133720"/>
                      <a:gd name="connsiteY7" fmla="*/ 185654 h 201733"/>
                      <a:gd name="connsiteX0" fmla="*/ 9048 w 133720"/>
                      <a:gd name="connsiteY0" fmla="*/ 192718 h 208797"/>
                      <a:gd name="connsiteX1" fmla="*/ 8486 w 133720"/>
                      <a:gd name="connsiteY1" fmla="*/ 10980 h 208797"/>
                      <a:gd name="connsiteX2" fmla="*/ 37061 w 133720"/>
                      <a:gd name="connsiteY2" fmla="*/ 19432 h 208797"/>
                      <a:gd name="connsiteX3" fmla="*/ 37061 w 133720"/>
                      <a:gd name="connsiteY3" fmla="*/ 61692 h 208797"/>
                      <a:gd name="connsiteX4" fmla="*/ 79818 w 133720"/>
                      <a:gd name="connsiteY4" fmla="*/ 78517 h 208797"/>
                      <a:gd name="connsiteX5" fmla="*/ 93609 w 133720"/>
                      <a:gd name="connsiteY5" fmla="*/ 121291 h 208797"/>
                      <a:gd name="connsiteX6" fmla="*/ 133720 w 133720"/>
                      <a:gd name="connsiteY6" fmla="*/ 163092 h 208797"/>
                      <a:gd name="connsiteX7" fmla="*/ 112659 w 133720"/>
                      <a:gd name="connsiteY7" fmla="*/ 196419 h 208797"/>
                      <a:gd name="connsiteX8" fmla="*/ 9048 w 133720"/>
                      <a:gd name="connsiteY8" fmla="*/ 192718 h 208797"/>
                      <a:gd name="connsiteX0" fmla="*/ 33011 w 125933"/>
                      <a:gd name="connsiteY0" fmla="*/ 142007 h 196916"/>
                      <a:gd name="connsiteX1" fmla="*/ 699 w 125933"/>
                      <a:gd name="connsiteY1" fmla="*/ 10980 h 196916"/>
                      <a:gd name="connsiteX2" fmla="*/ 29274 w 125933"/>
                      <a:gd name="connsiteY2" fmla="*/ 19432 h 196916"/>
                      <a:gd name="connsiteX3" fmla="*/ 29274 w 125933"/>
                      <a:gd name="connsiteY3" fmla="*/ 61692 h 196916"/>
                      <a:gd name="connsiteX4" fmla="*/ 72031 w 125933"/>
                      <a:gd name="connsiteY4" fmla="*/ 78517 h 196916"/>
                      <a:gd name="connsiteX5" fmla="*/ 85822 w 125933"/>
                      <a:gd name="connsiteY5" fmla="*/ 121291 h 196916"/>
                      <a:gd name="connsiteX6" fmla="*/ 125933 w 125933"/>
                      <a:gd name="connsiteY6" fmla="*/ 163092 h 196916"/>
                      <a:gd name="connsiteX7" fmla="*/ 104872 w 125933"/>
                      <a:gd name="connsiteY7" fmla="*/ 196419 h 196916"/>
                      <a:gd name="connsiteX8" fmla="*/ 33011 w 125933"/>
                      <a:gd name="connsiteY8" fmla="*/ 142007 h 196916"/>
                      <a:gd name="connsiteX0" fmla="*/ 49204 w 142126"/>
                      <a:gd name="connsiteY0" fmla="*/ 142007 h 196916"/>
                      <a:gd name="connsiteX1" fmla="*/ 1017 w 142126"/>
                      <a:gd name="connsiteY1" fmla="*/ 61692 h 196916"/>
                      <a:gd name="connsiteX2" fmla="*/ 16892 w 142126"/>
                      <a:gd name="connsiteY2" fmla="*/ 10980 h 196916"/>
                      <a:gd name="connsiteX3" fmla="*/ 45467 w 142126"/>
                      <a:gd name="connsiteY3" fmla="*/ 19432 h 196916"/>
                      <a:gd name="connsiteX4" fmla="*/ 45467 w 142126"/>
                      <a:gd name="connsiteY4" fmla="*/ 61692 h 196916"/>
                      <a:gd name="connsiteX5" fmla="*/ 88224 w 142126"/>
                      <a:gd name="connsiteY5" fmla="*/ 78517 h 196916"/>
                      <a:gd name="connsiteX6" fmla="*/ 102015 w 142126"/>
                      <a:gd name="connsiteY6" fmla="*/ 121291 h 196916"/>
                      <a:gd name="connsiteX7" fmla="*/ 142126 w 142126"/>
                      <a:gd name="connsiteY7" fmla="*/ 163092 h 196916"/>
                      <a:gd name="connsiteX8" fmla="*/ 121065 w 142126"/>
                      <a:gd name="connsiteY8" fmla="*/ 196419 h 196916"/>
                      <a:gd name="connsiteX9" fmla="*/ 49204 w 142126"/>
                      <a:gd name="connsiteY9" fmla="*/ 142007 h 196916"/>
                      <a:gd name="connsiteX0" fmla="*/ 49204 w 142126"/>
                      <a:gd name="connsiteY0" fmla="*/ 142007 h 173263"/>
                      <a:gd name="connsiteX1" fmla="*/ 1017 w 142126"/>
                      <a:gd name="connsiteY1" fmla="*/ 61692 h 173263"/>
                      <a:gd name="connsiteX2" fmla="*/ 16892 w 142126"/>
                      <a:gd name="connsiteY2" fmla="*/ 10980 h 173263"/>
                      <a:gd name="connsiteX3" fmla="*/ 45467 w 142126"/>
                      <a:gd name="connsiteY3" fmla="*/ 19432 h 173263"/>
                      <a:gd name="connsiteX4" fmla="*/ 45467 w 142126"/>
                      <a:gd name="connsiteY4" fmla="*/ 61692 h 173263"/>
                      <a:gd name="connsiteX5" fmla="*/ 88224 w 142126"/>
                      <a:gd name="connsiteY5" fmla="*/ 78517 h 173263"/>
                      <a:gd name="connsiteX6" fmla="*/ 102015 w 142126"/>
                      <a:gd name="connsiteY6" fmla="*/ 121291 h 173263"/>
                      <a:gd name="connsiteX7" fmla="*/ 142126 w 142126"/>
                      <a:gd name="connsiteY7" fmla="*/ 163092 h 173263"/>
                      <a:gd name="connsiteX8" fmla="*/ 79790 w 142126"/>
                      <a:gd name="connsiteY8" fmla="*/ 162612 h 173263"/>
                      <a:gd name="connsiteX9" fmla="*/ 49204 w 142126"/>
                      <a:gd name="connsiteY9" fmla="*/ 142007 h 17326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45467 w 110376"/>
                      <a:gd name="connsiteY4" fmla="*/ 61692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62136 w 110376"/>
                      <a:gd name="connsiteY4" fmla="*/ 49014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05613"/>
                      <a:gd name="connsiteY0" fmla="*/ 142007 h 164051"/>
                      <a:gd name="connsiteX1" fmla="*/ 1017 w 105613"/>
                      <a:gd name="connsiteY1" fmla="*/ 61692 h 164051"/>
                      <a:gd name="connsiteX2" fmla="*/ 16892 w 105613"/>
                      <a:gd name="connsiteY2" fmla="*/ 10980 h 164051"/>
                      <a:gd name="connsiteX3" fmla="*/ 45467 w 105613"/>
                      <a:gd name="connsiteY3" fmla="*/ 19432 h 164051"/>
                      <a:gd name="connsiteX4" fmla="*/ 62136 w 105613"/>
                      <a:gd name="connsiteY4" fmla="*/ 49014 h 164051"/>
                      <a:gd name="connsiteX5" fmla="*/ 88224 w 105613"/>
                      <a:gd name="connsiteY5" fmla="*/ 78517 h 164051"/>
                      <a:gd name="connsiteX6" fmla="*/ 102015 w 105613"/>
                      <a:gd name="connsiteY6" fmla="*/ 121291 h 164051"/>
                      <a:gd name="connsiteX7" fmla="*/ 105613 w 105613"/>
                      <a:gd name="connsiteY7" fmla="*/ 111323 h 164051"/>
                      <a:gd name="connsiteX8" fmla="*/ 79790 w 105613"/>
                      <a:gd name="connsiteY8" fmla="*/ 162612 h 164051"/>
                      <a:gd name="connsiteX9" fmla="*/ 49204 w 105613"/>
                      <a:gd name="connsiteY9" fmla="*/ 142007 h 164051"/>
                      <a:gd name="connsiteX0" fmla="*/ 49204 w 105613"/>
                      <a:gd name="connsiteY0" fmla="*/ 142007 h 149974"/>
                      <a:gd name="connsiteX1" fmla="*/ 1017 w 105613"/>
                      <a:gd name="connsiteY1" fmla="*/ 61692 h 149974"/>
                      <a:gd name="connsiteX2" fmla="*/ 16892 w 105613"/>
                      <a:gd name="connsiteY2" fmla="*/ 10980 h 149974"/>
                      <a:gd name="connsiteX3" fmla="*/ 45467 w 105613"/>
                      <a:gd name="connsiteY3" fmla="*/ 19432 h 149974"/>
                      <a:gd name="connsiteX4" fmla="*/ 62136 w 105613"/>
                      <a:gd name="connsiteY4" fmla="*/ 49014 h 149974"/>
                      <a:gd name="connsiteX5" fmla="*/ 88224 w 105613"/>
                      <a:gd name="connsiteY5" fmla="*/ 78517 h 149974"/>
                      <a:gd name="connsiteX6" fmla="*/ 102015 w 105613"/>
                      <a:gd name="connsiteY6" fmla="*/ 121291 h 149974"/>
                      <a:gd name="connsiteX7" fmla="*/ 105613 w 105613"/>
                      <a:gd name="connsiteY7" fmla="*/ 111323 h 149974"/>
                      <a:gd name="connsiteX8" fmla="*/ 89315 w 105613"/>
                      <a:gd name="connsiteY8" fmla="*/ 143596 h 149974"/>
                      <a:gd name="connsiteX9" fmla="*/ 49204 w 105613"/>
                      <a:gd name="connsiteY9" fmla="*/ 142007 h 149974"/>
                      <a:gd name="connsiteX0" fmla="*/ 53967 w 105613"/>
                      <a:gd name="connsiteY0" fmla="*/ 122990 h 143862"/>
                      <a:gd name="connsiteX1" fmla="*/ 1017 w 105613"/>
                      <a:gd name="connsiteY1" fmla="*/ 61692 h 143862"/>
                      <a:gd name="connsiteX2" fmla="*/ 16892 w 105613"/>
                      <a:gd name="connsiteY2" fmla="*/ 10980 h 143862"/>
                      <a:gd name="connsiteX3" fmla="*/ 45467 w 105613"/>
                      <a:gd name="connsiteY3" fmla="*/ 19432 h 143862"/>
                      <a:gd name="connsiteX4" fmla="*/ 62136 w 105613"/>
                      <a:gd name="connsiteY4" fmla="*/ 49014 h 143862"/>
                      <a:gd name="connsiteX5" fmla="*/ 88224 w 105613"/>
                      <a:gd name="connsiteY5" fmla="*/ 78517 h 143862"/>
                      <a:gd name="connsiteX6" fmla="*/ 102015 w 105613"/>
                      <a:gd name="connsiteY6" fmla="*/ 121291 h 143862"/>
                      <a:gd name="connsiteX7" fmla="*/ 105613 w 105613"/>
                      <a:gd name="connsiteY7" fmla="*/ 111323 h 143862"/>
                      <a:gd name="connsiteX8" fmla="*/ 89315 w 105613"/>
                      <a:gd name="connsiteY8" fmla="*/ 143596 h 143862"/>
                      <a:gd name="connsiteX9" fmla="*/ 53967 w 105613"/>
                      <a:gd name="connsiteY9" fmla="*/ 122990 h 143862"/>
                      <a:gd name="connsiteX0" fmla="*/ 40087 w 91733"/>
                      <a:gd name="connsiteY0" fmla="*/ 122990 h 143903"/>
                      <a:gd name="connsiteX1" fmla="*/ 3806 w 91733"/>
                      <a:gd name="connsiteY1" fmla="*/ 52185 h 143903"/>
                      <a:gd name="connsiteX2" fmla="*/ 3012 w 91733"/>
                      <a:gd name="connsiteY2" fmla="*/ 10980 h 143903"/>
                      <a:gd name="connsiteX3" fmla="*/ 31587 w 91733"/>
                      <a:gd name="connsiteY3" fmla="*/ 19432 h 143903"/>
                      <a:gd name="connsiteX4" fmla="*/ 48256 w 91733"/>
                      <a:gd name="connsiteY4" fmla="*/ 49014 h 143903"/>
                      <a:gd name="connsiteX5" fmla="*/ 74344 w 91733"/>
                      <a:gd name="connsiteY5" fmla="*/ 78517 h 143903"/>
                      <a:gd name="connsiteX6" fmla="*/ 88135 w 91733"/>
                      <a:gd name="connsiteY6" fmla="*/ 121291 h 143903"/>
                      <a:gd name="connsiteX7" fmla="*/ 91733 w 91733"/>
                      <a:gd name="connsiteY7" fmla="*/ 111323 h 143903"/>
                      <a:gd name="connsiteX8" fmla="*/ 75435 w 91733"/>
                      <a:gd name="connsiteY8" fmla="*/ 143596 h 143903"/>
                      <a:gd name="connsiteX9" fmla="*/ 40087 w 91733"/>
                      <a:gd name="connsiteY9" fmla="*/ 122990 h 143903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88135 w 91733"/>
                      <a:gd name="connsiteY6" fmla="*/ 121291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78610 w 91733"/>
                      <a:gd name="connsiteY6" fmla="*/ 102275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  <a:gd name="connsiteX0" fmla="*/ 44850 w 91733"/>
                      <a:gd name="connsiteY0" fmla="*/ 110312 h 124433"/>
                      <a:gd name="connsiteX1" fmla="*/ 3806 w 91733"/>
                      <a:gd name="connsiteY1" fmla="*/ 52185 h 124433"/>
                      <a:gd name="connsiteX2" fmla="*/ 3012 w 91733"/>
                      <a:gd name="connsiteY2" fmla="*/ 10980 h 124433"/>
                      <a:gd name="connsiteX3" fmla="*/ 31587 w 91733"/>
                      <a:gd name="connsiteY3" fmla="*/ 19432 h 124433"/>
                      <a:gd name="connsiteX4" fmla="*/ 48256 w 91733"/>
                      <a:gd name="connsiteY4" fmla="*/ 49014 h 124433"/>
                      <a:gd name="connsiteX5" fmla="*/ 74344 w 91733"/>
                      <a:gd name="connsiteY5" fmla="*/ 78517 h 124433"/>
                      <a:gd name="connsiteX6" fmla="*/ 78610 w 91733"/>
                      <a:gd name="connsiteY6" fmla="*/ 102275 h 124433"/>
                      <a:gd name="connsiteX7" fmla="*/ 91733 w 91733"/>
                      <a:gd name="connsiteY7" fmla="*/ 111323 h 124433"/>
                      <a:gd name="connsiteX8" fmla="*/ 65910 w 91733"/>
                      <a:gd name="connsiteY8" fmla="*/ 121409 h 124433"/>
                      <a:gd name="connsiteX9" fmla="*/ 44850 w 91733"/>
                      <a:gd name="connsiteY9" fmla="*/ 110312 h 124433"/>
                      <a:gd name="connsiteX0" fmla="*/ 44850 w 79374"/>
                      <a:gd name="connsiteY0" fmla="*/ 110312 h 122122"/>
                      <a:gd name="connsiteX1" fmla="*/ 3806 w 79374"/>
                      <a:gd name="connsiteY1" fmla="*/ 52185 h 122122"/>
                      <a:gd name="connsiteX2" fmla="*/ 3012 w 79374"/>
                      <a:gd name="connsiteY2" fmla="*/ 10980 h 122122"/>
                      <a:gd name="connsiteX3" fmla="*/ 31587 w 79374"/>
                      <a:gd name="connsiteY3" fmla="*/ 19432 h 122122"/>
                      <a:gd name="connsiteX4" fmla="*/ 48256 w 79374"/>
                      <a:gd name="connsiteY4" fmla="*/ 49014 h 122122"/>
                      <a:gd name="connsiteX5" fmla="*/ 74344 w 79374"/>
                      <a:gd name="connsiteY5" fmla="*/ 78517 h 122122"/>
                      <a:gd name="connsiteX6" fmla="*/ 78610 w 79374"/>
                      <a:gd name="connsiteY6" fmla="*/ 102275 h 122122"/>
                      <a:gd name="connsiteX7" fmla="*/ 75065 w 79374"/>
                      <a:gd name="connsiteY7" fmla="*/ 98645 h 122122"/>
                      <a:gd name="connsiteX8" fmla="*/ 65910 w 79374"/>
                      <a:gd name="connsiteY8" fmla="*/ 121409 h 122122"/>
                      <a:gd name="connsiteX9" fmla="*/ 44850 w 79374"/>
                      <a:gd name="connsiteY9" fmla="*/ 110312 h 122122"/>
                      <a:gd name="connsiteX0" fmla="*/ 42560 w 77084"/>
                      <a:gd name="connsiteY0" fmla="*/ 94411 h 106222"/>
                      <a:gd name="connsiteX1" fmla="*/ 1516 w 77084"/>
                      <a:gd name="connsiteY1" fmla="*/ 36284 h 106222"/>
                      <a:gd name="connsiteX2" fmla="*/ 10247 w 77084"/>
                      <a:gd name="connsiteY2" fmla="*/ 26774 h 106222"/>
                      <a:gd name="connsiteX3" fmla="*/ 29297 w 77084"/>
                      <a:gd name="connsiteY3" fmla="*/ 3531 h 106222"/>
                      <a:gd name="connsiteX4" fmla="*/ 45966 w 77084"/>
                      <a:gd name="connsiteY4" fmla="*/ 33113 h 106222"/>
                      <a:gd name="connsiteX5" fmla="*/ 72054 w 77084"/>
                      <a:gd name="connsiteY5" fmla="*/ 62616 h 106222"/>
                      <a:gd name="connsiteX6" fmla="*/ 76320 w 77084"/>
                      <a:gd name="connsiteY6" fmla="*/ 86374 h 106222"/>
                      <a:gd name="connsiteX7" fmla="*/ 72775 w 77084"/>
                      <a:gd name="connsiteY7" fmla="*/ 82744 h 106222"/>
                      <a:gd name="connsiteX8" fmla="*/ 63620 w 77084"/>
                      <a:gd name="connsiteY8" fmla="*/ 105508 h 106222"/>
                      <a:gd name="connsiteX9" fmla="*/ 42560 w 77084"/>
                      <a:gd name="connsiteY9" fmla="*/ 94411 h 106222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5966 w 77084"/>
                      <a:gd name="connsiteY4" fmla="*/ 21320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429"/>
                      <a:gd name="connsiteX1" fmla="*/ 1516 w 77084"/>
                      <a:gd name="connsiteY1" fmla="*/ 24491 h 94429"/>
                      <a:gd name="connsiteX2" fmla="*/ 10247 w 77084"/>
                      <a:gd name="connsiteY2" fmla="*/ 14981 h 94429"/>
                      <a:gd name="connsiteX3" fmla="*/ 29297 w 77084"/>
                      <a:gd name="connsiteY3" fmla="*/ 10756 h 94429"/>
                      <a:gd name="connsiteX4" fmla="*/ 43585 w 77084"/>
                      <a:gd name="connsiteY4" fmla="*/ 30829 h 94429"/>
                      <a:gd name="connsiteX5" fmla="*/ 72054 w 77084"/>
                      <a:gd name="connsiteY5" fmla="*/ 50823 h 94429"/>
                      <a:gd name="connsiteX6" fmla="*/ 76320 w 77084"/>
                      <a:gd name="connsiteY6" fmla="*/ 74581 h 94429"/>
                      <a:gd name="connsiteX7" fmla="*/ 72775 w 77084"/>
                      <a:gd name="connsiteY7" fmla="*/ 70951 h 94429"/>
                      <a:gd name="connsiteX8" fmla="*/ 63620 w 77084"/>
                      <a:gd name="connsiteY8" fmla="*/ 93715 h 94429"/>
                      <a:gd name="connsiteX9" fmla="*/ 42560 w 77084"/>
                      <a:gd name="connsiteY9" fmla="*/ 82618 h 94429"/>
                      <a:gd name="connsiteX0" fmla="*/ 42560 w 77084"/>
                      <a:gd name="connsiteY0" fmla="*/ 82618 h 94018"/>
                      <a:gd name="connsiteX1" fmla="*/ 1516 w 77084"/>
                      <a:gd name="connsiteY1" fmla="*/ 62524 h 94018"/>
                      <a:gd name="connsiteX2" fmla="*/ 10247 w 77084"/>
                      <a:gd name="connsiteY2" fmla="*/ 14981 h 94018"/>
                      <a:gd name="connsiteX3" fmla="*/ 29297 w 77084"/>
                      <a:gd name="connsiteY3" fmla="*/ 10756 h 94018"/>
                      <a:gd name="connsiteX4" fmla="*/ 43585 w 77084"/>
                      <a:gd name="connsiteY4" fmla="*/ 30829 h 94018"/>
                      <a:gd name="connsiteX5" fmla="*/ 72054 w 77084"/>
                      <a:gd name="connsiteY5" fmla="*/ 50823 h 94018"/>
                      <a:gd name="connsiteX6" fmla="*/ 76320 w 77084"/>
                      <a:gd name="connsiteY6" fmla="*/ 74581 h 94018"/>
                      <a:gd name="connsiteX7" fmla="*/ 72775 w 77084"/>
                      <a:gd name="connsiteY7" fmla="*/ 70951 h 94018"/>
                      <a:gd name="connsiteX8" fmla="*/ 63620 w 77084"/>
                      <a:gd name="connsiteY8" fmla="*/ 93715 h 94018"/>
                      <a:gd name="connsiteX9" fmla="*/ 42560 w 77084"/>
                      <a:gd name="connsiteY9" fmla="*/ 82618 h 94018"/>
                      <a:gd name="connsiteX0" fmla="*/ 42560 w 77084"/>
                      <a:gd name="connsiteY0" fmla="*/ 73899 h 85299"/>
                      <a:gd name="connsiteX1" fmla="*/ 1516 w 77084"/>
                      <a:gd name="connsiteY1" fmla="*/ 53805 h 85299"/>
                      <a:gd name="connsiteX2" fmla="*/ 10247 w 77084"/>
                      <a:gd name="connsiteY2" fmla="*/ 37955 h 85299"/>
                      <a:gd name="connsiteX3" fmla="*/ 29297 w 77084"/>
                      <a:gd name="connsiteY3" fmla="*/ 2037 h 85299"/>
                      <a:gd name="connsiteX4" fmla="*/ 43585 w 77084"/>
                      <a:gd name="connsiteY4" fmla="*/ 22110 h 85299"/>
                      <a:gd name="connsiteX5" fmla="*/ 72054 w 77084"/>
                      <a:gd name="connsiteY5" fmla="*/ 42104 h 85299"/>
                      <a:gd name="connsiteX6" fmla="*/ 76320 w 77084"/>
                      <a:gd name="connsiteY6" fmla="*/ 65862 h 85299"/>
                      <a:gd name="connsiteX7" fmla="*/ 72775 w 77084"/>
                      <a:gd name="connsiteY7" fmla="*/ 62232 h 85299"/>
                      <a:gd name="connsiteX8" fmla="*/ 63620 w 77084"/>
                      <a:gd name="connsiteY8" fmla="*/ 84996 h 85299"/>
                      <a:gd name="connsiteX9" fmla="*/ 42560 w 77084"/>
                      <a:gd name="connsiteY9" fmla="*/ 73899 h 85299"/>
                      <a:gd name="connsiteX0" fmla="*/ 42560 w 77084"/>
                      <a:gd name="connsiteY0" fmla="*/ 52685 h 64085"/>
                      <a:gd name="connsiteX1" fmla="*/ 1516 w 77084"/>
                      <a:gd name="connsiteY1" fmla="*/ 32591 h 64085"/>
                      <a:gd name="connsiteX2" fmla="*/ 10247 w 77084"/>
                      <a:gd name="connsiteY2" fmla="*/ 16741 h 64085"/>
                      <a:gd name="connsiteX3" fmla="*/ 29297 w 77084"/>
                      <a:gd name="connsiteY3" fmla="*/ 15687 h 64085"/>
                      <a:gd name="connsiteX4" fmla="*/ 43585 w 77084"/>
                      <a:gd name="connsiteY4" fmla="*/ 896 h 64085"/>
                      <a:gd name="connsiteX5" fmla="*/ 72054 w 77084"/>
                      <a:gd name="connsiteY5" fmla="*/ 20890 h 64085"/>
                      <a:gd name="connsiteX6" fmla="*/ 76320 w 77084"/>
                      <a:gd name="connsiteY6" fmla="*/ 44648 h 64085"/>
                      <a:gd name="connsiteX7" fmla="*/ 72775 w 77084"/>
                      <a:gd name="connsiteY7" fmla="*/ 41018 h 64085"/>
                      <a:gd name="connsiteX8" fmla="*/ 63620 w 77084"/>
                      <a:gd name="connsiteY8" fmla="*/ 63782 h 64085"/>
                      <a:gd name="connsiteX9" fmla="*/ 42560 w 77084"/>
                      <a:gd name="connsiteY9" fmla="*/ 52685 h 64085"/>
                      <a:gd name="connsiteX0" fmla="*/ 42560 w 76322"/>
                      <a:gd name="connsiteY0" fmla="*/ 51797 h 63197"/>
                      <a:gd name="connsiteX1" fmla="*/ 1516 w 76322"/>
                      <a:gd name="connsiteY1" fmla="*/ 31703 h 63197"/>
                      <a:gd name="connsiteX2" fmla="*/ 10247 w 76322"/>
                      <a:gd name="connsiteY2" fmla="*/ 15853 h 63197"/>
                      <a:gd name="connsiteX3" fmla="*/ 29297 w 76322"/>
                      <a:gd name="connsiteY3" fmla="*/ 14799 h 63197"/>
                      <a:gd name="connsiteX4" fmla="*/ 43585 w 76322"/>
                      <a:gd name="connsiteY4" fmla="*/ 8 h 63197"/>
                      <a:gd name="connsiteX5" fmla="*/ 44305 w 76322"/>
                      <a:gd name="connsiteY5" fmla="*/ 30542 h 63197"/>
                      <a:gd name="connsiteX6" fmla="*/ 72054 w 76322"/>
                      <a:gd name="connsiteY6" fmla="*/ 20002 h 63197"/>
                      <a:gd name="connsiteX7" fmla="*/ 76320 w 76322"/>
                      <a:gd name="connsiteY7" fmla="*/ 43760 h 63197"/>
                      <a:gd name="connsiteX8" fmla="*/ 72775 w 76322"/>
                      <a:gd name="connsiteY8" fmla="*/ 40130 h 63197"/>
                      <a:gd name="connsiteX9" fmla="*/ 63620 w 76322"/>
                      <a:gd name="connsiteY9" fmla="*/ 62894 h 63197"/>
                      <a:gd name="connsiteX10" fmla="*/ 42560 w 76322"/>
                      <a:gd name="connsiteY10" fmla="*/ 51797 h 631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76322" h="63197">
                        <a:moveTo>
                          <a:pt x="42560" y="51797"/>
                        </a:moveTo>
                        <a:cubicBezTo>
                          <a:pt x="32209" y="46599"/>
                          <a:pt x="6901" y="53541"/>
                          <a:pt x="1516" y="31703"/>
                        </a:cubicBezTo>
                        <a:cubicBezTo>
                          <a:pt x="-3869" y="9865"/>
                          <a:pt x="6543" y="27122"/>
                          <a:pt x="10247" y="15853"/>
                        </a:cubicBezTo>
                        <a:cubicBezTo>
                          <a:pt x="13328" y="-9506"/>
                          <a:pt x="24534" y="6347"/>
                          <a:pt x="29297" y="14799"/>
                        </a:cubicBezTo>
                        <a:cubicBezTo>
                          <a:pt x="34060" y="23251"/>
                          <a:pt x="38306" y="553"/>
                          <a:pt x="43585" y="8"/>
                        </a:cubicBezTo>
                        <a:cubicBezTo>
                          <a:pt x="48864" y="-537"/>
                          <a:pt x="39560" y="27210"/>
                          <a:pt x="44305" y="30542"/>
                        </a:cubicBezTo>
                        <a:cubicBezTo>
                          <a:pt x="49050" y="33874"/>
                          <a:pt x="69496" y="14630"/>
                          <a:pt x="72054" y="20002"/>
                        </a:cubicBezTo>
                        <a:cubicBezTo>
                          <a:pt x="74612" y="25374"/>
                          <a:pt x="76200" y="40405"/>
                          <a:pt x="76320" y="43760"/>
                        </a:cubicBezTo>
                        <a:cubicBezTo>
                          <a:pt x="76440" y="47115"/>
                          <a:pt x="72775" y="18797"/>
                          <a:pt x="72775" y="40130"/>
                        </a:cubicBezTo>
                        <a:cubicBezTo>
                          <a:pt x="72775" y="61463"/>
                          <a:pt x="68656" y="60950"/>
                          <a:pt x="63620" y="62894"/>
                        </a:cubicBezTo>
                        <a:cubicBezTo>
                          <a:pt x="58584" y="64839"/>
                          <a:pt x="52911" y="56995"/>
                          <a:pt x="42560" y="5179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100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325" name="Group 241"/>
                <p:cNvGrpSpPr>
                  <a:grpSpLocks noChangeAspect="1"/>
                </p:cNvGrpSpPr>
                <p:nvPr/>
              </p:nvGrpSpPr>
              <p:grpSpPr>
                <a:xfrm>
                  <a:off x="5294503" y="2352761"/>
                  <a:ext cx="3198375" cy="3937067"/>
                  <a:chOff x="5583933" y="2288963"/>
                  <a:chExt cx="3110951" cy="3462919"/>
                </a:xfrm>
                <a:grpFill/>
              </p:grpSpPr>
              <p:grpSp>
                <p:nvGrpSpPr>
                  <p:cNvPr id="326" name="Group 242"/>
                  <p:cNvGrpSpPr/>
                  <p:nvPr/>
                </p:nvGrpSpPr>
                <p:grpSpPr>
                  <a:xfrm>
                    <a:off x="5583933" y="2514666"/>
                    <a:ext cx="3110951" cy="3237216"/>
                    <a:chOff x="3686119" y="2560638"/>
                    <a:chExt cx="3184369" cy="3313615"/>
                  </a:xfrm>
                  <a:grpFill/>
                </p:grpSpPr>
                <p:sp>
                  <p:nvSpPr>
                    <p:cNvPr id="344" name="Freeform 247"/>
                    <p:cNvSpPr/>
                    <p:nvPr/>
                  </p:nvSpPr>
                  <p:spPr>
                    <a:xfrm>
                      <a:off x="4827034" y="3887548"/>
                      <a:ext cx="322955" cy="242670"/>
                    </a:xfrm>
                    <a:custGeom>
                      <a:avLst/>
                      <a:gdLst>
                        <a:gd name="connsiteX0" fmla="*/ 17147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8" fmla="*/ 17147 w 195280"/>
                        <a:gd name="connsiteY8" fmla="*/ 11875 h 154450"/>
                        <a:gd name="connsiteX0" fmla="*/ 64648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0" fmla="*/ 23941 w 154573"/>
                        <a:gd name="connsiteY0" fmla="*/ 11875 h 155931"/>
                        <a:gd name="connsiteX1" fmla="*/ 191 w 154573"/>
                        <a:gd name="connsiteY1" fmla="*/ 142504 h 155931"/>
                        <a:gd name="connsiteX2" fmla="*/ 35817 w 154573"/>
                        <a:gd name="connsiteY2" fmla="*/ 154379 h 155931"/>
                        <a:gd name="connsiteX3" fmla="*/ 154570 w 154573"/>
                        <a:gd name="connsiteY3" fmla="*/ 106878 h 155931"/>
                        <a:gd name="connsiteX4" fmla="*/ 142694 w 154573"/>
                        <a:gd name="connsiteY4" fmla="*/ 47501 h 155931"/>
                        <a:gd name="connsiteX5" fmla="*/ 71443 w 154573"/>
                        <a:gd name="connsiteY5" fmla="*/ 0 h 155931"/>
                        <a:gd name="connsiteX6" fmla="*/ 23941 w 154573"/>
                        <a:gd name="connsiteY6" fmla="*/ 11875 h 155931"/>
                        <a:gd name="connsiteX0" fmla="*/ 1753 w 211133"/>
                        <a:gd name="connsiteY0" fmla="*/ 57929 h 154450"/>
                        <a:gd name="connsiteX1" fmla="*/ 56751 w 211133"/>
                        <a:gd name="connsiteY1" fmla="*/ 142504 h 154450"/>
                        <a:gd name="connsiteX2" fmla="*/ 92377 w 211133"/>
                        <a:gd name="connsiteY2" fmla="*/ 154379 h 154450"/>
                        <a:gd name="connsiteX3" fmla="*/ 211130 w 211133"/>
                        <a:gd name="connsiteY3" fmla="*/ 106878 h 154450"/>
                        <a:gd name="connsiteX4" fmla="*/ 199254 w 211133"/>
                        <a:gd name="connsiteY4" fmla="*/ 47501 h 154450"/>
                        <a:gd name="connsiteX5" fmla="*/ 128003 w 211133"/>
                        <a:gd name="connsiteY5" fmla="*/ 0 h 154450"/>
                        <a:gd name="connsiteX6" fmla="*/ 1753 w 211133"/>
                        <a:gd name="connsiteY6" fmla="*/ 57929 h 154450"/>
                        <a:gd name="connsiteX0" fmla="*/ 34199 w 243579"/>
                        <a:gd name="connsiteY0" fmla="*/ 57929 h 174919"/>
                        <a:gd name="connsiteX1" fmla="*/ 2058 w 243579"/>
                        <a:gd name="connsiteY1" fmla="*/ 171957 h 174919"/>
                        <a:gd name="connsiteX2" fmla="*/ 89197 w 243579"/>
                        <a:gd name="connsiteY2" fmla="*/ 142504 h 174919"/>
                        <a:gd name="connsiteX3" fmla="*/ 124823 w 243579"/>
                        <a:gd name="connsiteY3" fmla="*/ 154379 h 174919"/>
                        <a:gd name="connsiteX4" fmla="*/ 243576 w 243579"/>
                        <a:gd name="connsiteY4" fmla="*/ 106878 h 174919"/>
                        <a:gd name="connsiteX5" fmla="*/ 231700 w 243579"/>
                        <a:gd name="connsiteY5" fmla="*/ 47501 h 174919"/>
                        <a:gd name="connsiteX6" fmla="*/ 160449 w 243579"/>
                        <a:gd name="connsiteY6" fmla="*/ 0 h 174919"/>
                        <a:gd name="connsiteX7" fmla="*/ 34199 w 243579"/>
                        <a:gd name="connsiteY7" fmla="*/ 57929 h 174919"/>
                        <a:gd name="connsiteX0" fmla="*/ 34199 w 243579"/>
                        <a:gd name="connsiteY0" fmla="*/ 57929 h 178813"/>
                        <a:gd name="connsiteX1" fmla="*/ 2058 w 243579"/>
                        <a:gd name="connsiteY1" fmla="*/ 171957 h 178813"/>
                        <a:gd name="connsiteX2" fmla="*/ 99359 w 243579"/>
                        <a:gd name="connsiteY2" fmla="*/ 171591 h 178813"/>
                        <a:gd name="connsiteX3" fmla="*/ 124823 w 243579"/>
                        <a:gd name="connsiteY3" fmla="*/ 154379 h 178813"/>
                        <a:gd name="connsiteX4" fmla="*/ 243576 w 243579"/>
                        <a:gd name="connsiteY4" fmla="*/ 106878 h 178813"/>
                        <a:gd name="connsiteX5" fmla="*/ 231700 w 243579"/>
                        <a:gd name="connsiteY5" fmla="*/ 47501 h 178813"/>
                        <a:gd name="connsiteX6" fmla="*/ 160449 w 243579"/>
                        <a:gd name="connsiteY6" fmla="*/ 0 h 178813"/>
                        <a:gd name="connsiteX7" fmla="*/ 34199 w 243579"/>
                        <a:gd name="connsiteY7" fmla="*/ 57929 h 178813"/>
                        <a:gd name="connsiteX0" fmla="*/ 34199 w 251212"/>
                        <a:gd name="connsiteY0" fmla="*/ 57929 h 179237"/>
                        <a:gd name="connsiteX1" fmla="*/ 2058 w 251212"/>
                        <a:gd name="connsiteY1" fmla="*/ 171957 h 179237"/>
                        <a:gd name="connsiteX2" fmla="*/ 99359 w 251212"/>
                        <a:gd name="connsiteY2" fmla="*/ 171591 h 179237"/>
                        <a:gd name="connsiteX3" fmla="*/ 124823 w 251212"/>
                        <a:gd name="connsiteY3" fmla="*/ 144683 h 179237"/>
                        <a:gd name="connsiteX4" fmla="*/ 243576 w 251212"/>
                        <a:gd name="connsiteY4" fmla="*/ 106878 h 179237"/>
                        <a:gd name="connsiteX5" fmla="*/ 231700 w 251212"/>
                        <a:gd name="connsiteY5" fmla="*/ 47501 h 179237"/>
                        <a:gd name="connsiteX6" fmla="*/ 160449 w 251212"/>
                        <a:gd name="connsiteY6" fmla="*/ 0 h 179237"/>
                        <a:gd name="connsiteX7" fmla="*/ 34199 w 251212"/>
                        <a:gd name="connsiteY7" fmla="*/ 57929 h 179237"/>
                        <a:gd name="connsiteX0" fmla="*/ 34199 w 251212"/>
                        <a:gd name="connsiteY0" fmla="*/ 57929 h 180116"/>
                        <a:gd name="connsiteX1" fmla="*/ 2058 w 251212"/>
                        <a:gd name="connsiteY1" fmla="*/ 171957 h 180116"/>
                        <a:gd name="connsiteX2" fmla="*/ 76497 w 251212"/>
                        <a:gd name="connsiteY2" fmla="*/ 174015 h 180116"/>
                        <a:gd name="connsiteX3" fmla="*/ 124823 w 251212"/>
                        <a:gd name="connsiteY3" fmla="*/ 144683 h 180116"/>
                        <a:gd name="connsiteX4" fmla="*/ 243576 w 251212"/>
                        <a:gd name="connsiteY4" fmla="*/ 106878 h 180116"/>
                        <a:gd name="connsiteX5" fmla="*/ 231700 w 251212"/>
                        <a:gd name="connsiteY5" fmla="*/ 47501 h 180116"/>
                        <a:gd name="connsiteX6" fmla="*/ 160449 w 251212"/>
                        <a:gd name="connsiteY6" fmla="*/ 0 h 180116"/>
                        <a:gd name="connsiteX7" fmla="*/ 34199 w 251212"/>
                        <a:gd name="connsiteY7" fmla="*/ 57929 h 18011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51212" h="180116">
                          <a:moveTo>
                            <a:pt x="34199" y="57929"/>
                          </a:moveTo>
                          <a:cubicBezTo>
                            <a:pt x="16268" y="75681"/>
                            <a:pt x="-7108" y="157861"/>
                            <a:pt x="2058" y="171957"/>
                          </a:cubicBezTo>
                          <a:cubicBezTo>
                            <a:pt x="11224" y="186053"/>
                            <a:pt x="56036" y="178561"/>
                            <a:pt x="76497" y="174015"/>
                          </a:cubicBezTo>
                          <a:cubicBezTo>
                            <a:pt x="96958" y="169469"/>
                            <a:pt x="112948" y="140725"/>
                            <a:pt x="124823" y="144683"/>
                          </a:cubicBezTo>
                          <a:cubicBezTo>
                            <a:pt x="177674" y="138811"/>
                            <a:pt x="225763" y="123075"/>
                            <a:pt x="243576" y="106878"/>
                          </a:cubicBezTo>
                          <a:cubicBezTo>
                            <a:pt x="261389" y="90681"/>
                            <a:pt x="244092" y="63434"/>
                            <a:pt x="231700" y="47501"/>
                          </a:cubicBezTo>
                          <a:cubicBezTo>
                            <a:pt x="214175" y="24969"/>
                            <a:pt x="160449" y="0"/>
                            <a:pt x="160449" y="0"/>
                          </a:cubicBezTo>
                          <a:cubicBezTo>
                            <a:pt x="144615" y="3958"/>
                            <a:pt x="49201" y="51500"/>
                            <a:pt x="34199" y="5792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45" name="Oval 1"/>
                    <p:cNvSpPr/>
                    <p:nvPr/>
                  </p:nvSpPr>
                  <p:spPr>
                    <a:xfrm>
                      <a:off x="6334125" y="2560638"/>
                      <a:ext cx="536363" cy="871419"/>
                    </a:xfrm>
                    <a:custGeom>
                      <a:avLst/>
                      <a:gdLst>
                        <a:gd name="connsiteX0" fmla="*/ 0 w 175290"/>
                        <a:gd name="connsiteY0" fmla="*/ 415689 h 831377"/>
                        <a:gd name="connsiteX1" fmla="*/ 87645 w 175290"/>
                        <a:gd name="connsiteY1" fmla="*/ 0 h 831377"/>
                        <a:gd name="connsiteX2" fmla="*/ 175290 w 175290"/>
                        <a:gd name="connsiteY2" fmla="*/ 415689 h 831377"/>
                        <a:gd name="connsiteX3" fmla="*/ 87645 w 175290"/>
                        <a:gd name="connsiteY3" fmla="*/ 831378 h 831377"/>
                        <a:gd name="connsiteX4" fmla="*/ 0 w 175290"/>
                        <a:gd name="connsiteY4" fmla="*/ 415689 h 831377"/>
                        <a:gd name="connsiteX0" fmla="*/ 277887 w 453177"/>
                        <a:gd name="connsiteY0" fmla="*/ 415689 h 781372"/>
                        <a:gd name="connsiteX1" fmla="*/ 365532 w 453177"/>
                        <a:gd name="connsiteY1" fmla="*/ 0 h 781372"/>
                        <a:gd name="connsiteX2" fmla="*/ 453177 w 453177"/>
                        <a:gd name="connsiteY2" fmla="*/ 415689 h 781372"/>
                        <a:gd name="connsiteX3" fmla="*/ 5963 w 453177"/>
                        <a:gd name="connsiteY3" fmla="*/ 781372 h 781372"/>
                        <a:gd name="connsiteX4" fmla="*/ 277887 w 453177"/>
                        <a:gd name="connsiteY4" fmla="*/ 415689 h 781372"/>
                        <a:gd name="connsiteX0" fmla="*/ 273064 w 388823"/>
                        <a:gd name="connsiteY0" fmla="*/ 415694 h 781381"/>
                        <a:gd name="connsiteX1" fmla="*/ 360709 w 388823"/>
                        <a:gd name="connsiteY1" fmla="*/ 5 h 781381"/>
                        <a:gd name="connsiteX2" fmla="*/ 388823 w 388823"/>
                        <a:gd name="connsiteY2" fmla="*/ 408551 h 781381"/>
                        <a:gd name="connsiteX3" fmla="*/ 1140 w 388823"/>
                        <a:gd name="connsiteY3" fmla="*/ 781377 h 781381"/>
                        <a:gd name="connsiteX4" fmla="*/ 273064 w 388823"/>
                        <a:gd name="connsiteY4" fmla="*/ 415694 h 781381"/>
                        <a:gd name="connsiteX0" fmla="*/ 273690 w 420406"/>
                        <a:gd name="connsiteY0" fmla="*/ 415694 h 781381"/>
                        <a:gd name="connsiteX1" fmla="*/ 361335 w 420406"/>
                        <a:gd name="connsiteY1" fmla="*/ 5 h 781381"/>
                        <a:gd name="connsiteX2" fmla="*/ 420406 w 420406"/>
                        <a:gd name="connsiteY2" fmla="*/ 408551 h 781381"/>
                        <a:gd name="connsiteX3" fmla="*/ 1766 w 420406"/>
                        <a:gd name="connsiteY3" fmla="*/ 781377 h 781381"/>
                        <a:gd name="connsiteX4" fmla="*/ 273690 w 420406"/>
                        <a:gd name="connsiteY4" fmla="*/ 415694 h 781381"/>
                        <a:gd name="connsiteX0" fmla="*/ 273715 w 420431"/>
                        <a:gd name="connsiteY0" fmla="*/ 308548 h 674235"/>
                        <a:gd name="connsiteX1" fmla="*/ 382791 w 420431"/>
                        <a:gd name="connsiteY1" fmla="*/ 15 h 674235"/>
                        <a:gd name="connsiteX2" fmla="*/ 420431 w 420431"/>
                        <a:gd name="connsiteY2" fmla="*/ 301405 h 674235"/>
                        <a:gd name="connsiteX3" fmla="*/ 1791 w 420431"/>
                        <a:gd name="connsiteY3" fmla="*/ 674231 h 674235"/>
                        <a:gd name="connsiteX4" fmla="*/ 273715 w 420431"/>
                        <a:gd name="connsiteY4" fmla="*/ 308548 h 674235"/>
                        <a:gd name="connsiteX0" fmla="*/ 219346 w 366062"/>
                        <a:gd name="connsiteY0" fmla="*/ 308548 h 688521"/>
                        <a:gd name="connsiteX1" fmla="*/ 328422 w 366062"/>
                        <a:gd name="connsiteY1" fmla="*/ 15 h 688521"/>
                        <a:gd name="connsiteX2" fmla="*/ 366062 w 366062"/>
                        <a:gd name="connsiteY2" fmla="*/ 301405 h 688521"/>
                        <a:gd name="connsiteX3" fmla="*/ 2191 w 366062"/>
                        <a:gd name="connsiteY3" fmla="*/ 688518 h 688521"/>
                        <a:gd name="connsiteX4" fmla="*/ 219346 w 366062"/>
                        <a:gd name="connsiteY4" fmla="*/ 308548 h 688521"/>
                        <a:gd name="connsiteX0" fmla="*/ 219036 w 353846"/>
                        <a:gd name="connsiteY0" fmla="*/ 308574 h 688554"/>
                        <a:gd name="connsiteX1" fmla="*/ 328112 w 353846"/>
                        <a:gd name="connsiteY1" fmla="*/ 41 h 688554"/>
                        <a:gd name="connsiteX2" fmla="*/ 353846 w 353846"/>
                        <a:gd name="connsiteY2" fmla="*/ 296669 h 688554"/>
                        <a:gd name="connsiteX3" fmla="*/ 1881 w 353846"/>
                        <a:gd name="connsiteY3" fmla="*/ 688544 h 688554"/>
                        <a:gd name="connsiteX4" fmla="*/ 219036 w 353846"/>
                        <a:gd name="connsiteY4" fmla="*/ 308574 h 688554"/>
                        <a:gd name="connsiteX0" fmla="*/ 219036 w 390008"/>
                        <a:gd name="connsiteY0" fmla="*/ 312239 h 692219"/>
                        <a:gd name="connsiteX1" fmla="*/ 328112 w 390008"/>
                        <a:gd name="connsiteY1" fmla="*/ 3706 h 692219"/>
                        <a:gd name="connsiteX2" fmla="*/ 379870 w 390008"/>
                        <a:gd name="connsiteY2" fmla="*/ 151655 h 692219"/>
                        <a:gd name="connsiteX3" fmla="*/ 353846 w 390008"/>
                        <a:gd name="connsiteY3" fmla="*/ 300334 h 692219"/>
                        <a:gd name="connsiteX4" fmla="*/ 1881 w 390008"/>
                        <a:gd name="connsiteY4" fmla="*/ 692209 h 692219"/>
                        <a:gd name="connsiteX5" fmla="*/ 219036 w 390008"/>
                        <a:gd name="connsiteY5" fmla="*/ 312239 h 692219"/>
                        <a:gd name="connsiteX0" fmla="*/ 217522 w 379622"/>
                        <a:gd name="connsiteY0" fmla="*/ 312239 h 695223"/>
                        <a:gd name="connsiteX1" fmla="*/ 326598 w 379622"/>
                        <a:gd name="connsiteY1" fmla="*/ 3706 h 695223"/>
                        <a:gd name="connsiteX2" fmla="*/ 378356 w 379622"/>
                        <a:gd name="connsiteY2" fmla="*/ 151655 h 695223"/>
                        <a:gd name="connsiteX3" fmla="*/ 352332 w 379622"/>
                        <a:gd name="connsiteY3" fmla="*/ 300334 h 695223"/>
                        <a:gd name="connsiteX4" fmla="*/ 273581 w 379622"/>
                        <a:gd name="connsiteY4" fmla="*/ 480269 h 695223"/>
                        <a:gd name="connsiteX5" fmla="*/ 367 w 379622"/>
                        <a:gd name="connsiteY5" fmla="*/ 692209 h 695223"/>
                        <a:gd name="connsiteX6" fmla="*/ 217522 w 379622"/>
                        <a:gd name="connsiteY6" fmla="*/ 312239 h 695223"/>
                        <a:gd name="connsiteX0" fmla="*/ 217522 w 382225"/>
                        <a:gd name="connsiteY0" fmla="*/ 312239 h 695223"/>
                        <a:gd name="connsiteX1" fmla="*/ 326598 w 382225"/>
                        <a:gd name="connsiteY1" fmla="*/ 3706 h 695223"/>
                        <a:gd name="connsiteX2" fmla="*/ 378356 w 382225"/>
                        <a:gd name="connsiteY2" fmla="*/ 151655 h 695223"/>
                        <a:gd name="connsiteX3" fmla="*/ 364238 w 382225"/>
                        <a:gd name="connsiteY3" fmla="*/ 297953 h 695223"/>
                        <a:gd name="connsiteX4" fmla="*/ 273581 w 382225"/>
                        <a:gd name="connsiteY4" fmla="*/ 480269 h 695223"/>
                        <a:gd name="connsiteX5" fmla="*/ 367 w 382225"/>
                        <a:gd name="connsiteY5" fmla="*/ 692209 h 695223"/>
                        <a:gd name="connsiteX6" fmla="*/ 217522 w 382225"/>
                        <a:gd name="connsiteY6" fmla="*/ 312239 h 695223"/>
                        <a:gd name="connsiteX0" fmla="*/ 217522 w 382225"/>
                        <a:gd name="connsiteY0" fmla="*/ 359366 h 695816"/>
                        <a:gd name="connsiteX1" fmla="*/ 326598 w 382225"/>
                        <a:gd name="connsiteY1" fmla="*/ 5589 h 695816"/>
                        <a:gd name="connsiteX2" fmla="*/ 378356 w 382225"/>
                        <a:gd name="connsiteY2" fmla="*/ 153538 h 695816"/>
                        <a:gd name="connsiteX3" fmla="*/ 364238 w 382225"/>
                        <a:gd name="connsiteY3" fmla="*/ 299836 h 695816"/>
                        <a:gd name="connsiteX4" fmla="*/ 273581 w 382225"/>
                        <a:gd name="connsiteY4" fmla="*/ 482152 h 695816"/>
                        <a:gd name="connsiteX5" fmla="*/ 367 w 382225"/>
                        <a:gd name="connsiteY5" fmla="*/ 694092 h 695816"/>
                        <a:gd name="connsiteX6" fmla="*/ 217522 w 382225"/>
                        <a:gd name="connsiteY6" fmla="*/ 359366 h 695816"/>
                        <a:gd name="connsiteX0" fmla="*/ 243444 w 381953"/>
                        <a:gd name="connsiteY0" fmla="*/ 366828 h 695957"/>
                        <a:gd name="connsiteX1" fmla="*/ 326326 w 381953"/>
                        <a:gd name="connsiteY1" fmla="*/ 5907 h 695957"/>
                        <a:gd name="connsiteX2" fmla="*/ 378084 w 381953"/>
                        <a:gd name="connsiteY2" fmla="*/ 153856 h 695957"/>
                        <a:gd name="connsiteX3" fmla="*/ 363966 w 381953"/>
                        <a:gd name="connsiteY3" fmla="*/ 300154 h 695957"/>
                        <a:gd name="connsiteX4" fmla="*/ 273309 w 381953"/>
                        <a:gd name="connsiteY4" fmla="*/ 482470 h 695957"/>
                        <a:gd name="connsiteX5" fmla="*/ 95 w 381953"/>
                        <a:gd name="connsiteY5" fmla="*/ 694410 h 695957"/>
                        <a:gd name="connsiteX6" fmla="*/ 243444 w 381953"/>
                        <a:gd name="connsiteY6" fmla="*/ 366828 h 695957"/>
                        <a:gd name="connsiteX0" fmla="*/ 243444 w 379080"/>
                        <a:gd name="connsiteY0" fmla="*/ 366828 h 695838"/>
                        <a:gd name="connsiteX1" fmla="*/ 326326 w 379080"/>
                        <a:gd name="connsiteY1" fmla="*/ 5907 h 695838"/>
                        <a:gd name="connsiteX2" fmla="*/ 378084 w 379080"/>
                        <a:gd name="connsiteY2" fmla="*/ 153856 h 695838"/>
                        <a:gd name="connsiteX3" fmla="*/ 363966 w 379080"/>
                        <a:gd name="connsiteY3" fmla="*/ 300154 h 695838"/>
                        <a:gd name="connsiteX4" fmla="*/ 335222 w 379080"/>
                        <a:gd name="connsiteY4" fmla="*/ 406271 h 695838"/>
                        <a:gd name="connsiteX5" fmla="*/ 273309 w 379080"/>
                        <a:gd name="connsiteY5" fmla="*/ 482470 h 695838"/>
                        <a:gd name="connsiteX6" fmla="*/ 95 w 379080"/>
                        <a:gd name="connsiteY6" fmla="*/ 694410 h 695838"/>
                        <a:gd name="connsiteX7" fmla="*/ 243444 w 379080"/>
                        <a:gd name="connsiteY7" fmla="*/ 366828 h 695838"/>
                        <a:gd name="connsiteX0" fmla="*/ 243441 w 379077"/>
                        <a:gd name="connsiteY0" fmla="*/ 372957 h 701967"/>
                        <a:gd name="connsiteX1" fmla="*/ 292201 w 379077"/>
                        <a:gd name="connsiteY1" fmla="*/ 49685 h 701967"/>
                        <a:gd name="connsiteX2" fmla="*/ 326323 w 379077"/>
                        <a:gd name="connsiteY2" fmla="*/ 12036 h 701967"/>
                        <a:gd name="connsiteX3" fmla="*/ 378081 w 379077"/>
                        <a:gd name="connsiteY3" fmla="*/ 159985 h 701967"/>
                        <a:gd name="connsiteX4" fmla="*/ 363963 w 379077"/>
                        <a:gd name="connsiteY4" fmla="*/ 306283 h 701967"/>
                        <a:gd name="connsiteX5" fmla="*/ 335219 w 379077"/>
                        <a:gd name="connsiteY5" fmla="*/ 412400 h 701967"/>
                        <a:gd name="connsiteX6" fmla="*/ 273306 w 379077"/>
                        <a:gd name="connsiteY6" fmla="*/ 488599 h 701967"/>
                        <a:gd name="connsiteX7" fmla="*/ 92 w 379077"/>
                        <a:gd name="connsiteY7" fmla="*/ 700539 h 701967"/>
                        <a:gd name="connsiteX8" fmla="*/ 243441 w 379077"/>
                        <a:gd name="connsiteY8" fmla="*/ 372957 h 701967"/>
                        <a:gd name="connsiteX0" fmla="*/ 243441 w 379299"/>
                        <a:gd name="connsiteY0" fmla="*/ 444886 h 773896"/>
                        <a:gd name="connsiteX1" fmla="*/ 292201 w 379299"/>
                        <a:gd name="connsiteY1" fmla="*/ 121614 h 773896"/>
                        <a:gd name="connsiteX2" fmla="*/ 334383 w 379299"/>
                        <a:gd name="connsiteY2" fmla="*/ 2764 h 773896"/>
                        <a:gd name="connsiteX3" fmla="*/ 378081 w 379299"/>
                        <a:gd name="connsiteY3" fmla="*/ 231914 h 773896"/>
                        <a:gd name="connsiteX4" fmla="*/ 363963 w 379299"/>
                        <a:gd name="connsiteY4" fmla="*/ 378212 h 773896"/>
                        <a:gd name="connsiteX5" fmla="*/ 335219 w 379299"/>
                        <a:gd name="connsiteY5" fmla="*/ 484329 h 773896"/>
                        <a:gd name="connsiteX6" fmla="*/ 273306 w 379299"/>
                        <a:gd name="connsiteY6" fmla="*/ 560528 h 773896"/>
                        <a:gd name="connsiteX7" fmla="*/ 92 w 379299"/>
                        <a:gd name="connsiteY7" fmla="*/ 772468 h 773896"/>
                        <a:gd name="connsiteX8" fmla="*/ 243441 w 379299"/>
                        <a:gd name="connsiteY8" fmla="*/ 444886 h 773896"/>
                        <a:gd name="connsiteX0" fmla="*/ 424134 w 570110"/>
                        <a:gd name="connsiteY0" fmla="*/ 626479 h 955489"/>
                        <a:gd name="connsiteX1" fmla="*/ 472894 w 570110"/>
                        <a:gd name="connsiteY1" fmla="*/ 303207 h 955489"/>
                        <a:gd name="connsiteX2" fmla="*/ 73 w 570110"/>
                        <a:gd name="connsiteY2" fmla="*/ 1980 h 955489"/>
                        <a:gd name="connsiteX3" fmla="*/ 515076 w 570110"/>
                        <a:gd name="connsiteY3" fmla="*/ 184357 h 955489"/>
                        <a:gd name="connsiteX4" fmla="*/ 558774 w 570110"/>
                        <a:gd name="connsiteY4" fmla="*/ 413507 h 955489"/>
                        <a:gd name="connsiteX5" fmla="*/ 544656 w 570110"/>
                        <a:gd name="connsiteY5" fmla="*/ 559805 h 955489"/>
                        <a:gd name="connsiteX6" fmla="*/ 515912 w 570110"/>
                        <a:gd name="connsiteY6" fmla="*/ 665922 h 955489"/>
                        <a:gd name="connsiteX7" fmla="*/ 453999 w 570110"/>
                        <a:gd name="connsiteY7" fmla="*/ 742121 h 955489"/>
                        <a:gd name="connsiteX8" fmla="*/ 180785 w 570110"/>
                        <a:gd name="connsiteY8" fmla="*/ 954061 h 955489"/>
                        <a:gd name="connsiteX9" fmla="*/ 424134 w 570110"/>
                        <a:gd name="connsiteY9" fmla="*/ 626479 h 955489"/>
                        <a:gd name="connsiteX0" fmla="*/ 467547 w 613523"/>
                        <a:gd name="connsiteY0" fmla="*/ 629550 h 958560"/>
                        <a:gd name="connsiteX1" fmla="*/ 516307 w 613523"/>
                        <a:gd name="connsiteY1" fmla="*/ 306278 h 958560"/>
                        <a:gd name="connsiteX2" fmla="*/ 81098 w 613523"/>
                        <a:gd name="connsiteY2" fmla="*/ 101969 h 958560"/>
                        <a:gd name="connsiteX3" fmla="*/ 43486 w 613523"/>
                        <a:gd name="connsiteY3" fmla="*/ 5051 h 958560"/>
                        <a:gd name="connsiteX4" fmla="*/ 558489 w 613523"/>
                        <a:gd name="connsiteY4" fmla="*/ 187428 h 958560"/>
                        <a:gd name="connsiteX5" fmla="*/ 602187 w 613523"/>
                        <a:gd name="connsiteY5" fmla="*/ 416578 h 958560"/>
                        <a:gd name="connsiteX6" fmla="*/ 588069 w 613523"/>
                        <a:gd name="connsiteY6" fmla="*/ 562876 h 958560"/>
                        <a:gd name="connsiteX7" fmla="*/ 559325 w 613523"/>
                        <a:gd name="connsiteY7" fmla="*/ 668993 h 958560"/>
                        <a:gd name="connsiteX8" fmla="*/ 497412 w 613523"/>
                        <a:gd name="connsiteY8" fmla="*/ 745192 h 958560"/>
                        <a:gd name="connsiteX9" fmla="*/ 224198 w 613523"/>
                        <a:gd name="connsiteY9" fmla="*/ 957132 h 958560"/>
                        <a:gd name="connsiteX10" fmla="*/ 467547 w 613523"/>
                        <a:gd name="connsiteY10" fmla="*/ 629550 h 958560"/>
                        <a:gd name="connsiteX0" fmla="*/ 467547 w 605112"/>
                        <a:gd name="connsiteY0" fmla="*/ 629550 h 958560"/>
                        <a:gd name="connsiteX1" fmla="*/ 516307 w 605112"/>
                        <a:gd name="connsiteY1" fmla="*/ 306278 h 958560"/>
                        <a:gd name="connsiteX2" fmla="*/ 81098 w 605112"/>
                        <a:gd name="connsiteY2" fmla="*/ 101969 h 958560"/>
                        <a:gd name="connsiteX3" fmla="*/ 43486 w 605112"/>
                        <a:gd name="connsiteY3" fmla="*/ 5051 h 958560"/>
                        <a:gd name="connsiteX4" fmla="*/ 531625 w 605112"/>
                        <a:gd name="connsiteY4" fmla="*/ 187428 h 958560"/>
                        <a:gd name="connsiteX5" fmla="*/ 602187 w 605112"/>
                        <a:gd name="connsiteY5" fmla="*/ 416578 h 958560"/>
                        <a:gd name="connsiteX6" fmla="*/ 588069 w 605112"/>
                        <a:gd name="connsiteY6" fmla="*/ 562876 h 958560"/>
                        <a:gd name="connsiteX7" fmla="*/ 559325 w 605112"/>
                        <a:gd name="connsiteY7" fmla="*/ 668993 h 958560"/>
                        <a:gd name="connsiteX8" fmla="*/ 497412 w 605112"/>
                        <a:gd name="connsiteY8" fmla="*/ 745192 h 958560"/>
                        <a:gd name="connsiteX9" fmla="*/ 224198 w 605112"/>
                        <a:gd name="connsiteY9" fmla="*/ 957132 h 958560"/>
                        <a:gd name="connsiteX10" fmla="*/ 467547 w 605112"/>
                        <a:gd name="connsiteY10" fmla="*/ 629550 h 95856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605112" h="958560">
                          <a:moveTo>
                            <a:pt x="467547" y="629550"/>
                          </a:moveTo>
                          <a:cubicBezTo>
                            <a:pt x="516232" y="521074"/>
                            <a:pt x="502493" y="366432"/>
                            <a:pt x="516307" y="306278"/>
                          </a:cubicBezTo>
                          <a:cubicBezTo>
                            <a:pt x="452794" y="207870"/>
                            <a:pt x="159901" y="152173"/>
                            <a:pt x="81098" y="101969"/>
                          </a:cubicBezTo>
                          <a:cubicBezTo>
                            <a:pt x="2295" y="51765"/>
                            <a:pt x="-35184" y="-19670"/>
                            <a:pt x="43486" y="5051"/>
                          </a:cubicBezTo>
                          <a:cubicBezTo>
                            <a:pt x="122156" y="29772"/>
                            <a:pt x="438508" y="118840"/>
                            <a:pt x="531625" y="187428"/>
                          </a:cubicBezTo>
                          <a:cubicBezTo>
                            <a:pt x="624742" y="256016"/>
                            <a:pt x="592780" y="354003"/>
                            <a:pt x="602187" y="416578"/>
                          </a:cubicBezTo>
                          <a:cubicBezTo>
                            <a:pt x="611594" y="479153"/>
                            <a:pt x="596006" y="522791"/>
                            <a:pt x="588069" y="562876"/>
                          </a:cubicBezTo>
                          <a:cubicBezTo>
                            <a:pt x="580132" y="602961"/>
                            <a:pt x="574435" y="638607"/>
                            <a:pt x="559325" y="668993"/>
                          </a:cubicBezTo>
                          <a:cubicBezTo>
                            <a:pt x="544216" y="699379"/>
                            <a:pt x="552473" y="695185"/>
                            <a:pt x="497412" y="745192"/>
                          </a:cubicBezTo>
                          <a:cubicBezTo>
                            <a:pt x="442351" y="795199"/>
                            <a:pt x="229176" y="976406"/>
                            <a:pt x="224198" y="957132"/>
                          </a:cubicBezTo>
                          <a:cubicBezTo>
                            <a:pt x="219220" y="937858"/>
                            <a:pt x="418862" y="738026"/>
                            <a:pt x="467547" y="62955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46" name="Freeform 249"/>
                    <p:cNvSpPr/>
                    <p:nvPr/>
                  </p:nvSpPr>
                  <p:spPr>
                    <a:xfrm>
                      <a:off x="3686119" y="3519488"/>
                      <a:ext cx="189463" cy="200246"/>
                    </a:xfrm>
                    <a:custGeom>
                      <a:avLst/>
                      <a:gdLst>
                        <a:gd name="connsiteX0" fmla="*/ 17147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8" fmla="*/ 17147 w 195280"/>
                        <a:gd name="connsiteY8" fmla="*/ 11875 h 154450"/>
                        <a:gd name="connsiteX0" fmla="*/ 64648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0" fmla="*/ 23941 w 154573"/>
                        <a:gd name="connsiteY0" fmla="*/ 11875 h 155931"/>
                        <a:gd name="connsiteX1" fmla="*/ 191 w 154573"/>
                        <a:gd name="connsiteY1" fmla="*/ 142504 h 155931"/>
                        <a:gd name="connsiteX2" fmla="*/ 35817 w 154573"/>
                        <a:gd name="connsiteY2" fmla="*/ 154379 h 155931"/>
                        <a:gd name="connsiteX3" fmla="*/ 154570 w 154573"/>
                        <a:gd name="connsiteY3" fmla="*/ 106878 h 155931"/>
                        <a:gd name="connsiteX4" fmla="*/ 142694 w 154573"/>
                        <a:gd name="connsiteY4" fmla="*/ 47501 h 155931"/>
                        <a:gd name="connsiteX5" fmla="*/ 71443 w 154573"/>
                        <a:gd name="connsiteY5" fmla="*/ 0 h 155931"/>
                        <a:gd name="connsiteX6" fmla="*/ 23941 w 154573"/>
                        <a:gd name="connsiteY6" fmla="*/ 11875 h 155931"/>
                        <a:gd name="connsiteX0" fmla="*/ 1753 w 211133"/>
                        <a:gd name="connsiteY0" fmla="*/ 57929 h 154450"/>
                        <a:gd name="connsiteX1" fmla="*/ 56751 w 211133"/>
                        <a:gd name="connsiteY1" fmla="*/ 142504 h 154450"/>
                        <a:gd name="connsiteX2" fmla="*/ 92377 w 211133"/>
                        <a:gd name="connsiteY2" fmla="*/ 154379 h 154450"/>
                        <a:gd name="connsiteX3" fmla="*/ 211130 w 211133"/>
                        <a:gd name="connsiteY3" fmla="*/ 106878 h 154450"/>
                        <a:gd name="connsiteX4" fmla="*/ 199254 w 211133"/>
                        <a:gd name="connsiteY4" fmla="*/ 47501 h 154450"/>
                        <a:gd name="connsiteX5" fmla="*/ 128003 w 211133"/>
                        <a:gd name="connsiteY5" fmla="*/ 0 h 154450"/>
                        <a:gd name="connsiteX6" fmla="*/ 1753 w 211133"/>
                        <a:gd name="connsiteY6" fmla="*/ 57929 h 154450"/>
                        <a:gd name="connsiteX0" fmla="*/ 34199 w 243579"/>
                        <a:gd name="connsiteY0" fmla="*/ 57929 h 174919"/>
                        <a:gd name="connsiteX1" fmla="*/ 2058 w 243579"/>
                        <a:gd name="connsiteY1" fmla="*/ 171957 h 174919"/>
                        <a:gd name="connsiteX2" fmla="*/ 89197 w 243579"/>
                        <a:gd name="connsiteY2" fmla="*/ 142504 h 174919"/>
                        <a:gd name="connsiteX3" fmla="*/ 124823 w 243579"/>
                        <a:gd name="connsiteY3" fmla="*/ 154379 h 174919"/>
                        <a:gd name="connsiteX4" fmla="*/ 243576 w 243579"/>
                        <a:gd name="connsiteY4" fmla="*/ 106878 h 174919"/>
                        <a:gd name="connsiteX5" fmla="*/ 231700 w 243579"/>
                        <a:gd name="connsiteY5" fmla="*/ 47501 h 174919"/>
                        <a:gd name="connsiteX6" fmla="*/ 160449 w 243579"/>
                        <a:gd name="connsiteY6" fmla="*/ 0 h 174919"/>
                        <a:gd name="connsiteX7" fmla="*/ 34199 w 243579"/>
                        <a:gd name="connsiteY7" fmla="*/ 57929 h 174919"/>
                        <a:gd name="connsiteX0" fmla="*/ 34199 w 243579"/>
                        <a:gd name="connsiteY0" fmla="*/ 57929 h 178813"/>
                        <a:gd name="connsiteX1" fmla="*/ 2058 w 243579"/>
                        <a:gd name="connsiteY1" fmla="*/ 171957 h 178813"/>
                        <a:gd name="connsiteX2" fmla="*/ 99359 w 243579"/>
                        <a:gd name="connsiteY2" fmla="*/ 171591 h 178813"/>
                        <a:gd name="connsiteX3" fmla="*/ 124823 w 243579"/>
                        <a:gd name="connsiteY3" fmla="*/ 154379 h 178813"/>
                        <a:gd name="connsiteX4" fmla="*/ 243576 w 243579"/>
                        <a:gd name="connsiteY4" fmla="*/ 106878 h 178813"/>
                        <a:gd name="connsiteX5" fmla="*/ 231700 w 243579"/>
                        <a:gd name="connsiteY5" fmla="*/ 47501 h 178813"/>
                        <a:gd name="connsiteX6" fmla="*/ 160449 w 243579"/>
                        <a:gd name="connsiteY6" fmla="*/ 0 h 178813"/>
                        <a:gd name="connsiteX7" fmla="*/ 34199 w 243579"/>
                        <a:gd name="connsiteY7" fmla="*/ 57929 h 178813"/>
                        <a:gd name="connsiteX0" fmla="*/ 34199 w 251212"/>
                        <a:gd name="connsiteY0" fmla="*/ 57929 h 179237"/>
                        <a:gd name="connsiteX1" fmla="*/ 2058 w 251212"/>
                        <a:gd name="connsiteY1" fmla="*/ 171957 h 179237"/>
                        <a:gd name="connsiteX2" fmla="*/ 99359 w 251212"/>
                        <a:gd name="connsiteY2" fmla="*/ 171591 h 179237"/>
                        <a:gd name="connsiteX3" fmla="*/ 124823 w 251212"/>
                        <a:gd name="connsiteY3" fmla="*/ 144683 h 179237"/>
                        <a:gd name="connsiteX4" fmla="*/ 243576 w 251212"/>
                        <a:gd name="connsiteY4" fmla="*/ 106878 h 179237"/>
                        <a:gd name="connsiteX5" fmla="*/ 231700 w 251212"/>
                        <a:gd name="connsiteY5" fmla="*/ 47501 h 179237"/>
                        <a:gd name="connsiteX6" fmla="*/ 160449 w 251212"/>
                        <a:gd name="connsiteY6" fmla="*/ 0 h 179237"/>
                        <a:gd name="connsiteX7" fmla="*/ 34199 w 251212"/>
                        <a:gd name="connsiteY7" fmla="*/ 57929 h 179237"/>
                        <a:gd name="connsiteX0" fmla="*/ 34199 w 251212"/>
                        <a:gd name="connsiteY0" fmla="*/ 57929 h 180116"/>
                        <a:gd name="connsiteX1" fmla="*/ 2058 w 251212"/>
                        <a:gd name="connsiteY1" fmla="*/ 171957 h 180116"/>
                        <a:gd name="connsiteX2" fmla="*/ 76497 w 251212"/>
                        <a:gd name="connsiteY2" fmla="*/ 174015 h 180116"/>
                        <a:gd name="connsiteX3" fmla="*/ 124823 w 251212"/>
                        <a:gd name="connsiteY3" fmla="*/ 144683 h 180116"/>
                        <a:gd name="connsiteX4" fmla="*/ 243576 w 251212"/>
                        <a:gd name="connsiteY4" fmla="*/ 106878 h 180116"/>
                        <a:gd name="connsiteX5" fmla="*/ 231700 w 251212"/>
                        <a:gd name="connsiteY5" fmla="*/ 47501 h 180116"/>
                        <a:gd name="connsiteX6" fmla="*/ 160449 w 251212"/>
                        <a:gd name="connsiteY6" fmla="*/ 0 h 180116"/>
                        <a:gd name="connsiteX7" fmla="*/ 34199 w 251212"/>
                        <a:gd name="connsiteY7" fmla="*/ 57929 h 180116"/>
                        <a:gd name="connsiteX0" fmla="*/ 34199 w 246435"/>
                        <a:gd name="connsiteY0" fmla="*/ 57929 h 179063"/>
                        <a:gd name="connsiteX1" fmla="*/ 2058 w 246435"/>
                        <a:gd name="connsiteY1" fmla="*/ 171957 h 179063"/>
                        <a:gd name="connsiteX2" fmla="*/ 76497 w 246435"/>
                        <a:gd name="connsiteY2" fmla="*/ 174015 h 179063"/>
                        <a:gd name="connsiteX3" fmla="*/ 189909 w 246435"/>
                        <a:gd name="connsiteY3" fmla="*/ 166068 h 179063"/>
                        <a:gd name="connsiteX4" fmla="*/ 243576 w 246435"/>
                        <a:gd name="connsiteY4" fmla="*/ 106878 h 179063"/>
                        <a:gd name="connsiteX5" fmla="*/ 231700 w 246435"/>
                        <a:gd name="connsiteY5" fmla="*/ 47501 h 179063"/>
                        <a:gd name="connsiteX6" fmla="*/ 160449 w 246435"/>
                        <a:gd name="connsiteY6" fmla="*/ 0 h 179063"/>
                        <a:gd name="connsiteX7" fmla="*/ 34199 w 246435"/>
                        <a:gd name="connsiteY7" fmla="*/ 57929 h 179063"/>
                        <a:gd name="connsiteX0" fmla="*/ 3535 w 215771"/>
                        <a:gd name="connsiteY0" fmla="*/ 57929 h 179839"/>
                        <a:gd name="connsiteX1" fmla="*/ 45833 w 215771"/>
                        <a:gd name="connsiteY1" fmla="*/ 174015 h 179839"/>
                        <a:gd name="connsiteX2" fmla="*/ 159245 w 215771"/>
                        <a:gd name="connsiteY2" fmla="*/ 166068 h 179839"/>
                        <a:gd name="connsiteX3" fmla="*/ 212912 w 215771"/>
                        <a:gd name="connsiteY3" fmla="*/ 106878 h 179839"/>
                        <a:gd name="connsiteX4" fmla="*/ 201036 w 215771"/>
                        <a:gd name="connsiteY4" fmla="*/ 47501 h 179839"/>
                        <a:gd name="connsiteX5" fmla="*/ 129785 w 215771"/>
                        <a:gd name="connsiteY5" fmla="*/ 0 h 179839"/>
                        <a:gd name="connsiteX6" fmla="*/ 3535 w 215771"/>
                        <a:gd name="connsiteY6" fmla="*/ 57929 h 17983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15771" h="179839">
                          <a:moveTo>
                            <a:pt x="3535" y="57929"/>
                          </a:moveTo>
                          <a:cubicBezTo>
                            <a:pt x="-10457" y="86931"/>
                            <a:pt x="19881" y="155992"/>
                            <a:pt x="45833" y="174015"/>
                          </a:cubicBezTo>
                          <a:cubicBezTo>
                            <a:pt x="71785" y="192038"/>
                            <a:pt x="147370" y="162110"/>
                            <a:pt x="159245" y="166068"/>
                          </a:cubicBezTo>
                          <a:cubicBezTo>
                            <a:pt x="212096" y="160196"/>
                            <a:pt x="205947" y="126639"/>
                            <a:pt x="212912" y="106878"/>
                          </a:cubicBezTo>
                          <a:cubicBezTo>
                            <a:pt x="219877" y="87117"/>
                            <a:pt x="213428" y="63434"/>
                            <a:pt x="201036" y="47501"/>
                          </a:cubicBezTo>
                          <a:cubicBezTo>
                            <a:pt x="183511" y="24969"/>
                            <a:pt x="129785" y="0"/>
                            <a:pt x="129785" y="0"/>
                          </a:cubicBezTo>
                          <a:cubicBezTo>
                            <a:pt x="113951" y="3958"/>
                            <a:pt x="18537" y="51500"/>
                            <a:pt x="3535" y="5792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48" name="Freeform 250"/>
                    <p:cNvSpPr/>
                    <p:nvPr/>
                  </p:nvSpPr>
                  <p:spPr>
                    <a:xfrm>
                      <a:off x="4590529" y="4487862"/>
                      <a:ext cx="1257783" cy="1386391"/>
                    </a:xfrm>
                    <a:custGeom>
                      <a:avLst/>
                      <a:gdLst>
                        <a:gd name="connsiteX0" fmla="*/ 17147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8" fmla="*/ 17147 w 195280"/>
                        <a:gd name="connsiteY8" fmla="*/ 11875 h 154450"/>
                        <a:gd name="connsiteX0" fmla="*/ 64648 w 195280"/>
                        <a:gd name="connsiteY0" fmla="*/ 11875 h 154450"/>
                        <a:gd name="connsiteX1" fmla="*/ 17147 w 195280"/>
                        <a:gd name="connsiteY1" fmla="*/ 11875 h 154450"/>
                        <a:gd name="connsiteX2" fmla="*/ 40898 w 195280"/>
                        <a:gd name="connsiteY2" fmla="*/ 142504 h 154450"/>
                        <a:gd name="connsiteX3" fmla="*/ 76524 w 195280"/>
                        <a:gd name="connsiteY3" fmla="*/ 154379 h 154450"/>
                        <a:gd name="connsiteX4" fmla="*/ 195277 w 195280"/>
                        <a:gd name="connsiteY4" fmla="*/ 106878 h 154450"/>
                        <a:gd name="connsiteX5" fmla="*/ 183401 w 195280"/>
                        <a:gd name="connsiteY5" fmla="*/ 47501 h 154450"/>
                        <a:gd name="connsiteX6" fmla="*/ 112150 w 195280"/>
                        <a:gd name="connsiteY6" fmla="*/ 0 h 154450"/>
                        <a:gd name="connsiteX7" fmla="*/ 64648 w 195280"/>
                        <a:gd name="connsiteY7" fmla="*/ 11875 h 154450"/>
                        <a:gd name="connsiteX0" fmla="*/ 23941 w 154573"/>
                        <a:gd name="connsiteY0" fmla="*/ 11875 h 155931"/>
                        <a:gd name="connsiteX1" fmla="*/ 191 w 154573"/>
                        <a:gd name="connsiteY1" fmla="*/ 142504 h 155931"/>
                        <a:gd name="connsiteX2" fmla="*/ 35817 w 154573"/>
                        <a:gd name="connsiteY2" fmla="*/ 154379 h 155931"/>
                        <a:gd name="connsiteX3" fmla="*/ 154570 w 154573"/>
                        <a:gd name="connsiteY3" fmla="*/ 106878 h 155931"/>
                        <a:gd name="connsiteX4" fmla="*/ 142694 w 154573"/>
                        <a:gd name="connsiteY4" fmla="*/ 47501 h 155931"/>
                        <a:gd name="connsiteX5" fmla="*/ 71443 w 154573"/>
                        <a:gd name="connsiteY5" fmla="*/ 0 h 155931"/>
                        <a:gd name="connsiteX6" fmla="*/ 23941 w 154573"/>
                        <a:gd name="connsiteY6" fmla="*/ 11875 h 155931"/>
                        <a:gd name="connsiteX0" fmla="*/ 13690 w 155773"/>
                        <a:gd name="connsiteY0" fmla="*/ 57403 h 154450"/>
                        <a:gd name="connsiteX1" fmla="*/ 1391 w 155773"/>
                        <a:gd name="connsiteY1" fmla="*/ 142504 h 154450"/>
                        <a:gd name="connsiteX2" fmla="*/ 37017 w 155773"/>
                        <a:gd name="connsiteY2" fmla="*/ 154379 h 154450"/>
                        <a:gd name="connsiteX3" fmla="*/ 155770 w 155773"/>
                        <a:gd name="connsiteY3" fmla="*/ 106878 h 154450"/>
                        <a:gd name="connsiteX4" fmla="*/ 143894 w 155773"/>
                        <a:gd name="connsiteY4" fmla="*/ 47501 h 154450"/>
                        <a:gd name="connsiteX5" fmla="*/ 72643 w 155773"/>
                        <a:gd name="connsiteY5" fmla="*/ 0 h 154450"/>
                        <a:gd name="connsiteX6" fmla="*/ 13690 w 155773"/>
                        <a:gd name="connsiteY6" fmla="*/ 57403 h 154450"/>
                        <a:gd name="connsiteX0" fmla="*/ 13690 w 155770"/>
                        <a:gd name="connsiteY0" fmla="*/ 71971 h 169018"/>
                        <a:gd name="connsiteX1" fmla="*/ 1391 w 155770"/>
                        <a:gd name="connsiteY1" fmla="*/ 157072 h 169018"/>
                        <a:gd name="connsiteX2" fmla="*/ 37017 w 155770"/>
                        <a:gd name="connsiteY2" fmla="*/ 168947 h 169018"/>
                        <a:gd name="connsiteX3" fmla="*/ 155770 w 155770"/>
                        <a:gd name="connsiteY3" fmla="*/ 121446 h 169018"/>
                        <a:gd name="connsiteX4" fmla="*/ 143894 w 155770"/>
                        <a:gd name="connsiteY4" fmla="*/ 62069 h 169018"/>
                        <a:gd name="connsiteX5" fmla="*/ 89819 w 155770"/>
                        <a:gd name="connsiteY5" fmla="*/ 0 h 169018"/>
                        <a:gd name="connsiteX6" fmla="*/ 13690 w 155770"/>
                        <a:gd name="connsiteY6" fmla="*/ 71971 h 169018"/>
                        <a:gd name="connsiteX0" fmla="*/ 22122 w 154659"/>
                        <a:gd name="connsiteY0" fmla="*/ 31907 h 170133"/>
                        <a:gd name="connsiteX1" fmla="*/ 280 w 154659"/>
                        <a:gd name="connsiteY1" fmla="*/ 157072 h 170133"/>
                        <a:gd name="connsiteX2" fmla="*/ 35906 w 154659"/>
                        <a:gd name="connsiteY2" fmla="*/ 168947 h 170133"/>
                        <a:gd name="connsiteX3" fmla="*/ 154659 w 154659"/>
                        <a:gd name="connsiteY3" fmla="*/ 121446 h 170133"/>
                        <a:gd name="connsiteX4" fmla="*/ 142783 w 154659"/>
                        <a:gd name="connsiteY4" fmla="*/ 62069 h 170133"/>
                        <a:gd name="connsiteX5" fmla="*/ 88708 w 154659"/>
                        <a:gd name="connsiteY5" fmla="*/ 0 h 170133"/>
                        <a:gd name="connsiteX6" fmla="*/ 22122 w 154659"/>
                        <a:gd name="connsiteY6" fmla="*/ 31907 h 170133"/>
                        <a:gd name="connsiteX0" fmla="*/ 72178 w 204715"/>
                        <a:gd name="connsiteY0" fmla="*/ 31907 h 239671"/>
                        <a:gd name="connsiteX1" fmla="*/ 61 w 204715"/>
                        <a:gd name="connsiteY1" fmla="*/ 236087 h 239671"/>
                        <a:gd name="connsiteX2" fmla="*/ 85962 w 204715"/>
                        <a:gd name="connsiteY2" fmla="*/ 168947 h 239671"/>
                        <a:gd name="connsiteX3" fmla="*/ 204715 w 204715"/>
                        <a:gd name="connsiteY3" fmla="*/ 121446 h 239671"/>
                        <a:gd name="connsiteX4" fmla="*/ 192839 w 204715"/>
                        <a:gd name="connsiteY4" fmla="*/ 62069 h 239671"/>
                        <a:gd name="connsiteX5" fmla="*/ 138764 w 204715"/>
                        <a:gd name="connsiteY5" fmla="*/ 0 h 239671"/>
                        <a:gd name="connsiteX6" fmla="*/ 72178 w 204715"/>
                        <a:gd name="connsiteY6" fmla="*/ 31907 h 239671"/>
                        <a:gd name="connsiteX0" fmla="*/ 134124 w 284806"/>
                        <a:gd name="connsiteY0" fmla="*/ 31907 h 502566"/>
                        <a:gd name="connsiteX1" fmla="*/ 62007 w 284806"/>
                        <a:gd name="connsiteY1" fmla="*/ 236087 h 502566"/>
                        <a:gd name="connsiteX2" fmla="*/ 1797 w 284806"/>
                        <a:gd name="connsiteY2" fmla="*/ 502566 h 502566"/>
                        <a:gd name="connsiteX3" fmla="*/ 266661 w 284806"/>
                        <a:gd name="connsiteY3" fmla="*/ 121446 h 502566"/>
                        <a:gd name="connsiteX4" fmla="*/ 254785 w 284806"/>
                        <a:gd name="connsiteY4" fmla="*/ 62069 h 502566"/>
                        <a:gd name="connsiteX5" fmla="*/ 200710 w 284806"/>
                        <a:gd name="connsiteY5" fmla="*/ 0 h 502566"/>
                        <a:gd name="connsiteX6" fmla="*/ 134124 w 284806"/>
                        <a:gd name="connsiteY6" fmla="*/ 31907 h 502566"/>
                        <a:gd name="connsiteX0" fmla="*/ 133275 w 279806"/>
                        <a:gd name="connsiteY0" fmla="*/ 31907 h 537561"/>
                        <a:gd name="connsiteX1" fmla="*/ 61158 w 279806"/>
                        <a:gd name="connsiteY1" fmla="*/ 236087 h 537561"/>
                        <a:gd name="connsiteX2" fmla="*/ 948 w 279806"/>
                        <a:gd name="connsiteY2" fmla="*/ 502566 h 537561"/>
                        <a:gd name="connsiteX3" fmla="*/ 57124 w 279806"/>
                        <a:gd name="connsiteY3" fmla="*/ 494000 h 537561"/>
                        <a:gd name="connsiteX4" fmla="*/ 265812 w 279806"/>
                        <a:gd name="connsiteY4" fmla="*/ 121446 h 537561"/>
                        <a:gd name="connsiteX5" fmla="*/ 253936 w 279806"/>
                        <a:gd name="connsiteY5" fmla="*/ 62069 h 537561"/>
                        <a:gd name="connsiteX6" fmla="*/ 199861 w 279806"/>
                        <a:gd name="connsiteY6" fmla="*/ 0 h 537561"/>
                        <a:gd name="connsiteX7" fmla="*/ 133275 w 279806"/>
                        <a:gd name="connsiteY7" fmla="*/ 31907 h 537561"/>
                        <a:gd name="connsiteX0" fmla="*/ 132894 w 273634"/>
                        <a:gd name="connsiteY0" fmla="*/ 31907 h 526509"/>
                        <a:gd name="connsiteX1" fmla="*/ 60777 w 273634"/>
                        <a:gd name="connsiteY1" fmla="*/ 236087 h 526509"/>
                        <a:gd name="connsiteX2" fmla="*/ 567 w 273634"/>
                        <a:gd name="connsiteY2" fmla="*/ 502566 h 526509"/>
                        <a:gd name="connsiteX3" fmla="*/ 56743 w 273634"/>
                        <a:gd name="connsiteY3" fmla="*/ 494000 h 526509"/>
                        <a:gd name="connsiteX4" fmla="*/ 135298 w 273634"/>
                        <a:gd name="connsiteY4" fmla="*/ 300852 h 526509"/>
                        <a:gd name="connsiteX5" fmla="*/ 265431 w 273634"/>
                        <a:gd name="connsiteY5" fmla="*/ 121446 h 526509"/>
                        <a:gd name="connsiteX6" fmla="*/ 253555 w 273634"/>
                        <a:gd name="connsiteY6" fmla="*/ 62069 h 526509"/>
                        <a:gd name="connsiteX7" fmla="*/ 199480 w 273634"/>
                        <a:gd name="connsiteY7" fmla="*/ 0 h 526509"/>
                        <a:gd name="connsiteX8" fmla="*/ 132894 w 273634"/>
                        <a:gd name="connsiteY8" fmla="*/ 31907 h 526509"/>
                        <a:gd name="connsiteX0" fmla="*/ 132894 w 272135"/>
                        <a:gd name="connsiteY0" fmla="*/ 31907 h 526509"/>
                        <a:gd name="connsiteX1" fmla="*/ 60777 w 272135"/>
                        <a:gd name="connsiteY1" fmla="*/ 236087 h 526509"/>
                        <a:gd name="connsiteX2" fmla="*/ 567 w 272135"/>
                        <a:gd name="connsiteY2" fmla="*/ 502566 h 526509"/>
                        <a:gd name="connsiteX3" fmla="*/ 56743 w 272135"/>
                        <a:gd name="connsiteY3" fmla="*/ 494000 h 526509"/>
                        <a:gd name="connsiteX4" fmla="*/ 135298 w 272135"/>
                        <a:gd name="connsiteY4" fmla="*/ 300852 h 526509"/>
                        <a:gd name="connsiteX5" fmla="*/ 155722 w 272135"/>
                        <a:gd name="connsiteY5" fmla="*/ 204278 h 526509"/>
                        <a:gd name="connsiteX6" fmla="*/ 265431 w 272135"/>
                        <a:gd name="connsiteY6" fmla="*/ 121446 h 526509"/>
                        <a:gd name="connsiteX7" fmla="*/ 253555 w 272135"/>
                        <a:gd name="connsiteY7" fmla="*/ 62069 h 526509"/>
                        <a:gd name="connsiteX8" fmla="*/ 199480 w 272135"/>
                        <a:gd name="connsiteY8" fmla="*/ 0 h 526509"/>
                        <a:gd name="connsiteX9" fmla="*/ 132894 w 272135"/>
                        <a:gd name="connsiteY9" fmla="*/ 31907 h 526509"/>
                        <a:gd name="connsiteX0" fmla="*/ 132894 w 268027"/>
                        <a:gd name="connsiteY0" fmla="*/ 31907 h 526509"/>
                        <a:gd name="connsiteX1" fmla="*/ 60777 w 268027"/>
                        <a:gd name="connsiteY1" fmla="*/ 236087 h 526509"/>
                        <a:gd name="connsiteX2" fmla="*/ 567 w 268027"/>
                        <a:gd name="connsiteY2" fmla="*/ 502566 h 526509"/>
                        <a:gd name="connsiteX3" fmla="*/ 56743 w 268027"/>
                        <a:gd name="connsiteY3" fmla="*/ 494000 h 526509"/>
                        <a:gd name="connsiteX4" fmla="*/ 135298 w 268027"/>
                        <a:gd name="connsiteY4" fmla="*/ 300852 h 526509"/>
                        <a:gd name="connsiteX5" fmla="*/ 155722 w 268027"/>
                        <a:gd name="connsiteY5" fmla="*/ 204278 h 526509"/>
                        <a:gd name="connsiteX6" fmla="*/ 212281 w 268027"/>
                        <a:gd name="connsiteY6" fmla="*/ 147211 h 526509"/>
                        <a:gd name="connsiteX7" fmla="*/ 265431 w 268027"/>
                        <a:gd name="connsiteY7" fmla="*/ 121446 h 526509"/>
                        <a:gd name="connsiteX8" fmla="*/ 253555 w 268027"/>
                        <a:gd name="connsiteY8" fmla="*/ 62069 h 526509"/>
                        <a:gd name="connsiteX9" fmla="*/ 199480 w 268027"/>
                        <a:gd name="connsiteY9" fmla="*/ 0 h 526509"/>
                        <a:gd name="connsiteX10" fmla="*/ 132894 w 268027"/>
                        <a:gd name="connsiteY10" fmla="*/ 31907 h 526509"/>
                        <a:gd name="connsiteX0" fmla="*/ 132894 w 319648"/>
                        <a:gd name="connsiteY0" fmla="*/ 31907 h 526509"/>
                        <a:gd name="connsiteX1" fmla="*/ 60777 w 319648"/>
                        <a:gd name="connsiteY1" fmla="*/ 236087 h 526509"/>
                        <a:gd name="connsiteX2" fmla="*/ 567 w 319648"/>
                        <a:gd name="connsiteY2" fmla="*/ 502566 h 526509"/>
                        <a:gd name="connsiteX3" fmla="*/ 56743 w 319648"/>
                        <a:gd name="connsiteY3" fmla="*/ 494000 h 526509"/>
                        <a:gd name="connsiteX4" fmla="*/ 135298 w 319648"/>
                        <a:gd name="connsiteY4" fmla="*/ 300852 h 526509"/>
                        <a:gd name="connsiteX5" fmla="*/ 155722 w 319648"/>
                        <a:gd name="connsiteY5" fmla="*/ 204278 h 526509"/>
                        <a:gd name="connsiteX6" fmla="*/ 212281 w 319648"/>
                        <a:gd name="connsiteY6" fmla="*/ 147211 h 526509"/>
                        <a:gd name="connsiteX7" fmla="*/ 265431 w 319648"/>
                        <a:gd name="connsiteY7" fmla="*/ 121446 h 526509"/>
                        <a:gd name="connsiteX8" fmla="*/ 317970 w 319648"/>
                        <a:gd name="connsiteY8" fmla="*/ 35731 h 526509"/>
                        <a:gd name="connsiteX9" fmla="*/ 199480 w 319648"/>
                        <a:gd name="connsiteY9" fmla="*/ 0 h 526509"/>
                        <a:gd name="connsiteX10" fmla="*/ 132894 w 319648"/>
                        <a:gd name="connsiteY10" fmla="*/ 31907 h 526509"/>
                        <a:gd name="connsiteX0" fmla="*/ 132894 w 347624"/>
                        <a:gd name="connsiteY0" fmla="*/ 150485 h 645087"/>
                        <a:gd name="connsiteX1" fmla="*/ 60777 w 347624"/>
                        <a:gd name="connsiteY1" fmla="*/ 354665 h 645087"/>
                        <a:gd name="connsiteX2" fmla="*/ 567 w 347624"/>
                        <a:gd name="connsiteY2" fmla="*/ 621144 h 645087"/>
                        <a:gd name="connsiteX3" fmla="*/ 56743 w 347624"/>
                        <a:gd name="connsiteY3" fmla="*/ 612578 h 645087"/>
                        <a:gd name="connsiteX4" fmla="*/ 135298 w 347624"/>
                        <a:gd name="connsiteY4" fmla="*/ 419430 h 645087"/>
                        <a:gd name="connsiteX5" fmla="*/ 155722 w 347624"/>
                        <a:gd name="connsiteY5" fmla="*/ 322856 h 645087"/>
                        <a:gd name="connsiteX6" fmla="*/ 212281 w 347624"/>
                        <a:gd name="connsiteY6" fmla="*/ 265789 h 645087"/>
                        <a:gd name="connsiteX7" fmla="*/ 265431 w 347624"/>
                        <a:gd name="connsiteY7" fmla="*/ 240024 h 645087"/>
                        <a:gd name="connsiteX8" fmla="*/ 317970 w 347624"/>
                        <a:gd name="connsiteY8" fmla="*/ 154309 h 645087"/>
                        <a:gd name="connsiteX9" fmla="*/ 341111 w 347624"/>
                        <a:gd name="connsiteY9" fmla="*/ 211 h 645087"/>
                        <a:gd name="connsiteX10" fmla="*/ 199480 w 347624"/>
                        <a:gd name="connsiteY10" fmla="*/ 118578 h 645087"/>
                        <a:gd name="connsiteX11" fmla="*/ 132894 w 347624"/>
                        <a:gd name="connsiteY11" fmla="*/ 150485 h 645087"/>
                        <a:gd name="connsiteX0" fmla="*/ 132894 w 347624"/>
                        <a:gd name="connsiteY0" fmla="*/ 150649 h 645251"/>
                        <a:gd name="connsiteX1" fmla="*/ 60777 w 347624"/>
                        <a:gd name="connsiteY1" fmla="*/ 354829 h 645251"/>
                        <a:gd name="connsiteX2" fmla="*/ 567 w 347624"/>
                        <a:gd name="connsiteY2" fmla="*/ 621308 h 645251"/>
                        <a:gd name="connsiteX3" fmla="*/ 56743 w 347624"/>
                        <a:gd name="connsiteY3" fmla="*/ 612742 h 645251"/>
                        <a:gd name="connsiteX4" fmla="*/ 135298 w 347624"/>
                        <a:gd name="connsiteY4" fmla="*/ 419594 h 645251"/>
                        <a:gd name="connsiteX5" fmla="*/ 155722 w 347624"/>
                        <a:gd name="connsiteY5" fmla="*/ 323020 h 645251"/>
                        <a:gd name="connsiteX6" fmla="*/ 212281 w 347624"/>
                        <a:gd name="connsiteY6" fmla="*/ 265953 h 645251"/>
                        <a:gd name="connsiteX7" fmla="*/ 265431 w 347624"/>
                        <a:gd name="connsiteY7" fmla="*/ 240188 h 645251"/>
                        <a:gd name="connsiteX8" fmla="*/ 317970 w 347624"/>
                        <a:gd name="connsiteY8" fmla="*/ 154473 h 645251"/>
                        <a:gd name="connsiteX9" fmla="*/ 341111 w 347624"/>
                        <a:gd name="connsiteY9" fmla="*/ 375 h 645251"/>
                        <a:gd name="connsiteX10" fmla="*/ 185340 w 347624"/>
                        <a:gd name="connsiteY10" fmla="*/ 63870 h 645251"/>
                        <a:gd name="connsiteX11" fmla="*/ 132894 w 347624"/>
                        <a:gd name="connsiteY11" fmla="*/ 150649 h 645251"/>
                        <a:gd name="connsiteX0" fmla="*/ 131323 w 347624"/>
                        <a:gd name="connsiteY0" fmla="*/ 65049 h 645251"/>
                        <a:gd name="connsiteX1" fmla="*/ 60777 w 347624"/>
                        <a:gd name="connsiteY1" fmla="*/ 354829 h 645251"/>
                        <a:gd name="connsiteX2" fmla="*/ 567 w 347624"/>
                        <a:gd name="connsiteY2" fmla="*/ 621308 h 645251"/>
                        <a:gd name="connsiteX3" fmla="*/ 56743 w 347624"/>
                        <a:gd name="connsiteY3" fmla="*/ 612742 h 645251"/>
                        <a:gd name="connsiteX4" fmla="*/ 135298 w 347624"/>
                        <a:gd name="connsiteY4" fmla="*/ 419594 h 645251"/>
                        <a:gd name="connsiteX5" fmla="*/ 155722 w 347624"/>
                        <a:gd name="connsiteY5" fmla="*/ 323020 h 645251"/>
                        <a:gd name="connsiteX6" fmla="*/ 212281 w 347624"/>
                        <a:gd name="connsiteY6" fmla="*/ 265953 h 645251"/>
                        <a:gd name="connsiteX7" fmla="*/ 265431 w 347624"/>
                        <a:gd name="connsiteY7" fmla="*/ 240188 h 645251"/>
                        <a:gd name="connsiteX8" fmla="*/ 317970 w 347624"/>
                        <a:gd name="connsiteY8" fmla="*/ 154473 h 645251"/>
                        <a:gd name="connsiteX9" fmla="*/ 341111 w 347624"/>
                        <a:gd name="connsiteY9" fmla="*/ 375 h 645251"/>
                        <a:gd name="connsiteX10" fmla="*/ 185340 w 347624"/>
                        <a:gd name="connsiteY10" fmla="*/ 63870 h 645251"/>
                        <a:gd name="connsiteX11" fmla="*/ 131323 w 347624"/>
                        <a:gd name="connsiteY11" fmla="*/ 65049 h 645251"/>
                        <a:gd name="connsiteX0" fmla="*/ 131323 w 347624"/>
                        <a:gd name="connsiteY0" fmla="*/ 65272 h 645474"/>
                        <a:gd name="connsiteX1" fmla="*/ 60777 w 347624"/>
                        <a:gd name="connsiteY1" fmla="*/ 355052 h 645474"/>
                        <a:gd name="connsiteX2" fmla="*/ 567 w 347624"/>
                        <a:gd name="connsiteY2" fmla="*/ 621531 h 645474"/>
                        <a:gd name="connsiteX3" fmla="*/ 56743 w 347624"/>
                        <a:gd name="connsiteY3" fmla="*/ 612965 h 645474"/>
                        <a:gd name="connsiteX4" fmla="*/ 135298 w 347624"/>
                        <a:gd name="connsiteY4" fmla="*/ 419817 h 645474"/>
                        <a:gd name="connsiteX5" fmla="*/ 155722 w 347624"/>
                        <a:gd name="connsiteY5" fmla="*/ 323243 h 645474"/>
                        <a:gd name="connsiteX6" fmla="*/ 212281 w 347624"/>
                        <a:gd name="connsiteY6" fmla="*/ 266176 h 645474"/>
                        <a:gd name="connsiteX7" fmla="*/ 265431 w 347624"/>
                        <a:gd name="connsiteY7" fmla="*/ 240411 h 645474"/>
                        <a:gd name="connsiteX8" fmla="*/ 317970 w 347624"/>
                        <a:gd name="connsiteY8" fmla="*/ 154696 h 645474"/>
                        <a:gd name="connsiteX9" fmla="*/ 341111 w 347624"/>
                        <a:gd name="connsiteY9" fmla="*/ 598 h 645474"/>
                        <a:gd name="connsiteX10" fmla="*/ 185340 w 347624"/>
                        <a:gd name="connsiteY10" fmla="*/ 37754 h 645474"/>
                        <a:gd name="connsiteX11" fmla="*/ 131323 w 347624"/>
                        <a:gd name="connsiteY11" fmla="*/ 65272 h 645474"/>
                        <a:gd name="connsiteX0" fmla="*/ 131323 w 415405"/>
                        <a:gd name="connsiteY0" fmla="*/ 65272 h 645474"/>
                        <a:gd name="connsiteX1" fmla="*/ 60777 w 415405"/>
                        <a:gd name="connsiteY1" fmla="*/ 355052 h 645474"/>
                        <a:gd name="connsiteX2" fmla="*/ 567 w 415405"/>
                        <a:gd name="connsiteY2" fmla="*/ 621531 h 645474"/>
                        <a:gd name="connsiteX3" fmla="*/ 56743 w 415405"/>
                        <a:gd name="connsiteY3" fmla="*/ 612965 h 645474"/>
                        <a:gd name="connsiteX4" fmla="*/ 135298 w 415405"/>
                        <a:gd name="connsiteY4" fmla="*/ 419817 h 645474"/>
                        <a:gd name="connsiteX5" fmla="*/ 155722 w 415405"/>
                        <a:gd name="connsiteY5" fmla="*/ 323243 h 645474"/>
                        <a:gd name="connsiteX6" fmla="*/ 212281 w 415405"/>
                        <a:gd name="connsiteY6" fmla="*/ 266176 h 645474"/>
                        <a:gd name="connsiteX7" fmla="*/ 265431 w 415405"/>
                        <a:gd name="connsiteY7" fmla="*/ 240411 h 645474"/>
                        <a:gd name="connsiteX8" fmla="*/ 413807 w 415405"/>
                        <a:gd name="connsiteY8" fmla="*/ 159086 h 645474"/>
                        <a:gd name="connsiteX9" fmla="*/ 341111 w 415405"/>
                        <a:gd name="connsiteY9" fmla="*/ 598 h 645474"/>
                        <a:gd name="connsiteX10" fmla="*/ 185340 w 415405"/>
                        <a:gd name="connsiteY10" fmla="*/ 37754 h 645474"/>
                        <a:gd name="connsiteX11" fmla="*/ 131323 w 415405"/>
                        <a:gd name="connsiteY11" fmla="*/ 65272 h 645474"/>
                        <a:gd name="connsiteX0" fmla="*/ 131323 w 415405"/>
                        <a:gd name="connsiteY0" fmla="*/ 65272 h 645474"/>
                        <a:gd name="connsiteX1" fmla="*/ 86594 w 415405"/>
                        <a:gd name="connsiteY1" fmla="*/ 165213 h 645474"/>
                        <a:gd name="connsiteX2" fmla="*/ 60777 w 415405"/>
                        <a:gd name="connsiteY2" fmla="*/ 355052 h 645474"/>
                        <a:gd name="connsiteX3" fmla="*/ 567 w 415405"/>
                        <a:gd name="connsiteY3" fmla="*/ 621531 h 645474"/>
                        <a:gd name="connsiteX4" fmla="*/ 56743 w 415405"/>
                        <a:gd name="connsiteY4" fmla="*/ 612965 h 645474"/>
                        <a:gd name="connsiteX5" fmla="*/ 135298 w 415405"/>
                        <a:gd name="connsiteY5" fmla="*/ 419817 h 645474"/>
                        <a:gd name="connsiteX6" fmla="*/ 155722 w 415405"/>
                        <a:gd name="connsiteY6" fmla="*/ 323243 h 645474"/>
                        <a:gd name="connsiteX7" fmla="*/ 212281 w 415405"/>
                        <a:gd name="connsiteY7" fmla="*/ 266176 h 645474"/>
                        <a:gd name="connsiteX8" fmla="*/ 265431 w 415405"/>
                        <a:gd name="connsiteY8" fmla="*/ 240411 h 645474"/>
                        <a:gd name="connsiteX9" fmla="*/ 413807 w 415405"/>
                        <a:gd name="connsiteY9" fmla="*/ 159086 h 645474"/>
                        <a:gd name="connsiteX10" fmla="*/ 341111 w 415405"/>
                        <a:gd name="connsiteY10" fmla="*/ 598 h 645474"/>
                        <a:gd name="connsiteX11" fmla="*/ 185340 w 415405"/>
                        <a:gd name="connsiteY11" fmla="*/ 37754 h 645474"/>
                        <a:gd name="connsiteX12" fmla="*/ 131323 w 415405"/>
                        <a:gd name="connsiteY12" fmla="*/ 65272 h 645474"/>
                        <a:gd name="connsiteX0" fmla="*/ 131323 w 415538"/>
                        <a:gd name="connsiteY0" fmla="*/ 67515 h 647717"/>
                        <a:gd name="connsiteX1" fmla="*/ 86594 w 415538"/>
                        <a:gd name="connsiteY1" fmla="*/ 167456 h 647717"/>
                        <a:gd name="connsiteX2" fmla="*/ 60777 w 415538"/>
                        <a:gd name="connsiteY2" fmla="*/ 357295 h 647717"/>
                        <a:gd name="connsiteX3" fmla="*/ 567 w 415538"/>
                        <a:gd name="connsiteY3" fmla="*/ 623774 h 647717"/>
                        <a:gd name="connsiteX4" fmla="*/ 56743 w 415538"/>
                        <a:gd name="connsiteY4" fmla="*/ 615208 h 647717"/>
                        <a:gd name="connsiteX5" fmla="*/ 135298 w 415538"/>
                        <a:gd name="connsiteY5" fmla="*/ 422060 h 647717"/>
                        <a:gd name="connsiteX6" fmla="*/ 155722 w 415538"/>
                        <a:gd name="connsiteY6" fmla="*/ 325486 h 647717"/>
                        <a:gd name="connsiteX7" fmla="*/ 212281 w 415538"/>
                        <a:gd name="connsiteY7" fmla="*/ 268419 h 647717"/>
                        <a:gd name="connsiteX8" fmla="*/ 265431 w 415538"/>
                        <a:gd name="connsiteY8" fmla="*/ 242654 h 647717"/>
                        <a:gd name="connsiteX9" fmla="*/ 413807 w 415538"/>
                        <a:gd name="connsiteY9" fmla="*/ 161329 h 647717"/>
                        <a:gd name="connsiteX10" fmla="*/ 341111 w 415538"/>
                        <a:gd name="connsiteY10" fmla="*/ 2841 h 647717"/>
                        <a:gd name="connsiteX11" fmla="*/ 267269 w 415538"/>
                        <a:gd name="connsiteY11" fmla="*/ 119169 h 647717"/>
                        <a:gd name="connsiteX12" fmla="*/ 185340 w 415538"/>
                        <a:gd name="connsiteY12" fmla="*/ 39997 h 647717"/>
                        <a:gd name="connsiteX13" fmla="*/ 131323 w 415538"/>
                        <a:gd name="connsiteY13" fmla="*/ 67515 h 647717"/>
                        <a:gd name="connsiteX0" fmla="*/ 131323 w 417269"/>
                        <a:gd name="connsiteY0" fmla="*/ 64920 h 645122"/>
                        <a:gd name="connsiteX1" fmla="*/ 86594 w 417269"/>
                        <a:gd name="connsiteY1" fmla="*/ 164861 h 645122"/>
                        <a:gd name="connsiteX2" fmla="*/ 60777 w 417269"/>
                        <a:gd name="connsiteY2" fmla="*/ 354700 h 645122"/>
                        <a:gd name="connsiteX3" fmla="*/ 567 w 417269"/>
                        <a:gd name="connsiteY3" fmla="*/ 621179 h 645122"/>
                        <a:gd name="connsiteX4" fmla="*/ 56743 w 417269"/>
                        <a:gd name="connsiteY4" fmla="*/ 612613 h 645122"/>
                        <a:gd name="connsiteX5" fmla="*/ 135298 w 417269"/>
                        <a:gd name="connsiteY5" fmla="*/ 419465 h 645122"/>
                        <a:gd name="connsiteX6" fmla="*/ 155722 w 417269"/>
                        <a:gd name="connsiteY6" fmla="*/ 322891 h 645122"/>
                        <a:gd name="connsiteX7" fmla="*/ 212281 w 417269"/>
                        <a:gd name="connsiteY7" fmla="*/ 265824 h 645122"/>
                        <a:gd name="connsiteX8" fmla="*/ 265431 w 417269"/>
                        <a:gd name="connsiteY8" fmla="*/ 240059 h 645122"/>
                        <a:gd name="connsiteX9" fmla="*/ 413807 w 417269"/>
                        <a:gd name="connsiteY9" fmla="*/ 158734 h 645122"/>
                        <a:gd name="connsiteX10" fmla="*/ 367819 w 417269"/>
                        <a:gd name="connsiteY10" fmla="*/ 134133 h 645122"/>
                        <a:gd name="connsiteX11" fmla="*/ 341111 w 417269"/>
                        <a:gd name="connsiteY11" fmla="*/ 246 h 645122"/>
                        <a:gd name="connsiteX12" fmla="*/ 267269 w 417269"/>
                        <a:gd name="connsiteY12" fmla="*/ 116574 h 645122"/>
                        <a:gd name="connsiteX13" fmla="*/ 185340 w 417269"/>
                        <a:gd name="connsiteY13" fmla="*/ 37402 h 645122"/>
                        <a:gd name="connsiteX14" fmla="*/ 131323 w 417269"/>
                        <a:gd name="connsiteY14" fmla="*/ 64920 h 645122"/>
                        <a:gd name="connsiteX0" fmla="*/ 131323 w 418757"/>
                        <a:gd name="connsiteY0" fmla="*/ 64920 h 645122"/>
                        <a:gd name="connsiteX1" fmla="*/ 86594 w 418757"/>
                        <a:gd name="connsiteY1" fmla="*/ 164861 h 645122"/>
                        <a:gd name="connsiteX2" fmla="*/ 60777 w 418757"/>
                        <a:gd name="connsiteY2" fmla="*/ 354700 h 645122"/>
                        <a:gd name="connsiteX3" fmla="*/ 567 w 418757"/>
                        <a:gd name="connsiteY3" fmla="*/ 621179 h 645122"/>
                        <a:gd name="connsiteX4" fmla="*/ 56743 w 418757"/>
                        <a:gd name="connsiteY4" fmla="*/ 612613 h 645122"/>
                        <a:gd name="connsiteX5" fmla="*/ 135298 w 418757"/>
                        <a:gd name="connsiteY5" fmla="*/ 419465 h 645122"/>
                        <a:gd name="connsiteX6" fmla="*/ 155722 w 418757"/>
                        <a:gd name="connsiteY6" fmla="*/ 322891 h 645122"/>
                        <a:gd name="connsiteX7" fmla="*/ 212281 w 418757"/>
                        <a:gd name="connsiteY7" fmla="*/ 265824 h 645122"/>
                        <a:gd name="connsiteX8" fmla="*/ 265431 w 418757"/>
                        <a:gd name="connsiteY8" fmla="*/ 240059 h 645122"/>
                        <a:gd name="connsiteX9" fmla="*/ 415378 w 418757"/>
                        <a:gd name="connsiteY9" fmla="*/ 182878 h 645122"/>
                        <a:gd name="connsiteX10" fmla="*/ 367819 w 418757"/>
                        <a:gd name="connsiteY10" fmla="*/ 134133 h 645122"/>
                        <a:gd name="connsiteX11" fmla="*/ 341111 w 418757"/>
                        <a:gd name="connsiteY11" fmla="*/ 246 h 645122"/>
                        <a:gd name="connsiteX12" fmla="*/ 267269 w 418757"/>
                        <a:gd name="connsiteY12" fmla="*/ 116574 h 645122"/>
                        <a:gd name="connsiteX13" fmla="*/ 185340 w 418757"/>
                        <a:gd name="connsiteY13" fmla="*/ 37402 h 645122"/>
                        <a:gd name="connsiteX14" fmla="*/ 131323 w 418757"/>
                        <a:gd name="connsiteY14" fmla="*/ 64920 h 645122"/>
                        <a:gd name="connsiteX0" fmla="*/ 131209 w 418643"/>
                        <a:gd name="connsiteY0" fmla="*/ 64920 h 641858"/>
                        <a:gd name="connsiteX1" fmla="*/ 86480 w 418643"/>
                        <a:gd name="connsiteY1" fmla="*/ 164861 h 641858"/>
                        <a:gd name="connsiteX2" fmla="*/ 60663 w 418643"/>
                        <a:gd name="connsiteY2" fmla="*/ 354700 h 641858"/>
                        <a:gd name="connsiteX3" fmla="*/ 453 w 418643"/>
                        <a:gd name="connsiteY3" fmla="*/ 621179 h 641858"/>
                        <a:gd name="connsiteX4" fmla="*/ 56629 w 418643"/>
                        <a:gd name="connsiteY4" fmla="*/ 612613 h 641858"/>
                        <a:gd name="connsiteX5" fmla="*/ 119472 w 418643"/>
                        <a:gd name="connsiteY5" fmla="*/ 529209 h 641858"/>
                        <a:gd name="connsiteX6" fmla="*/ 135184 w 418643"/>
                        <a:gd name="connsiteY6" fmla="*/ 419465 h 641858"/>
                        <a:gd name="connsiteX7" fmla="*/ 155608 w 418643"/>
                        <a:gd name="connsiteY7" fmla="*/ 322891 h 641858"/>
                        <a:gd name="connsiteX8" fmla="*/ 212167 w 418643"/>
                        <a:gd name="connsiteY8" fmla="*/ 265824 h 641858"/>
                        <a:gd name="connsiteX9" fmla="*/ 265317 w 418643"/>
                        <a:gd name="connsiteY9" fmla="*/ 240059 h 641858"/>
                        <a:gd name="connsiteX10" fmla="*/ 415264 w 418643"/>
                        <a:gd name="connsiteY10" fmla="*/ 182878 h 641858"/>
                        <a:gd name="connsiteX11" fmla="*/ 367705 w 418643"/>
                        <a:gd name="connsiteY11" fmla="*/ 134133 h 641858"/>
                        <a:gd name="connsiteX12" fmla="*/ 340997 w 418643"/>
                        <a:gd name="connsiteY12" fmla="*/ 246 h 641858"/>
                        <a:gd name="connsiteX13" fmla="*/ 267155 w 418643"/>
                        <a:gd name="connsiteY13" fmla="*/ 116574 h 641858"/>
                        <a:gd name="connsiteX14" fmla="*/ 185226 w 418643"/>
                        <a:gd name="connsiteY14" fmla="*/ 37402 h 641858"/>
                        <a:gd name="connsiteX15" fmla="*/ 131209 w 418643"/>
                        <a:gd name="connsiteY15" fmla="*/ 64920 h 641858"/>
                        <a:gd name="connsiteX0" fmla="*/ 131209 w 418723"/>
                        <a:gd name="connsiteY0" fmla="*/ 64920 h 641858"/>
                        <a:gd name="connsiteX1" fmla="*/ 86480 w 418723"/>
                        <a:gd name="connsiteY1" fmla="*/ 164861 h 641858"/>
                        <a:gd name="connsiteX2" fmla="*/ 60663 w 418723"/>
                        <a:gd name="connsiteY2" fmla="*/ 354700 h 641858"/>
                        <a:gd name="connsiteX3" fmla="*/ 453 w 418723"/>
                        <a:gd name="connsiteY3" fmla="*/ 621179 h 641858"/>
                        <a:gd name="connsiteX4" fmla="*/ 56629 w 418723"/>
                        <a:gd name="connsiteY4" fmla="*/ 612613 h 641858"/>
                        <a:gd name="connsiteX5" fmla="*/ 119472 w 418723"/>
                        <a:gd name="connsiteY5" fmla="*/ 529209 h 641858"/>
                        <a:gd name="connsiteX6" fmla="*/ 135184 w 418723"/>
                        <a:gd name="connsiteY6" fmla="*/ 419465 h 641858"/>
                        <a:gd name="connsiteX7" fmla="*/ 155608 w 418723"/>
                        <a:gd name="connsiteY7" fmla="*/ 322891 h 641858"/>
                        <a:gd name="connsiteX8" fmla="*/ 212167 w 418723"/>
                        <a:gd name="connsiteY8" fmla="*/ 265824 h 641858"/>
                        <a:gd name="connsiteX9" fmla="*/ 263753 w 418723"/>
                        <a:gd name="connsiteY9" fmla="*/ 255868 h 641858"/>
                        <a:gd name="connsiteX10" fmla="*/ 415264 w 418723"/>
                        <a:gd name="connsiteY10" fmla="*/ 182878 h 641858"/>
                        <a:gd name="connsiteX11" fmla="*/ 367705 w 418723"/>
                        <a:gd name="connsiteY11" fmla="*/ 134133 h 641858"/>
                        <a:gd name="connsiteX12" fmla="*/ 340997 w 418723"/>
                        <a:gd name="connsiteY12" fmla="*/ 246 h 641858"/>
                        <a:gd name="connsiteX13" fmla="*/ 267155 w 418723"/>
                        <a:gd name="connsiteY13" fmla="*/ 116574 h 641858"/>
                        <a:gd name="connsiteX14" fmla="*/ 185226 w 418723"/>
                        <a:gd name="connsiteY14" fmla="*/ 37402 h 641858"/>
                        <a:gd name="connsiteX15" fmla="*/ 131209 w 418723"/>
                        <a:gd name="connsiteY15" fmla="*/ 64920 h 641858"/>
                        <a:gd name="connsiteX0" fmla="*/ 131209 w 418723"/>
                        <a:gd name="connsiteY0" fmla="*/ 64920 h 641858"/>
                        <a:gd name="connsiteX1" fmla="*/ 86480 w 418723"/>
                        <a:gd name="connsiteY1" fmla="*/ 164861 h 641858"/>
                        <a:gd name="connsiteX2" fmla="*/ 60663 w 418723"/>
                        <a:gd name="connsiteY2" fmla="*/ 354700 h 641858"/>
                        <a:gd name="connsiteX3" fmla="*/ 453 w 418723"/>
                        <a:gd name="connsiteY3" fmla="*/ 621179 h 641858"/>
                        <a:gd name="connsiteX4" fmla="*/ 56629 w 418723"/>
                        <a:gd name="connsiteY4" fmla="*/ 612613 h 641858"/>
                        <a:gd name="connsiteX5" fmla="*/ 119472 w 418723"/>
                        <a:gd name="connsiteY5" fmla="*/ 529209 h 641858"/>
                        <a:gd name="connsiteX6" fmla="*/ 135184 w 418723"/>
                        <a:gd name="connsiteY6" fmla="*/ 419465 h 641858"/>
                        <a:gd name="connsiteX7" fmla="*/ 155608 w 418723"/>
                        <a:gd name="connsiteY7" fmla="*/ 322891 h 641858"/>
                        <a:gd name="connsiteX8" fmla="*/ 212167 w 418723"/>
                        <a:gd name="connsiteY8" fmla="*/ 265824 h 641858"/>
                        <a:gd name="connsiteX9" fmla="*/ 263753 w 418723"/>
                        <a:gd name="connsiteY9" fmla="*/ 255868 h 641858"/>
                        <a:gd name="connsiteX10" fmla="*/ 415264 w 418723"/>
                        <a:gd name="connsiteY10" fmla="*/ 182878 h 641858"/>
                        <a:gd name="connsiteX11" fmla="*/ 367705 w 418723"/>
                        <a:gd name="connsiteY11" fmla="*/ 134133 h 641858"/>
                        <a:gd name="connsiteX12" fmla="*/ 340997 w 418723"/>
                        <a:gd name="connsiteY12" fmla="*/ 246 h 641858"/>
                        <a:gd name="connsiteX13" fmla="*/ 267155 w 418723"/>
                        <a:gd name="connsiteY13" fmla="*/ 116574 h 641858"/>
                        <a:gd name="connsiteX14" fmla="*/ 185226 w 418723"/>
                        <a:gd name="connsiteY14" fmla="*/ 37402 h 641858"/>
                        <a:gd name="connsiteX15" fmla="*/ 131209 w 418723"/>
                        <a:gd name="connsiteY15" fmla="*/ 64920 h 641858"/>
                        <a:gd name="connsiteX0" fmla="*/ 131209 w 418723"/>
                        <a:gd name="connsiteY0" fmla="*/ 64920 h 641858"/>
                        <a:gd name="connsiteX1" fmla="*/ 86480 w 418723"/>
                        <a:gd name="connsiteY1" fmla="*/ 164861 h 641858"/>
                        <a:gd name="connsiteX2" fmla="*/ 60663 w 418723"/>
                        <a:gd name="connsiteY2" fmla="*/ 354700 h 641858"/>
                        <a:gd name="connsiteX3" fmla="*/ 453 w 418723"/>
                        <a:gd name="connsiteY3" fmla="*/ 621179 h 641858"/>
                        <a:gd name="connsiteX4" fmla="*/ 56629 w 418723"/>
                        <a:gd name="connsiteY4" fmla="*/ 612613 h 641858"/>
                        <a:gd name="connsiteX5" fmla="*/ 119472 w 418723"/>
                        <a:gd name="connsiteY5" fmla="*/ 529209 h 641858"/>
                        <a:gd name="connsiteX6" fmla="*/ 135184 w 418723"/>
                        <a:gd name="connsiteY6" fmla="*/ 419465 h 641858"/>
                        <a:gd name="connsiteX7" fmla="*/ 155608 w 418723"/>
                        <a:gd name="connsiteY7" fmla="*/ 322891 h 641858"/>
                        <a:gd name="connsiteX8" fmla="*/ 213731 w 418723"/>
                        <a:gd name="connsiteY8" fmla="*/ 271753 h 641858"/>
                        <a:gd name="connsiteX9" fmla="*/ 263753 w 418723"/>
                        <a:gd name="connsiteY9" fmla="*/ 255868 h 641858"/>
                        <a:gd name="connsiteX10" fmla="*/ 415264 w 418723"/>
                        <a:gd name="connsiteY10" fmla="*/ 182878 h 641858"/>
                        <a:gd name="connsiteX11" fmla="*/ 367705 w 418723"/>
                        <a:gd name="connsiteY11" fmla="*/ 134133 h 641858"/>
                        <a:gd name="connsiteX12" fmla="*/ 340997 w 418723"/>
                        <a:gd name="connsiteY12" fmla="*/ 246 h 641858"/>
                        <a:gd name="connsiteX13" fmla="*/ 267155 w 418723"/>
                        <a:gd name="connsiteY13" fmla="*/ 116574 h 641858"/>
                        <a:gd name="connsiteX14" fmla="*/ 185226 w 418723"/>
                        <a:gd name="connsiteY14" fmla="*/ 37402 h 641858"/>
                        <a:gd name="connsiteX15" fmla="*/ 131209 w 418723"/>
                        <a:gd name="connsiteY15" fmla="*/ 64920 h 641858"/>
                        <a:gd name="connsiteX0" fmla="*/ 131209 w 418723"/>
                        <a:gd name="connsiteY0" fmla="*/ 64920 h 641858"/>
                        <a:gd name="connsiteX1" fmla="*/ 86480 w 418723"/>
                        <a:gd name="connsiteY1" fmla="*/ 164861 h 641858"/>
                        <a:gd name="connsiteX2" fmla="*/ 60663 w 418723"/>
                        <a:gd name="connsiteY2" fmla="*/ 354700 h 641858"/>
                        <a:gd name="connsiteX3" fmla="*/ 453 w 418723"/>
                        <a:gd name="connsiteY3" fmla="*/ 621179 h 641858"/>
                        <a:gd name="connsiteX4" fmla="*/ 56629 w 418723"/>
                        <a:gd name="connsiteY4" fmla="*/ 612613 h 641858"/>
                        <a:gd name="connsiteX5" fmla="*/ 119472 w 418723"/>
                        <a:gd name="connsiteY5" fmla="*/ 529209 h 641858"/>
                        <a:gd name="connsiteX6" fmla="*/ 135184 w 418723"/>
                        <a:gd name="connsiteY6" fmla="*/ 419465 h 641858"/>
                        <a:gd name="connsiteX7" fmla="*/ 152480 w 418723"/>
                        <a:gd name="connsiteY7" fmla="*/ 330796 h 641858"/>
                        <a:gd name="connsiteX8" fmla="*/ 213731 w 418723"/>
                        <a:gd name="connsiteY8" fmla="*/ 271753 h 641858"/>
                        <a:gd name="connsiteX9" fmla="*/ 263753 w 418723"/>
                        <a:gd name="connsiteY9" fmla="*/ 255868 h 641858"/>
                        <a:gd name="connsiteX10" fmla="*/ 415264 w 418723"/>
                        <a:gd name="connsiteY10" fmla="*/ 182878 h 641858"/>
                        <a:gd name="connsiteX11" fmla="*/ 367705 w 418723"/>
                        <a:gd name="connsiteY11" fmla="*/ 134133 h 641858"/>
                        <a:gd name="connsiteX12" fmla="*/ 340997 w 418723"/>
                        <a:gd name="connsiteY12" fmla="*/ 246 h 641858"/>
                        <a:gd name="connsiteX13" fmla="*/ 267155 w 418723"/>
                        <a:gd name="connsiteY13" fmla="*/ 116574 h 641858"/>
                        <a:gd name="connsiteX14" fmla="*/ 185226 w 418723"/>
                        <a:gd name="connsiteY14" fmla="*/ 37402 h 641858"/>
                        <a:gd name="connsiteX15" fmla="*/ 131209 w 418723"/>
                        <a:gd name="connsiteY15" fmla="*/ 64920 h 641858"/>
                        <a:gd name="connsiteX0" fmla="*/ 131209 w 418723"/>
                        <a:gd name="connsiteY0" fmla="*/ 64920 h 641858"/>
                        <a:gd name="connsiteX1" fmla="*/ 86480 w 418723"/>
                        <a:gd name="connsiteY1" fmla="*/ 164861 h 641858"/>
                        <a:gd name="connsiteX2" fmla="*/ 60663 w 418723"/>
                        <a:gd name="connsiteY2" fmla="*/ 354700 h 641858"/>
                        <a:gd name="connsiteX3" fmla="*/ 453 w 418723"/>
                        <a:gd name="connsiteY3" fmla="*/ 621179 h 641858"/>
                        <a:gd name="connsiteX4" fmla="*/ 56629 w 418723"/>
                        <a:gd name="connsiteY4" fmla="*/ 612613 h 641858"/>
                        <a:gd name="connsiteX5" fmla="*/ 119472 w 418723"/>
                        <a:gd name="connsiteY5" fmla="*/ 529209 h 641858"/>
                        <a:gd name="connsiteX6" fmla="*/ 116413 w 418723"/>
                        <a:gd name="connsiteY6" fmla="*/ 409585 h 641858"/>
                        <a:gd name="connsiteX7" fmla="*/ 152480 w 418723"/>
                        <a:gd name="connsiteY7" fmla="*/ 330796 h 641858"/>
                        <a:gd name="connsiteX8" fmla="*/ 213731 w 418723"/>
                        <a:gd name="connsiteY8" fmla="*/ 271753 h 641858"/>
                        <a:gd name="connsiteX9" fmla="*/ 263753 w 418723"/>
                        <a:gd name="connsiteY9" fmla="*/ 255868 h 641858"/>
                        <a:gd name="connsiteX10" fmla="*/ 415264 w 418723"/>
                        <a:gd name="connsiteY10" fmla="*/ 182878 h 641858"/>
                        <a:gd name="connsiteX11" fmla="*/ 367705 w 418723"/>
                        <a:gd name="connsiteY11" fmla="*/ 134133 h 641858"/>
                        <a:gd name="connsiteX12" fmla="*/ 340997 w 418723"/>
                        <a:gd name="connsiteY12" fmla="*/ 246 h 641858"/>
                        <a:gd name="connsiteX13" fmla="*/ 267155 w 418723"/>
                        <a:gd name="connsiteY13" fmla="*/ 116574 h 641858"/>
                        <a:gd name="connsiteX14" fmla="*/ 185226 w 418723"/>
                        <a:gd name="connsiteY14" fmla="*/ 37402 h 641858"/>
                        <a:gd name="connsiteX15" fmla="*/ 131209 w 418723"/>
                        <a:gd name="connsiteY15" fmla="*/ 64920 h 641858"/>
                        <a:gd name="connsiteX0" fmla="*/ 131216 w 418730"/>
                        <a:gd name="connsiteY0" fmla="*/ 64920 h 640842"/>
                        <a:gd name="connsiteX1" fmla="*/ 86487 w 418730"/>
                        <a:gd name="connsiteY1" fmla="*/ 164861 h 640842"/>
                        <a:gd name="connsiteX2" fmla="*/ 60670 w 418730"/>
                        <a:gd name="connsiteY2" fmla="*/ 354700 h 640842"/>
                        <a:gd name="connsiteX3" fmla="*/ 460 w 418730"/>
                        <a:gd name="connsiteY3" fmla="*/ 621179 h 640842"/>
                        <a:gd name="connsiteX4" fmla="*/ 56636 w 418730"/>
                        <a:gd name="connsiteY4" fmla="*/ 612613 h 640842"/>
                        <a:gd name="connsiteX5" fmla="*/ 110094 w 418730"/>
                        <a:gd name="connsiteY5" fmla="*/ 525257 h 640842"/>
                        <a:gd name="connsiteX6" fmla="*/ 116420 w 418730"/>
                        <a:gd name="connsiteY6" fmla="*/ 409585 h 640842"/>
                        <a:gd name="connsiteX7" fmla="*/ 152487 w 418730"/>
                        <a:gd name="connsiteY7" fmla="*/ 330796 h 640842"/>
                        <a:gd name="connsiteX8" fmla="*/ 213738 w 418730"/>
                        <a:gd name="connsiteY8" fmla="*/ 271753 h 640842"/>
                        <a:gd name="connsiteX9" fmla="*/ 263760 w 418730"/>
                        <a:gd name="connsiteY9" fmla="*/ 255868 h 640842"/>
                        <a:gd name="connsiteX10" fmla="*/ 415271 w 418730"/>
                        <a:gd name="connsiteY10" fmla="*/ 182878 h 640842"/>
                        <a:gd name="connsiteX11" fmla="*/ 367712 w 418730"/>
                        <a:gd name="connsiteY11" fmla="*/ 134133 h 640842"/>
                        <a:gd name="connsiteX12" fmla="*/ 341004 w 418730"/>
                        <a:gd name="connsiteY12" fmla="*/ 246 h 640842"/>
                        <a:gd name="connsiteX13" fmla="*/ 267162 w 418730"/>
                        <a:gd name="connsiteY13" fmla="*/ 116574 h 640842"/>
                        <a:gd name="connsiteX14" fmla="*/ 185233 w 418730"/>
                        <a:gd name="connsiteY14" fmla="*/ 37402 h 640842"/>
                        <a:gd name="connsiteX15" fmla="*/ 131216 w 418730"/>
                        <a:gd name="connsiteY15" fmla="*/ 64920 h 640842"/>
                        <a:gd name="connsiteX0" fmla="*/ 130872 w 418386"/>
                        <a:gd name="connsiteY0" fmla="*/ 64920 h 640299"/>
                        <a:gd name="connsiteX1" fmla="*/ 86143 w 418386"/>
                        <a:gd name="connsiteY1" fmla="*/ 164861 h 640299"/>
                        <a:gd name="connsiteX2" fmla="*/ 60326 w 418386"/>
                        <a:gd name="connsiteY2" fmla="*/ 354700 h 640299"/>
                        <a:gd name="connsiteX3" fmla="*/ 116 w 418386"/>
                        <a:gd name="connsiteY3" fmla="*/ 621179 h 640299"/>
                        <a:gd name="connsiteX4" fmla="*/ 46907 w 418386"/>
                        <a:gd name="connsiteY4" fmla="*/ 608661 h 640299"/>
                        <a:gd name="connsiteX5" fmla="*/ 109750 w 418386"/>
                        <a:gd name="connsiteY5" fmla="*/ 525257 h 640299"/>
                        <a:gd name="connsiteX6" fmla="*/ 116076 w 418386"/>
                        <a:gd name="connsiteY6" fmla="*/ 409585 h 640299"/>
                        <a:gd name="connsiteX7" fmla="*/ 152143 w 418386"/>
                        <a:gd name="connsiteY7" fmla="*/ 330796 h 640299"/>
                        <a:gd name="connsiteX8" fmla="*/ 213394 w 418386"/>
                        <a:gd name="connsiteY8" fmla="*/ 271753 h 640299"/>
                        <a:gd name="connsiteX9" fmla="*/ 263416 w 418386"/>
                        <a:gd name="connsiteY9" fmla="*/ 255868 h 640299"/>
                        <a:gd name="connsiteX10" fmla="*/ 414927 w 418386"/>
                        <a:gd name="connsiteY10" fmla="*/ 182878 h 640299"/>
                        <a:gd name="connsiteX11" fmla="*/ 367368 w 418386"/>
                        <a:gd name="connsiteY11" fmla="*/ 134133 h 640299"/>
                        <a:gd name="connsiteX12" fmla="*/ 340660 w 418386"/>
                        <a:gd name="connsiteY12" fmla="*/ 246 h 640299"/>
                        <a:gd name="connsiteX13" fmla="*/ 266818 w 418386"/>
                        <a:gd name="connsiteY13" fmla="*/ 116574 h 640299"/>
                        <a:gd name="connsiteX14" fmla="*/ 184889 w 418386"/>
                        <a:gd name="connsiteY14" fmla="*/ 37402 h 640299"/>
                        <a:gd name="connsiteX15" fmla="*/ 130872 w 418386"/>
                        <a:gd name="connsiteY15" fmla="*/ 64920 h 640299"/>
                        <a:gd name="connsiteX0" fmla="*/ 130857 w 418371"/>
                        <a:gd name="connsiteY0" fmla="*/ 64920 h 638938"/>
                        <a:gd name="connsiteX1" fmla="*/ 86128 w 418371"/>
                        <a:gd name="connsiteY1" fmla="*/ 164861 h 638938"/>
                        <a:gd name="connsiteX2" fmla="*/ 60311 w 418371"/>
                        <a:gd name="connsiteY2" fmla="*/ 354700 h 638938"/>
                        <a:gd name="connsiteX3" fmla="*/ 101 w 418371"/>
                        <a:gd name="connsiteY3" fmla="*/ 621179 h 638938"/>
                        <a:gd name="connsiteX4" fmla="*/ 46892 w 418371"/>
                        <a:gd name="connsiteY4" fmla="*/ 608661 h 638938"/>
                        <a:gd name="connsiteX5" fmla="*/ 79444 w 418371"/>
                        <a:gd name="connsiteY5" fmla="*/ 564442 h 638938"/>
                        <a:gd name="connsiteX6" fmla="*/ 109735 w 418371"/>
                        <a:gd name="connsiteY6" fmla="*/ 525257 h 638938"/>
                        <a:gd name="connsiteX7" fmla="*/ 116061 w 418371"/>
                        <a:gd name="connsiteY7" fmla="*/ 409585 h 638938"/>
                        <a:gd name="connsiteX8" fmla="*/ 152128 w 418371"/>
                        <a:gd name="connsiteY8" fmla="*/ 330796 h 638938"/>
                        <a:gd name="connsiteX9" fmla="*/ 213379 w 418371"/>
                        <a:gd name="connsiteY9" fmla="*/ 271753 h 638938"/>
                        <a:gd name="connsiteX10" fmla="*/ 263401 w 418371"/>
                        <a:gd name="connsiteY10" fmla="*/ 255868 h 638938"/>
                        <a:gd name="connsiteX11" fmla="*/ 414912 w 418371"/>
                        <a:gd name="connsiteY11" fmla="*/ 182878 h 638938"/>
                        <a:gd name="connsiteX12" fmla="*/ 367353 w 418371"/>
                        <a:gd name="connsiteY12" fmla="*/ 134133 h 638938"/>
                        <a:gd name="connsiteX13" fmla="*/ 340645 w 418371"/>
                        <a:gd name="connsiteY13" fmla="*/ 246 h 638938"/>
                        <a:gd name="connsiteX14" fmla="*/ 266803 w 418371"/>
                        <a:gd name="connsiteY14" fmla="*/ 116574 h 638938"/>
                        <a:gd name="connsiteX15" fmla="*/ 184874 w 418371"/>
                        <a:gd name="connsiteY15" fmla="*/ 37402 h 638938"/>
                        <a:gd name="connsiteX16" fmla="*/ 130857 w 418371"/>
                        <a:gd name="connsiteY16" fmla="*/ 64920 h 638938"/>
                        <a:gd name="connsiteX0" fmla="*/ 130857 w 418371"/>
                        <a:gd name="connsiteY0" fmla="*/ 64920 h 638938"/>
                        <a:gd name="connsiteX1" fmla="*/ 86128 w 418371"/>
                        <a:gd name="connsiteY1" fmla="*/ 164861 h 638938"/>
                        <a:gd name="connsiteX2" fmla="*/ 60311 w 418371"/>
                        <a:gd name="connsiteY2" fmla="*/ 354700 h 638938"/>
                        <a:gd name="connsiteX3" fmla="*/ 101 w 418371"/>
                        <a:gd name="connsiteY3" fmla="*/ 621179 h 638938"/>
                        <a:gd name="connsiteX4" fmla="*/ 46892 w 418371"/>
                        <a:gd name="connsiteY4" fmla="*/ 608661 h 638938"/>
                        <a:gd name="connsiteX5" fmla="*/ 79444 w 418371"/>
                        <a:gd name="connsiteY5" fmla="*/ 564442 h 638938"/>
                        <a:gd name="connsiteX6" fmla="*/ 109735 w 418371"/>
                        <a:gd name="connsiteY6" fmla="*/ 525257 h 638938"/>
                        <a:gd name="connsiteX7" fmla="*/ 121677 w 418371"/>
                        <a:gd name="connsiteY7" fmla="*/ 485398 h 638938"/>
                        <a:gd name="connsiteX8" fmla="*/ 116061 w 418371"/>
                        <a:gd name="connsiteY8" fmla="*/ 409585 h 638938"/>
                        <a:gd name="connsiteX9" fmla="*/ 152128 w 418371"/>
                        <a:gd name="connsiteY9" fmla="*/ 330796 h 638938"/>
                        <a:gd name="connsiteX10" fmla="*/ 213379 w 418371"/>
                        <a:gd name="connsiteY10" fmla="*/ 271753 h 638938"/>
                        <a:gd name="connsiteX11" fmla="*/ 263401 w 418371"/>
                        <a:gd name="connsiteY11" fmla="*/ 255868 h 638938"/>
                        <a:gd name="connsiteX12" fmla="*/ 414912 w 418371"/>
                        <a:gd name="connsiteY12" fmla="*/ 182878 h 638938"/>
                        <a:gd name="connsiteX13" fmla="*/ 367353 w 418371"/>
                        <a:gd name="connsiteY13" fmla="*/ 134133 h 638938"/>
                        <a:gd name="connsiteX14" fmla="*/ 340645 w 418371"/>
                        <a:gd name="connsiteY14" fmla="*/ 246 h 638938"/>
                        <a:gd name="connsiteX15" fmla="*/ 266803 w 418371"/>
                        <a:gd name="connsiteY15" fmla="*/ 116574 h 638938"/>
                        <a:gd name="connsiteX16" fmla="*/ 184874 w 418371"/>
                        <a:gd name="connsiteY16" fmla="*/ 37402 h 638938"/>
                        <a:gd name="connsiteX17" fmla="*/ 130857 w 418371"/>
                        <a:gd name="connsiteY17" fmla="*/ 64920 h 638938"/>
                        <a:gd name="connsiteX0" fmla="*/ 130857 w 418371"/>
                        <a:gd name="connsiteY0" fmla="*/ 64920 h 638938"/>
                        <a:gd name="connsiteX1" fmla="*/ 86128 w 418371"/>
                        <a:gd name="connsiteY1" fmla="*/ 164861 h 638938"/>
                        <a:gd name="connsiteX2" fmla="*/ 60311 w 418371"/>
                        <a:gd name="connsiteY2" fmla="*/ 354700 h 638938"/>
                        <a:gd name="connsiteX3" fmla="*/ 101 w 418371"/>
                        <a:gd name="connsiteY3" fmla="*/ 621179 h 638938"/>
                        <a:gd name="connsiteX4" fmla="*/ 46892 w 418371"/>
                        <a:gd name="connsiteY4" fmla="*/ 608661 h 638938"/>
                        <a:gd name="connsiteX5" fmla="*/ 79444 w 418371"/>
                        <a:gd name="connsiteY5" fmla="*/ 564442 h 638938"/>
                        <a:gd name="connsiteX6" fmla="*/ 109735 w 418371"/>
                        <a:gd name="connsiteY6" fmla="*/ 531186 h 638938"/>
                        <a:gd name="connsiteX7" fmla="*/ 121677 w 418371"/>
                        <a:gd name="connsiteY7" fmla="*/ 485398 h 638938"/>
                        <a:gd name="connsiteX8" fmla="*/ 116061 w 418371"/>
                        <a:gd name="connsiteY8" fmla="*/ 409585 h 638938"/>
                        <a:gd name="connsiteX9" fmla="*/ 152128 w 418371"/>
                        <a:gd name="connsiteY9" fmla="*/ 330796 h 638938"/>
                        <a:gd name="connsiteX10" fmla="*/ 213379 w 418371"/>
                        <a:gd name="connsiteY10" fmla="*/ 271753 h 638938"/>
                        <a:gd name="connsiteX11" fmla="*/ 263401 w 418371"/>
                        <a:gd name="connsiteY11" fmla="*/ 255868 h 638938"/>
                        <a:gd name="connsiteX12" fmla="*/ 414912 w 418371"/>
                        <a:gd name="connsiteY12" fmla="*/ 182878 h 638938"/>
                        <a:gd name="connsiteX13" fmla="*/ 367353 w 418371"/>
                        <a:gd name="connsiteY13" fmla="*/ 134133 h 638938"/>
                        <a:gd name="connsiteX14" fmla="*/ 340645 w 418371"/>
                        <a:gd name="connsiteY14" fmla="*/ 246 h 638938"/>
                        <a:gd name="connsiteX15" fmla="*/ 266803 w 418371"/>
                        <a:gd name="connsiteY15" fmla="*/ 116574 h 638938"/>
                        <a:gd name="connsiteX16" fmla="*/ 184874 w 418371"/>
                        <a:gd name="connsiteY16" fmla="*/ 37402 h 638938"/>
                        <a:gd name="connsiteX17" fmla="*/ 130857 w 418371"/>
                        <a:gd name="connsiteY17" fmla="*/ 64920 h 638938"/>
                        <a:gd name="connsiteX0" fmla="*/ 130857 w 418371"/>
                        <a:gd name="connsiteY0" fmla="*/ 64920 h 638938"/>
                        <a:gd name="connsiteX1" fmla="*/ 86128 w 418371"/>
                        <a:gd name="connsiteY1" fmla="*/ 164861 h 638938"/>
                        <a:gd name="connsiteX2" fmla="*/ 60311 w 418371"/>
                        <a:gd name="connsiteY2" fmla="*/ 354700 h 638938"/>
                        <a:gd name="connsiteX3" fmla="*/ 101 w 418371"/>
                        <a:gd name="connsiteY3" fmla="*/ 621179 h 638938"/>
                        <a:gd name="connsiteX4" fmla="*/ 46892 w 418371"/>
                        <a:gd name="connsiteY4" fmla="*/ 608661 h 638938"/>
                        <a:gd name="connsiteX5" fmla="*/ 79444 w 418371"/>
                        <a:gd name="connsiteY5" fmla="*/ 564442 h 638938"/>
                        <a:gd name="connsiteX6" fmla="*/ 109735 w 418371"/>
                        <a:gd name="connsiteY6" fmla="*/ 531186 h 638938"/>
                        <a:gd name="connsiteX7" fmla="*/ 121677 w 418371"/>
                        <a:gd name="connsiteY7" fmla="*/ 485398 h 638938"/>
                        <a:gd name="connsiteX8" fmla="*/ 111368 w 418371"/>
                        <a:gd name="connsiteY8" fmla="*/ 407609 h 638938"/>
                        <a:gd name="connsiteX9" fmla="*/ 152128 w 418371"/>
                        <a:gd name="connsiteY9" fmla="*/ 330796 h 638938"/>
                        <a:gd name="connsiteX10" fmla="*/ 213379 w 418371"/>
                        <a:gd name="connsiteY10" fmla="*/ 271753 h 638938"/>
                        <a:gd name="connsiteX11" fmla="*/ 263401 w 418371"/>
                        <a:gd name="connsiteY11" fmla="*/ 255868 h 638938"/>
                        <a:gd name="connsiteX12" fmla="*/ 414912 w 418371"/>
                        <a:gd name="connsiteY12" fmla="*/ 182878 h 638938"/>
                        <a:gd name="connsiteX13" fmla="*/ 367353 w 418371"/>
                        <a:gd name="connsiteY13" fmla="*/ 134133 h 638938"/>
                        <a:gd name="connsiteX14" fmla="*/ 340645 w 418371"/>
                        <a:gd name="connsiteY14" fmla="*/ 246 h 638938"/>
                        <a:gd name="connsiteX15" fmla="*/ 266803 w 418371"/>
                        <a:gd name="connsiteY15" fmla="*/ 116574 h 638938"/>
                        <a:gd name="connsiteX16" fmla="*/ 184874 w 418371"/>
                        <a:gd name="connsiteY16" fmla="*/ 37402 h 638938"/>
                        <a:gd name="connsiteX17" fmla="*/ 130857 w 418371"/>
                        <a:gd name="connsiteY17" fmla="*/ 64920 h 638938"/>
                        <a:gd name="connsiteX0" fmla="*/ 130857 w 415908"/>
                        <a:gd name="connsiteY0" fmla="*/ 64920 h 638938"/>
                        <a:gd name="connsiteX1" fmla="*/ 86128 w 415908"/>
                        <a:gd name="connsiteY1" fmla="*/ 164861 h 638938"/>
                        <a:gd name="connsiteX2" fmla="*/ 60311 w 415908"/>
                        <a:gd name="connsiteY2" fmla="*/ 354700 h 638938"/>
                        <a:gd name="connsiteX3" fmla="*/ 101 w 415908"/>
                        <a:gd name="connsiteY3" fmla="*/ 621179 h 638938"/>
                        <a:gd name="connsiteX4" fmla="*/ 46892 w 415908"/>
                        <a:gd name="connsiteY4" fmla="*/ 608661 h 638938"/>
                        <a:gd name="connsiteX5" fmla="*/ 79444 w 415908"/>
                        <a:gd name="connsiteY5" fmla="*/ 564442 h 638938"/>
                        <a:gd name="connsiteX6" fmla="*/ 109735 w 415908"/>
                        <a:gd name="connsiteY6" fmla="*/ 531186 h 638938"/>
                        <a:gd name="connsiteX7" fmla="*/ 121677 w 415908"/>
                        <a:gd name="connsiteY7" fmla="*/ 485398 h 638938"/>
                        <a:gd name="connsiteX8" fmla="*/ 111368 w 415908"/>
                        <a:gd name="connsiteY8" fmla="*/ 407609 h 638938"/>
                        <a:gd name="connsiteX9" fmla="*/ 152128 w 415908"/>
                        <a:gd name="connsiteY9" fmla="*/ 330796 h 638938"/>
                        <a:gd name="connsiteX10" fmla="*/ 213379 w 415908"/>
                        <a:gd name="connsiteY10" fmla="*/ 271753 h 638938"/>
                        <a:gd name="connsiteX11" fmla="*/ 263401 w 415908"/>
                        <a:gd name="connsiteY11" fmla="*/ 255868 h 638938"/>
                        <a:gd name="connsiteX12" fmla="*/ 318768 w 415908"/>
                        <a:gd name="connsiteY12" fmla="*/ 226529 h 638938"/>
                        <a:gd name="connsiteX13" fmla="*/ 414912 w 415908"/>
                        <a:gd name="connsiteY13" fmla="*/ 182878 h 638938"/>
                        <a:gd name="connsiteX14" fmla="*/ 367353 w 415908"/>
                        <a:gd name="connsiteY14" fmla="*/ 134133 h 638938"/>
                        <a:gd name="connsiteX15" fmla="*/ 340645 w 415908"/>
                        <a:gd name="connsiteY15" fmla="*/ 246 h 638938"/>
                        <a:gd name="connsiteX16" fmla="*/ 266803 w 415908"/>
                        <a:gd name="connsiteY16" fmla="*/ 116574 h 638938"/>
                        <a:gd name="connsiteX17" fmla="*/ 184874 w 415908"/>
                        <a:gd name="connsiteY17" fmla="*/ 37402 h 638938"/>
                        <a:gd name="connsiteX18" fmla="*/ 130857 w 415908"/>
                        <a:gd name="connsiteY18" fmla="*/ 64920 h 638938"/>
                        <a:gd name="connsiteX0" fmla="*/ 130857 w 415854"/>
                        <a:gd name="connsiteY0" fmla="*/ 64920 h 638938"/>
                        <a:gd name="connsiteX1" fmla="*/ 86128 w 415854"/>
                        <a:gd name="connsiteY1" fmla="*/ 164861 h 638938"/>
                        <a:gd name="connsiteX2" fmla="*/ 60311 w 415854"/>
                        <a:gd name="connsiteY2" fmla="*/ 354700 h 638938"/>
                        <a:gd name="connsiteX3" fmla="*/ 101 w 415854"/>
                        <a:gd name="connsiteY3" fmla="*/ 621179 h 638938"/>
                        <a:gd name="connsiteX4" fmla="*/ 46892 w 415854"/>
                        <a:gd name="connsiteY4" fmla="*/ 608661 h 638938"/>
                        <a:gd name="connsiteX5" fmla="*/ 79444 w 415854"/>
                        <a:gd name="connsiteY5" fmla="*/ 564442 h 638938"/>
                        <a:gd name="connsiteX6" fmla="*/ 109735 w 415854"/>
                        <a:gd name="connsiteY6" fmla="*/ 531186 h 638938"/>
                        <a:gd name="connsiteX7" fmla="*/ 121677 w 415854"/>
                        <a:gd name="connsiteY7" fmla="*/ 485398 h 638938"/>
                        <a:gd name="connsiteX8" fmla="*/ 111368 w 415854"/>
                        <a:gd name="connsiteY8" fmla="*/ 407609 h 638938"/>
                        <a:gd name="connsiteX9" fmla="*/ 152128 w 415854"/>
                        <a:gd name="connsiteY9" fmla="*/ 330796 h 638938"/>
                        <a:gd name="connsiteX10" fmla="*/ 213379 w 415854"/>
                        <a:gd name="connsiteY10" fmla="*/ 271753 h 638938"/>
                        <a:gd name="connsiteX11" fmla="*/ 263401 w 415854"/>
                        <a:gd name="connsiteY11" fmla="*/ 255868 h 638938"/>
                        <a:gd name="connsiteX12" fmla="*/ 320332 w 415854"/>
                        <a:gd name="connsiteY12" fmla="*/ 216649 h 638938"/>
                        <a:gd name="connsiteX13" fmla="*/ 414912 w 415854"/>
                        <a:gd name="connsiteY13" fmla="*/ 182878 h 638938"/>
                        <a:gd name="connsiteX14" fmla="*/ 367353 w 415854"/>
                        <a:gd name="connsiteY14" fmla="*/ 134133 h 638938"/>
                        <a:gd name="connsiteX15" fmla="*/ 340645 w 415854"/>
                        <a:gd name="connsiteY15" fmla="*/ 246 h 638938"/>
                        <a:gd name="connsiteX16" fmla="*/ 266803 w 415854"/>
                        <a:gd name="connsiteY16" fmla="*/ 116574 h 638938"/>
                        <a:gd name="connsiteX17" fmla="*/ 184874 w 415854"/>
                        <a:gd name="connsiteY17" fmla="*/ 37402 h 638938"/>
                        <a:gd name="connsiteX18" fmla="*/ 130857 w 415854"/>
                        <a:gd name="connsiteY18" fmla="*/ 64920 h 638938"/>
                        <a:gd name="connsiteX0" fmla="*/ 130857 w 414927"/>
                        <a:gd name="connsiteY0" fmla="*/ 64920 h 638938"/>
                        <a:gd name="connsiteX1" fmla="*/ 86128 w 414927"/>
                        <a:gd name="connsiteY1" fmla="*/ 164861 h 638938"/>
                        <a:gd name="connsiteX2" fmla="*/ 60311 w 414927"/>
                        <a:gd name="connsiteY2" fmla="*/ 354700 h 638938"/>
                        <a:gd name="connsiteX3" fmla="*/ 101 w 414927"/>
                        <a:gd name="connsiteY3" fmla="*/ 621179 h 638938"/>
                        <a:gd name="connsiteX4" fmla="*/ 46892 w 414927"/>
                        <a:gd name="connsiteY4" fmla="*/ 608661 h 638938"/>
                        <a:gd name="connsiteX5" fmla="*/ 79444 w 414927"/>
                        <a:gd name="connsiteY5" fmla="*/ 564442 h 638938"/>
                        <a:gd name="connsiteX6" fmla="*/ 109735 w 414927"/>
                        <a:gd name="connsiteY6" fmla="*/ 531186 h 638938"/>
                        <a:gd name="connsiteX7" fmla="*/ 121677 w 414927"/>
                        <a:gd name="connsiteY7" fmla="*/ 485398 h 638938"/>
                        <a:gd name="connsiteX8" fmla="*/ 111368 w 414927"/>
                        <a:gd name="connsiteY8" fmla="*/ 407609 h 638938"/>
                        <a:gd name="connsiteX9" fmla="*/ 152128 w 414927"/>
                        <a:gd name="connsiteY9" fmla="*/ 330796 h 638938"/>
                        <a:gd name="connsiteX10" fmla="*/ 213379 w 414927"/>
                        <a:gd name="connsiteY10" fmla="*/ 271753 h 638938"/>
                        <a:gd name="connsiteX11" fmla="*/ 263401 w 414927"/>
                        <a:gd name="connsiteY11" fmla="*/ 255868 h 638938"/>
                        <a:gd name="connsiteX12" fmla="*/ 320332 w 414927"/>
                        <a:gd name="connsiteY12" fmla="*/ 216649 h 638938"/>
                        <a:gd name="connsiteX13" fmla="*/ 371951 w 414927"/>
                        <a:gd name="connsiteY13" fmla="*/ 214673 h 638938"/>
                        <a:gd name="connsiteX14" fmla="*/ 414912 w 414927"/>
                        <a:gd name="connsiteY14" fmla="*/ 182878 h 638938"/>
                        <a:gd name="connsiteX15" fmla="*/ 367353 w 414927"/>
                        <a:gd name="connsiteY15" fmla="*/ 134133 h 638938"/>
                        <a:gd name="connsiteX16" fmla="*/ 340645 w 414927"/>
                        <a:gd name="connsiteY16" fmla="*/ 246 h 638938"/>
                        <a:gd name="connsiteX17" fmla="*/ 266803 w 414927"/>
                        <a:gd name="connsiteY17" fmla="*/ 116574 h 638938"/>
                        <a:gd name="connsiteX18" fmla="*/ 184874 w 414927"/>
                        <a:gd name="connsiteY18" fmla="*/ 37402 h 638938"/>
                        <a:gd name="connsiteX19" fmla="*/ 130857 w 414927"/>
                        <a:gd name="connsiteY19" fmla="*/ 64920 h 6389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</a:cxnLst>
                      <a:rect l="l" t="t" r="r" b="b"/>
                      <a:pathLst>
                        <a:path w="414927" h="638938">
                          <a:moveTo>
                            <a:pt x="130857" y="64920"/>
                          </a:moveTo>
                          <a:cubicBezTo>
                            <a:pt x="117542" y="87261"/>
                            <a:pt x="97886" y="116564"/>
                            <a:pt x="86128" y="164861"/>
                          </a:cubicBezTo>
                          <a:cubicBezTo>
                            <a:pt x="74370" y="213158"/>
                            <a:pt x="74649" y="278647"/>
                            <a:pt x="60311" y="354700"/>
                          </a:cubicBezTo>
                          <a:cubicBezTo>
                            <a:pt x="45973" y="430753"/>
                            <a:pt x="2337" y="578852"/>
                            <a:pt x="101" y="621179"/>
                          </a:cubicBezTo>
                          <a:cubicBezTo>
                            <a:pt x="-2135" y="663506"/>
                            <a:pt x="33668" y="618117"/>
                            <a:pt x="46892" y="608661"/>
                          </a:cubicBezTo>
                          <a:cubicBezTo>
                            <a:pt x="60116" y="599205"/>
                            <a:pt x="68970" y="578343"/>
                            <a:pt x="79444" y="564442"/>
                          </a:cubicBezTo>
                          <a:cubicBezTo>
                            <a:pt x="89918" y="550541"/>
                            <a:pt x="102696" y="544360"/>
                            <a:pt x="109735" y="531186"/>
                          </a:cubicBezTo>
                          <a:cubicBezTo>
                            <a:pt x="116774" y="518012"/>
                            <a:pt x="120623" y="504676"/>
                            <a:pt x="121677" y="485398"/>
                          </a:cubicBezTo>
                          <a:cubicBezTo>
                            <a:pt x="122731" y="466120"/>
                            <a:pt x="106293" y="433376"/>
                            <a:pt x="111368" y="407609"/>
                          </a:cubicBezTo>
                          <a:cubicBezTo>
                            <a:pt x="116443" y="381842"/>
                            <a:pt x="135126" y="353438"/>
                            <a:pt x="152128" y="330796"/>
                          </a:cubicBezTo>
                          <a:cubicBezTo>
                            <a:pt x="169130" y="308154"/>
                            <a:pt x="194834" y="284241"/>
                            <a:pt x="213379" y="271753"/>
                          </a:cubicBezTo>
                          <a:cubicBezTo>
                            <a:pt x="231924" y="259265"/>
                            <a:pt x="245576" y="265052"/>
                            <a:pt x="263401" y="255868"/>
                          </a:cubicBezTo>
                          <a:cubicBezTo>
                            <a:pt x="281226" y="246684"/>
                            <a:pt x="301980" y="225491"/>
                            <a:pt x="320332" y="216649"/>
                          </a:cubicBezTo>
                          <a:cubicBezTo>
                            <a:pt x="338684" y="207807"/>
                            <a:pt x="356188" y="220301"/>
                            <a:pt x="371951" y="214673"/>
                          </a:cubicBezTo>
                          <a:cubicBezTo>
                            <a:pt x="387714" y="209045"/>
                            <a:pt x="415678" y="196301"/>
                            <a:pt x="414912" y="182878"/>
                          </a:cubicBezTo>
                          <a:cubicBezTo>
                            <a:pt x="414146" y="169455"/>
                            <a:pt x="379469" y="160548"/>
                            <a:pt x="367353" y="134133"/>
                          </a:cubicBezTo>
                          <a:cubicBezTo>
                            <a:pt x="355237" y="107718"/>
                            <a:pt x="361855" y="-5973"/>
                            <a:pt x="340645" y="246"/>
                          </a:cubicBezTo>
                          <a:cubicBezTo>
                            <a:pt x="319435" y="6465"/>
                            <a:pt x="292765" y="110381"/>
                            <a:pt x="266803" y="116574"/>
                          </a:cubicBezTo>
                          <a:cubicBezTo>
                            <a:pt x="240841" y="122767"/>
                            <a:pt x="206222" y="29184"/>
                            <a:pt x="184874" y="37402"/>
                          </a:cubicBezTo>
                          <a:cubicBezTo>
                            <a:pt x="169040" y="41360"/>
                            <a:pt x="145859" y="58491"/>
                            <a:pt x="130857" y="64920"/>
                          </a:cubicBezTo>
                          <a:close/>
                        </a:path>
                      </a:pathLst>
                    </a:custGeom>
                    <a:solidFill>
                      <a:schemeClr val="bg1">
                        <a:lumMod val="75000"/>
                        <a:alpha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sp>
                <p:nvSpPr>
                  <p:cNvPr id="328" name="Oval 243"/>
                  <p:cNvSpPr>
                    <a:spLocks noChangeAspect="1"/>
                  </p:cNvSpPr>
                  <p:nvPr/>
                </p:nvSpPr>
                <p:spPr>
                  <a:xfrm>
                    <a:off x="8618562" y="2823204"/>
                    <a:ext cx="72000" cy="72000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29" name="Oval 244"/>
                  <p:cNvSpPr>
                    <a:spLocks noChangeAspect="1"/>
                  </p:cNvSpPr>
                  <p:nvPr/>
                </p:nvSpPr>
                <p:spPr>
                  <a:xfrm>
                    <a:off x="7355172" y="2288963"/>
                    <a:ext cx="72000" cy="72000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42" name="Oval 245"/>
                  <p:cNvSpPr>
                    <a:spLocks noChangeAspect="1"/>
                  </p:cNvSpPr>
                  <p:nvPr/>
                </p:nvSpPr>
                <p:spPr>
                  <a:xfrm>
                    <a:off x="8051872" y="2376047"/>
                    <a:ext cx="72000" cy="72000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43" name="Oval 246"/>
                  <p:cNvSpPr>
                    <a:spLocks noChangeAspect="1"/>
                  </p:cNvSpPr>
                  <p:nvPr/>
                </p:nvSpPr>
                <p:spPr>
                  <a:xfrm>
                    <a:off x="7623815" y="4758366"/>
                    <a:ext cx="72000" cy="72000"/>
                  </a:xfrm>
                  <a:prstGeom prst="ellipse">
                    <a:avLst/>
                  </a:prstGeom>
                  <a:grpFill/>
                  <a:ln w="12700">
                    <a:solidFill>
                      <a:schemeClr val="bg1">
                        <a:lumMod val="65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>
                      <a:solidFill>
                        <a:prstClr val="white"/>
                      </a:solidFill>
                    </a:endParaRPr>
                  </a:p>
                </p:txBody>
              </p:sp>
            </p:grpSp>
          </p:grpSp>
          <p:grpSp>
            <p:nvGrpSpPr>
              <p:cNvPr id="312" name="Group 291"/>
              <p:cNvGrpSpPr>
                <a:grpSpLocks noChangeAspect="1"/>
              </p:cNvGrpSpPr>
              <p:nvPr/>
            </p:nvGrpSpPr>
            <p:grpSpPr>
              <a:xfrm>
                <a:off x="5805204" y="4393096"/>
                <a:ext cx="992883" cy="2302330"/>
                <a:chOff x="4646139" y="4169519"/>
                <a:chExt cx="1004537" cy="2044821"/>
              </a:xfrm>
              <a:grpFill/>
            </p:grpSpPr>
            <p:sp>
              <p:nvSpPr>
                <p:cNvPr id="313" name="Oval 43"/>
                <p:cNvSpPr/>
                <p:nvPr/>
              </p:nvSpPr>
              <p:spPr>
                <a:xfrm>
                  <a:off x="5277339" y="5205352"/>
                  <a:ext cx="120090" cy="129793"/>
                </a:xfrm>
                <a:custGeom>
                  <a:avLst/>
                  <a:gdLst>
                    <a:gd name="connsiteX0" fmla="*/ 0 w 131090"/>
                    <a:gd name="connsiteY0" fmla="*/ 61927 h 123853"/>
                    <a:gd name="connsiteX1" fmla="*/ 65545 w 131090"/>
                    <a:gd name="connsiteY1" fmla="*/ 0 h 123853"/>
                    <a:gd name="connsiteX2" fmla="*/ 131090 w 131090"/>
                    <a:gd name="connsiteY2" fmla="*/ 61927 h 123853"/>
                    <a:gd name="connsiteX3" fmla="*/ 65545 w 131090"/>
                    <a:gd name="connsiteY3" fmla="*/ 123854 h 123853"/>
                    <a:gd name="connsiteX4" fmla="*/ 0 w 131090"/>
                    <a:gd name="connsiteY4" fmla="*/ 61927 h 123853"/>
                    <a:gd name="connsiteX0" fmla="*/ 0 w 85846"/>
                    <a:gd name="connsiteY0" fmla="*/ 61931 h 123862"/>
                    <a:gd name="connsiteX1" fmla="*/ 65545 w 85846"/>
                    <a:gd name="connsiteY1" fmla="*/ 4 h 123862"/>
                    <a:gd name="connsiteX2" fmla="*/ 85846 w 85846"/>
                    <a:gd name="connsiteY2" fmla="*/ 64312 h 123862"/>
                    <a:gd name="connsiteX3" fmla="*/ 65545 w 85846"/>
                    <a:gd name="connsiteY3" fmla="*/ 123858 h 123862"/>
                    <a:gd name="connsiteX4" fmla="*/ 0 w 85846"/>
                    <a:gd name="connsiteY4" fmla="*/ 61931 h 123862"/>
                    <a:gd name="connsiteX0" fmla="*/ 0 w 69178"/>
                    <a:gd name="connsiteY0" fmla="*/ 37134 h 125753"/>
                    <a:gd name="connsiteX1" fmla="*/ 48877 w 69178"/>
                    <a:gd name="connsiteY1" fmla="*/ 1401 h 125753"/>
                    <a:gd name="connsiteX2" fmla="*/ 69178 w 69178"/>
                    <a:gd name="connsiteY2" fmla="*/ 65709 h 125753"/>
                    <a:gd name="connsiteX3" fmla="*/ 48877 w 69178"/>
                    <a:gd name="connsiteY3" fmla="*/ 125255 h 125753"/>
                    <a:gd name="connsiteX4" fmla="*/ 0 w 69178"/>
                    <a:gd name="connsiteY4" fmla="*/ 37134 h 125753"/>
                    <a:gd name="connsiteX0" fmla="*/ 5388 w 74566"/>
                    <a:gd name="connsiteY0" fmla="*/ 36471 h 129792"/>
                    <a:gd name="connsiteX1" fmla="*/ 54265 w 74566"/>
                    <a:gd name="connsiteY1" fmla="*/ 738 h 129792"/>
                    <a:gd name="connsiteX2" fmla="*/ 74566 w 74566"/>
                    <a:gd name="connsiteY2" fmla="*/ 65046 h 129792"/>
                    <a:gd name="connsiteX3" fmla="*/ 9021 w 74566"/>
                    <a:gd name="connsiteY3" fmla="*/ 129354 h 129792"/>
                    <a:gd name="connsiteX4" fmla="*/ 5388 w 74566"/>
                    <a:gd name="connsiteY4" fmla="*/ 36471 h 12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66" h="129792">
                      <a:moveTo>
                        <a:pt x="5388" y="36471"/>
                      </a:moveTo>
                      <a:cubicBezTo>
                        <a:pt x="12929" y="15035"/>
                        <a:pt x="42735" y="-4025"/>
                        <a:pt x="54265" y="738"/>
                      </a:cubicBezTo>
                      <a:cubicBezTo>
                        <a:pt x="65795" y="5501"/>
                        <a:pt x="74566" y="30845"/>
                        <a:pt x="74566" y="65046"/>
                      </a:cubicBezTo>
                      <a:cubicBezTo>
                        <a:pt x="74566" y="99247"/>
                        <a:pt x="20551" y="134117"/>
                        <a:pt x="9021" y="129354"/>
                      </a:cubicBezTo>
                      <a:cubicBezTo>
                        <a:pt x="-2509" y="124592"/>
                        <a:pt x="-2153" y="57907"/>
                        <a:pt x="5388" y="36471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dash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pt-BR" sz="900" ker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4" name="Oval 43"/>
                <p:cNvSpPr/>
                <p:nvPr/>
              </p:nvSpPr>
              <p:spPr>
                <a:xfrm>
                  <a:off x="4646139" y="4169519"/>
                  <a:ext cx="159840" cy="172754"/>
                </a:xfrm>
                <a:custGeom>
                  <a:avLst/>
                  <a:gdLst>
                    <a:gd name="connsiteX0" fmla="*/ 0 w 131090"/>
                    <a:gd name="connsiteY0" fmla="*/ 61927 h 123853"/>
                    <a:gd name="connsiteX1" fmla="*/ 65545 w 131090"/>
                    <a:gd name="connsiteY1" fmla="*/ 0 h 123853"/>
                    <a:gd name="connsiteX2" fmla="*/ 131090 w 131090"/>
                    <a:gd name="connsiteY2" fmla="*/ 61927 h 123853"/>
                    <a:gd name="connsiteX3" fmla="*/ 65545 w 131090"/>
                    <a:gd name="connsiteY3" fmla="*/ 123854 h 123853"/>
                    <a:gd name="connsiteX4" fmla="*/ 0 w 131090"/>
                    <a:gd name="connsiteY4" fmla="*/ 61927 h 123853"/>
                    <a:gd name="connsiteX0" fmla="*/ 0 w 85846"/>
                    <a:gd name="connsiteY0" fmla="*/ 61931 h 123862"/>
                    <a:gd name="connsiteX1" fmla="*/ 65545 w 85846"/>
                    <a:gd name="connsiteY1" fmla="*/ 4 h 123862"/>
                    <a:gd name="connsiteX2" fmla="*/ 85846 w 85846"/>
                    <a:gd name="connsiteY2" fmla="*/ 64312 h 123862"/>
                    <a:gd name="connsiteX3" fmla="*/ 65545 w 85846"/>
                    <a:gd name="connsiteY3" fmla="*/ 123858 h 123862"/>
                    <a:gd name="connsiteX4" fmla="*/ 0 w 85846"/>
                    <a:gd name="connsiteY4" fmla="*/ 61931 h 123862"/>
                    <a:gd name="connsiteX0" fmla="*/ 0 w 69178"/>
                    <a:gd name="connsiteY0" fmla="*/ 37134 h 125753"/>
                    <a:gd name="connsiteX1" fmla="*/ 48877 w 69178"/>
                    <a:gd name="connsiteY1" fmla="*/ 1401 h 125753"/>
                    <a:gd name="connsiteX2" fmla="*/ 69178 w 69178"/>
                    <a:gd name="connsiteY2" fmla="*/ 65709 h 125753"/>
                    <a:gd name="connsiteX3" fmla="*/ 48877 w 69178"/>
                    <a:gd name="connsiteY3" fmla="*/ 125255 h 125753"/>
                    <a:gd name="connsiteX4" fmla="*/ 0 w 69178"/>
                    <a:gd name="connsiteY4" fmla="*/ 37134 h 125753"/>
                    <a:gd name="connsiteX0" fmla="*/ 5388 w 74566"/>
                    <a:gd name="connsiteY0" fmla="*/ 36471 h 129792"/>
                    <a:gd name="connsiteX1" fmla="*/ 54265 w 74566"/>
                    <a:gd name="connsiteY1" fmla="*/ 738 h 129792"/>
                    <a:gd name="connsiteX2" fmla="*/ 74566 w 74566"/>
                    <a:gd name="connsiteY2" fmla="*/ 65046 h 129792"/>
                    <a:gd name="connsiteX3" fmla="*/ 9021 w 74566"/>
                    <a:gd name="connsiteY3" fmla="*/ 129354 h 129792"/>
                    <a:gd name="connsiteX4" fmla="*/ 5388 w 74566"/>
                    <a:gd name="connsiteY4" fmla="*/ 36471 h 12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66" h="129792">
                      <a:moveTo>
                        <a:pt x="5388" y="36471"/>
                      </a:moveTo>
                      <a:cubicBezTo>
                        <a:pt x="12929" y="15035"/>
                        <a:pt x="42735" y="-4025"/>
                        <a:pt x="54265" y="738"/>
                      </a:cubicBezTo>
                      <a:cubicBezTo>
                        <a:pt x="65795" y="5501"/>
                        <a:pt x="74566" y="30845"/>
                        <a:pt x="74566" y="65046"/>
                      </a:cubicBezTo>
                      <a:cubicBezTo>
                        <a:pt x="74566" y="99247"/>
                        <a:pt x="20551" y="134117"/>
                        <a:pt x="9021" y="129354"/>
                      </a:cubicBezTo>
                      <a:cubicBezTo>
                        <a:pt x="-2509" y="124592"/>
                        <a:pt x="-2153" y="57907"/>
                        <a:pt x="5388" y="36471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dash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pt-BR" sz="900" ker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5" name="Oval 43"/>
                <p:cNvSpPr/>
                <p:nvPr/>
              </p:nvSpPr>
              <p:spPr>
                <a:xfrm flipV="1">
                  <a:off x="5530586" y="4987634"/>
                  <a:ext cx="120090" cy="129793"/>
                </a:xfrm>
                <a:custGeom>
                  <a:avLst/>
                  <a:gdLst>
                    <a:gd name="connsiteX0" fmla="*/ 0 w 131090"/>
                    <a:gd name="connsiteY0" fmla="*/ 61927 h 123853"/>
                    <a:gd name="connsiteX1" fmla="*/ 65545 w 131090"/>
                    <a:gd name="connsiteY1" fmla="*/ 0 h 123853"/>
                    <a:gd name="connsiteX2" fmla="*/ 131090 w 131090"/>
                    <a:gd name="connsiteY2" fmla="*/ 61927 h 123853"/>
                    <a:gd name="connsiteX3" fmla="*/ 65545 w 131090"/>
                    <a:gd name="connsiteY3" fmla="*/ 123854 h 123853"/>
                    <a:gd name="connsiteX4" fmla="*/ 0 w 131090"/>
                    <a:gd name="connsiteY4" fmla="*/ 61927 h 123853"/>
                    <a:gd name="connsiteX0" fmla="*/ 0 w 85846"/>
                    <a:gd name="connsiteY0" fmla="*/ 61931 h 123862"/>
                    <a:gd name="connsiteX1" fmla="*/ 65545 w 85846"/>
                    <a:gd name="connsiteY1" fmla="*/ 4 h 123862"/>
                    <a:gd name="connsiteX2" fmla="*/ 85846 w 85846"/>
                    <a:gd name="connsiteY2" fmla="*/ 64312 h 123862"/>
                    <a:gd name="connsiteX3" fmla="*/ 65545 w 85846"/>
                    <a:gd name="connsiteY3" fmla="*/ 123858 h 123862"/>
                    <a:gd name="connsiteX4" fmla="*/ 0 w 85846"/>
                    <a:gd name="connsiteY4" fmla="*/ 61931 h 123862"/>
                    <a:gd name="connsiteX0" fmla="*/ 0 w 69178"/>
                    <a:gd name="connsiteY0" fmla="*/ 37134 h 125753"/>
                    <a:gd name="connsiteX1" fmla="*/ 48877 w 69178"/>
                    <a:gd name="connsiteY1" fmla="*/ 1401 h 125753"/>
                    <a:gd name="connsiteX2" fmla="*/ 69178 w 69178"/>
                    <a:gd name="connsiteY2" fmla="*/ 65709 h 125753"/>
                    <a:gd name="connsiteX3" fmla="*/ 48877 w 69178"/>
                    <a:gd name="connsiteY3" fmla="*/ 125255 h 125753"/>
                    <a:gd name="connsiteX4" fmla="*/ 0 w 69178"/>
                    <a:gd name="connsiteY4" fmla="*/ 37134 h 125753"/>
                    <a:gd name="connsiteX0" fmla="*/ 5388 w 74566"/>
                    <a:gd name="connsiteY0" fmla="*/ 36471 h 129792"/>
                    <a:gd name="connsiteX1" fmla="*/ 54265 w 74566"/>
                    <a:gd name="connsiteY1" fmla="*/ 738 h 129792"/>
                    <a:gd name="connsiteX2" fmla="*/ 74566 w 74566"/>
                    <a:gd name="connsiteY2" fmla="*/ 65046 h 129792"/>
                    <a:gd name="connsiteX3" fmla="*/ 9021 w 74566"/>
                    <a:gd name="connsiteY3" fmla="*/ 129354 h 129792"/>
                    <a:gd name="connsiteX4" fmla="*/ 5388 w 74566"/>
                    <a:gd name="connsiteY4" fmla="*/ 36471 h 12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66" h="129792">
                      <a:moveTo>
                        <a:pt x="5388" y="36471"/>
                      </a:moveTo>
                      <a:cubicBezTo>
                        <a:pt x="12929" y="15035"/>
                        <a:pt x="42735" y="-4025"/>
                        <a:pt x="54265" y="738"/>
                      </a:cubicBezTo>
                      <a:cubicBezTo>
                        <a:pt x="65795" y="5501"/>
                        <a:pt x="74566" y="30845"/>
                        <a:pt x="74566" y="65046"/>
                      </a:cubicBezTo>
                      <a:cubicBezTo>
                        <a:pt x="74566" y="99247"/>
                        <a:pt x="20551" y="134117"/>
                        <a:pt x="9021" y="129354"/>
                      </a:cubicBezTo>
                      <a:cubicBezTo>
                        <a:pt x="-2509" y="124592"/>
                        <a:pt x="-2153" y="57907"/>
                        <a:pt x="5388" y="36471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dash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pt-BR" sz="900" ker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6" name="Oval 43"/>
                <p:cNvSpPr/>
                <p:nvPr/>
              </p:nvSpPr>
              <p:spPr>
                <a:xfrm flipV="1">
                  <a:off x="4768327" y="6125690"/>
                  <a:ext cx="74566" cy="88650"/>
                </a:xfrm>
                <a:custGeom>
                  <a:avLst/>
                  <a:gdLst>
                    <a:gd name="connsiteX0" fmla="*/ 0 w 131090"/>
                    <a:gd name="connsiteY0" fmla="*/ 61927 h 123853"/>
                    <a:gd name="connsiteX1" fmla="*/ 65545 w 131090"/>
                    <a:gd name="connsiteY1" fmla="*/ 0 h 123853"/>
                    <a:gd name="connsiteX2" fmla="*/ 131090 w 131090"/>
                    <a:gd name="connsiteY2" fmla="*/ 61927 h 123853"/>
                    <a:gd name="connsiteX3" fmla="*/ 65545 w 131090"/>
                    <a:gd name="connsiteY3" fmla="*/ 123854 h 123853"/>
                    <a:gd name="connsiteX4" fmla="*/ 0 w 131090"/>
                    <a:gd name="connsiteY4" fmla="*/ 61927 h 123853"/>
                    <a:gd name="connsiteX0" fmla="*/ 0 w 85846"/>
                    <a:gd name="connsiteY0" fmla="*/ 61931 h 123862"/>
                    <a:gd name="connsiteX1" fmla="*/ 65545 w 85846"/>
                    <a:gd name="connsiteY1" fmla="*/ 4 h 123862"/>
                    <a:gd name="connsiteX2" fmla="*/ 85846 w 85846"/>
                    <a:gd name="connsiteY2" fmla="*/ 64312 h 123862"/>
                    <a:gd name="connsiteX3" fmla="*/ 65545 w 85846"/>
                    <a:gd name="connsiteY3" fmla="*/ 123858 h 123862"/>
                    <a:gd name="connsiteX4" fmla="*/ 0 w 85846"/>
                    <a:gd name="connsiteY4" fmla="*/ 61931 h 123862"/>
                    <a:gd name="connsiteX0" fmla="*/ 0 w 69178"/>
                    <a:gd name="connsiteY0" fmla="*/ 37134 h 125753"/>
                    <a:gd name="connsiteX1" fmla="*/ 48877 w 69178"/>
                    <a:gd name="connsiteY1" fmla="*/ 1401 h 125753"/>
                    <a:gd name="connsiteX2" fmla="*/ 69178 w 69178"/>
                    <a:gd name="connsiteY2" fmla="*/ 65709 h 125753"/>
                    <a:gd name="connsiteX3" fmla="*/ 48877 w 69178"/>
                    <a:gd name="connsiteY3" fmla="*/ 125255 h 125753"/>
                    <a:gd name="connsiteX4" fmla="*/ 0 w 69178"/>
                    <a:gd name="connsiteY4" fmla="*/ 37134 h 125753"/>
                    <a:gd name="connsiteX0" fmla="*/ 5388 w 74566"/>
                    <a:gd name="connsiteY0" fmla="*/ 36471 h 129792"/>
                    <a:gd name="connsiteX1" fmla="*/ 54265 w 74566"/>
                    <a:gd name="connsiteY1" fmla="*/ 738 h 129792"/>
                    <a:gd name="connsiteX2" fmla="*/ 74566 w 74566"/>
                    <a:gd name="connsiteY2" fmla="*/ 65046 h 129792"/>
                    <a:gd name="connsiteX3" fmla="*/ 9021 w 74566"/>
                    <a:gd name="connsiteY3" fmla="*/ 129354 h 129792"/>
                    <a:gd name="connsiteX4" fmla="*/ 5388 w 74566"/>
                    <a:gd name="connsiteY4" fmla="*/ 36471 h 12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4566" h="129792">
                      <a:moveTo>
                        <a:pt x="5388" y="36471"/>
                      </a:moveTo>
                      <a:cubicBezTo>
                        <a:pt x="12929" y="15035"/>
                        <a:pt x="42735" y="-4025"/>
                        <a:pt x="54265" y="738"/>
                      </a:cubicBezTo>
                      <a:cubicBezTo>
                        <a:pt x="65795" y="5501"/>
                        <a:pt x="74566" y="30845"/>
                        <a:pt x="74566" y="65046"/>
                      </a:cubicBezTo>
                      <a:cubicBezTo>
                        <a:pt x="74566" y="99247"/>
                        <a:pt x="20551" y="134117"/>
                        <a:pt x="9021" y="129354"/>
                      </a:cubicBezTo>
                      <a:cubicBezTo>
                        <a:pt x="-2509" y="124592"/>
                        <a:pt x="-2153" y="57907"/>
                        <a:pt x="5388" y="36471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dash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pt-BR" sz="900" ker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17" name="Oval 45"/>
                <p:cNvSpPr/>
                <p:nvPr/>
              </p:nvSpPr>
              <p:spPr>
                <a:xfrm rot="16200000">
                  <a:off x="5332921" y="4395124"/>
                  <a:ext cx="130607" cy="166420"/>
                </a:xfrm>
                <a:custGeom>
                  <a:avLst/>
                  <a:gdLst>
                    <a:gd name="connsiteX0" fmla="*/ 0 w 78221"/>
                    <a:gd name="connsiteY0" fmla="*/ 51179 h 102358"/>
                    <a:gd name="connsiteX1" fmla="*/ 39111 w 78221"/>
                    <a:gd name="connsiteY1" fmla="*/ 0 h 102358"/>
                    <a:gd name="connsiteX2" fmla="*/ 78222 w 78221"/>
                    <a:gd name="connsiteY2" fmla="*/ 51179 h 102358"/>
                    <a:gd name="connsiteX3" fmla="*/ 39111 w 78221"/>
                    <a:gd name="connsiteY3" fmla="*/ 102358 h 102358"/>
                    <a:gd name="connsiteX4" fmla="*/ 0 w 78221"/>
                    <a:gd name="connsiteY4" fmla="*/ 51179 h 102358"/>
                    <a:gd name="connsiteX0" fmla="*/ 0 w 82937"/>
                    <a:gd name="connsiteY0" fmla="*/ 62449 h 113628"/>
                    <a:gd name="connsiteX1" fmla="*/ 39111 w 82937"/>
                    <a:gd name="connsiteY1" fmla="*/ 11270 h 113628"/>
                    <a:gd name="connsiteX2" fmla="*/ 79554 w 82937"/>
                    <a:gd name="connsiteY2" fmla="*/ 4091 h 113628"/>
                    <a:gd name="connsiteX3" fmla="*/ 78222 w 82937"/>
                    <a:gd name="connsiteY3" fmla="*/ 62449 h 113628"/>
                    <a:gd name="connsiteX4" fmla="*/ 39111 w 82937"/>
                    <a:gd name="connsiteY4" fmla="*/ 113628 h 113628"/>
                    <a:gd name="connsiteX5" fmla="*/ 0 w 82937"/>
                    <a:gd name="connsiteY5" fmla="*/ 62449 h 113628"/>
                    <a:gd name="connsiteX0" fmla="*/ 0 w 82374"/>
                    <a:gd name="connsiteY0" fmla="*/ 62449 h 113667"/>
                    <a:gd name="connsiteX1" fmla="*/ 39111 w 82374"/>
                    <a:gd name="connsiteY1" fmla="*/ 11270 h 113667"/>
                    <a:gd name="connsiteX2" fmla="*/ 79554 w 82374"/>
                    <a:gd name="connsiteY2" fmla="*/ 4091 h 113667"/>
                    <a:gd name="connsiteX3" fmla="*/ 78222 w 82374"/>
                    <a:gd name="connsiteY3" fmla="*/ 62449 h 113667"/>
                    <a:gd name="connsiteX4" fmla="*/ 48597 w 82374"/>
                    <a:gd name="connsiteY4" fmla="*/ 70766 h 113667"/>
                    <a:gd name="connsiteX5" fmla="*/ 39111 w 82374"/>
                    <a:gd name="connsiteY5" fmla="*/ 113628 h 113667"/>
                    <a:gd name="connsiteX6" fmla="*/ 0 w 82374"/>
                    <a:gd name="connsiteY6" fmla="*/ 62449 h 113667"/>
                    <a:gd name="connsiteX0" fmla="*/ 0 w 81096"/>
                    <a:gd name="connsiteY0" fmla="*/ 62449 h 113667"/>
                    <a:gd name="connsiteX1" fmla="*/ 39111 w 81096"/>
                    <a:gd name="connsiteY1" fmla="*/ 11270 h 113667"/>
                    <a:gd name="connsiteX2" fmla="*/ 79554 w 81096"/>
                    <a:gd name="connsiteY2" fmla="*/ 4091 h 113667"/>
                    <a:gd name="connsiteX3" fmla="*/ 68697 w 81096"/>
                    <a:gd name="connsiteY3" fmla="*/ 48162 h 113667"/>
                    <a:gd name="connsiteX4" fmla="*/ 48597 w 81096"/>
                    <a:gd name="connsiteY4" fmla="*/ 70766 h 113667"/>
                    <a:gd name="connsiteX5" fmla="*/ 39111 w 81096"/>
                    <a:gd name="connsiteY5" fmla="*/ 113628 h 113667"/>
                    <a:gd name="connsiteX6" fmla="*/ 0 w 81096"/>
                    <a:gd name="connsiteY6" fmla="*/ 62449 h 1136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1096" h="113667">
                      <a:moveTo>
                        <a:pt x="0" y="62449"/>
                      </a:moveTo>
                      <a:cubicBezTo>
                        <a:pt x="0" y="34184"/>
                        <a:pt x="25852" y="20996"/>
                        <a:pt x="39111" y="11270"/>
                      </a:cubicBezTo>
                      <a:cubicBezTo>
                        <a:pt x="52370" y="1544"/>
                        <a:pt x="73036" y="-4439"/>
                        <a:pt x="79554" y="4091"/>
                      </a:cubicBezTo>
                      <a:cubicBezTo>
                        <a:pt x="86073" y="12621"/>
                        <a:pt x="69888" y="37050"/>
                        <a:pt x="68697" y="48162"/>
                      </a:cubicBezTo>
                      <a:cubicBezTo>
                        <a:pt x="67506" y="59275"/>
                        <a:pt x="55116" y="62236"/>
                        <a:pt x="48597" y="70766"/>
                      </a:cubicBezTo>
                      <a:cubicBezTo>
                        <a:pt x="42079" y="79296"/>
                        <a:pt x="47210" y="115014"/>
                        <a:pt x="39111" y="113628"/>
                      </a:cubicBezTo>
                      <a:cubicBezTo>
                        <a:pt x="31012" y="112242"/>
                        <a:pt x="0" y="90714"/>
                        <a:pt x="0" y="62449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dash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pt-BR" sz="900" ker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292" name="Group 267"/>
            <p:cNvGrpSpPr>
              <a:grpSpLocks noChangeAspect="1"/>
            </p:cNvGrpSpPr>
            <p:nvPr/>
          </p:nvGrpSpPr>
          <p:grpSpPr>
            <a:xfrm>
              <a:off x="6087474" y="3032268"/>
              <a:ext cx="2426982" cy="3392639"/>
              <a:chOff x="6447437" y="2906890"/>
              <a:chExt cx="2258413" cy="2900553"/>
            </a:xfrm>
            <a:grpFill/>
          </p:grpSpPr>
          <p:grpSp>
            <p:nvGrpSpPr>
              <p:cNvPr id="293" name="Group 268"/>
              <p:cNvGrpSpPr/>
              <p:nvPr/>
            </p:nvGrpSpPr>
            <p:grpSpPr>
              <a:xfrm>
                <a:off x="6447437" y="2943958"/>
                <a:ext cx="2234700" cy="2863485"/>
                <a:chOff x="4913460" y="3025113"/>
                <a:chExt cx="2287440" cy="2931064"/>
              </a:xfrm>
              <a:grpFill/>
            </p:grpSpPr>
            <p:grpSp>
              <p:nvGrpSpPr>
                <p:cNvPr id="299" name="Group 274"/>
                <p:cNvGrpSpPr/>
                <p:nvPr/>
              </p:nvGrpSpPr>
              <p:grpSpPr>
                <a:xfrm>
                  <a:off x="4913460" y="3025113"/>
                  <a:ext cx="2287440" cy="2931064"/>
                  <a:chOff x="4913460" y="3025113"/>
                  <a:chExt cx="2287440" cy="2931064"/>
                </a:xfrm>
                <a:grpFill/>
              </p:grpSpPr>
              <p:grpSp>
                <p:nvGrpSpPr>
                  <p:cNvPr id="301" name="Group 277"/>
                  <p:cNvGrpSpPr/>
                  <p:nvPr/>
                </p:nvGrpSpPr>
                <p:grpSpPr>
                  <a:xfrm>
                    <a:off x="4913460" y="3577632"/>
                    <a:ext cx="1883491" cy="2378545"/>
                    <a:chOff x="4913460" y="3577632"/>
                    <a:chExt cx="1883491" cy="2378545"/>
                  </a:xfrm>
                  <a:grpFill/>
                </p:grpSpPr>
                <p:grpSp>
                  <p:nvGrpSpPr>
                    <p:cNvPr id="303" name="Group 279"/>
                    <p:cNvGrpSpPr/>
                    <p:nvPr/>
                  </p:nvGrpSpPr>
                  <p:grpSpPr>
                    <a:xfrm>
                      <a:off x="4913460" y="5468068"/>
                      <a:ext cx="349830" cy="488109"/>
                      <a:chOff x="4913460" y="5468068"/>
                      <a:chExt cx="349830" cy="488109"/>
                    </a:xfrm>
                    <a:grpFill/>
                  </p:grpSpPr>
                  <p:sp>
                    <p:nvSpPr>
                      <p:cNvPr id="309" name="Freeform 285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4913460" y="5792883"/>
                        <a:ext cx="125190" cy="163294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399682 w 516301"/>
                          <a:gd name="connsiteY0" fmla="*/ 1010 h 421254"/>
                          <a:gd name="connsiteX1" fmla="*/ 10420 w 516301"/>
                          <a:gd name="connsiteY1" fmla="*/ 158802 h 421254"/>
                          <a:gd name="connsiteX2" fmla="*/ 119284 w 516301"/>
                          <a:gd name="connsiteY2" fmla="*/ 373513 h 421254"/>
                          <a:gd name="connsiteX3" fmla="*/ 223300 w 516301"/>
                          <a:gd name="connsiteY3" fmla="*/ 412622 h 421254"/>
                          <a:gd name="connsiteX4" fmla="*/ 500779 w 516301"/>
                          <a:gd name="connsiteY4" fmla="*/ 234448 h 421254"/>
                          <a:gd name="connsiteX5" fmla="*/ 399682 w 516301"/>
                          <a:gd name="connsiteY5" fmla="*/ 1010 h 421254"/>
                          <a:gd name="connsiteX0" fmla="*/ 400635 w 517254"/>
                          <a:gd name="connsiteY0" fmla="*/ 1205 h 500568"/>
                          <a:gd name="connsiteX1" fmla="*/ 11373 w 517254"/>
                          <a:gd name="connsiteY1" fmla="*/ 158997 h 500568"/>
                          <a:gd name="connsiteX2" fmla="*/ 112660 w 517254"/>
                          <a:gd name="connsiteY2" fmla="*/ 492609 h 500568"/>
                          <a:gd name="connsiteX3" fmla="*/ 224253 w 517254"/>
                          <a:gd name="connsiteY3" fmla="*/ 412817 h 500568"/>
                          <a:gd name="connsiteX4" fmla="*/ 501732 w 517254"/>
                          <a:gd name="connsiteY4" fmla="*/ 234643 h 500568"/>
                          <a:gd name="connsiteX5" fmla="*/ 400635 w 517254"/>
                          <a:gd name="connsiteY5" fmla="*/ 1205 h 500568"/>
                          <a:gd name="connsiteX0" fmla="*/ 400635 w 517254"/>
                          <a:gd name="connsiteY0" fmla="*/ 1205 h 500507"/>
                          <a:gd name="connsiteX1" fmla="*/ 11373 w 517254"/>
                          <a:gd name="connsiteY1" fmla="*/ 158997 h 500507"/>
                          <a:gd name="connsiteX2" fmla="*/ 112660 w 517254"/>
                          <a:gd name="connsiteY2" fmla="*/ 492609 h 500507"/>
                          <a:gd name="connsiteX3" fmla="*/ 224253 w 517254"/>
                          <a:gd name="connsiteY3" fmla="*/ 412817 h 500507"/>
                          <a:gd name="connsiteX4" fmla="*/ 317232 w 517254"/>
                          <a:gd name="connsiteY4" fmla="*/ 297923 h 500507"/>
                          <a:gd name="connsiteX5" fmla="*/ 501732 w 517254"/>
                          <a:gd name="connsiteY5" fmla="*/ 234643 h 500507"/>
                          <a:gd name="connsiteX6" fmla="*/ 400635 w 517254"/>
                          <a:gd name="connsiteY6" fmla="*/ 1205 h 500507"/>
                          <a:gd name="connsiteX0" fmla="*/ 400635 w 504610"/>
                          <a:gd name="connsiteY0" fmla="*/ 170 h 499472"/>
                          <a:gd name="connsiteX1" fmla="*/ 11373 w 504610"/>
                          <a:gd name="connsiteY1" fmla="*/ 157962 h 499472"/>
                          <a:gd name="connsiteX2" fmla="*/ 112660 w 504610"/>
                          <a:gd name="connsiteY2" fmla="*/ 491574 h 499472"/>
                          <a:gd name="connsiteX3" fmla="*/ 224253 w 504610"/>
                          <a:gd name="connsiteY3" fmla="*/ 411782 h 499472"/>
                          <a:gd name="connsiteX4" fmla="*/ 317232 w 504610"/>
                          <a:gd name="connsiteY4" fmla="*/ 296888 h 499472"/>
                          <a:gd name="connsiteX5" fmla="*/ 501732 w 504610"/>
                          <a:gd name="connsiteY5" fmla="*/ 233608 h 499472"/>
                          <a:gd name="connsiteX6" fmla="*/ 306603 w 504610"/>
                          <a:gd name="connsiteY6" fmla="*/ 184221 h 499472"/>
                          <a:gd name="connsiteX7" fmla="*/ 400635 w 504610"/>
                          <a:gd name="connsiteY7" fmla="*/ 170 h 499472"/>
                          <a:gd name="connsiteX0" fmla="*/ 400635 w 504679"/>
                          <a:gd name="connsiteY0" fmla="*/ 170 h 499472"/>
                          <a:gd name="connsiteX1" fmla="*/ 11373 w 504679"/>
                          <a:gd name="connsiteY1" fmla="*/ 157962 h 499472"/>
                          <a:gd name="connsiteX2" fmla="*/ 112660 w 504679"/>
                          <a:gd name="connsiteY2" fmla="*/ 491574 h 499472"/>
                          <a:gd name="connsiteX3" fmla="*/ 224253 w 504679"/>
                          <a:gd name="connsiteY3" fmla="*/ 411782 h 499472"/>
                          <a:gd name="connsiteX4" fmla="*/ 317232 w 504679"/>
                          <a:gd name="connsiteY4" fmla="*/ 296888 h 499472"/>
                          <a:gd name="connsiteX5" fmla="*/ 311162 w 504679"/>
                          <a:gd name="connsiteY5" fmla="*/ 298968 h 499472"/>
                          <a:gd name="connsiteX6" fmla="*/ 501732 w 504679"/>
                          <a:gd name="connsiteY6" fmla="*/ 233608 h 499472"/>
                          <a:gd name="connsiteX7" fmla="*/ 306603 w 504679"/>
                          <a:gd name="connsiteY7" fmla="*/ 184221 h 499472"/>
                          <a:gd name="connsiteX8" fmla="*/ 400635 w 504679"/>
                          <a:gd name="connsiteY8" fmla="*/ 170 h 499472"/>
                          <a:gd name="connsiteX0" fmla="*/ 400635 w 411811"/>
                          <a:gd name="connsiteY0" fmla="*/ 170 h 499472"/>
                          <a:gd name="connsiteX1" fmla="*/ 11373 w 411811"/>
                          <a:gd name="connsiteY1" fmla="*/ 157962 h 499472"/>
                          <a:gd name="connsiteX2" fmla="*/ 112660 w 411811"/>
                          <a:gd name="connsiteY2" fmla="*/ 491574 h 499472"/>
                          <a:gd name="connsiteX3" fmla="*/ 224253 w 411811"/>
                          <a:gd name="connsiteY3" fmla="*/ 411782 h 499472"/>
                          <a:gd name="connsiteX4" fmla="*/ 317232 w 411811"/>
                          <a:gd name="connsiteY4" fmla="*/ 296888 h 499472"/>
                          <a:gd name="connsiteX5" fmla="*/ 311162 w 411811"/>
                          <a:gd name="connsiteY5" fmla="*/ 298968 h 499472"/>
                          <a:gd name="connsiteX6" fmla="*/ 306603 w 411811"/>
                          <a:gd name="connsiteY6" fmla="*/ 184221 h 499472"/>
                          <a:gd name="connsiteX7" fmla="*/ 400635 w 411811"/>
                          <a:gd name="connsiteY7" fmla="*/ 170 h 499472"/>
                          <a:gd name="connsiteX0" fmla="*/ 344675 w 361138"/>
                          <a:gd name="connsiteY0" fmla="*/ 231 h 473092"/>
                          <a:gd name="connsiteX1" fmla="*/ 8407 w 361138"/>
                          <a:gd name="connsiteY1" fmla="*/ 131582 h 473092"/>
                          <a:gd name="connsiteX2" fmla="*/ 109694 w 361138"/>
                          <a:gd name="connsiteY2" fmla="*/ 465194 h 473092"/>
                          <a:gd name="connsiteX3" fmla="*/ 221287 w 361138"/>
                          <a:gd name="connsiteY3" fmla="*/ 385402 h 473092"/>
                          <a:gd name="connsiteX4" fmla="*/ 314266 w 361138"/>
                          <a:gd name="connsiteY4" fmla="*/ 270508 h 473092"/>
                          <a:gd name="connsiteX5" fmla="*/ 308196 w 361138"/>
                          <a:gd name="connsiteY5" fmla="*/ 272588 h 473092"/>
                          <a:gd name="connsiteX6" fmla="*/ 303637 w 361138"/>
                          <a:gd name="connsiteY6" fmla="*/ 157841 h 473092"/>
                          <a:gd name="connsiteX7" fmla="*/ 344675 w 361138"/>
                          <a:gd name="connsiteY7" fmla="*/ 231 h 473092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09825 w 313478"/>
                          <a:gd name="connsiteY0" fmla="*/ 2 h 472863"/>
                          <a:gd name="connsiteX1" fmla="*/ 171247 w 313478"/>
                          <a:gd name="connsiteY1" fmla="*/ 157767 h 472863"/>
                          <a:gd name="connsiteX2" fmla="*/ 2828 w 313478"/>
                          <a:gd name="connsiteY2" fmla="*/ 270869 h 472863"/>
                          <a:gd name="connsiteX3" fmla="*/ 74844 w 313478"/>
                          <a:gd name="connsiteY3" fmla="*/ 464965 h 472863"/>
                          <a:gd name="connsiteX4" fmla="*/ 186437 w 313478"/>
                          <a:gd name="connsiteY4" fmla="*/ 385173 h 472863"/>
                          <a:gd name="connsiteX5" fmla="*/ 279416 w 313478"/>
                          <a:gd name="connsiteY5" fmla="*/ 270279 h 472863"/>
                          <a:gd name="connsiteX6" fmla="*/ 273346 w 313478"/>
                          <a:gd name="connsiteY6" fmla="*/ 272359 h 472863"/>
                          <a:gd name="connsiteX7" fmla="*/ 268787 w 313478"/>
                          <a:gd name="connsiteY7" fmla="*/ 157612 h 472863"/>
                          <a:gd name="connsiteX8" fmla="*/ 309825 w 313478"/>
                          <a:gd name="connsiteY8" fmla="*/ 2 h 472863"/>
                          <a:gd name="connsiteX0" fmla="*/ 268787 w 297124"/>
                          <a:gd name="connsiteY0" fmla="*/ 14163 h 329414"/>
                          <a:gd name="connsiteX1" fmla="*/ 171247 w 297124"/>
                          <a:gd name="connsiteY1" fmla="*/ 14318 h 329414"/>
                          <a:gd name="connsiteX2" fmla="*/ 2828 w 297124"/>
                          <a:gd name="connsiteY2" fmla="*/ 127420 h 329414"/>
                          <a:gd name="connsiteX3" fmla="*/ 74844 w 297124"/>
                          <a:gd name="connsiteY3" fmla="*/ 321516 h 329414"/>
                          <a:gd name="connsiteX4" fmla="*/ 186437 w 297124"/>
                          <a:gd name="connsiteY4" fmla="*/ 241724 h 329414"/>
                          <a:gd name="connsiteX5" fmla="*/ 279416 w 297124"/>
                          <a:gd name="connsiteY5" fmla="*/ 126830 h 329414"/>
                          <a:gd name="connsiteX6" fmla="*/ 273346 w 297124"/>
                          <a:gd name="connsiteY6" fmla="*/ 128910 h 329414"/>
                          <a:gd name="connsiteX7" fmla="*/ 268787 w 297124"/>
                          <a:gd name="connsiteY7" fmla="*/ 14163 h 329414"/>
                          <a:gd name="connsiteX0" fmla="*/ 194771 w 297124"/>
                          <a:gd name="connsiteY0" fmla="*/ 54292 h 319287"/>
                          <a:gd name="connsiteX1" fmla="*/ 171247 w 297124"/>
                          <a:gd name="connsiteY1" fmla="*/ 4191 h 319287"/>
                          <a:gd name="connsiteX2" fmla="*/ 2828 w 297124"/>
                          <a:gd name="connsiteY2" fmla="*/ 117293 h 319287"/>
                          <a:gd name="connsiteX3" fmla="*/ 74844 w 297124"/>
                          <a:gd name="connsiteY3" fmla="*/ 311389 h 319287"/>
                          <a:gd name="connsiteX4" fmla="*/ 186437 w 297124"/>
                          <a:gd name="connsiteY4" fmla="*/ 231597 h 319287"/>
                          <a:gd name="connsiteX5" fmla="*/ 279416 w 297124"/>
                          <a:gd name="connsiteY5" fmla="*/ 116703 h 319287"/>
                          <a:gd name="connsiteX6" fmla="*/ 273346 w 297124"/>
                          <a:gd name="connsiteY6" fmla="*/ 118783 h 319287"/>
                          <a:gd name="connsiteX7" fmla="*/ 194771 w 297124"/>
                          <a:gd name="connsiteY7" fmla="*/ 54292 h 319287"/>
                          <a:gd name="connsiteX0" fmla="*/ 176997 w 297124"/>
                          <a:gd name="connsiteY0" fmla="*/ 92018 h 317703"/>
                          <a:gd name="connsiteX1" fmla="*/ 171247 w 297124"/>
                          <a:gd name="connsiteY1" fmla="*/ 2607 h 317703"/>
                          <a:gd name="connsiteX2" fmla="*/ 2828 w 297124"/>
                          <a:gd name="connsiteY2" fmla="*/ 115709 h 317703"/>
                          <a:gd name="connsiteX3" fmla="*/ 74844 w 297124"/>
                          <a:gd name="connsiteY3" fmla="*/ 309805 h 317703"/>
                          <a:gd name="connsiteX4" fmla="*/ 186437 w 297124"/>
                          <a:gd name="connsiteY4" fmla="*/ 230013 h 317703"/>
                          <a:gd name="connsiteX5" fmla="*/ 279416 w 297124"/>
                          <a:gd name="connsiteY5" fmla="*/ 115119 h 317703"/>
                          <a:gd name="connsiteX6" fmla="*/ 273346 w 297124"/>
                          <a:gd name="connsiteY6" fmla="*/ 117199 h 317703"/>
                          <a:gd name="connsiteX7" fmla="*/ 176997 w 297124"/>
                          <a:gd name="connsiteY7" fmla="*/ 92018 h 317703"/>
                          <a:gd name="connsiteX0" fmla="*/ 226739 w 297124"/>
                          <a:gd name="connsiteY0" fmla="*/ 51834 h 319465"/>
                          <a:gd name="connsiteX1" fmla="*/ 171247 w 297124"/>
                          <a:gd name="connsiteY1" fmla="*/ 4369 h 319465"/>
                          <a:gd name="connsiteX2" fmla="*/ 2828 w 297124"/>
                          <a:gd name="connsiteY2" fmla="*/ 117471 h 319465"/>
                          <a:gd name="connsiteX3" fmla="*/ 74844 w 297124"/>
                          <a:gd name="connsiteY3" fmla="*/ 311567 h 319465"/>
                          <a:gd name="connsiteX4" fmla="*/ 186437 w 297124"/>
                          <a:gd name="connsiteY4" fmla="*/ 231775 h 319465"/>
                          <a:gd name="connsiteX5" fmla="*/ 279416 w 297124"/>
                          <a:gd name="connsiteY5" fmla="*/ 116881 h 319465"/>
                          <a:gd name="connsiteX6" fmla="*/ 273346 w 297124"/>
                          <a:gd name="connsiteY6" fmla="*/ 118961 h 319465"/>
                          <a:gd name="connsiteX7" fmla="*/ 226739 w 297124"/>
                          <a:gd name="connsiteY7" fmla="*/ 51834 h 319465"/>
                          <a:gd name="connsiteX0" fmla="*/ 226739 w 289446"/>
                          <a:gd name="connsiteY0" fmla="*/ 51834 h 319465"/>
                          <a:gd name="connsiteX1" fmla="*/ 171247 w 289446"/>
                          <a:gd name="connsiteY1" fmla="*/ 4369 h 319465"/>
                          <a:gd name="connsiteX2" fmla="*/ 2828 w 289446"/>
                          <a:gd name="connsiteY2" fmla="*/ 117471 h 319465"/>
                          <a:gd name="connsiteX3" fmla="*/ 74844 w 289446"/>
                          <a:gd name="connsiteY3" fmla="*/ 311567 h 319465"/>
                          <a:gd name="connsiteX4" fmla="*/ 186437 w 289446"/>
                          <a:gd name="connsiteY4" fmla="*/ 231775 h 319465"/>
                          <a:gd name="connsiteX5" fmla="*/ 279416 w 289446"/>
                          <a:gd name="connsiteY5" fmla="*/ 116881 h 319465"/>
                          <a:gd name="connsiteX6" fmla="*/ 214719 w 289446"/>
                          <a:gd name="connsiteY6" fmla="*/ 180566 h 319465"/>
                          <a:gd name="connsiteX7" fmla="*/ 226739 w 289446"/>
                          <a:gd name="connsiteY7" fmla="*/ 51834 h 319465"/>
                          <a:gd name="connsiteX0" fmla="*/ 202461 w 289446"/>
                          <a:gd name="connsiteY0" fmla="*/ 59631 h 318953"/>
                          <a:gd name="connsiteX1" fmla="*/ 171247 w 289446"/>
                          <a:gd name="connsiteY1" fmla="*/ 3857 h 318953"/>
                          <a:gd name="connsiteX2" fmla="*/ 2828 w 289446"/>
                          <a:gd name="connsiteY2" fmla="*/ 116959 h 318953"/>
                          <a:gd name="connsiteX3" fmla="*/ 74844 w 289446"/>
                          <a:gd name="connsiteY3" fmla="*/ 311055 h 318953"/>
                          <a:gd name="connsiteX4" fmla="*/ 186437 w 289446"/>
                          <a:gd name="connsiteY4" fmla="*/ 231263 h 318953"/>
                          <a:gd name="connsiteX5" fmla="*/ 279416 w 289446"/>
                          <a:gd name="connsiteY5" fmla="*/ 116369 h 318953"/>
                          <a:gd name="connsiteX6" fmla="*/ 214719 w 289446"/>
                          <a:gd name="connsiteY6" fmla="*/ 180054 h 318953"/>
                          <a:gd name="connsiteX7" fmla="*/ 202461 w 289446"/>
                          <a:gd name="connsiteY7" fmla="*/ 59631 h 318953"/>
                          <a:gd name="connsiteX0" fmla="*/ 202461 w 216515"/>
                          <a:gd name="connsiteY0" fmla="*/ 59631 h 318929"/>
                          <a:gd name="connsiteX1" fmla="*/ 171247 w 216515"/>
                          <a:gd name="connsiteY1" fmla="*/ 3857 h 318929"/>
                          <a:gd name="connsiteX2" fmla="*/ 2828 w 216515"/>
                          <a:gd name="connsiteY2" fmla="*/ 116959 h 318929"/>
                          <a:gd name="connsiteX3" fmla="*/ 74844 w 216515"/>
                          <a:gd name="connsiteY3" fmla="*/ 311055 h 318929"/>
                          <a:gd name="connsiteX4" fmla="*/ 186437 w 216515"/>
                          <a:gd name="connsiteY4" fmla="*/ 231263 h 318929"/>
                          <a:gd name="connsiteX5" fmla="*/ 214719 w 216515"/>
                          <a:gd name="connsiteY5" fmla="*/ 180054 h 318929"/>
                          <a:gd name="connsiteX6" fmla="*/ 202461 w 216515"/>
                          <a:gd name="connsiteY6" fmla="*/ 59631 h 318929"/>
                          <a:gd name="connsiteX0" fmla="*/ 200078 w 214132"/>
                          <a:gd name="connsiteY0" fmla="*/ 113647 h 372945"/>
                          <a:gd name="connsiteX1" fmla="*/ 105135 w 214132"/>
                          <a:gd name="connsiteY1" fmla="*/ 2146 h 372945"/>
                          <a:gd name="connsiteX2" fmla="*/ 445 w 214132"/>
                          <a:gd name="connsiteY2" fmla="*/ 170975 h 372945"/>
                          <a:gd name="connsiteX3" fmla="*/ 72461 w 214132"/>
                          <a:gd name="connsiteY3" fmla="*/ 365071 h 372945"/>
                          <a:gd name="connsiteX4" fmla="*/ 184054 w 214132"/>
                          <a:gd name="connsiteY4" fmla="*/ 285279 h 372945"/>
                          <a:gd name="connsiteX5" fmla="*/ 212336 w 214132"/>
                          <a:gd name="connsiteY5" fmla="*/ 234070 h 372945"/>
                          <a:gd name="connsiteX6" fmla="*/ 200078 w 214132"/>
                          <a:gd name="connsiteY6" fmla="*/ 113647 h 372945"/>
                          <a:gd name="connsiteX0" fmla="*/ 171466 w 185520"/>
                          <a:gd name="connsiteY0" fmla="*/ 113647 h 372945"/>
                          <a:gd name="connsiteX1" fmla="*/ 76523 w 185520"/>
                          <a:gd name="connsiteY1" fmla="*/ 2146 h 372945"/>
                          <a:gd name="connsiteX2" fmla="*/ 1029 w 185520"/>
                          <a:gd name="connsiteY2" fmla="*/ 227444 h 372945"/>
                          <a:gd name="connsiteX3" fmla="*/ 43849 w 185520"/>
                          <a:gd name="connsiteY3" fmla="*/ 365071 h 372945"/>
                          <a:gd name="connsiteX4" fmla="*/ 155442 w 185520"/>
                          <a:gd name="connsiteY4" fmla="*/ 285279 h 372945"/>
                          <a:gd name="connsiteX5" fmla="*/ 183724 w 185520"/>
                          <a:gd name="connsiteY5" fmla="*/ 234070 h 372945"/>
                          <a:gd name="connsiteX6" fmla="*/ 171466 w 185520"/>
                          <a:gd name="connsiteY6" fmla="*/ 113647 h 372945"/>
                          <a:gd name="connsiteX0" fmla="*/ 171466 w 185520"/>
                          <a:gd name="connsiteY0" fmla="*/ 113647 h 396811"/>
                          <a:gd name="connsiteX1" fmla="*/ 76523 w 185520"/>
                          <a:gd name="connsiteY1" fmla="*/ 2146 h 396811"/>
                          <a:gd name="connsiteX2" fmla="*/ 1029 w 185520"/>
                          <a:gd name="connsiteY2" fmla="*/ 227444 h 396811"/>
                          <a:gd name="connsiteX3" fmla="*/ 43849 w 185520"/>
                          <a:gd name="connsiteY3" fmla="*/ 365071 h 396811"/>
                          <a:gd name="connsiteX4" fmla="*/ 158771 w 185520"/>
                          <a:gd name="connsiteY4" fmla="*/ 383831 h 396811"/>
                          <a:gd name="connsiteX5" fmla="*/ 183724 w 185520"/>
                          <a:gd name="connsiteY5" fmla="*/ 234070 h 396811"/>
                          <a:gd name="connsiteX6" fmla="*/ 171466 w 185520"/>
                          <a:gd name="connsiteY6" fmla="*/ 113647 h 396811"/>
                          <a:gd name="connsiteX0" fmla="*/ 170767 w 184821"/>
                          <a:gd name="connsiteY0" fmla="*/ 113647 h 387719"/>
                          <a:gd name="connsiteX1" fmla="*/ 75824 w 184821"/>
                          <a:gd name="connsiteY1" fmla="*/ 2146 h 387719"/>
                          <a:gd name="connsiteX2" fmla="*/ 330 w 184821"/>
                          <a:gd name="connsiteY2" fmla="*/ 227444 h 387719"/>
                          <a:gd name="connsiteX3" fmla="*/ 54416 w 184821"/>
                          <a:gd name="connsiteY3" fmla="*/ 294753 h 387719"/>
                          <a:gd name="connsiteX4" fmla="*/ 158072 w 184821"/>
                          <a:gd name="connsiteY4" fmla="*/ 383831 h 387719"/>
                          <a:gd name="connsiteX5" fmla="*/ 183025 w 184821"/>
                          <a:gd name="connsiteY5" fmla="*/ 234070 h 387719"/>
                          <a:gd name="connsiteX6" fmla="*/ 170767 w 184821"/>
                          <a:gd name="connsiteY6" fmla="*/ 113647 h 387719"/>
                          <a:gd name="connsiteX0" fmla="*/ 194313 w 208367"/>
                          <a:gd name="connsiteY0" fmla="*/ 113647 h 387719"/>
                          <a:gd name="connsiteX1" fmla="*/ 99370 w 208367"/>
                          <a:gd name="connsiteY1" fmla="*/ 2146 h 387719"/>
                          <a:gd name="connsiteX2" fmla="*/ 182 w 208367"/>
                          <a:gd name="connsiteY2" fmla="*/ 279863 h 387719"/>
                          <a:gd name="connsiteX3" fmla="*/ 77962 w 208367"/>
                          <a:gd name="connsiteY3" fmla="*/ 294753 h 387719"/>
                          <a:gd name="connsiteX4" fmla="*/ 181618 w 208367"/>
                          <a:gd name="connsiteY4" fmla="*/ 383831 h 387719"/>
                          <a:gd name="connsiteX5" fmla="*/ 206571 w 208367"/>
                          <a:gd name="connsiteY5" fmla="*/ 234070 h 387719"/>
                          <a:gd name="connsiteX6" fmla="*/ 194313 w 208367"/>
                          <a:gd name="connsiteY6" fmla="*/ 113647 h 387719"/>
                          <a:gd name="connsiteX0" fmla="*/ 207936 w 221990"/>
                          <a:gd name="connsiteY0" fmla="*/ 113647 h 400440"/>
                          <a:gd name="connsiteX1" fmla="*/ 112993 w 221990"/>
                          <a:gd name="connsiteY1" fmla="*/ 2146 h 400440"/>
                          <a:gd name="connsiteX2" fmla="*/ 13805 w 221990"/>
                          <a:gd name="connsiteY2" fmla="*/ 279863 h 400440"/>
                          <a:gd name="connsiteX3" fmla="*/ 21510 w 221990"/>
                          <a:gd name="connsiteY3" fmla="*/ 374120 h 400440"/>
                          <a:gd name="connsiteX4" fmla="*/ 195241 w 221990"/>
                          <a:gd name="connsiteY4" fmla="*/ 383831 h 400440"/>
                          <a:gd name="connsiteX5" fmla="*/ 220194 w 221990"/>
                          <a:gd name="connsiteY5" fmla="*/ 234070 h 400440"/>
                          <a:gd name="connsiteX6" fmla="*/ 207936 w 221990"/>
                          <a:gd name="connsiteY6" fmla="*/ 113647 h 400440"/>
                          <a:gd name="connsiteX0" fmla="*/ 207936 w 221990"/>
                          <a:gd name="connsiteY0" fmla="*/ 113647 h 384477"/>
                          <a:gd name="connsiteX1" fmla="*/ 112993 w 221990"/>
                          <a:gd name="connsiteY1" fmla="*/ 2146 h 384477"/>
                          <a:gd name="connsiteX2" fmla="*/ 13805 w 221990"/>
                          <a:gd name="connsiteY2" fmla="*/ 279863 h 384477"/>
                          <a:gd name="connsiteX3" fmla="*/ 21510 w 221990"/>
                          <a:gd name="connsiteY3" fmla="*/ 374120 h 384477"/>
                          <a:gd name="connsiteX4" fmla="*/ 113162 w 221990"/>
                          <a:gd name="connsiteY4" fmla="*/ 323303 h 384477"/>
                          <a:gd name="connsiteX5" fmla="*/ 220194 w 221990"/>
                          <a:gd name="connsiteY5" fmla="*/ 234070 h 384477"/>
                          <a:gd name="connsiteX6" fmla="*/ 207936 w 221990"/>
                          <a:gd name="connsiteY6" fmla="*/ 113647 h 384477"/>
                          <a:gd name="connsiteX0" fmla="*/ 207936 w 211307"/>
                          <a:gd name="connsiteY0" fmla="*/ 113647 h 384477"/>
                          <a:gd name="connsiteX1" fmla="*/ 112993 w 211307"/>
                          <a:gd name="connsiteY1" fmla="*/ 2146 h 384477"/>
                          <a:gd name="connsiteX2" fmla="*/ 13805 w 211307"/>
                          <a:gd name="connsiteY2" fmla="*/ 279863 h 384477"/>
                          <a:gd name="connsiteX3" fmla="*/ 21510 w 211307"/>
                          <a:gd name="connsiteY3" fmla="*/ 374120 h 384477"/>
                          <a:gd name="connsiteX4" fmla="*/ 113162 w 211307"/>
                          <a:gd name="connsiteY4" fmla="*/ 323303 h 384477"/>
                          <a:gd name="connsiteX5" fmla="*/ 169474 w 211307"/>
                          <a:gd name="connsiteY5" fmla="*/ 240351 h 384477"/>
                          <a:gd name="connsiteX6" fmla="*/ 207936 w 211307"/>
                          <a:gd name="connsiteY6" fmla="*/ 113647 h 384477"/>
                          <a:gd name="connsiteX0" fmla="*/ 173979 w 181017"/>
                          <a:gd name="connsiteY0" fmla="*/ 157929 h 383911"/>
                          <a:gd name="connsiteX1" fmla="*/ 112993 w 181017"/>
                          <a:gd name="connsiteY1" fmla="*/ 1580 h 383911"/>
                          <a:gd name="connsiteX2" fmla="*/ 13805 w 181017"/>
                          <a:gd name="connsiteY2" fmla="*/ 279297 h 383911"/>
                          <a:gd name="connsiteX3" fmla="*/ 21510 w 181017"/>
                          <a:gd name="connsiteY3" fmla="*/ 373554 h 383911"/>
                          <a:gd name="connsiteX4" fmla="*/ 113162 w 181017"/>
                          <a:gd name="connsiteY4" fmla="*/ 322737 h 383911"/>
                          <a:gd name="connsiteX5" fmla="*/ 169474 w 181017"/>
                          <a:gd name="connsiteY5" fmla="*/ 239785 h 383911"/>
                          <a:gd name="connsiteX6" fmla="*/ 173979 w 181017"/>
                          <a:gd name="connsiteY6" fmla="*/ 157929 h 383911"/>
                          <a:gd name="connsiteX0" fmla="*/ 173918 w 180956"/>
                          <a:gd name="connsiteY0" fmla="*/ 81382 h 307364"/>
                          <a:gd name="connsiteX1" fmla="*/ 111926 w 180956"/>
                          <a:gd name="connsiteY1" fmla="*/ 2917 h 307364"/>
                          <a:gd name="connsiteX2" fmla="*/ 13744 w 180956"/>
                          <a:gd name="connsiteY2" fmla="*/ 202750 h 307364"/>
                          <a:gd name="connsiteX3" fmla="*/ 21449 w 180956"/>
                          <a:gd name="connsiteY3" fmla="*/ 297007 h 307364"/>
                          <a:gd name="connsiteX4" fmla="*/ 113101 w 180956"/>
                          <a:gd name="connsiteY4" fmla="*/ 246190 h 307364"/>
                          <a:gd name="connsiteX5" fmla="*/ 169413 w 180956"/>
                          <a:gd name="connsiteY5" fmla="*/ 163238 h 307364"/>
                          <a:gd name="connsiteX6" fmla="*/ 173918 w 180956"/>
                          <a:gd name="connsiteY6" fmla="*/ 81382 h 307364"/>
                          <a:gd name="connsiteX0" fmla="*/ 163348 w 170386"/>
                          <a:gd name="connsiteY0" fmla="*/ 81382 h 251896"/>
                          <a:gd name="connsiteX1" fmla="*/ 101356 w 170386"/>
                          <a:gd name="connsiteY1" fmla="*/ 2917 h 251896"/>
                          <a:gd name="connsiteX2" fmla="*/ 3174 w 170386"/>
                          <a:gd name="connsiteY2" fmla="*/ 202750 h 251896"/>
                          <a:gd name="connsiteX3" fmla="*/ 39914 w 170386"/>
                          <a:gd name="connsiteY3" fmla="*/ 187378 h 251896"/>
                          <a:gd name="connsiteX4" fmla="*/ 102531 w 170386"/>
                          <a:gd name="connsiteY4" fmla="*/ 246190 h 251896"/>
                          <a:gd name="connsiteX5" fmla="*/ 158843 w 170386"/>
                          <a:gd name="connsiteY5" fmla="*/ 163238 h 251896"/>
                          <a:gd name="connsiteX6" fmla="*/ 163348 w 170386"/>
                          <a:gd name="connsiteY6" fmla="*/ 81382 h 251896"/>
                          <a:gd name="connsiteX0" fmla="*/ 161438 w 168476"/>
                          <a:gd name="connsiteY0" fmla="*/ 81382 h 251896"/>
                          <a:gd name="connsiteX1" fmla="*/ 99446 w 168476"/>
                          <a:gd name="connsiteY1" fmla="*/ 2917 h 251896"/>
                          <a:gd name="connsiteX2" fmla="*/ 1264 w 168476"/>
                          <a:gd name="connsiteY2" fmla="*/ 202750 h 251896"/>
                          <a:gd name="connsiteX3" fmla="*/ 38004 w 168476"/>
                          <a:gd name="connsiteY3" fmla="*/ 187378 h 251896"/>
                          <a:gd name="connsiteX4" fmla="*/ 100621 w 168476"/>
                          <a:gd name="connsiteY4" fmla="*/ 246190 h 251896"/>
                          <a:gd name="connsiteX5" fmla="*/ 156933 w 168476"/>
                          <a:gd name="connsiteY5" fmla="*/ 163238 h 251896"/>
                          <a:gd name="connsiteX6" fmla="*/ 161438 w 168476"/>
                          <a:gd name="connsiteY6" fmla="*/ 81382 h 251896"/>
                          <a:gd name="connsiteX0" fmla="*/ 123435 w 130473"/>
                          <a:gd name="connsiteY0" fmla="*/ 81079 h 251593"/>
                          <a:gd name="connsiteX1" fmla="*/ 61443 w 130473"/>
                          <a:gd name="connsiteY1" fmla="*/ 2614 h 251593"/>
                          <a:gd name="connsiteX2" fmla="*/ 1 w 130473"/>
                          <a:gd name="connsiteY2" fmla="*/ 187075 h 251593"/>
                          <a:gd name="connsiteX3" fmla="*/ 62618 w 130473"/>
                          <a:gd name="connsiteY3" fmla="*/ 245887 h 251593"/>
                          <a:gd name="connsiteX4" fmla="*/ 118930 w 130473"/>
                          <a:gd name="connsiteY4" fmla="*/ 162935 h 251593"/>
                          <a:gd name="connsiteX5" fmla="*/ 123435 w 130473"/>
                          <a:gd name="connsiteY5" fmla="*/ 81079 h 251593"/>
                          <a:gd name="connsiteX0" fmla="*/ 123435 w 130472"/>
                          <a:gd name="connsiteY0" fmla="*/ 81077 h 281983"/>
                          <a:gd name="connsiteX1" fmla="*/ 61443 w 130472"/>
                          <a:gd name="connsiteY1" fmla="*/ 2612 h 281983"/>
                          <a:gd name="connsiteX2" fmla="*/ 1 w 130472"/>
                          <a:gd name="connsiteY2" fmla="*/ 187073 h 281983"/>
                          <a:gd name="connsiteX3" fmla="*/ 59877 w 130472"/>
                          <a:gd name="connsiteY3" fmla="*/ 278178 h 281983"/>
                          <a:gd name="connsiteX4" fmla="*/ 118930 w 130472"/>
                          <a:gd name="connsiteY4" fmla="*/ 162933 h 281983"/>
                          <a:gd name="connsiteX5" fmla="*/ 123435 w 130472"/>
                          <a:gd name="connsiteY5" fmla="*/ 81077 h 281983"/>
                          <a:gd name="connsiteX0" fmla="*/ 134182 w 141219"/>
                          <a:gd name="connsiteY0" fmla="*/ 81077 h 287817"/>
                          <a:gd name="connsiteX1" fmla="*/ 72190 w 141219"/>
                          <a:gd name="connsiteY1" fmla="*/ 2612 h 287817"/>
                          <a:gd name="connsiteX2" fmla="*/ 0 w 141219"/>
                          <a:gd name="connsiteY2" fmla="*/ 247392 h 287817"/>
                          <a:gd name="connsiteX3" fmla="*/ 70624 w 141219"/>
                          <a:gd name="connsiteY3" fmla="*/ 278178 h 287817"/>
                          <a:gd name="connsiteX4" fmla="*/ 129677 w 141219"/>
                          <a:gd name="connsiteY4" fmla="*/ 162933 h 287817"/>
                          <a:gd name="connsiteX5" fmla="*/ 134182 w 141219"/>
                          <a:gd name="connsiteY5" fmla="*/ 81077 h 287817"/>
                          <a:gd name="connsiteX0" fmla="*/ 134182 w 153409"/>
                          <a:gd name="connsiteY0" fmla="*/ 81077 h 287819"/>
                          <a:gd name="connsiteX1" fmla="*/ 72190 w 153409"/>
                          <a:gd name="connsiteY1" fmla="*/ 2612 h 287819"/>
                          <a:gd name="connsiteX2" fmla="*/ 0 w 153409"/>
                          <a:gd name="connsiteY2" fmla="*/ 247392 h 287819"/>
                          <a:gd name="connsiteX3" fmla="*/ 70624 w 153409"/>
                          <a:gd name="connsiteY3" fmla="*/ 278178 h 287819"/>
                          <a:gd name="connsiteX4" fmla="*/ 152664 w 153409"/>
                          <a:gd name="connsiteY4" fmla="*/ 166785 h 287819"/>
                          <a:gd name="connsiteX5" fmla="*/ 134182 w 153409"/>
                          <a:gd name="connsiteY5" fmla="*/ 81077 h 287819"/>
                          <a:gd name="connsiteX0" fmla="*/ 134182 w 153409"/>
                          <a:gd name="connsiteY0" fmla="*/ 103875 h 310615"/>
                          <a:gd name="connsiteX1" fmla="*/ 67739 w 153409"/>
                          <a:gd name="connsiteY1" fmla="*/ 2075 h 310615"/>
                          <a:gd name="connsiteX2" fmla="*/ 0 w 153409"/>
                          <a:gd name="connsiteY2" fmla="*/ 270190 h 310615"/>
                          <a:gd name="connsiteX3" fmla="*/ 70624 w 153409"/>
                          <a:gd name="connsiteY3" fmla="*/ 300976 h 310615"/>
                          <a:gd name="connsiteX4" fmla="*/ 152664 w 153409"/>
                          <a:gd name="connsiteY4" fmla="*/ 189583 h 310615"/>
                          <a:gd name="connsiteX5" fmla="*/ 134182 w 153409"/>
                          <a:gd name="connsiteY5" fmla="*/ 103875 h 310615"/>
                          <a:gd name="connsiteX0" fmla="*/ 134870 w 154097"/>
                          <a:gd name="connsiteY0" fmla="*/ 103875 h 310617"/>
                          <a:gd name="connsiteX1" fmla="*/ 68427 w 154097"/>
                          <a:gd name="connsiteY1" fmla="*/ 2075 h 310617"/>
                          <a:gd name="connsiteX2" fmla="*/ 50547 w 154097"/>
                          <a:gd name="connsiteY2" fmla="*/ 129528 h 310617"/>
                          <a:gd name="connsiteX3" fmla="*/ 688 w 154097"/>
                          <a:gd name="connsiteY3" fmla="*/ 270190 h 310617"/>
                          <a:gd name="connsiteX4" fmla="*/ 71312 w 154097"/>
                          <a:gd name="connsiteY4" fmla="*/ 300976 h 310617"/>
                          <a:gd name="connsiteX5" fmla="*/ 153352 w 154097"/>
                          <a:gd name="connsiteY5" fmla="*/ 189583 h 310617"/>
                          <a:gd name="connsiteX6" fmla="*/ 134870 w 154097"/>
                          <a:gd name="connsiteY6" fmla="*/ 103875 h 31061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54097" h="310617">
                            <a:moveTo>
                              <a:pt x="134870" y="103875"/>
                            </a:moveTo>
                            <a:cubicBezTo>
                              <a:pt x="117854" y="84776"/>
                              <a:pt x="88999" y="-15591"/>
                              <a:pt x="68427" y="2075"/>
                            </a:cubicBezTo>
                            <a:cubicBezTo>
                              <a:pt x="51049" y="4476"/>
                              <a:pt x="61837" y="84842"/>
                              <a:pt x="50547" y="129528"/>
                            </a:cubicBezTo>
                            <a:cubicBezTo>
                              <a:pt x="39257" y="174214"/>
                              <a:pt x="-6097" y="239741"/>
                              <a:pt x="688" y="270190"/>
                            </a:cubicBezTo>
                            <a:cubicBezTo>
                              <a:pt x="32519" y="305434"/>
                              <a:pt x="48000" y="322809"/>
                              <a:pt x="71312" y="300976"/>
                            </a:cubicBezTo>
                            <a:cubicBezTo>
                              <a:pt x="94624" y="279143"/>
                              <a:pt x="150681" y="218188"/>
                              <a:pt x="153352" y="189583"/>
                            </a:cubicBezTo>
                            <a:cubicBezTo>
                              <a:pt x="156023" y="160978"/>
                              <a:pt x="151887" y="122974"/>
                              <a:pt x="134870" y="103875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310" name="Freeform 286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5138100" y="5468068"/>
                        <a:ext cx="125190" cy="163294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399682 w 516301"/>
                          <a:gd name="connsiteY0" fmla="*/ 1010 h 421254"/>
                          <a:gd name="connsiteX1" fmla="*/ 10420 w 516301"/>
                          <a:gd name="connsiteY1" fmla="*/ 158802 h 421254"/>
                          <a:gd name="connsiteX2" fmla="*/ 119284 w 516301"/>
                          <a:gd name="connsiteY2" fmla="*/ 373513 h 421254"/>
                          <a:gd name="connsiteX3" fmla="*/ 223300 w 516301"/>
                          <a:gd name="connsiteY3" fmla="*/ 412622 h 421254"/>
                          <a:gd name="connsiteX4" fmla="*/ 500779 w 516301"/>
                          <a:gd name="connsiteY4" fmla="*/ 234448 h 421254"/>
                          <a:gd name="connsiteX5" fmla="*/ 399682 w 516301"/>
                          <a:gd name="connsiteY5" fmla="*/ 1010 h 421254"/>
                          <a:gd name="connsiteX0" fmla="*/ 400635 w 517254"/>
                          <a:gd name="connsiteY0" fmla="*/ 1205 h 500568"/>
                          <a:gd name="connsiteX1" fmla="*/ 11373 w 517254"/>
                          <a:gd name="connsiteY1" fmla="*/ 158997 h 500568"/>
                          <a:gd name="connsiteX2" fmla="*/ 112660 w 517254"/>
                          <a:gd name="connsiteY2" fmla="*/ 492609 h 500568"/>
                          <a:gd name="connsiteX3" fmla="*/ 224253 w 517254"/>
                          <a:gd name="connsiteY3" fmla="*/ 412817 h 500568"/>
                          <a:gd name="connsiteX4" fmla="*/ 501732 w 517254"/>
                          <a:gd name="connsiteY4" fmla="*/ 234643 h 500568"/>
                          <a:gd name="connsiteX5" fmla="*/ 400635 w 517254"/>
                          <a:gd name="connsiteY5" fmla="*/ 1205 h 500568"/>
                          <a:gd name="connsiteX0" fmla="*/ 400635 w 517254"/>
                          <a:gd name="connsiteY0" fmla="*/ 1205 h 500507"/>
                          <a:gd name="connsiteX1" fmla="*/ 11373 w 517254"/>
                          <a:gd name="connsiteY1" fmla="*/ 158997 h 500507"/>
                          <a:gd name="connsiteX2" fmla="*/ 112660 w 517254"/>
                          <a:gd name="connsiteY2" fmla="*/ 492609 h 500507"/>
                          <a:gd name="connsiteX3" fmla="*/ 224253 w 517254"/>
                          <a:gd name="connsiteY3" fmla="*/ 412817 h 500507"/>
                          <a:gd name="connsiteX4" fmla="*/ 317232 w 517254"/>
                          <a:gd name="connsiteY4" fmla="*/ 297923 h 500507"/>
                          <a:gd name="connsiteX5" fmla="*/ 501732 w 517254"/>
                          <a:gd name="connsiteY5" fmla="*/ 234643 h 500507"/>
                          <a:gd name="connsiteX6" fmla="*/ 400635 w 517254"/>
                          <a:gd name="connsiteY6" fmla="*/ 1205 h 500507"/>
                          <a:gd name="connsiteX0" fmla="*/ 400635 w 504610"/>
                          <a:gd name="connsiteY0" fmla="*/ 170 h 499472"/>
                          <a:gd name="connsiteX1" fmla="*/ 11373 w 504610"/>
                          <a:gd name="connsiteY1" fmla="*/ 157962 h 499472"/>
                          <a:gd name="connsiteX2" fmla="*/ 112660 w 504610"/>
                          <a:gd name="connsiteY2" fmla="*/ 491574 h 499472"/>
                          <a:gd name="connsiteX3" fmla="*/ 224253 w 504610"/>
                          <a:gd name="connsiteY3" fmla="*/ 411782 h 499472"/>
                          <a:gd name="connsiteX4" fmla="*/ 317232 w 504610"/>
                          <a:gd name="connsiteY4" fmla="*/ 296888 h 499472"/>
                          <a:gd name="connsiteX5" fmla="*/ 501732 w 504610"/>
                          <a:gd name="connsiteY5" fmla="*/ 233608 h 499472"/>
                          <a:gd name="connsiteX6" fmla="*/ 306603 w 504610"/>
                          <a:gd name="connsiteY6" fmla="*/ 184221 h 499472"/>
                          <a:gd name="connsiteX7" fmla="*/ 400635 w 504610"/>
                          <a:gd name="connsiteY7" fmla="*/ 170 h 499472"/>
                          <a:gd name="connsiteX0" fmla="*/ 400635 w 504679"/>
                          <a:gd name="connsiteY0" fmla="*/ 170 h 499472"/>
                          <a:gd name="connsiteX1" fmla="*/ 11373 w 504679"/>
                          <a:gd name="connsiteY1" fmla="*/ 157962 h 499472"/>
                          <a:gd name="connsiteX2" fmla="*/ 112660 w 504679"/>
                          <a:gd name="connsiteY2" fmla="*/ 491574 h 499472"/>
                          <a:gd name="connsiteX3" fmla="*/ 224253 w 504679"/>
                          <a:gd name="connsiteY3" fmla="*/ 411782 h 499472"/>
                          <a:gd name="connsiteX4" fmla="*/ 317232 w 504679"/>
                          <a:gd name="connsiteY4" fmla="*/ 296888 h 499472"/>
                          <a:gd name="connsiteX5" fmla="*/ 311162 w 504679"/>
                          <a:gd name="connsiteY5" fmla="*/ 298968 h 499472"/>
                          <a:gd name="connsiteX6" fmla="*/ 501732 w 504679"/>
                          <a:gd name="connsiteY6" fmla="*/ 233608 h 499472"/>
                          <a:gd name="connsiteX7" fmla="*/ 306603 w 504679"/>
                          <a:gd name="connsiteY7" fmla="*/ 184221 h 499472"/>
                          <a:gd name="connsiteX8" fmla="*/ 400635 w 504679"/>
                          <a:gd name="connsiteY8" fmla="*/ 170 h 499472"/>
                          <a:gd name="connsiteX0" fmla="*/ 400635 w 411811"/>
                          <a:gd name="connsiteY0" fmla="*/ 170 h 499472"/>
                          <a:gd name="connsiteX1" fmla="*/ 11373 w 411811"/>
                          <a:gd name="connsiteY1" fmla="*/ 157962 h 499472"/>
                          <a:gd name="connsiteX2" fmla="*/ 112660 w 411811"/>
                          <a:gd name="connsiteY2" fmla="*/ 491574 h 499472"/>
                          <a:gd name="connsiteX3" fmla="*/ 224253 w 411811"/>
                          <a:gd name="connsiteY3" fmla="*/ 411782 h 499472"/>
                          <a:gd name="connsiteX4" fmla="*/ 317232 w 411811"/>
                          <a:gd name="connsiteY4" fmla="*/ 296888 h 499472"/>
                          <a:gd name="connsiteX5" fmla="*/ 311162 w 411811"/>
                          <a:gd name="connsiteY5" fmla="*/ 298968 h 499472"/>
                          <a:gd name="connsiteX6" fmla="*/ 306603 w 411811"/>
                          <a:gd name="connsiteY6" fmla="*/ 184221 h 499472"/>
                          <a:gd name="connsiteX7" fmla="*/ 400635 w 411811"/>
                          <a:gd name="connsiteY7" fmla="*/ 170 h 499472"/>
                          <a:gd name="connsiteX0" fmla="*/ 344675 w 361138"/>
                          <a:gd name="connsiteY0" fmla="*/ 231 h 473092"/>
                          <a:gd name="connsiteX1" fmla="*/ 8407 w 361138"/>
                          <a:gd name="connsiteY1" fmla="*/ 131582 h 473092"/>
                          <a:gd name="connsiteX2" fmla="*/ 109694 w 361138"/>
                          <a:gd name="connsiteY2" fmla="*/ 465194 h 473092"/>
                          <a:gd name="connsiteX3" fmla="*/ 221287 w 361138"/>
                          <a:gd name="connsiteY3" fmla="*/ 385402 h 473092"/>
                          <a:gd name="connsiteX4" fmla="*/ 314266 w 361138"/>
                          <a:gd name="connsiteY4" fmla="*/ 270508 h 473092"/>
                          <a:gd name="connsiteX5" fmla="*/ 308196 w 361138"/>
                          <a:gd name="connsiteY5" fmla="*/ 272588 h 473092"/>
                          <a:gd name="connsiteX6" fmla="*/ 303637 w 361138"/>
                          <a:gd name="connsiteY6" fmla="*/ 157841 h 473092"/>
                          <a:gd name="connsiteX7" fmla="*/ 344675 w 361138"/>
                          <a:gd name="connsiteY7" fmla="*/ 231 h 473092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09825 w 313478"/>
                          <a:gd name="connsiteY0" fmla="*/ 2 h 472863"/>
                          <a:gd name="connsiteX1" fmla="*/ 171247 w 313478"/>
                          <a:gd name="connsiteY1" fmla="*/ 157767 h 472863"/>
                          <a:gd name="connsiteX2" fmla="*/ 2828 w 313478"/>
                          <a:gd name="connsiteY2" fmla="*/ 270869 h 472863"/>
                          <a:gd name="connsiteX3" fmla="*/ 74844 w 313478"/>
                          <a:gd name="connsiteY3" fmla="*/ 464965 h 472863"/>
                          <a:gd name="connsiteX4" fmla="*/ 186437 w 313478"/>
                          <a:gd name="connsiteY4" fmla="*/ 385173 h 472863"/>
                          <a:gd name="connsiteX5" fmla="*/ 279416 w 313478"/>
                          <a:gd name="connsiteY5" fmla="*/ 270279 h 472863"/>
                          <a:gd name="connsiteX6" fmla="*/ 273346 w 313478"/>
                          <a:gd name="connsiteY6" fmla="*/ 272359 h 472863"/>
                          <a:gd name="connsiteX7" fmla="*/ 268787 w 313478"/>
                          <a:gd name="connsiteY7" fmla="*/ 157612 h 472863"/>
                          <a:gd name="connsiteX8" fmla="*/ 309825 w 313478"/>
                          <a:gd name="connsiteY8" fmla="*/ 2 h 472863"/>
                          <a:gd name="connsiteX0" fmla="*/ 268787 w 297124"/>
                          <a:gd name="connsiteY0" fmla="*/ 14163 h 329414"/>
                          <a:gd name="connsiteX1" fmla="*/ 171247 w 297124"/>
                          <a:gd name="connsiteY1" fmla="*/ 14318 h 329414"/>
                          <a:gd name="connsiteX2" fmla="*/ 2828 w 297124"/>
                          <a:gd name="connsiteY2" fmla="*/ 127420 h 329414"/>
                          <a:gd name="connsiteX3" fmla="*/ 74844 w 297124"/>
                          <a:gd name="connsiteY3" fmla="*/ 321516 h 329414"/>
                          <a:gd name="connsiteX4" fmla="*/ 186437 w 297124"/>
                          <a:gd name="connsiteY4" fmla="*/ 241724 h 329414"/>
                          <a:gd name="connsiteX5" fmla="*/ 279416 w 297124"/>
                          <a:gd name="connsiteY5" fmla="*/ 126830 h 329414"/>
                          <a:gd name="connsiteX6" fmla="*/ 273346 w 297124"/>
                          <a:gd name="connsiteY6" fmla="*/ 128910 h 329414"/>
                          <a:gd name="connsiteX7" fmla="*/ 268787 w 297124"/>
                          <a:gd name="connsiteY7" fmla="*/ 14163 h 329414"/>
                          <a:gd name="connsiteX0" fmla="*/ 194771 w 297124"/>
                          <a:gd name="connsiteY0" fmla="*/ 54292 h 319287"/>
                          <a:gd name="connsiteX1" fmla="*/ 171247 w 297124"/>
                          <a:gd name="connsiteY1" fmla="*/ 4191 h 319287"/>
                          <a:gd name="connsiteX2" fmla="*/ 2828 w 297124"/>
                          <a:gd name="connsiteY2" fmla="*/ 117293 h 319287"/>
                          <a:gd name="connsiteX3" fmla="*/ 74844 w 297124"/>
                          <a:gd name="connsiteY3" fmla="*/ 311389 h 319287"/>
                          <a:gd name="connsiteX4" fmla="*/ 186437 w 297124"/>
                          <a:gd name="connsiteY4" fmla="*/ 231597 h 319287"/>
                          <a:gd name="connsiteX5" fmla="*/ 279416 w 297124"/>
                          <a:gd name="connsiteY5" fmla="*/ 116703 h 319287"/>
                          <a:gd name="connsiteX6" fmla="*/ 273346 w 297124"/>
                          <a:gd name="connsiteY6" fmla="*/ 118783 h 319287"/>
                          <a:gd name="connsiteX7" fmla="*/ 194771 w 297124"/>
                          <a:gd name="connsiteY7" fmla="*/ 54292 h 319287"/>
                          <a:gd name="connsiteX0" fmla="*/ 176997 w 297124"/>
                          <a:gd name="connsiteY0" fmla="*/ 92018 h 317703"/>
                          <a:gd name="connsiteX1" fmla="*/ 171247 w 297124"/>
                          <a:gd name="connsiteY1" fmla="*/ 2607 h 317703"/>
                          <a:gd name="connsiteX2" fmla="*/ 2828 w 297124"/>
                          <a:gd name="connsiteY2" fmla="*/ 115709 h 317703"/>
                          <a:gd name="connsiteX3" fmla="*/ 74844 w 297124"/>
                          <a:gd name="connsiteY3" fmla="*/ 309805 h 317703"/>
                          <a:gd name="connsiteX4" fmla="*/ 186437 w 297124"/>
                          <a:gd name="connsiteY4" fmla="*/ 230013 h 317703"/>
                          <a:gd name="connsiteX5" fmla="*/ 279416 w 297124"/>
                          <a:gd name="connsiteY5" fmla="*/ 115119 h 317703"/>
                          <a:gd name="connsiteX6" fmla="*/ 273346 w 297124"/>
                          <a:gd name="connsiteY6" fmla="*/ 117199 h 317703"/>
                          <a:gd name="connsiteX7" fmla="*/ 176997 w 297124"/>
                          <a:gd name="connsiteY7" fmla="*/ 92018 h 317703"/>
                          <a:gd name="connsiteX0" fmla="*/ 226739 w 297124"/>
                          <a:gd name="connsiteY0" fmla="*/ 51834 h 319465"/>
                          <a:gd name="connsiteX1" fmla="*/ 171247 w 297124"/>
                          <a:gd name="connsiteY1" fmla="*/ 4369 h 319465"/>
                          <a:gd name="connsiteX2" fmla="*/ 2828 w 297124"/>
                          <a:gd name="connsiteY2" fmla="*/ 117471 h 319465"/>
                          <a:gd name="connsiteX3" fmla="*/ 74844 w 297124"/>
                          <a:gd name="connsiteY3" fmla="*/ 311567 h 319465"/>
                          <a:gd name="connsiteX4" fmla="*/ 186437 w 297124"/>
                          <a:gd name="connsiteY4" fmla="*/ 231775 h 319465"/>
                          <a:gd name="connsiteX5" fmla="*/ 279416 w 297124"/>
                          <a:gd name="connsiteY5" fmla="*/ 116881 h 319465"/>
                          <a:gd name="connsiteX6" fmla="*/ 273346 w 297124"/>
                          <a:gd name="connsiteY6" fmla="*/ 118961 h 319465"/>
                          <a:gd name="connsiteX7" fmla="*/ 226739 w 297124"/>
                          <a:gd name="connsiteY7" fmla="*/ 51834 h 319465"/>
                          <a:gd name="connsiteX0" fmla="*/ 226739 w 289446"/>
                          <a:gd name="connsiteY0" fmla="*/ 51834 h 319465"/>
                          <a:gd name="connsiteX1" fmla="*/ 171247 w 289446"/>
                          <a:gd name="connsiteY1" fmla="*/ 4369 h 319465"/>
                          <a:gd name="connsiteX2" fmla="*/ 2828 w 289446"/>
                          <a:gd name="connsiteY2" fmla="*/ 117471 h 319465"/>
                          <a:gd name="connsiteX3" fmla="*/ 74844 w 289446"/>
                          <a:gd name="connsiteY3" fmla="*/ 311567 h 319465"/>
                          <a:gd name="connsiteX4" fmla="*/ 186437 w 289446"/>
                          <a:gd name="connsiteY4" fmla="*/ 231775 h 319465"/>
                          <a:gd name="connsiteX5" fmla="*/ 279416 w 289446"/>
                          <a:gd name="connsiteY5" fmla="*/ 116881 h 319465"/>
                          <a:gd name="connsiteX6" fmla="*/ 214719 w 289446"/>
                          <a:gd name="connsiteY6" fmla="*/ 180566 h 319465"/>
                          <a:gd name="connsiteX7" fmla="*/ 226739 w 289446"/>
                          <a:gd name="connsiteY7" fmla="*/ 51834 h 319465"/>
                          <a:gd name="connsiteX0" fmla="*/ 202461 w 289446"/>
                          <a:gd name="connsiteY0" fmla="*/ 59631 h 318953"/>
                          <a:gd name="connsiteX1" fmla="*/ 171247 w 289446"/>
                          <a:gd name="connsiteY1" fmla="*/ 3857 h 318953"/>
                          <a:gd name="connsiteX2" fmla="*/ 2828 w 289446"/>
                          <a:gd name="connsiteY2" fmla="*/ 116959 h 318953"/>
                          <a:gd name="connsiteX3" fmla="*/ 74844 w 289446"/>
                          <a:gd name="connsiteY3" fmla="*/ 311055 h 318953"/>
                          <a:gd name="connsiteX4" fmla="*/ 186437 w 289446"/>
                          <a:gd name="connsiteY4" fmla="*/ 231263 h 318953"/>
                          <a:gd name="connsiteX5" fmla="*/ 279416 w 289446"/>
                          <a:gd name="connsiteY5" fmla="*/ 116369 h 318953"/>
                          <a:gd name="connsiteX6" fmla="*/ 214719 w 289446"/>
                          <a:gd name="connsiteY6" fmla="*/ 180054 h 318953"/>
                          <a:gd name="connsiteX7" fmla="*/ 202461 w 289446"/>
                          <a:gd name="connsiteY7" fmla="*/ 59631 h 318953"/>
                          <a:gd name="connsiteX0" fmla="*/ 202461 w 216515"/>
                          <a:gd name="connsiteY0" fmla="*/ 59631 h 318929"/>
                          <a:gd name="connsiteX1" fmla="*/ 171247 w 216515"/>
                          <a:gd name="connsiteY1" fmla="*/ 3857 h 318929"/>
                          <a:gd name="connsiteX2" fmla="*/ 2828 w 216515"/>
                          <a:gd name="connsiteY2" fmla="*/ 116959 h 318929"/>
                          <a:gd name="connsiteX3" fmla="*/ 74844 w 216515"/>
                          <a:gd name="connsiteY3" fmla="*/ 311055 h 318929"/>
                          <a:gd name="connsiteX4" fmla="*/ 186437 w 216515"/>
                          <a:gd name="connsiteY4" fmla="*/ 231263 h 318929"/>
                          <a:gd name="connsiteX5" fmla="*/ 214719 w 216515"/>
                          <a:gd name="connsiteY5" fmla="*/ 180054 h 318929"/>
                          <a:gd name="connsiteX6" fmla="*/ 202461 w 216515"/>
                          <a:gd name="connsiteY6" fmla="*/ 59631 h 318929"/>
                          <a:gd name="connsiteX0" fmla="*/ 200078 w 214132"/>
                          <a:gd name="connsiteY0" fmla="*/ 113647 h 372945"/>
                          <a:gd name="connsiteX1" fmla="*/ 105135 w 214132"/>
                          <a:gd name="connsiteY1" fmla="*/ 2146 h 372945"/>
                          <a:gd name="connsiteX2" fmla="*/ 445 w 214132"/>
                          <a:gd name="connsiteY2" fmla="*/ 170975 h 372945"/>
                          <a:gd name="connsiteX3" fmla="*/ 72461 w 214132"/>
                          <a:gd name="connsiteY3" fmla="*/ 365071 h 372945"/>
                          <a:gd name="connsiteX4" fmla="*/ 184054 w 214132"/>
                          <a:gd name="connsiteY4" fmla="*/ 285279 h 372945"/>
                          <a:gd name="connsiteX5" fmla="*/ 212336 w 214132"/>
                          <a:gd name="connsiteY5" fmla="*/ 234070 h 372945"/>
                          <a:gd name="connsiteX6" fmla="*/ 200078 w 214132"/>
                          <a:gd name="connsiteY6" fmla="*/ 113647 h 372945"/>
                          <a:gd name="connsiteX0" fmla="*/ 171466 w 185520"/>
                          <a:gd name="connsiteY0" fmla="*/ 113647 h 372945"/>
                          <a:gd name="connsiteX1" fmla="*/ 76523 w 185520"/>
                          <a:gd name="connsiteY1" fmla="*/ 2146 h 372945"/>
                          <a:gd name="connsiteX2" fmla="*/ 1029 w 185520"/>
                          <a:gd name="connsiteY2" fmla="*/ 227444 h 372945"/>
                          <a:gd name="connsiteX3" fmla="*/ 43849 w 185520"/>
                          <a:gd name="connsiteY3" fmla="*/ 365071 h 372945"/>
                          <a:gd name="connsiteX4" fmla="*/ 155442 w 185520"/>
                          <a:gd name="connsiteY4" fmla="*/ 285279 h 372945"/>
                          <a:gd name="connsiteX5" fmla="*/ 183724 w 185520"/>
                          <a:gd name="connsiteY5" fmla="*/ 234070 h 372945"/>
                          <a:gd name="connsiteX6" fmla="*/ 171466 w 185520"/>
                          <a:gd name="connsiteY6" fmla="*/ 113647 h 372945"/>
                          <a:gd name="connsiteX0" fmla="*/ 171466 w 185520"/>
                          <a:gd name="connsiteY0" fmla="*/ 113647 h 396811"/>
                          <a:gd name="connsiteX1" fmla="*/ 76523 w 185520"/>
                          <a:gd name="connsiteY1" fmla="*/ 2146 h 396811"/>
                          <a:gd name="connsiteX2" fmla="*/ 1029 w 185520"/>
                          <a:gd name="connsiteY2" fmla="*/ 227444 h 396811"/>
                          <a:gd name="connsiteX3" fmla="*/ 43849 w 185520"/>
                          <a:gd name="connsiteY3" fmla="*/ 365071 h 396811"/>
                          <a:gd name="connsiteX4" fmla="*/ 158771 w 185520"/>
                          <a:gd name="connsiteY4" fmla="*/ 383831 h 396811"/>
                          <a:gd name="connsiteX5" fmla="*/ 183724 w 185520"/>
                          <a:gd name="connsiteY5" fmla="*/ 234070 h 396811"/>
                          <a:gd name="connsiteX6" fmla="*/ 171466 w 185520"/>
                          <a:gd name="connsiteY6" fmla="*/ 113647 h 396811"/>
                          <a:gd name="connsiteX0" fmla="*/ 170767 w 184821"/>
                          <a:gd name="connsiteY0" fmla="*/ 113647 h 387719"/>
                          <a:gd name="connsiteX1" fmla="*/ 75824 w 184821"/>
                          <a:gd name="connsiteY1" fmla="*/ 2146 h 387719"/>
                          <a:gd name="connsiteX2" fmla="*/ 330 w 184821"/>
                          <a:gd name="connsiteY2" fmla="*/ 227444 h 387719"/>
                          <a:gd name="connsiteX3" fmla="*/ 54416 w 184821"/>
                          <a:gd name="connsiteY3" fmla="*/ 294753 h 387719"/>
                          <a:gd name="connsiteX4" fmla="*/ 158072 w 184821"/>
                          <a:gd name="connsiteY4" fmla="*/ 383831 h 387719"/>
                          <a:gd name="connsiteX5" fmla="*/ 183025 w 184821"/>
                          <a:gd name="connsiteY5" fmla="*/ 234070 h 387719"/>
                          <a:gd name="connsiteX6" fmla="*/ 170767 w 184821"/>
                          <a:gd name="connsiteY6" fmla="*/ 113647 h 387719"/>
                          <a:gd name="connsiteX0" fmla="*/ 194313 w 208367"/>
                          <a:gd name="connsiteY0" fmla="*/ 113647 h 387719"/>
                          <a:gd name="connsiteX1" fmla="*/ 99370 w 208367"/>
                          <a:gd name="connsiteY1" fmla="*/ 2146 h 387719"/>
                          <a:gd name="connsiteX2" fmla="*/ 182 w 208367"/>
                          <a:gd name="connsiteY2" fmla="*/ 279863 h 387719"/>
                          <a:gd name="connsiteX3" fmla="*/ 77962 w 208367"/>
                          <a:gd name="connsiteY3" fmla="*/ 294753 h 387719"/>
                          <a:gd name="connsiteX4" fmla="*/ 181618 w 208367"/>
                          <a:gd name="connsiteY4" fmla="*/ 383831 h 387719"/>
                          <a:gd name="connsiteX5" fmla="*/ 206571 w 208367"/>
                          <a:gd name="connsiteY5" fmla="*/ 234070 h 387719"/>
                          <a:gd name="connsiteX6" fmla="*/ 194313 w 208367"/>
                          <a:gd name="connsiteY6" fmla="*/ 113647 h 387719"/>
                          <a:gd name="connsiteX0" fmla="*/ 207936 w 221990"/>
                          <a:gd name="connsiteY0" fmla="*/ 113647 h 400440"/>
                          <a:gd name="connsiteX1" fmla="*/ 112993 w 221990"/>
                          <a:gd name="connsiteY1" fmla="*/ 2146 h 400440"/>
                          <a:gd name="connsiteX2" fmla="*/ 13805 w 221990"/>
                          <a:gd name="connsiteY2" fmla="*/ 279863 h 400440"/>
                          <a:gd name="connsiteX3" fmla="*/ 21510 w 221990"/>
                          <a:gd name="connsiteY3" fmla="*/ 374120 h 400440"/>
                          <a:gd name="connsiteX4" fmla="*/ 195241 w 221990"/>
                          <a:gd name="connsiteY4" fmla="*/ 383831 h 400440"/>
                          <a:gd name="connsiteX5" fmla="*/ 220194 w 221990"/>
                          <a:gd name="connsiteY5" fmla="*/ 234070 h 400440"/>
                          <a:gd name="connsiteX6" fmla="*/ 207936 w 221990"/>
                          <a:gd name="connsiteY6" fmla="*/ 113647 h 400440"/>
                          <a:gd name="connsiteX0" fmla="*/ 207936 w 221990"/>
                          <a:gd name="connsiteY0" fmla="*/ 113647 h 384477"/>
                          <a:gd name="connsiteX1" fmla="*/ 112993 w 221990"/>
                          <a:gd name="connsiteY1" fmla="*/ 2146 h 384477"/>
                          <a:gd name="connsiteX2" fmla="*/ 13805 w 221990"/>
                          <a:gd name="connsiteY2" fmla="*/ 279863 h 384477"/>
                          <a:gd name="connsiteX3" fmla="*/ 21510 w 221990"/>
                          <a:gd name="connsiteY3" fmla="*/ 374120 h 384477"/>
                          <a:gd name="connsiteX4" fmla="*/ 113162 w 221990"/>
                          <a:gd name="connsiteY4" fmla="*/ 323303 h 384477"/>
                          <a:gd name="connsiteX5" fmla="*/ 220194 w 221990"/>
                          <a:gd name="connsiteY5" fmla="*/ 234070 h 384477"/>
                          <a:gd name="connsiteX6" fmla="*/ 207936 w 221990"/>
                          <a:gd name="connsiteY6" fmla="*/ 113647 h 384477"/>
                          <a:gd name="connsiteX0" fmla="*/ 207936 w 211307"/>
                          <a:gd name="connsiteY0" fmla="*/ 113647 h 384477"/>
                          <a:gd name="connsiteX1" fmla="*/ 112993 w 211307"/>
                          <a:gd name="connsiteY1" fmla="*/ 2146 h 384477"/>
                          <a:gd name="connsiteX2" fmla="*/ 13805 w 211307"/>
                          <a:gd name="connsiteY2" fmla="*/ 279863 h 384477"/>
                          <a:gd name="connsiteX3" fmla="*/ 21510 w 211307"/>
                          <a:gd name="connsiteY3" fmla="*/ 374120 h 384477"/>
                          <a:gd name="connsiteX4" fmla="*/ 113162 w 211307"/>
                          <a:gd name="connsiteY4" fmla="*/ 323303 h 384477"/>
                          <a:gd name="connsiteX5" fmla="*/ 169474 w 211307"/>
                          <a:gd name="connsiteY5" fmla="*/ 240351 h 384477"/>
                          <a:gd name="connsiteX6" fmla="*/ 207936 w 211307"/>
                          <a:gd name="connsiteY6" fmla="*/ 113647 h 384477"/>
                          <a:gd name="connsiteX0" fmla="*/ 173979 w 181017"/>
                          <a:gd name="connsiteY0" fmla="*/ 157929 h 383911"/>
                          <a:gd name="connsiteX1" fmla="*/ 112993 w 181017"/>
                          <a:gd name="connsiteY1" fmla="*/ 1580 h 383911"/>
                          <a:gd name="connsiteX2" fmla="*/ 13805 w 181017"/>
                          <a:gd name="connsiteY2" fmla="*/ 279297 h 383911"/>
                          <a:gd name="connsiteX3" fmla="*/ 21510 w 181017"/>
                          <a:gd name="connsiteY3" fmla="*/ 373554 h 383911"/>
                          <a:gd name="connsiteX4" fmla="*/ 113162 w 181017"/>
                          <a:gd name="connsiteY4" fmla="*/ 322737 h 383911"/>
                          <a:gd name="connsiteX5" fmla="*/ 169474 w 181017"/>
                          <a:gd name="connsiteY5" fmla="*/ 239785 h 383911"/>
                          <a:gd name="connsiteX6" fmla="*/ 173979 w 181017"/>
                          <a:gd name="connsiteY6" fmla="*/ 157929 h 383911"/>
                          <a:gd name="connsiteX0" fmla="*/ 173918 w 180956"/>
                          <a:gd name="connsiteY0" fmla="*/ 81382 h 307364"/>
                          <a:gd name="connsiteX1" fmla="*/ 111926 w 180956"/>
                          <a:gd name="connsiteY1" fmla="*/ 2917 h 307364"/>
                          <a:gd name="connsiteX2" fmla="*/ 13744 w 180956"/>
                          <a:gd name="connsiteY2" fmla="*/ 202750 h 307364"/>
                          <a:gd name="connsiteX3" fmla="*/ 21449 w 180956"/>
                          <a:gd name="connsiteY3" fmla="*/ 297007 h 307364"/>
                          <a:gd name="connsiteX4" fmla="*/ 113101 w 180956"/>
                          <a:gd name="connsiteY4" fmla="*/ 246190 h 307364"/>
                          <a:gd name="connsiteX5" fmla="*/ 169413 w 180956"/>
                          <a:gd name="connsiteY5" fmla="*/ 163238 h 307364"/>
                          <a:gd name="connsiteX6" fmla="*/ 173918 w 180956"/>
                          <a:gd name="connsiteY6" fmla="*/ 81382 h 307364"/>
                          <a:gd name="connsiteX0" fmla="*/ 163348 w 170386"/>
                          <a:gd name="connsiteY0" fmla="*/ 81382 h 251896"/>
                          <a:gd name="connsiteX1" fmla="*/ 101356 w 170386"/>
                          <a:gd name="connsiteY1" fmla="*/ 2917 h 251896"/>
                          <a:gd name="connsiteX2" fmla="*/ 3174 w 170386"/>
                          <a:gd name="connsiteY2" fmla="*/ 202750 h 251896"/>
                          <a:gd name="connsiteX3" fmla="*/ 39914 w 170386"/>
                          <a:gd name="connsiteY3" fmla="*/ 187378 h 251896"/>
                          <a:gd name="connsiteX4" fmla="*/ 102531 w 170386"/>
                          <a:gd name="connsiteY4" fmla="*/ 246190 h 251896"/>
                          <a:gd name="connsiteX5" fmla="*/ 158843 w 170386"/>
                          <a:gd name="connsiteY5" fmla="*/ 163238 h 251896"/>
                          <a:gd name="connsiteX6" fmla="*/ 163348 w 170386"/>
                          <a:gd name="connsiteY6" fmla="*/ 81382 h 251896"/>
                          <a:gd name="connsiteX0" fmla="*/ 161438 w 168476"/>
                          <a:gd name="connsiteY0" fmla="*/ 81382 h 251896"/>
                          <a:gd name="connsiteX1" fmla="*/ 99446 w 168476"/>
                          <a:gd name="connsiteY1" fmla="*/ 2917 h 251896"/>
                          <a:gd name="connsiteX2" fmla="*/ 1264 w 168476"/>
                          <a:gd name="connsiteY2" fmla="*/ 202750 h 251896"/>
                          <a:gd name="connsiteX3" fmla="*/ 38004 w 168476"/>
                          <a:gd name="connsiteY3" fmla="*/ 187378 h 251896"/>
                          <a:gd name="connsiteX4" fmla="*/ 100621 w 168476"/>
                          <a:gd name="connsiteY4" fmla="*/ 246190 h 251896"/>
                          <a:gd name="connsiteX5" fmla="*/ 156933 w 168476"/>
                          <a:gd name="connsiteY5" fmla="*/ 163238 h 251896"/>
                          <a:gd name="connsiteX6" fmla="*/ 161438 w 168476"/>
                          <a:gd name="connsiteY6" fmla="*/ 81382 h 251896"/>
                          <a:gd name="connsiteX0" fmla="*/ 123435 w 130473"/>
                          <a:gd name="connsiteY0" fmla="*/ 81079 h 251593"/>
                          <a:gd name="connsiteX1" fmla="*/ 61443 w 130473"/>
                          <a:gd name="connsiteY1" fmla="*/ 2614 h 251593"/>
                          <a:gd name="connsiteX2" fmla="*/ 1 w 130473"/>
                          <a:gd name="connsiteY2" fmla="*/ 187075 h 251593"/>
                          <a:gd name="connsiteX3" fmla="*/ 62618 w 130473"/>
                          <a:gd name="connsiteY3" fmla="*/ 245887 h 251593"/>
                          <a:gd name="connsiteX4" fmla="*/ 118930 w 130473"/>
                          <a:gd name="connsiteY4" fmla="*/ 162935 h 251593"/>
                          <a:gd name="connsiteX5" fmla="*/ 123435 w 130473"/>
                          <a:gd name="connsiteY5" fmla="*/ 81079 h 251593"/>
                          <a:gd name="connsiteX0" fmla="*/ 123435 w 130472"/>
                          <a:gd name="connsiteY0" fmla="*/ 81077 h 281983"/>
                          <a:gd name="connsiteX1" fmla="*/ 61443 w 130472"/>
                          <a:gd name="connsiteY1" fmla="*/ 2612 h 281983"/>
                          <a:gd name="connsiteX2" fmla="*/ 1 w 130472"/>
                          <a:gd name="connsiteY2" fmla="*/ 187073 h 281983"/>
                          <a:gd name="connsiteX3" fmla="*/ 59877 w 130472"/>
                          <a:gd name="connsiteY3" fmla="*/ 278178 h 281983"/>
                          <a:gd name="connsiteX4" fmla="*/ 118930 w 130472"/>
                          <a:gd name="connsiteY4" fmla="*/ 162933 h 281983"/>
                          <a:gd name="connsiteX5" fmla="*/ 123435 w 130472"/>
                          <a:gd name="connsiteY5" fmla="*/ 81077 h 281983"/>
                          <a:gd name="connsiteX0" fmla="*/ 134182 w 141219"/>
                          <a:gd name="connsiteY0" fmla="*/ 81077 h 287817"/>
                          <a:gd name="connsiteX1" fmla="*/ 72190 w 141219"/>
                          <a:gd name="connsiteY1" fmla="*/ 2612 h 287817"/>
                          <a:gd name="connsiteX2" fmla="*/ 0 w 141219"/>
                          <a:gd name="connsiteY2" fmla="*/ 247392 h 287817"/>
                          <a:gd name="connsiteX3" fmla="*/ 70624 w 141219"/>
                          <a:gd name="connsiteY3" fmla="*/ 278178 h 287817"/>
                          <a:gd name="connsiteX4" fmla="*/ 129677 w 141219"/>
                          <a:gd name="connsiteY4" fmla="*/ 162933 h 287817"/>
                          <a:gd name="connsiteX5" fmla="*/ 134182 w 141219"/>
                          <a:gd name="connsiteY5" fmla="*/ 81077 h 287817"/>
                          <a:gd name="connsiteX0" fmla="*/ 134182 w 153409"/>
                          <a:gd name="connsiteY0" fmla="*/ 81077 h 287819"/>
                          <a:gd name="connsiteX1" fmla="*/ 72190 w 153409"/>
                          <a:gd name="connsiteY1" fmla="*/ 2612 h 287819"/>
                          <a:gd name="connsiteX2" fmla="*/ 0 w 153409"/>
                          <a:gd name="connsiteY2" fmla="*/ 247392 h 287819"/>
                          <a:gd name="connsiteX3" fmla="*/ 70624 w 153409"/>
                          <a:gd name="connsiteY3" fmla="*/ 278178 h 287819"/>
                          <a:gd name="connsiteX4" fmla="*/ 152664 w 153409"/>
                          <a:gd name="connsiteY4" fmla="*/ 166785 h 287819"/>
                          <a:gd name="connsiteX5" fmla="*/ 134182 w 153409"/>
                          <a:gd name="connsiteY5" fmla="*/ 81077 h 287819"/>
                          <a:gd name="connsiteX0" fmla="*/ 134182 w 153409"/>
                          <a:gd name="connsiteY0" fmla="*/ 103875 h 310615"/>
                          <a:gd name="connsiteX1" fmla="*/ 67739 w 153409"/>
                          <a:gd name="connsiteY1" fmla="*/ 2075 h 310615"/>
                          <a:gd name="connsiteX2" fmla="*/ 0 w 153409"/>
                          <a:gd name="connsiteY2" fmla="*/ 270190 h 310615"/>
                          <a:gd name="connsiteX3" fmla="*/ 70624 w 153409"/>
                          <a:gd name="connsiteY3" fmla="*/ 300976 h 310615"/>
                          <a:gd name="connsiteX4" fmla="*/ 152664 w 153409"/>
                          <a:gd name="connsiteY4" fmla="*/ 189583 h 310615"/>
                          <a:gd name="connsiteX5" fmla="*/ 134182 w 153409"/>
                          <a:gd name="connsiteY5" fmla="*/ 103875 h 310615"/>
                          <a:gd name="connsiteX0" fmla="*/ 134870 w 154097"/>
                          <a:gd name="connsiteY0" fmla="*/ 103875 h 310617"/>
                          <a:gd name="connsiteX1" fmla="*/ 68427 w 154097"/>
                          <a:gd name="connsiteY1" fmla="*/ 2075 h 310617"/>
                          <a:gd name="connsiteX2" fmla="*/ 50547 w 154097"/>
                          <a:gd name="connsiteY2" fmla="*/ 129528 h 310617"/>
                          <a:gd name="connsiteX3" fmla="*/ 688 w 154097"/>
                          <a:gd name="connsiteY3" fmla="*/ 270190 h 310617"/>
                          <a:gd name="connsiteX4" fmla="*/ 71312 w 154097"/>
                          <a:gd name="connsiteY4" fmla="*/ 300976 h 310617"/>
                          <a:gd name="connsiteX5" fmla="*/ 153352 w 154097"/>
                          <a:gd name="connsiteY5" fmla="*/ 189583 h 310617"/>
                          <a:gd name="connsiteX6" fmla="*/ 134870 w 154097"/>
                          <a:gd name="connsiteY6" fmla="*/ 103875 h 31061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54097" h="310617">
                            <a:moveTo>
                              <a:pt x="134870" y="103875"/>
                            </a:moveTo>
                            <a:cubicBezTo>
                              <a:pt x="117854" y="84776"/>
                              <a:pt x="88999" y="-15591"/>
                              <a:pt x="68427" y="2075"/>
                            </a:cubicBezTo>
                            <a:cubicBezTo>
                              <a:pt x="51049" y="4476"/>
                              <a:pt x="61837" y="84842"/>
                              <a:pt x="50547" y="129528"/>
                            </a:cubicBezTo>
                            <a:cubicBezTo>
                              <a:pt x="39257" y="174214"/>
                              <a:pt x="-6097" y="239741"/>
                              <a:pt x="688" y="270190"/>
                            </a:cubicBezTo>
                            <a:cubicBezTo>
                              <a:pt x="32519" y="305434"/>
                              <a:pt x="48000" y="322809"/>
                              <a:pt x="71312" y="300976"/>
                            </a:cubicBezTo>
                            <a:cubicBezTo>
                              <a:pt x="94624" y="279143"/>
                              <a:pt x="150681" y="218188"/>
                              <a:pt x="153352" y="189583"/>
                            </a:cubicBezTo>
                            <a:cubicBezTo>
                              <a:pt x="156023" y="160978"/>
                              <a:pt x="151887" y="122974"/>
                              <a:pt x="134870" y="103875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304" name="Freeform 280"/>
                    <p:cNvSpPr>
                      <a:spLocks noChangeAspect="1"/>
                    </p:cNvSpPr>
                    <p:nvPr/>
                  </p:nvSpPr>
                  <p:spPr>
                    <a:xfrm rot="11700000">
                      <a:off x="5174352" y="5172978"/>
                      <a:ext cx="140184" cy="194754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399682 w 516301"/>
                        <a:gd name="connsiteY0" fmla="*/ 1010 h 421254"/>
                        <a:gd name="connsiteX1" fmla="*/ 10420 w 516301"/>
                        <a:gd name="connsiteY1" fmla="*/ 158802 h 421254"/>
                        <a:gd name="connsiteX2" fmla="*/ 119284 w 516301"/>
                        <a:gd name="connsiteY2" fmla="*/ 373513 h 421254"/>
                        <a:gd name="connsiteX3" fmla="*/ 223300 w 516301"/>
                        <a:gd name="connsiteY3" fmla="*/ 412622 h 421254"/>
                        <a:gd name="connsiteX4" fmla="*/ 500779 w 516301"/>
                        <a:gd name="connsiteY4" fmla="*/ 234448 h 421254"/>
                        <a:gd name="connsiteX5" fmla="*/ 399682 w 516301"/>
                        <a:gd name="connsiteY5" fmla="*/ 1010 h 421254"/>
                        <a:gd name="connsiteX0" fmla="*/ 400635 w 517254"/>
                        <a:gd name="connsiteY0" fmla="*/ 1205 h 500568"/>
                        <a:gd name="connsiteX1" fmla="*/ 11373 w 517254"/>
                        <a:gd name="connsiteY1" fmla="*/ 158997 h 500568"/>
                        <a:gd name="connsiteX2" fmla="*/ 112660 w 517254"/>
                        <a:gd name="connsiteY2" fmla="*/ 492609 h 500568"/>
                        <a:gd name="connsiteX3" fmla="*/ 224253 w 517254"/>
                        <a:gd name="connsiteY3" fmla="*/ 412817 h 500568"/>
                        <a:gd name="connsiteX4" fmla="*/ 501732 w 517254"/>
                        <a:gd name="connsiteY4" fmla="*/ 234643 h 500568"/>
                        <a:gd name="connsiteX5" fmla="*/ 400635 w 517254"/>
                        <a:gd name="connsiteY5" fmla="*/ 1205 h 500568"/>
                        <a:gd name="connsiteX0" fmla="*/ 400635 w 517254"/>
                        <a:gd name="connsiteY0" fmla="*/ 1205 h 500507"/>
                        <a:gd name="connsiteX1" fmla="*/ 11373 w 517254"/>
                        <a:gd name="connsiteY1" fmla="*/ 158997 h 500507"/>
                        <a:gd name="connsiteX2" fmla="*/ 112660 w 517254"/>
                        <a:gd name="connsiteY2" fmla="*/ 492609 h 500507"/>
                        <a:gd name="connsiteX3" fmla="*/ 224253 w 517254"/>
                        <a:gd name="connsiteY3" fmla="*/ 412817 h 500507"/>
                        <a:gd name="connsiteX4" fmla="*/ 317232 w 517254"/>
                        <a:gd name="connsiteY4" fmla="*/ 297923 h 500507"/>
                        <a:gd name="connsiteX5" fmla="*/ 501732 w 517254"/>
                        <a:gd name="connsiteY5" fmla="*/ 234643 h 500507"/>
                        <a:gd name="connsiteX6" fmla="*/ 400635 w 517254"/>
                        <a:gd name="connsiteY6" fmla="*/ 1205 h 500507"/>
                        <a:gd name="connsiteX0" fmla="*/ 400635 w 504610"/>
                        <a:gd name="connsiteY0" fmla="*/ 170 h 499472"/>
                        <a:gd name="connsiteX1" fmla="*/ 11373 w 504610"/>
                        <a:gd name="connsiteY1" fmla="*/ 157962 h 499472"/>
                        <a:gd name="connsiteX2" fmla="*/ 112660 w 504610"/>
                        <a:gd name="connsiteY2" fmla="*/ 491574 h 499472"/>
                        <a:gd name="connsiteX3" fmla="*/ 224253 w 504610"/>
                        <a:gd name="connsiteY3" fmla="*/ 411782 h 499472"/>
                        <a:gd name="connsiteX4" fmla="*/ 317232 w 504610"/>
                        <a:gd name="connsiteY4" fmla="*/ 296888 h 499472"/>
                        <a:gd name="connsiteX5" fmla="*/ 501732 w 504610"/>
                        <a:gd name="connsiteY5" fmla="*/ 233608 h 499472"/>
                        <a:gd name="connsiteX6" fmla="*/ 306603 w 504610"/>
                        <a:gd name="connsiteY6" fmla="*/ 184221 h 499472"/>
                        <a:gd name="connsiteX7" fmla="*/ 400635 w 504610"/>
                        <a:gd name="connsiteY7" fmla="*/ 170 h 499472"/>
                        <a:gd name="connsiteX0" fmla="*/ 400635 w 504679"/>
                        <a:gd name="connsiteY0" fmla="*/ 170 h 499472"/>
                        <a:gd name="connsiteX1" fmla="*/ 11373 w 504679"/>
                        <a:gd name="connsiteY1" fmla="*/ 157962 h 499472"/>
                        <a:gd name="connsiteX2" fmla="*/ 112660 w 504679"/>
                        <a:gd name="connsiteY2" fmla="*/ 491574 h 499472"/>
                        <a:gd name="connsiteX3" fmla="*/ 224253 w 504679"/>
                        <a:gd name="connsiteY3" fmla="*/ 411782 h 499472"/>
                        <a:gd name="connsiteX4" fmla="*/ 317232 w 504679"/>
                        <a:gd name="connsiteY4" fmla="*/ 296888 h 499472"/>
                        <a:gd name="connsiteX5" fmla="*/ 311162 w 504679"/>
                        <a:gd name="connsiteY5" fmla="*/ 298968 h 499472"/>
                        <a:gd name="connsiteX6" fmla="*/ 501732 w 504679"/>
                        <a:gd name="connsiteY6" fmla="*/ 233608 h 499472"/>
                        <a:gd name="connsiteX7" fmla="*/ 306603 w 504679"/>
                        <a:gd name="connsiteY7" fmla="*/ 184221 h 499472"/>
                        <a:gd name="connsiteX8" fmla="*/ 400635 w 504679"/>
                        <a:gd name="connsiteY8" fmla="*/ 170 h 499472"/>
                        <a:gd name="connsiteX0" fmla="*/ 400635 w 411811"/>
                        <a:gd name="connsiteY0" fmla="*/ 170 h 499472"/>
                        <a:gd name="connsiteX1" fmla="*/ 11373 w 411811"/>
                        <a:gd name="connsiteY1" fmla="*/ 157962 h 499472"/>
                        <a:gd name="connsiteX2" fmla="*/ 112660 w 411811"/>
                        <a:gd name="connsiteY2" fmla="*/ 491574 h 499472"/>
                        <a:gd name="connsiteX3" fmla="*/ 224253 w 411811"/>
                        <a:gd name="connsiteY3" fmla="*/ 411782 h 499472"/>
                        <a:gd name="connsiteX4" fmla="*/ 317232 w 411811"/>
                        <a:gd name="connsiteY4" fmla="*/ 296888 h 499472"/>
                        <a:gd name="connsiteX5" fmla="*/ 311162 w 411811"/>
                        <a:gd name="connsiteY5" fmla="*/ 298968 h 499472"/>
                        <a:gd name="connsiteX6" fmla="*/ 306603 w 411811"/>
                        <a:gd name="connsiteY6" fmla="*/ 184221 h 499472"/>
                        <a:gd name="connsiteX7" fmla="*/ 400635 w 411811"/>
                        <a:gd name="connsiteY7" fmla="*/ 170 h 499472"/>
                        <a:gd name="connsiteX0" fmla="*/ 344675 w 361138"/>
                        <a:gd name="connsiteY0" fmla="*/ 231 h 473092"/>
                        <a:gd name="connsiteX1" fmla="*/ 8407 w 361138"/>
                        <a:gd name="connsiteY1" fmla="*/ 131582 h 473092"/>
                        <a:gd name="connsiteX2" fmla="*/ 109694 w 361138"/>
                        <a:gd name="connsiteY2" fmla="*/ 465194 h 473092"/>
                        <a:gd name="connsiteX3" fmla="*/ 221287 w 361138"/>
                        <a:gd name="connsiteY3" fmla="*/ 385402 h 473092"/>
                        <a:gd name="connsiteX4" fmla="*/ 314266 w 361138"/>
                        <a:gd name="connsiteY4" fmla="*/ 270508 h 473092"/>
                        <a:gd name="connsiteX5" fmla="*/ 308196 w 361138"/>
                        <a:gd name="connsiteY5" fmla="*/ 272588 h 473092"/>
                        <a:gd name="connsiteX6" fmla="*/ 303637 w 361138"/>
                        <a:gd name="connsiteY6" fmla="*/ 157841 h 473092"/>
                        <a:gd name="connsiteX7" fmla="*/ 344675 w 361138"/>
                        <a:gd name="connsiteY7" fmla="*/ 231 h 473092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09825 w 313478"/>
                        <a:gd name="connsiteY0" fmla="*/ 2 h 472863"/>
                        <a:gd name="connsiteX1" fmla="*/ 171247 w 313478"/>
                        <a:gd name="connsiteY1" fmla="*/ 157767 h 472863"/>
                        <a:gd name="connsiteX2" fmla="*/ 2828 w 313478"/>
                        <a:gd name="connsiteY2" fmla="*/ 270869 h 472863"/>
                        <a:gd name="connsiteX3" fmla="*/ 74844 w 313478"/>
                        <a:gd name="connsiteY3" fmla="*/ 464965 h 472863"/>
                        <a:gd name="connsiteX4" fmla="*/ 186437 w 313478"/>
                        <a:gd name="connsiteY4" fmla="*/ 385173 h 472863"/>
                        <a:gd name="connsiteX5" fmla="*/ 279416 w 313478"/>
                        <a:gd name="connsiteY5" fmla="*/ 270279 h 472863"/>
                        <a:gd name="connsiteX6" fmla="*/ 273346 w 313478"/>
                        <a:gd name="connsiteY6" fmla="*/ 272359 h 472863"/>
                        <a:gd name="connsiteX7" fmla="*/ 268787 w 313478"/>
                        <a:gd name="connsiteY7" fmla="*/ 157612 h 472863"/>
                        <a:gd name="connsiteX8" fmla="*/ 309825 w 313478"/>
                        <a:gd name="connsiteY8" fmla="*/ 2 h 472863"/>
                        <a:gd name="connsiteX0" fmla="*/ 268787 w 297124"/>
                        <a:gd name="connsiteY0" fmla="*/ 14163 h 329414"/>
                        <a:gd name="connsiteX1" fmla="*/ 171247 w 297124"/>
                        <a:gd name="connsiteY1" fmla="*/ 14318 h 329414"/>
                        <a:gd name="connsiteX2" fmla="*/ 2828 w 297124"/>
                        <a:gd name="connsiteY2" fmla="*/ 127420 h 329414"/>
                        <a:gd name="connsiteX3" fmla="*/ 74844 w 297124"/>
                        <a:gd name="connsiteY3" fmla="*/ 321516 h 329414"/>
                        <a:gd name="connsiteX4" fmla="*/ 186437 w 297124"/>
                        <a:gd name="connsiteY4" fmla="*/ 241724 h 329414"/>
                        <a:gd name="connsiteX5" fmla="*/ 279416 w 297124"/>
                        <a:gd name="connsiteY5" fmla="*/ 126830 h 329414"/>
                        <a:gd name="connsiteX6" fmla="*/ 273346 w 297124"/>
                        <a:gd name="connsiteY6" fmla="*/ 128910 h 329414"/>
                        <a:gd name="connsiteX7" fmla="*/ 268787 w 297124"/>
                        <a:gd name="connsiteY7" fmla="*/ 14163 h 329414"/>
                        <a:gd name="connsiteX0" fmla="*/ 194771 w 297124"/>
                        <a:gd name="connsiteY0" fmla="*/ 54292 h 319287"/>
                        <a:gd name="connsiteX1" fmla="*/ 171247 w 297124"/>
                        <a:gd name="connsiteY1" fmla="*/ 4191 h 319287"/>
                        <a:gd name="connsiteX2" fmla="*/ 2828 w 297124"/>
                        <a:gd name="connsiteY2" fmla="*/ 117293 h 319287"/>
                        <a:gd name="connsiteX3" fmla="*/ 74844 w 297124"/>
                        <a:gd name="connsiteY3" fmla="*/ 311389 h 319287"/>
                        <a:gd name="connsiteX4" fmla="*/ 186437 w 297124"/>
                        <a:gd name="connsiteY4" fmla="*/ 231597 h 319287"/>
                        <a:gd name="connsiteX5" fmla="*/ 279416 w 297124"/>
                        <a:gd name="connsiteY5" fmla="*/ 116703 h 319287"/>
                        <a:gd name="connsiteX6" fmla="*/ 273346 w 297124"/>
                        <a:gd name="connsiteY6" fmla="*/ 118783 h 319287"/>
                        <a:gd name="connsiteX7" fmla="*/ 194771 w 297124"/>
                        <a:gd name="connsiteY7" fmla="*/ 54292 h 319287"/>
                        <a:gd name="connsiteX0" fmla="*/ 176997 w 297124"/>
                        <a:gd name="connsiteY0" fmla="*/ 92018 h 317703"/>
                        <a:gd name="connsiteX1" fmla="*/ 171247 w 297124"/>
                        <a:gd name="connsiteY1" fmla="*/ 2607 h 317703"/>
                        <a:gd name="connsiteX2" fmla="*/ 2828 w 297124"/>
                        <a:gd name="connsiteY2" fmla="*/ 115709 h 317703"/>
                        <a:gd name="connsiteX3" fmla="*/ 74844 w 297124"/>
                        <a:gd name="connsiteY3" fmla="*/ 309805 h 317703"/>
                        <a:gd name="connsiteX4" fmla="*/ 186437 w 297124"/>
                        <a:gd name="connsiteY4" fmla="*/ 230013 h 317703"/>
                        <a:gd name="connsiteX5" fmla="*/ 279416 w 297124"/>
                        <a:gd name="connsiteY5" fmla="*/ 115119 h 317703"/>
                        <a:gd name="connsiteX6" fmla="*/ 273346 w 297124"/>
                        <a:gd name="connsiteY6" fmla="*/ 117199 h 317703"/>
                        <a:gd name="connsiteX7" fmla="*/ 176997 w 297124"/>
                        <a:gd name="connsiteY7" fmla="*/ 92018 h 317703"/>
                        <a:gd name="connsiteX0" fmla="*/ 226739 w 297124"/>
                        <a:gd name="connsiteY0" fmla="*/ 51834 h 319465"/>
                        <a:gd name="connsiteX1" fmla="*/ 171247 w 297124"/>
                        <a:gd name="connsiteY1" fmla="*/ 4369 h 319465"/>
                        <a:gd name="connsiteX2" fmla="*/ 2828 w 297124"/>
                        <a:gd name="connsiteY2" fmla="*/ 117471 h 319465"/>
                        <a:gd name="connsiteX3" fmla="*/ 74844 w 297124"/>
                        <a:gd name="connsiteY3" fmla="*/ 311567 h 319465"/>
                        <a:gd name="connsiteX4" fmla="*/ 186437 w 297124"/>
                        <a:gd name="connsiteY4" fmla="*/ 231775 h 319465"/>
                        <a:gd name="connsiteX5" fmla="*/ 279416 w 297124"/>
                        <a:gd name="connsiteY5" fmla="*/ 116881 h 319465"/>
                        <a:gd name="connsiteX6" fmla="*/ 273346 w 297124"/>
                        <a:gd name="connsiteY6" fmla="*/ 118961 h 319465"/>
                        <a:gd name="connsiteX7" fmla="*/ 226739 w 297124"/>
                        <a:gd name="connsiteY7" fmla="*/ 51834 h 319465"/>
                        <a:gd name="connsiteX0" fmla="*/ 226739 w 289446"/>
                        <a:gd name="connsiteY0" fmla="*/ 51834 h 319465"/>
                        <a:gd name="connsiteX1" fmla="*/ 171247 w 289446"/>
                        <a:gd name="connsiteY1" fmla="*/ 4369 h 319465"/>
                        <a:gd name="connsiteX2" fmla="*/ 2828 w 289446"/>
                        <a:gd name="connsiteY2" fmla="*/ 117471 h 319465"/>
                        <a:gd name="connsiteX3" fmla="*/ 74844 w 289446"/>
                        <a:gd name="connsiteY3" fmla="*/ 311567 h 319465"/>
                        <a:gd name="connsiteX4" fmla="*/ 186437 w 289446"/>
                        <a:gd name="connsiteY4" fmla="*/ 231775 h 319465"/>
                        <a:gd name="connsiteX5" fmla="*/ 279416 w 289446"/>
                        <a:gd name="connsiteY5" fmla="*/ 116881 h 319465"/>
                        <a:gd name="connsiteX6" fmla="*/ 214719 w 289446"/>
                        <a:gd name="connsiteY6" fmla="*/ 180566 h 319465"/>
                        <a:gd name="connsiteX7" fmla="*/ 226739 w 289446"/>
                        <a:gd name="connsiteY7" fmla="*/ 51834 h 319465"/>
                        <a:gd name="connsiteX0" fmla="*/ 202461 w 289446"/>
                        <a:gd name="connsiteY0" fmla="*/ 59631 h 318953"/>
                        <a:gd name="connsiteX1" fmla="*/ 171247 w 289446"/>
                        <a:gd name="connsiteY1" fmla="*/ 3857 h 318953"/>
                        <a:gd name="connsiteX2" fmla="*/ 2828 w 289446"/>
                        <a:gd name="connsiteY2" fmla="*/ 116959 h 318953"/>
                        <a:gd name="connsiteX3" fmla="*/ 74844 w 289446"/>
                        <a:gd name="connsiteY3" fmla="*/ 311055 h 318953"/>
                        <a:gd name="connsiteX4" fmla="*/ 186437 w 289446"/>
                        <a:gd name="connsiteY4" fmla="*/ 231263 h 318953"/>
                        <a:gd name="connsiteX5" fmla="*/ 279416 w 289446"/>
                        <a:gd name="connsiteY5" fmla="*/ 116369 h 318953"/>
                        <a:gd name="connsiteX6" fmla="*/ 214719 w 289446"/>
                        <a:gd name="connsiteY6" fmla="*/ 180054 h 318953"/>
                        <a:gd name="connsiteX7" fmla="*/ 202461 w 289446"/>
                        <a:gd name="connsiteY7" fmla="*/ 59631 h 318953"/>
                        <a:gd name="connsiteX0" fmla="*/ 202461 w 216515"/>
                        <a:gd name="connsiteY0" fmla="*/ 59631 h 318929"/>
                        <a:gd name="connsiteX1" fmla="*/ 171247 w 216515"/>
                        <a:gd name="connsiteY1" fmla="*/ 3857 h 318929"/>
                        <a:gd name="connsiteX2" fmla="*/ 2828 w 216515"/>
                        <a:gd name="connsiteY2" fmla="*/ 116959 h 318929"/>
                        <a:gd name="connsiteX3" fmla="*/ 74844 w 216515"/>
                        <a:gd name="connsiteY3" fmla="*/ 311055 h 318929"/>
                        <a:gd name="connsiteX4" fmla="*/ 186437 w 216515"/>
                        <a:gd name="connsiteY4" fmla="*/ 231263 h 318929"/>
                        <a:gd name="connsiteX5" fmla="*/ 214719 w 216515"/>
                        <a:gd name="connsiteY5" fmla="*/ 180054 h 318929"/>
                        <a:gd name="connsiteX6" fmla="*/ 202461 w 216515"/>
                        <a:gd name="connsiteY6" fmla="*/ 59631 h 318929"/>
                        <a:gd name="connsiteX0" fmla="*/ 200078 w 214132"/>
                        <a:gd name="connsiteY0" fmla="*/ 113647 h 372945"/>
                        <a:gd name="connsiteX1" fmla="*/ 105135 w 214132"/>
                        <a:gd name="connsiteY1" fmla="*/ 2146 h 372945"/>
                        <a:gd name="connsiteX2" fmla="*/ 445 w 214132"/>
                        <a:gd name="connsiteY2" fmla="*/ 170975 h 372945"/>
                        <a:gd name="connsiteX3" fmla="*/ 72461 w 214132"/>
                        <a:gd name="connsiteY3" fmla="*/ 365071 h 372945"/>
                        <a:gd name="connsiteX4" fmla="*/ 184054 w 214132"/>
                        <a:gd name="connsiteY4" fmla="*/ 285279 h 372945"/>
                        <a:gd name="connsiteX5" fmla="*/ 212336 w 214132"/>
                        <a:gd name="connsiteY5" fmla="*/ 234070 h 372945"/>
                        <a:gd name="connsiteX6" fmla="*/ 200078 w 214132"/>
                        <a:gd name="connsiteY6" fmla="*/ 113647 h 372945"/>
                        <a:gd name="connsiteX0" fmla="*/ 171466 w 185520"/>
                        <a:gd name="connsiteY0" fmla="*/ 113647 h 372945"/>
                        <a:gd name="connsiteX1" fmla="*/ 76523 w 185520"/>
                        <a:gd name="connsiteY1" fmla="*/ 2146 h 372945"/>
                        <a:gd name="connsiteX2" fmla="*/ 1029 w 185520"/>
                        <a:gd name="connsiteY2" fmla="*/ 227444 h 372945"/>
                        <a:gd name="connsiteX3" fmla="*/ 43849 w 185520"/>
                        <a:gd name="connsiteY3" fmla="*/ 365071 h 372945"/>
                        <a:gd name="connsiteX4" fmla="*/ 155442 w 185520"/>
                        <a:gd name="connsiteY4" fmla="*/ 285279 h 372945"/>
                        <a:gd name="connsiteX5" fmla="*/ 183724 w 185520"/>
                        <a:gd name="connsiteY5" fmla="*/ 234070 h 372945"/>
                        <a:gd name="connsiteX6" fmla="*/ 171466 w 185520"/>
                        <a:gd name="connsiteY6" fmla="*/ 113647 h 372945"/>
                        <a:gd name="connsiteX0" fmla="*/ 171466 w 185520"/>
                        <a:gd name="connsiteY0" fmla="*/ 113647 h 396811"/>
                        <a:gd name="connsiteX1" fmla="*/ 76523 w 185520"/>
                        <a:gd name="connsiteY1" fmla="*/ 2146 h 396811"/>
                        <a:gd name="connsiteX2" fmla="*/ 1029 w 185520"/>
                        <a:gd name="connsiteY2" fmla="*/ 227444 h 396811"/>
                        <a:gd name="connsiteX3" fmla="*/ 43849 w 185520"/>
                        <a:gd name="connsiteY3" fmla="*/ 365071 h 396811"/>
                        <a:gd name="connsiteX4" fmla="*/ 158771 w 185520"/>
                        <a:gd name="connsiteY4" fmla="*/ 383831 h 396811"/>
                        <a:gd name="connsiteX5" fmla="*/ 183724 w 185520"/>
                        <a:gd name="connsiteY5" fmla="*/ 234070 h 396811"/>
                        <a:gd name="connsiteX6" fmla="*/ 171466 w 185520"/>
                        <a:gd name="connsiteY6" fmla="*/ 113647 h 396811"/>
                        <a:gd name="connsiteX0" fmla="*/ 170767 w 184821"/>
                        <a:gd name="connsiteY0" fmla="*/ 113647 h 387719"/>
                        <a:gd name="connsiteX1" fmla="*/ 75824 w 184821"/>
                        <a:gd name="connsiteY1" fmla="*/ 2146 h 387719"/>
                        <a:gd name="connsiteX2" fmla="*/ 330 w 184821"/>
                        <a:gd name="connsiteY2" fmla="*/ 227444 h 387719"/>
                        <a:gd name="connsiteX3" fmla="*/ 54416 w 184821"/>
                        <a:gd name="connsiteY3" fmla="*/ 294753 h 387719"/>
                        <a:gd name="connsiteX4" fmla="*/ 158072 w 184821"/>
                        <a:gd name="connsiteY4" fmla="*/ 383831 h 387719"/>
                        <a:gd name="connsiteX5" fmla="*/ 183025 w 184821"/>
                        <a:gd name="connsiteY5" fmla="*/ 234070 h 387719"/>
                        <a:gd name="connsiteX6" fmla="*/ 170767 w 184821"/>
                        <a:gd name="connsiteY6" fmla="*/ 113647 h 387719"/>
                        <a:gd name="connsiteX0" fmla="*/ 194313 w 208367"/>
                        <a:gd name="connsiteY0" fmla="*/ 113647 h 387719"/>
                        <a:gd name="connsiteX1" fmla="*/ 99370 w 208367"/>
                        <a:gd name="connsiteY1" fmla="*/ 2146 h 387719"/>
                        <a:gd name="connsiteX2" fmla="*/ 182 w 208367"/>
                        <a:gd name="connsiteY2" fmla="*/ 279863 h 387719"/>
                        <a:gd name="connsiteX3" fmla="*/ 77962 w 208367"/>
                        <a:gd name="connsiteY3" fmla="*/ 294753 h 387719"/>
                        <a:gd name="connsiteX4" fmla="*/ 181618 w 208367"/>
                        <a:gd name="connsiteY4" fmla="*/ 383831 h 387719"/>
                        <a:gd name="connsiteX5" fmla="*/ 206571 w 208367"/>
                        <a:gd name="connsiteY5" fmla="*/ 234070 h 387719"/>
                        <a:gd name="connsiteX6" fmla="*/ 194313 w 208367"/>
                        <a:gd name="connsiteY6" fmla="*/ 113647 h 387719"/>
                        <a:gd name="connsiteX0" fmla="*/ 207936 w 221990"/>
                        <a:gd name="connsiteY0" fmla="*/ 113647 h 400440"/>
                        <a:gd name="connsiteX1" fmla="*/ 112993 w 221990"/>
                        <a:gd name="connsiteY1" fmla="*/ 2146 h 400440"/>
                        <a:gd name="connsiteX2" fmla="*/ 13805 w 221990"/>
                        <a:gd name="connsiteY2" fmla="*/ 279863 h 400440"/>
                        <a:gd name="connsiteX3" fmla="*/ 21510 w 221990"/>
                        <a:gd name="connsiteY3" fmla="*/ 374120 h 400440"/>
                        <a:gd name="connsiteX4" fmla="*/ 195241 w 221990"/>
                        <a:gd name="connsiteY4" fmla="*/ 383831 h 400440"/>
                        <a:gd name="connsiteX5" fmla="*/ 220194 w 221990"/>
                        <a:gd name="connsiteY5" fmla="*/ 234070 h 400440"/>
                        <a:gd name="connsiteX6" fmla="*/ 207936 w 221990"/>
                        <a:gd name="connsiteY6" fmla="*/ 113647 h 400440"/>
                        <a:gd name="connsiteX0" fmla="*/ 207936 w 221990"/>
                        <a:gd name="connsiteY0" fmla="*/ 113647 h 384477"/>
                        <a:gd name="connsiteX1" fmla="*/ 112993 w 221990"/>
                        <a:gd name="connsiteY1" fmla="*/ 2146 h 384477"/>
                        <a:gd name="connsiteX2" fmla="*/ 13805 w 221990"/>
                        <a:gd name="connsiteY2" fmla="*/ 279863 h 384477"/>
                        <a:gd name="connsiteX3" fmla="*/ 21510 w 221990"/>
                        <a:gd name="connsiteY3" fmla="*/ 374120 h 384477"/>
                        <a:gd name="connsiteX4" fmla="*/ 113162 w 221990"/>
                        <a:gd name="connsiteY4" fmla="*/ 323303 h 384477"/>
                        <a:gd name="connsiteX5" fmla="*/ 220194 w 221990"/>
                        <a:gd name="connsiteY5" fmla="*/ 234070 h 384477"/>
                        <a:gd name="connsiteX6" fmla="*/ 207936 w 221990"/>
                        <a:gd name="connsiteY6" fmla="*/ 113647 h 384477"/>
                        <a:gd name="connsiteX0" fmla="*/ 207936 w 211307"/>
                        <a:gd name="connsiteY0" fmla="*/ 113647 h 384477"/>
                        <a:gd name="connsiteX1" fmla="*/ 112993 w 211307"/>
                        <a:gd name="connsiteY1" fmla="*/ 2146 h 384477"/>
                        <a:gd name="connsiteX2" fmla="*/ 13805 w 211307"/>
                        <a:gd name="connsiteY2" fmla="*/ 279863 h 384477"/>
                        <a:gd name="connsiteX3" fmla="*/ 21510 w 211307"/>
                        <a:gd name="connsiteY3" fmla="*/ 374120 h 384477"/>
                        <a:gd name="connsiteX4" fmla="*/ 113162 w 211307"/>
                        <a:gd name="connsiteY4" fmla="*/ 323303 h 384477"/>
                        <a:gd name="connsiteX5" fmla="*/ 169474 w 211307"/>
                        <a:gd name="connsiteY5" fmla="*/ 240351 h 384477"/>
                        <a:gd name="connsiteX6" fmla="*/ 207936 w 211307"/>
                        <a:gd name="connsiteY6" fmla="*/ 113647 h 384477"/>
                        <a:gd name="connsiteX0" fmla="*/ 173979 w 181017"/>
                        <a:gd name="connsiteY0" fmla="*/ 157929 h 383911"/>
                        <a:gd name="connsiteX1" fmla="*/ 112993 w 181017"/>
                        <a:gd name="connsiteY1" fmla="*/ 1580 h 383911"/>
                        <a:gd name="connsiteX2" fmla="*/ 13805 w 181017"/>
                        <a:gd name="connsiteY2" fmla="*/ 279297 h 383911"/>
                        <a:gd name="connsiteX3" fmla="*/ 21510 w 181017"/>
                        <a:gd name="connsiteY3" fmla="*/ 373554 h 383911"/>
                        <a:gd name="connsiteX4" fmla="*/ 113162 w 181017"/>
                        <a:gd name="connsiteY4" fmla="*/ 322737 h 383911"/>
                        <a:gd name="connsiteX5" fmla="*/ 169474 w 181017"/>
                        <a:gd name="connsiteY5" fmla="*/ 239785 h 383911"/>
                        <a:gd name="connsiteX6" fmla="*/ 173979 w 181017"/>
                        <a:gd name="connsiteY6" fmla="*/ 157929 h 383911"/>
                        <a:gd name="connsiteX0" fmla="*/ 173918 w 180956"/>
                        <a:gd name="connsiteY0" fmla="*/ 81382 h 307364"/>
                        <a:gd name="connsiteX1" fmla="*/ 111926 w 180956"/>
                        <a:gd name="connsiteY1" fmla="*/ 2917 h 307364"/>
                        <a:gd name="connsiteX2" fmla="*/ 13744 w 180956"/>
                        <a:gd name="connsiteY2" fmla="*/ 202750 h 307364"/>
                        <a:gd name="connsiteX3" fmla="*/ 21449 w 180956"/>
                        <a:gd name="connsiteY3" fmla="*/ 297007 h 307364"/>
                        <a:gd name="connsiteX4" fmla="*/ 113101 w 180956"/>
                        <a:gd name="connsiteY4" fmla="*/ 246190 h 307364"/>
                        <a:gd name="connsiteX5" fmla="*/ 169413 w 180956"/>
                        <a:gd name="connsiteY5" fmla="*/ 163238 h 307364"/>
                        <a:gd name="connsiteX6" fmla="*/ 173918 w 180956"/>
                        <a:gd name="connsiteY6" fmla="*/ 81382 h 307364"/>
                        <a:gd name="connsiteX0" fmla="*/ 163348 w 170386"/>
                        <a:gd name="connsiteY0" fmla="*/ 81382 h 251896"/>
                        <a:gd name="connsiteX1" fmla="*/ 101356 w 170386"/>
                        <a:gd name="connsiteY1" fmla="*/ 2917 h 251896"/>
                        <a:gd name="connsiteX2" fmla="*/ 3174 w 170386"/>
                        <a:gd name="connsiteY2" fmla="*/ 202750 h 251896"/>
                        <a:gd name="connsiteX3" fmla="*/ 39914 w 170386"/>
                        <a:gd name="connsiteY3" fmla="*/ 187378 h 251896"/>
                        <a:gd name="connsiteX4" fmla="*/ 102531 w 170386"/>
                        <a:gd name="connsiteY4" fmla="*/ 246190 h 251896"/>
                        <a:gd name="connsiteX5" fmla="*/ 158843 w 170386"/>
                        <a:gd name="connsiteY5" fmla="*/ 163238 h 251896"/>
                        <a:gd name="connsiteX6" fmla="*/ 163348 w 170386"/>
                        <a:gd name="connsiteY6" fmla="*/ 81382 h 251896"/>
                        <a:gd name="connsiteX0" fmla="*/ 161438 w 168476"/>
                        <a:gd name="connsiteY0" fmla="*/ 81382 h 251896"/>
                        <a:gd name="connsiteX1" fmla="*/ 99446 w 168476"/>
                        <a:gd name="connsiteY1" fmla="*/ 2917 h 251896"/>
                        <a:gd name="connsiteX2" fmla="*/ 1264 w 168476"/>
                        <a:gd name="connsiteY2" fmla="*/ 202750 h 251896"/>
                        <a:gd name="connsiteX3" fmla="*/ 38004 w 168476"/>
                        <a:gd name="connsiteY3" fmla="*/ 187378 h 251896"/>
                        <a:gd name="connsiteX4" fmla="*/ 100621 w 168476"/>
                        <a:gd name="connsiteY4" fmla="*/ 246190 h 251896"/>
                        <a:gd name="connsiteX5" fmla="*/ 156933 w 168476"/>
                        <a:gd name="connsiteY5" fmla="*/ 163238 h 251896"/>
                        <a:gd name="connsiteX6" fmla="*/ 161438 w 168476"/>
                        <a:gd name="connsiteY6" fmla="*/ 81382 h 251896"/>
                        <a:gd name="connsiteX0" fmla="*/ 123435 w 130473"/>
                        <a:gd name="connsiteY0" fmla="*/ 81079 h 251593"/>
                        <a:gd name="connsiteX1" fmla="*/ 61443 w 130473"/>
                        <a:gd name="connsiteY1" fmla="*/ 2614 h 251593"/>
                        <a:gd name="connsiteX2" fmla="*/ 1 w 130473"/>
                        <a:gd name="connsiteY2" fmla="*/ 187075 h 251593"/>
                        <a:gd name="connsiteX3" fmla="*/ 62618 w 130473"/>
                        <a:gd name="connsiteY3" fmla="*/ 245887 h 251593"/>
                        <a:gd name="connsiteX4" fmla="*/ 118930 w 130473"/>
                        <a:gd name="connsiteY4" fmla="*/ 162935 h 251593"/>
                        <a:gd name="connsiteX5" fmla="*/ 123435 w 130473"/>
                        <a:gd name="connsiteY5" fmla="*/ 81079 h 251593"/>
                        <a:gd name="connsiteX0" fmla="*/ 123435 w 130472"/>
                        <a:gd name="connsiteY0" fmla="*/ 81077 h 281983"/>
                        <a:gd name="connsiteX1" fmla="*/ 61443 w 130472"/>
                        <a:gd name="connsiteY1" fmla="*/ 2612 h 281983"/>
                        <a:gd name="connsiteX2" fmla="*/ 1 w 130472"/>
                        <a:gd name="connsiteY2" fmla="*/ 187073 h 281983"/>
                        <a:gd name="connsiteX3" fmla="*/ 59877 w 130472"/>
                        <a:gd name="connsiteY3" fmla="*/ 278178 h 281983"/>
                        <a:gd name="connsiteX4" fmla="*/ 118930 w 130472"/>
                        <a:gd name="connsiteY4" fmla="*/ 162933 h 281983"/>
                        <a:gd name="connsiteX5" fmla="*/ 123435 w 130472"/>
                        <a:gd name="connsiteY5" fmla="*/ 81077 h 281983"/>
                        <a:gd name="connsiteX0" fmla="*/ 134182 w 141219"/>
                        <a:gd name="connsiteY0" fmla="*/ 81077 h 287817"/>
                        <a:gd name="connsiteX1" fmla="*/ 72190 w 141219"/>
                        <a:gd name="connsiteY1" fmla="*/ 2612 h 287817"/>
                        <a:gd name="connsiteX2" fmla="*/ 0 w 141219"/>
                        <a:gd name="connsiteY2" fmla="*/ 247392 h 287817"/>
                        <a:gd name="connsiteX3" fmla="*/ 70624 w 141219"/>
                        <a:gd name="connsiteY3" fmla="*/ 278178 h 287817"/>
                        <a:gd name="connsiteX4" fmla="*/ 129677 w 141219"/>
                        <a:gd name="connsiteY4" fmla="*/ 162933 h 287817"/>
                        <a:gd name="connsiteX5" fmla="*/ 134182 w 141219"/>
                        <a:gd name="connsiteY5" fmla="*/ 81077 h 287817"/>
                        <a:gd name="connsiteX0" fmla="*/ 134182 w 153409"/>
                        <a:gd name="connsiteY0" fmla="*/ 81077 h 287819"/>
                        <a:gd name="connsiteX1" fmla="*/ 72190 w 153409"/>
                        <a:gd name="connsiteY1" fmla="*/ 2612 h 287819"/>
                        <a:gd name="connsiteX2" fmla="*/ 0 w 153409"/>
                        <a:gd name="connsiteY2" fmla="*/ 247392 h 287819"/>
                        <a:gd name="connsiteX3" fmla="*/ 70624 w 153409"/>
                        <a:gd name="connsiteY3" fmla="*/ 278178 h 287819"/>
                        <a:gd name="connsiteX4" fmla="*/ 152664 w 153409"/>
                        <a:gd name="connsiteY4" fmla="*/ 166785 h 287819"/>
                        <a:gd name="connsiteX5" fmla="*/ 134182 w 153409"/>
                        <a:gd name="connsiteY5" fmla="*/ 81077 h 287819"/>
                        <a:gd name="connsiteX0" fmla="*/ 134182 w 153409"/>
                        <a:gd name="connsiteY0" fmla="*/ 103875 h 310615"/>
                        <a:gd name="connsiteX1" fmla="*/ 67739 w 153409"/>
                        <a:gd name="connsiteY1" fmla="*/ 2075 h 310615"/>
                        <a:gd name="connsiteX2" fmla="*/ 0 w 153409"/>
                        <a:gd name="connsiteY2" fmla="*/ 270190 h 310615"/>
                        <a:gd name="connsiteX3" fmla="*/ 70624 w 153409"/>
                        <a:gd name="connsiteY3" fmla="*/ 300976 h 310615"/>
                        <a:gd name="connsiteX4" fmla="*/ 152664 w 153409"/>
                        <a:gd name="connsiteY4" fmla="*/ 189583 h 310615"/>
                        <a:gd name="connsiteX5" fmla="*/ 134182 w 153409"/>
                        <a:gd name="connsiteY5" fmla="*/ 103875 h 310615"/>
                        <a:gd name="connsiteX0" fmla="*/ 134870 w 154097"/>
                        <a:gd name="connsiteY0" fmla="*/ 103875 h 310617"/>
                        <a:gd name="connsiteX1" fmla="*/ 68427 w 154097"/>
                        <a:gd name="connsiteY1" fmla="*/ 2075 h 310617"/>
                        <a:gd name="connsiteX2" fmla="*/ 50547 w 154097"/>
                        <a:gd name="connsiteY2" fmla="*/ 129528 h 310617"/>
                        <a:gd name="connsiteX3" fmla="*/ 688 w 154097"/>
                        <a:gd name="connsiteY3" fmla="*/ 270190 h 310617"/>
                        <a:gd name="connsiteX4" fmla="*/ 71312 w 154097"/>
                        <a:gd name="connsiteY4" fmla="*/ 300976 h 310617"/>
                        <a:gd name="connsiteX5" fmla="*/ 153352 w 154097"/>
                        <a:gd name="connsiteY5" fmla="*/ 189583 h 310617"/>
                        <a:gd name="connsiteX6" fmla="*/ 134870 w 154097"/>
                        <a:gd name="connsiteY6" fmla="*/ 103875 h 310617"/>
                        <a:gd name="connsiteX0" fmla="*/ 134870 w 154097"/>
                        <a:gd name="connsiteY0" fmla="*/ 81391 h 288132"/>
                        <a:gd name="connsiteX1" fmla="*/ 72817 w 154097"/>
                        <a:gd name="connsiteY1" fmla="*/ 2602 h 288132"/>
                        <a:gd name="connsiteX2" fmla="*/ 50547 w 154097"/>
                        <a:gd name="connsiteY2" fmla="*/ 107044 h 288132"/>
                        <a:gd name="connsiteX3" fmla="*/ 688 w 154097"/>
                        <a:gd name="connsiteY3" fmla="*/ 247706 h 288132"/>
                        <a:gd name="connsiteX4" fmla="*/ 71312 w 154097"/>
                        <a:gd name="connsiteY4" fmla="*/ 278492 h 288132"/>
                        <a:gd name="connsiteX5" fmla="*/ 153352 w 154097"/>
                        <a:gd name="connsiteY5" fmla="*/ 167099 h 288132"/>
                        <a:gd name="connsiteX6" fmla="*/ 134870 w 154097"/>
                        <a:gd name="connsiteY6" fmla="*/ 81391 h 288132"/>
                        <a:gd name="connsiteX0" fmla="*/ 134870 w 154097"/>
                        <a:gd name="connsiteY0" fmla="*/ 81391 h 279711"/>
                        <a:gd name="connsiteX1" fmla="*/ 72817 w 154097"/>
                        <a:gd name="connsiteY1" fmla="*/ 2602 h 279711"/>
                        <a:gd name="connsiteX2" fmla="*/ 50547 w 154097"/>
                        <a:gd name="connsiteY2" fmla="*/ 107044 h 279711"/>
                        <a:gd name="connsiteX3" fmla="*/ 688 w 154097"/>
                        <a:gd name="connsiteY3" fmla="*/ 247706 h 279711"/>
                        <a:gd name="connsiteX4" fmla="*/ 74111 w 154097"/>
                        <a:gd name="connsiteY4" fmla="*/ 266868 h 279711"/>
                        <a:gd name="connsiteX5" fmla="*/ 153352 w 154097"/>
                        <a:gd name="connsiteY5" fmla="*/ 167099 h 279711"/>
                        <a:gd name="connsiteX6" fmla="*/ 134870 w 154097"/>
                        <a:gd name="connsiteY6" fmla="*/ 81391 h 279711"/>
                        <a:gd name="connsiteX0" fmla="*/ 123379 w 142606"/>
                        <a:gd name="connsiteY0" fmla="*/ 81391 h 278335"/>
                        <a:gd name="connsiteX1" fmla="*/ 61326 w 142606"/>
                        <a:gd name="connsiteY1" fmla="*/ 2602 h 278335"/>
                        <a:gd name="connsiteX2" fmla="*/ 39056 w 142606"/>
                        <a:gd name="connsiteY2" fmla="*/ 107044 h 278335"/>
                        <a:gd name="connsiteX3" fmla="*/ 896 w 142606"/>
                        <a:gd name="connsiteY3" fmla="*/ 243303 h 278335"/>
                        <a:gd name="connsiteX4" fmla="*/ 62620 w 142606"/>
                        <a:gd name="connsiteY4" fmla="*/ 266868 h 278335"/>
                        <a:gd name="connsiteX5" fmla="*/ 141861 w 142606"/>
                        <a:gd name="connsiteY5" fmla="*/ 167099 h 278335"/>
                        <a:gd name="connsiteX6" fmla="*/ 123379 w 142606"/>
                        <a:gd name="connsiteY6" fmla="*/ 81391 h 2783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142606" h="278335">
                          <a:moveTo>
                            <a:pt x="123379" y="81391"/>
                          </a:moveTo>
                          <a:cubicBezTo>
                            <a:pt x="106363" y="62292"/>
                            <a:pt x="81898" y="-15064"/>
                            <a:pt x="61326" y="2602"/>
                          </a:cubicBezTo>
                          <a:cubicBezTo>
                            <a:pt x="43948" y="5003"/>
                            <a:pt x="50346" y="62358"/>
                            <a:pt x="39056" y="107044"/>
                          </a:cubicBezTo>
                          <a:cubicBezTo>
                            <a:pt x="27766" y="151730"/>
                            <a:pt x="-5889" y="212854"/>
                            <a:pt x="896" y="243303"/>
                          </a:cubicBezTo>
                          <a:cubicBezTo>
                            <a:pt x="32727" y="278547"/>
                            <a:pt x="39308" y="288701"/>
                            <a:pt x="62620" y="266868"/>
                          </a:cubicBezTo>
                          <a:cubicBezTo>
                            <a:pt x="85932" y="245035"/>
                            <a:pt x="139190" y="195704"/>
                            <a:pt x="141861" y="167099"/>
                          </a:cubicBezTo>
                          <a:cubicBezTo>
                            <a:pt x="144532" y="138494"/>
                            <a:pt x="140396" y="100490"/>
                            <a:pt x="123379" y="8139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05" name="Freeform 281"/>
                    <p:cNvSpPr>
                      <a:spLocks noChangeAspect="1"/>
                    </p:cNvSpPr>
                    <p:nvPr/>
                  </p:nvSpPr>
                  <p:spPr>
                    <a:xfrm rot="11700000">
                      <a:off x="5387929" y="4892485"/>
                      <a:ext cx="322519" cy="239932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399682 w 516301"/>
                        <a:gd name="connsiteY0" fmla="*/ 1010 h 421254"/>
                        <a:gd name="connsiteX1" fmla="*/ 10420 w 516301"/>
                        <a:gd name="connsiteY1" fmla="*/ 158802 h 421254"/>
                        <a:gd name="connsiteX2" fmla="*/ 119284 w 516301"/>
                        <a:gd name="connsiteY2" fmla="*/ 373513 h 421254"/>
                        <a:gd name="connsiteX3" fmla="*/ 223300 w 516301"/>
                        <a:gd name="connsiteY3" fmla="*/ 412622 h 421254"/>
                        <a:gd name="connsiteX4" fmla="*/ 500779 w 516301"/>
                        <a:gd name="connsiteY4" fmla="*/ 234448 h 421254"/>
                        <a:gd name="connsiteX5" fmla="*/ 399682 w 516301"/>
                        <a:gd name="connsiteY5" fmla="*/ 1010 h 421254"/>
                        <a:gd name="connsiteX0" fmla="*/ 400635 w 517254"/>
                        <a:gd name="connsiteY0" fmla="*/ 1205 h 500568"/>
                        <a:gd name="connsiteX1" fmla="*/ 11373 w 517254"/>
                        <a:gd name="connsiteY1" fmla="*/ 158997 h 500568"/>
                        <a:gd name="connsiteX2" fmla="*/ 112660 w 517254"/>
                        <a:gd name="connsiteY2" fmla="*/ 492609 h 500568"/>
                        <a:gd name="connsiteX3" fmla="*/ 224253 w 517254"/>
                        <a:gd name="connsiteY3" fmla="*/ 412817 h 500568"/>
                        <a:gd name="connsiteX4" fmla="*/ 501732 w 517254"/>
                        <a:gd name="connsiteY4" fmla="*/ 234643 h 500568"/>
                        <a:gd name="connsiteX5" fmla="*/ 400635 w 517254"/>
                        <a:gd name="connsiteY5" fmla="*/ 1205 h 500568"/>
                        <a:gd name="connsiteX0" fmla="*/ 400635 w 517254"/>
                        <a:gd name="connsiteY0" fmla="*/ 1205 h 500507"/>
                        <a:gd name="connsiteX1" fmla="*/ 11373 w 517254"/>
                        <a:gd name="connsiteY1" fmla="*/ 158997 h 500507"/>
                        <a:gd name="connsiteX2" fmla="*/ 112660 w 517254"/>
                        <a:gd name="connsiteY2" fmla="*/ 492609 h 500507"/>
                        <a:gd name="connsiteX3" fmla="*/ 224253 w 517254"/>
                        <a:gd name="connsiteY3" fmla="*/ 412817 h 500507"/>
                        <a:gd name="connsiteX4" fmla="*/ 317232 w 517254"/>
                        <a:gd name="connsiteY4" fmla="*/ 297923 h 500507"/>
                        <a:gd name="connsiteX5" fmla="*/ 501732 w 517254"/>
                        <a:gd name="connsiteY5" fmla="*/ 234643 h 500507"/>
                        <a:gd name="connsiteX6" fmla="*/ 400635 w 517254"/>
                        <a:gd name="connsiteY6" fmla="*/ 1205 h 500507"/>
                        <a:gd name="connsiteX0" fmla="*/ 400635 w 504610"/>
                        <a:gd name="connsiteY0" fmla="*/ 170 h 499472"/>
                        <a:gd name="connsiteX1" fmla="*/ 11373 w 504610"/>
                        <a:gd name="connsiteY1" fmla="*/ 157962 h 499472"/>
                        <a:gd name="connsiteX2" fmla="*/ 112660 w 504610"/>
                        <a:gd name="connsiteY2" fmla="*/ 491574 h 499472"/>
                        <a:gd name="connsiteX3" fmla="*/ 224253 w 504610"/>
                        <a:gd name="connsiteY3" fmla="*/ 411782 h 499472"/>
                        <a:gd name="connsiteX4" fmla="*/ 317232 w 504610"/>
                        <a:gd name="connsiteY4" fmla="*/ 296888 h 499472"/>
                        <a:gd name="connsiteX5" fmla="*/ 501732 w 504610"/>
                        <a:gd name="connsiteY5" fmla="*/ 233608 h 499472"/>
                        <a:gd name="connsiteX6" fmla="*/ 306603 w 504610"/>
                        <a:gd name="connsiteY6" fmla="*/ 184221 h 499472"/>
                        <a:gd name="connsiteX7" fmla="*/ 400635 w 504610"/>
                        <a:gd name="connsiteY7" fmla="*/ 170 h 499472"/>
                        <a:gd name="connsiteX0" fmla="*/ 400635 w 504679"/>
                        <a:gd name="connsiteY0" fmla="*/ 170 h 499472"/>
                        <a:gd name="connsiteX1" fmla="*/ 11373 w 504679"/>
                        <a:gd name="connsiteY1" fmla="*/ 157962 h 499472"/>
                        <a:gd name="connsiteX2" fmla="*/ 112660 w 504679"/>
                        <a:gd name="connsiteY2" fmla="*/ 491574 h 499472"/>
                        <a:gd name="connsiteX3" fmla="*/ 224253 w 504679"/>
                        <a:gd name="connsiteY3" fmla="*/ 411782 h 499472"/>
                        <a:gd name="connsiteX4" fmla="*/ 317232 w 504679"/>
                        <a:gd name="connsiteY4" fmla="*/ 296888 h 499472"/>
                        <a:gd name="connsiteX5" fmla="*/ 311162 w 504679"/>
                        <a:gd name="connsiteY5" fmla="*/ 298968 h 499472"/>
                        <a:gd name="connsiteX6" fmla="*/ 501732 w 504679"/>
                        <a:gd name="connsiteY6" fmla="*/ 233608 h 499472"/>
                        <a:gd name="connsiteX7" fmla="*/ 306603 w 504679"/>
                        <a:gd name="connsiteY7" fmla="*/ 184221 h 499472"/>
                        <a:gd name="connsiteX8" fmla="*/ 400635 w 504679"/>
                        <a:gd name="connsiteY8" fmla="*/ 170 h 499472"/>
                        <a:gd name="connsiteX0" fmla="*/ 400635 w 411811"/>
                        <a:gd name="connsiteY0" fmla="*/ 170 h 499472"/>
                        <a:gd name="connsiteX1" fmla="*/ 11373 w 411811"/>
                        <a:gd name="connsiteY1" fmla="*/ 157962 h 499472"/>
                        <a:gd name="connsiteX2" fmla="*/ 112660 w 411811"/>
                        <a:gd name="connsiteY2" fmla="*/ 491574 h 499472"/>
                        <a:gd name="connsiteX3" fmla="*/ 224253 w 411811"/>
                        <a:gd name="connsiteY3" fmla="*/ 411782 h 499472"/>
                        <a:gd name="connsiteX4" fmla="*/ 317232 w 411811"/>
                        <a:gd name="connsiteY4" fmla="*/ 296888 h 499472"/>
                        <a:gd name="connsiteX5" fmla="*/ 311162 w 411811"/>
                        <a:gd name="connsiteY5" fmla="*/ 298968 h 499472"/>
                        <a:gd name="connsiteX6" fmla="*/ 306603 w 411811"/>
                        <a:gd name="connsiteY6" fmla="*/ 184221 h 499472"/>
                        <a:gd name="connsiteX7" fmla="*/ 400635 w 411811"/>
                        <a:gd name="connsiteY7" fmla="*/ 170 h 499472"/>
                        <a:gd name="connsiteX0" fmla="*/ 344675 w 361138"/>
                        <a:gd name="connsiteY0" fmla="*/ 231 h 473092"/>
                        <a:gd name="connsiteX1" fmla="*/ 8407 w 361138"/>
                        <a:gd name="connsiteY1" fmla="*/ 131582 h 473092"/>
                        <a:gd name="connsiteX2" fmla="*/ 109694 w 361138"/>
                        <a:gd name="connsiteY2" fmla="*/ 465194 h 473092"/>
                        <a:gd name="connsiteX3" fmla="*/ 221287 w 361138"/>
                        <a:gd name="connsiteY3" fmla="*/ 385402 h 473092"/>
                        <a:gd name="connsiteX4" fmla="*/ 314266 w 361138"/>
                        <a:gd name="connsiteY4" fmla="*/ 270508 h 473092"/>
                        <a:gd name="connsiteX5" fmla="*/ 308196 w 361138"/>
                        <a:gd name="connsiteY5" fmla="*/ 272588 h 473092"/>
                        <a:gd name="connsiteX6" fmla="*/ 303637 w 361138"/>
                        <a:gd name="connsiteY6" fmla="*/ 157841 h 473092"/>
                        <a:gd name="connsiteX7" fmla="*/ 344675 w 361138"/>
                        <a:gd name="connsiteY7" fmla="*/ 231 h 473092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09825 w 313478"/>
                        <a:gd name="connsiteY0" fmla="*/ 2 h 472863"/>
                        <a:gd name="connsiteX1" fmla="*/ 171247 w 313478"/>
                        <a:gd name="connsiteY1" fmla="*/ 157767 h 472863"/>
                        <a:gd name="connsiteX2" fmla="*/ 2828 w 313478"/>
                        <a:gd name="connsiteY2" fmla="*/ 270869 h 472863"/>
                        <a:gd name="connsiteX3" fmla="*/ 74844 w 313478"/>
                        <a:gd name="connsiteY3" fmla="*/ 464965 h 472863"/>
                        <a:gd name="connsiteX4" fmla="*/ 186437 w 313478"/>
                        <a:gd name="connsiteY4" fmla="*/ 385173 h 472863"/>
                        <a:gd name="connsiteX5" fmla="*/ 279416 w 313478"/>
                        <a:gd name="connsiteY5" fmla="*/ 270279 h 472863"/>
                        <a:gd name="connsiteX6" fmla="*/ 273346 w 313478"/>
                        <a:gd name="connsiteY6" fmla="*/ 272359 h 472863"/>
                        <a:gd name="connsiteX7" fmla="*/ 268787 w 313478"/>
                        <a:gd name="connsiteY7" fmla="*/ 157612 h 472863"/>
                        <a:gd name="connsiteX8" fmla="*/ 309825 w 313478"/>
                        <a:gd name="connsiteY8" fmla="*/ 2 h 472863"/>
                        <a:gd name="connsiteX0" fmla="*/ 268787 w 297124"/>
                        <a:gd name="connsiteY0" fmla="*/ 14163 h 329414"/>
                        <a:gd name="connsiteX1" fmla="*/ 171247 w 297124"/>
                        <a:gd name="connsiteY1" fmla="*/ 14318 h 329414"/>
                        <a:gd name="connsiteX2" fmla="*/ 2828 w 297124"/>
                        <a:gd name="connsiteY2" fmla="*/ 127420 h 329414"/>
                        <a:gd name="connsiteX3" fmla="*/ 74844 w 297124"/>
                        <a:gd name="connsiteY3" fmla="*/ 321516 h 329414"/>
                        <a:gd name="connsiteX4" fmla="*/ 186437 w 297124"/>
                        <a:gd name="connsiteY4" fmla="*/ 241724 h 329414"/>
                        <a:gd name="connsiteX5" fmla="*/ 279416 w 297124"/>
                        <a:gd name="connsiteY5" fmla="*/ 126830 h 329414"/>
                        <a:gd name="connsiteX6" fmla="*/ 273346 w 297124"/>
                        <a:gd name="connsiteY6" fmla="*/ 128910 h 329414"/>
                        <a:gd name="connsiteX7" fmla="*/ 268787 w 297124"/>
                        <a:gd name="connsiteY7" fmla="*/ 14163 h 329414"/>
                        <a:gd name="connsiteX0" fmla="*/ 194771 w 297124"/>
                        <a:gd name="connsiteY0" fmla="*/ 54292 h 319287"/>
                        <a:gd name="connsiteX1" fmla="*/ 171247 w 297124"/>
                        <a:gd name="connsiteY1" fmla="*/ 4191 h 319287"/>
                        <a:gd name="connsiteX2" fmla="*/ 2828 w 297124"/>
                        <a:gd name="connsiteY2" fmla="*/ 117293 h 319287"/>
                        <a:gd name="connsiteX3" fmla="*/ 74844 w 297124"/>
                        <a:gd name="connsiteY3" fmla="*/ 311389 h 319287"/>
                        <a:gd name="connsiteX4" fmla="*/ 186437 w 297124"/>
                        <a:gd name="connsiteY4" fmla="*/ 231597 h 319287"/>
                        <a:gd name="connsiteX5" fmla="*/ 279416 w 297124"/>
                        <a:gd name="connsiteY5" fmla="*/ 116703 h 319287"/>
                        <a:gd name="connsiteX6" fmla="*/ 273346 w 297124"/>
                        <a:gd name="connsiteY6" fmla="*/ 118783 h 319287"/>
                        <a:gd name="connsiteX7" fmla="*/ 194771 w 297124"/>
                        <a:gd name="connsiteY7" fmla="*/ 54292 h 319287"/>
                        <a:gd name="connsiteX0" fmla="*/ 176997 w 297124"/>
                        <a:gd name="connsiteY0" fmla="*/ 92018 h 317703"/>
                        <a:gd name="connsiteX1" fmla="*/ 171247 w 297124"/>
                        <a:gd name="connsiteY1" fmla="*/ 2607 h 317703"/>
                        <a:gd name="connsiteX2" fmla="*/ 2828 w 297124"/>
                        <a:gd name="connsiteY2" fmla="*/ 115709 h 317703"/>
                        <a:gd name="connsiteX3" fmla="*/ 74844 w 297124"/>
                        <a:gd name="connsiteY3" fmla="*/ 309805 h 317703"/>
                        <a:gd name="connsiteX4" fmla="*/ 186437 w 297124"/>
                        <a:gd name="connsiteY4" fmla="*/ 230013 h 317703"/>
                        <a:gd name="connsiteX5" fmla="*/ 279416 w 297124"/>
                        <a:gd name="connsiteY5" fmla="*/ 115119 h 317703"/>
                        <a:gd name="connsiteX6" fmla="*/ 273346 w 297124"/>
                        <a:gd name="connsiteY6" fmla="*/ 117199 h 317703"/>
                        <a:gd name="connsiteX7" fmla="*/ 176997 w 297124"/>
                        <a:gd name="connsiteY7" fmla="*/ 92018 h 317703"/>
                        <a:gd name="connsiteX0" fmla="*/ 226739 w 297124"/>
                        <a:gd name="connsiteY0" fmla="*/ 51834 h 319465"/>
                        <a:gd name="connsiteX1" fmla="*/ 171247 w 297124"/>
                        <a:gd name="connsiteY1" fmla="*/ 4369 h 319465"/>
                        <a:gd name="connsiteX2" fmla="*/ 2828 w 297124"/>
                        <a:gd name="connsiteY2" fmla="*/ 117471 h 319465"/>
                        <a:gd name="connsiteX3" fmla="*/ 74844 w 297124"/>
                        <a:gd name="connsiteY3" fmla="*/ 311567 h 319465"/>
                        <a:gd name="connsiteX4" fmla="*/ 186437 w 297124"/>
                        <a:gd name="connsiteY4" fmla="*/ 231775 h 319465"/>
                        <a:gd name="connsiteX5" fmla="*/ 279416 w 297124"/>
                        <a:gd name="connsiteY5" fmla="*/ 116881 h 319465"/>
                        <a:gd name="connsiteX6" fmla="*/ 273346 w 297124"/>
                        <a:gd name="connsiteY6" fmla="*/ 118961 h 319465"/>
                        <a:gd name="connsiteX7" fmla="*/ 226739 w 297124"/>
                        <a:gd name="connsiteY7" fmla="*/ 51834 h 319465"/>
                        <a:gd name="connsiteX0" fmla="*/ 226739 w 289446"/>
                        <a:gd name="connsiteY0" fmla="*/ 51834 h 319465"/>
                        <a:gd name="connsiteX1" fmla="*/ 171247 w 289446"/>
                        <a:gd name="connsiteY1" fmla="*/ 4369 h 319465"/>
                        <a:gd name="connsiteX2" fmla="*/ 2828 w 289446"/>
                        <a:gd name="connsiteY2" fmla="*/ 117471 h 319465"/>
                        <a:gd name="connsiteX3" fmla="*/ 74844 w 289446"/>
                        <a:gd name="connsiteY3" fmla="*/ 311567 h 319465"/>
                        <a:gd name="connsiteX4" fmla="*/ 186437 w 289446"/>
                        <a:gd name="connsiteY4" fmla="*/ 231775 h 319465"/>
                        <a:gd name="connsiteX5" fmla="*/ 279416 w 289446"/>
                        <a:gd name="connsiteY5" fmla="*/ 116881 h 319465"/>
                        <a:gd name="connsiteX6" fmla="*/ 214719 w 289446"/>
                        <a:gd name="connsiteY6" fmla="*/ 180566 h 319465"/>
                        <a:gd name="connsiteX7" fmla="*/ 226739 w 289446"/>
                        <a:gd name="connsiteY7" fmla="*/ 51834 h 319465"/>
                        <a:gd name="connsiteX0" fmla="*/ 202461 w 289446"/>
                        <a:gd name="connsiteY0" fmla="*/ 59631 h 318953"/>
                        <a:gd name="connsiteX1" fmla="*/ 171247 w 289446"/>
                        <a:gd name="connsiteY1" fmla="*/ 3857 h 318953"/>
                        <a:gd name="connsiteX2" fmla="*/ 2828 w 289446"/>
                        <a:gd name="connsiteY2" fmla="*/ 116959 h 318953"/>
                        <a:gd name="connsiteX3" fmla="*/ 74844 w 289446"/>
                        <a:gd name="connsiteY3" fmla="*/ 311055 h 318953"/>
                        <a:gd name="connsiteX4" fmla="*/ 186437 w 289446"/>
                        <a:gd name="connsiteY4" fmla="*/ 231263 h 318953"/>
                        <a:gd name="connsiteX5" fmla="*/ 279416 w 289446"/>
                        <a:gd name="connsiteY5" fmla="*/ 116369 h 318953"/>
                        <a:gd name="connsiteX6" fmla="*/ 214719 w 289446"/>
                        <a:gd name="connsiteY6" fmla="*/ 180054 h 318953"/>
                        <a:gd name="connsiteX7" fmla="*/ 202461 w 289446"/>
                        <a:gd name="connsiteY7" fmla="*/ 59631 h 318953"/>
                        <a:gd name="connsiteX0" fmla="*/ 202461 w 216515"/>
                        <a:gd name="connsiteY0" fmla="*/ 59631 h 318929"/>
                        <a:gd name="connsiteX1" fmla="*/ 171247 w 216515"/>
                        <a:gd name="connsiteY1" fmla="*/ 3857 h 318929"/>
                        <a:gd name="connsiteX2" fmla="*/ 2828 w 216515"/>
                        <a:gd name="connsiteY2" fmla="*/ 116959 h 318929"/>
                        <a:gd name="connsiteX3" fmla="*/ 74844 w 216515"/>
                        <a:gd name="connsiteY3" fmla="*/ 311055 h 318929"/>
                        <a:gd name="connsiteX4" fmla="*/ 186437 w 216515"/>
                        <a:gd name="connsiteY4" fmla="*/ 231263 h 318929"/>
                        <a:gd name="connsiteX5" fmla="*/ 214719 w 216515"/>
                        <a:gd name="connsiteY5" fmla="*/ 180054 h 318929"/>
                        <a:gd name="connsiteX6" fmla="*/ 202461 w 216515"/>
                        <a:gd name="connsiteY6" fmla="*/ 59631 h 318929"/>
                        <a:gd name="connsiteX0" fmla="*/ 200078 w 214132"/>
                        <a:gd name="connsiteY0" fmla="*/ 113647 h 372945"/>
                        <a:gd name="connsiteX1" fmla="*/ 105135 w 214132"/>
                        <a:gd name="connsiteY1" fmla="*/ 2146 h 372945"/>
                        <a:gd name="connsiteX2" fmla="*/ 445 w 214132"/>
                        <a:gd name="connsiteY2" fmla="*/ 170975 h 372945"/>
                        <a:gd name="connsiteX3" fmla="*/ 72461 w 214132"/>
                        <a:gd name="connsiteY3" fmla="*/ 365071 h 372945"/>
                        <a:gd name="connsiteX4" fmla="*/ 184054 w 214132"/>
                        <a:gd name="connsiteY4" fmla="*/ 285279 h 372945"/>
                        <a:gd name="connsiteX5" fmla="*/ 212336 w 214132"/>
                        <a:gd name="connsiteY5" fmla="*/ 234070 h 372945"/>
                        <a:gd name="connsiteX6" fmla="*/ 200078 w 214132"/>
                        <a:gd name="connsiteY6" fmla="*/ 113647 h 372945"/>
                        <a:gd name="connsiteX0" fmla="*/ 171466 w 185520"/>
                        <a:gd name="connsiteY0" fmla="*/ 113647 h 372945"/>
                        <a:gd name="connsiteX1" fmla="*/ 76523 w 185520"/>
                        <a:gd name="connsiteY1" fmla="*/ 2146 h 372945"/>
                        <a:gd name="connsiteX2" fmla="*/ 1029 w 185520"/>
                        <a:gd name="connsiteY2" fmla="*/ 227444 h 372945"/>
                        <a:gd name="connsiteX3" fmla="*/ 43849 w 185520"/>
                        <a:gd name="connsiteY3" fmla="*/ 365071 h 372945"/>
                        <a:gd name="connsiteX4" fmla="*/ 155442 w 185520"/>
                        <a:gd name="connsiteY4" fmla="*/ 285279 h 372945"/>
                        <a:gd name="connsiteX5" fmla="*/ 183724 w 185520"/>
                        <a:gd name="connsiteY5" fmla="*/ 234070 h 372945"/>
                        <a:gd name="connsiteX6" fmla="*/ 171466 w 185520"/>
                        <a:gd name="connsiteY6" fmla="*/ 113647 h 372945"/>
                        <a:gd name="connsiteX0" fmla="*/ 171466 w 185520"/>
                        <a:gd name="connsiteY0" fmla="*/ 113647 h 396811"/>
                        <a:gd name="connsiteX1" fmla="*/ 76523 w 185520"/>
                        <a:gd name="connsiteY1" fmla="*/ 2146 h 396811"/>
                        <a:gd name="connsiteX2" fmla="*/ 1029 w 185520"/>
                        <a:gd name="connsiteY2" fmla="*/ 227444 h 396811"/>
                        <a:gd name="connsiteX3" fmla="*/ 43849 w 185520"/>
                        <a:gd name="connsiteY3" fmla="*/ 365071 h 396811"/>
                        <a:gd name="connsiteX4" fmla="*/ 158771 w 185520"/>
                        <a:gd name="connsiteY4" fmla="*/ 383831 h 396811"/>
                        <a:gd name="connsiteX5" fmla="*/ 183724 w 185520"/>
                        <a:gd name="connsiteY5" fmla="*/ 234070 h 396811"/>
                        <a:gd name="connsiteX6" fmla="*/ 171466 w 185520"/>
                        <a:gd name="connsiteY6" fmla="*/ 113647 h 396811"/>
                        <a:gd name="connsiteX0" fmla="*/ 170767 w 184821"/>
                        <a:gd name="connsiteY0" fmla="*/ 113647 h 387719"/>
                        <a:gd name="connsiteX1" fmla="*/ 75824 w 184821"/>
                        <a:gd name="connsiteY1" fmla="*/ 2146 h 387719"/>
                        <a:gd name="connsiteX2" fmla="*/ 330 w 184821"/>
                        <a:gd name="connsiteY2" fmla="*/ 227444 h 387719"/>
                        <a:gd name="connsiteX3" fmla="*/ 54416 w 184821"/>
                        <a:gd name="connsiteY3" fmla="*/ 294753 h 387719"/>
                        <a:gd name="connsiteX4" fmla="*/ 158072 w 184821"/>
                        <a:gd name="connsiteY4" fmla="*/ 383831 h 387719"/>
                        <a:gd name="connsiteX5" fmla="*/ 183025 w 184821"/>
                        <a:gd name="connsiteY5" fmla="*/ 234070 h 387719"/>
                        <a:gd name="connsiteX6" fmla="*/ 170767 w 184821"/>
                        <a:gd name="connsiteY6" fmla="*/ 113647 h 387719"/>
                        <a:gd name="connsiteX0" fmla="*/ 194313 w 208367"/>
                        <a:gd name="connsiteY0" fmla="*/ 113647 h 387719"/>
                        <a:gd name="connsiteX1" fmla="*/ 99370 w 208367"/>
                        <a:gd name="connsiteY1" fmla="*/ 2146 h 387719"/>
                        <a:gd name="connsiteX2" fmla="*/ 182 w 208367"/>
                        <a:gd name="connsiteY2" fmla="*/ 279863 h 387719"/>
                        <a:gd name="connsiteX3" fmla="*/ 77962 w 208367"/>
                        <a:gd name="connsiteY3" fmla="*/ 294753 h 387719"/>
                        <a:gd name="connsiteX4" fmla="*/ 181618 w 208367"/>
                        <a:gd name="connsiteY4" fmla="*/ 383831 h 387719"/>
                        <a:gd name="connsiteX5" fmla="*/ 206571 w 208367"/>
                        <a:gd name="connsiteY5" fmla="*/ 234070 h 387719"/>
                        <a:gd name="connsiteX6" fmla="*/ 194313 w 208367"/>
                        <a:gd name="connsiteY6" fmla="*/ 113647 h 387719"/>
                        <a:gd name="connsiteX0" fmla="*/ 207936 w 221990"/>
                        <a:gd name="connsiteY0" fmla="*/ 113647 h 400440"/>
                        <a:gd name="connsiteX1" fmla="*/ 112993 w 221990"/>
                        <a:gd name="connsiteY1" fmla="*/ 2146 h 400440"/>
                        <a:gd name="connsiteX2" fmla="*/ 13805 w 221990"/>
                        <a:gd name="connsiteY2" fmla="*/ 279863 h 400440"/>
                        <a:gd name="connsiteX3" fmla="*/ 21510 w 221990"/>
                        <a:gd name="connsiteY3" fmla="*/ 374120 h 400440"/>
                        <a:gd name="connsiteX4" fmla="*/ 195241 w 221990"/>
                        <a:gd name="connsiteY4" fmla="*/ 383831 h 400440"/>
                        <a:gd name="connsiteX5" fmla="*/ 220194 w 221990"/>
                        <a:gd name="connsiteY5" fmla="*/ 234070 h 400440"/>
                        <a:gd name="connsiteX6" fmla="*/ 207936 w 221990"/>
                        <a:gd name="connsiteY6" fmla="*/ 113647 h 400440"/>
                        <a:gd name="connsiteX0" fmla="*/ 207936 w 221990"/>
                        <a:gd name="connsiteY0" fmla="*/ 113647 h 384477"/>
                        <a:gd name="connsiteX1" fmla="*/ 112993 w 221990"/>
                        <a:gd name="connsiteY1" fmla="*/ 2146 h 384477"/>
                        <a:gd name="connsiteX2" fmla="*/ 13805 w 221990"/>
                        <a:gd name="connsiteY2" fmla="*/ 279863 h 384477"/>
                        <a:gd name="connsiteX3" fmla="*/ 21510 w 221990"/>
                        <a:gd name="connsiteY3" fmla="*/ 374120 h 384477"/>
                        <a:gd name="connsiteX4" fmla="*/ 113162 w 221990"/>
                        <a:gd name="connsiteY4" fmla="*/ 323303 h 384477"/>
                        <a:gd name="connsiteX5" fmla="*/ 220194 w 221990"/>
                        <a:gd name="connsiteY5" fmla="*/ 234070 h 384477"/>
                        <a:gd name="connsiteX6" fmla="*/ 207936 w 221990"/>
                        <a:gd name="connsiteY6" fmla="*/ 113647 h 384477"/>
                        <a:gd name="connsiteX0" fmla="*/ 207936 w 211307"/>
                        <a:gd name="connsiteY0" fmla="*/ 113647 h 384477"/>
                        <a:gd name="connsiteX1" fmla="*/ 112993 w 211307"/>
                        <a:gd name="connsiteY1" fmla="*/ 2146 h 384477"/>
                        <a:gd name="connsiteX2" fmla="*/ 13805 w 211307"/>
                        <a:gd name="connsiteY2" fmla="*/ 279863 h 384477"/>
                        <a:gd name="connsiteX3" fmla="*/ 21510 w 211307"/>
                        <a:gd name="connsiteY3" fmla="*/ 374120 h 384477"/>
                        <a:gd name="connsiteX4" fmla="*/ 113162 w 211307"/>
                        <a:gd name="connsiteY4" fmla="*/ 323303 h 384477"/>
                        <a:gd name="connsiteX5" fmla="*/ 169474 w 211307"/>
                        <a:gd name="connsiteY5" fmla="*/ 240351 h 384477"/>
                        <a:gd name="connsiteX6" fmla="*/ 207936 w 211307"/>
                        <a:gd name="connsiteY6" fmla="*/ 113647 h 384477"/>
                        <a:gd name="connsiteX0" fmla="*/ 173979 w 181017"/>
                        <a:gd name="connsiteY0" fmla="*/ 157929 h 383911"/>
                        <a:gd name="connsiteX1" fmla="*/ 112993 w 181017"/>
                        <a:gd name="connsiteY1" fmla="*/ 1580 h 383911"/>
                        <a:gd name="connsiteX2" fmla="*/ 13805 w 181017"/>
                        <a:gd name="connsiteY2" fmla="*/ 279297 h 383911"/>
                        <a:gd name="connsiteX3" fmla="*/ 21510 w 181017"/>
                        <a:gd name="connsiteY3" fmla="*/ 373554 h 383911"/>
                        <a:gd name="connsiteX4" fmla="*/ 113162 w 181017"/>
                        <a:gd name="connsiteY4" fmla="*/ 322737 h 383911"/>
                        <a:gd name="connsiteX5" fmla="*/ 169474 w 181017"/>
                        <a:gd name="connsiteY5" fmla="*/ 239785 h 383911"/>
                        <a:gd name="connsiteX6" fmla="*/ 173979 w 181017"/>
                        <a:gd name="connsiteY6" fmla="*/ 157929 h 383911"/>
                        <a:gd name="connsiteX0" fmla="*/ 173918 w 180956"/>
                        <a:gd name="connsiteY0" fmla="*/ 81382 h 307364"/>
                        <a:gd name="connsiteX1" fmla="*/ 111926 w 180956"/>
                        <a:gd name="connsiteY1" fmla="*/ 2917 h 307364"/>
                        <a:gd name="connsiteX2" fmla="*/ 13744 w 180956"/>
                        <a:gd name="connsiteY2" fmla="*/ 202750 h 307364"/>
                        <a:gd name="connsiteX3" fmla="*/ 21449 w 180956"/>
                        <a:gd name="connsiteY3" fmla="*/ 297007 h 307364"/>
                        <a:gd name="connsiteX4" fmla="*/ 113101 w 180956"/>
                        <a:gd name="connsiteY4" fmla="*/ 246190 h 307364"/>
                        <a:gd name="connsiteX5" fmla="*/ 169413 w 180956"/>
                        <a:gd name="connsiteY5" fmla="*/ 163238 h 307364"/>
                        <a:gd name="connsiteX6" fmla="*/ 173918 w 180956"/>
                        <a:gd name="connsiteY6" fmla="*/ 81382 h 307364"/>
                        <a:gd name="connsiteX0" fmla="*/ 163348 w 170386"/>
                        <a:gd name="connsiteY0" fmla="*/ 81382 h 251896"/>
                        <a:gd name="connsiteX1" fmla="*/ 101356 w 170386"/>
                        <a:gd name="connsiteY1" fmla="*/ 2917 h 251896"/>
                        <a:gd name="connsiteX2" fmla="*/ 3174 w 170386"/>
                        <a:gd name="connsiteY2" fmla="*/ 202750 h 251896"/>
                        <a:gd name="connsiteX3" fmla="*/ 39914 w 170386"/>
                        <a:gd name="connsiteY3" fmla="*/ 187378 h 251896"/>
                        <a:gd name="connsiteX4" fmla="*/ 102531 w 170386"/>
                        <a:gd name="connsiteY4" fmla="*/ 246190 h 251896"/>
                        <a:gd name="connsiteX5" fmla="*/ 158843 w 170386"/>
                        <a:gd name="connsiteY5" fmla="*/ 163238 h 251896"/>
                        <a:gd name="connsiteX6" fmla="*/ 163348 w 170386"/>
                        <a:gd name="connsiteY6" fmla="*/ 81382 h 251896"/>
                        <a:gd name="connsiteX0" fmla="*/ 161438 w 168476"/>
                        <a:gd name="connsiteY0" fmla="*/ 81382 h 251896"/>
                        <a:gd name="connsiteX1" fmla="*/ 99446 w 168476"/>
                        <a:gd name="connsiteY1" fmla="*/ 2917 h 251896"/>
                        <a:gd name="connsiteX2" fmla="*/ 1264 w 168476"/>
                        <a:gd name="connsiteY2" fmla="*/ 202750 h 251896"/>
                        <a:gd name="connsiteX3" fmla="*/ 38004 w 168476"/>
                        <a:gd name="connsiteY3" fmla="*/ 187378 h 251896"/>
                        <a:gd name="connsiteX4" fmla="*/ 100621 w 168476"/>
                        <a:gd name="connsiteY4" fmla="*/ 246190 h 251896"/>
                        <a:gd name="connsiteX5" fmla="*/ 156933 w 168476"/>
                        <a:gd name="connsiteY5" fmla="*/ 163238 h 251896"/>
                        <a:gd name="connsiteX6" fmla="*/ 161438 w 168476"/>
                        <a:gd name="connsiteY6" fmla="*/ 81382 h 251896"/>
                        <a:gd name="connsiteX0" fmla="*/ 123435 w 130473"/>
                        <a:gd name="connsiteY0" fmla="*/ 81079 h 251593"/>
                        <a:gd name="connsiteX1" fmla="*/ 61443 w 130473"/>
                        <a:gd name="connsiteY1" fmla="*/ 2614 h 251593"/>
                        <a:gd name="connsiteX2" fmla="*/ 1 w 130473"/>
                        <a:gd name="connsiteY2" fmla="*/ 187075 h 251593"/>
                        <a:gd name="connsiteX3" fmla="*/ 62618 w 130473"/>
                        <a:gd name="connsiteY3" fmla="*/ 245887 h 251593"/>
                        <a:gd name="connsiteX4" fmla="*/ 118930 w 130473"/>
                        <a:gd name="connsiteY4" fmla="*/ 162935 h 251593"/>
                        <a:gd name="connsiteX5" fmla="*/ 123435 w 130473"/>
                        <a:gd name="connsiteY5" fmla="*/ 81079 h 251593"/>
                        <a:gd name="connsiteX0" fmla="*/ 123435 w 130472"/>
                        <a:gd name="connsiteY0" fmla="*/ 81077 h 281983"/>
                        <a:gd name="connsiteX1" fmla="*/ 61443 w 130472"/>
                        <a:gd name="connsiteY1" fmla="*/ 2612 h 281983"/>
                        <a:gd name="connsiteX2" fmla="*/ 1 w 130472"/>
                        <a:gd name="connsiteY2" fmla="*/ 187073 h 281983"/>
                        <a:gd name="connsiteX3" fmla="*/ 59877 w 130472"/>
                        <a:gd name="connsiteY3" fmla="*/ 278178 h 281983"/>
                        <a:gd name="connsiteX4" fmla="*/ 118930 w 130472"/>
                        <a:gd name="connsiteY4" fmla="*/ 162933 h 281983"/>
                        <a:gd name="connsiteX5" fmla="*/ 123435 w 130472"/>
                        <a:gd name="connsiteY5" fmla="*/ 81077 h 281983"/>
                        <a:gd name="connsiteX0" fmla="*/ 134182 w 141219"/>
                        <a:gd name="connsiteY0" fmla="*/ 81077 h 287817"/>
                        <a:gd name="connsiteX1" fmla="*/ 72190 w 141219"/>
                        <a:gd name="connsiteY1" fmla="*/ 2612 h 287817"/>
                        <a:gd name="connsiteX2" fmla="*/ 0 w 141219"/>
                        <a:gd name="connsiteY2" fmla="*/ 247392 h 287817"/>
                        <a:gd name="connsiteX3" fmla="*/ 70624 w 141219"/>
                        <a:gd name="connsiteY3" fmla="*/ 278178 h 287817"/>
                        <a:gd name="connsiteX4" fmla="*/ 129677 w 141219"/>
                        <a:gd name="connsiteY4" fmla="*/ 162933 h 287817"/>
                        <a:gd name="connsiteX5" fmla="*/ 134182 w 141219"/>
                        <a:gd name="connsiteY5" fmla="*/ 81077 h 287817"/>
                        <a:gd name="connsiteX0" fmla="*/ 134182 w 153409"/>
                        <a:gd name="connsiteY0" fmla="*/ 81077 h 287819"/>
                        <a:gd name="connsiteX1" fmla="*/ 72190 w 153409"/>
                        <a:gd name="connsiteY1" fmla="*/ 2612 h 287819"/>
                        <a:gd name="connsiteX2" fmla="*/ 0 w 153409"/>
                        <a:gd name="connsiteY2" fmla="*/ 247392 h 287819"/>
                        <a:gd name="connsiteX3" fmla="*/ 70624 w 153409"/>
                        <a:gd name="connsiteY3" fmla="*/ 278178 h 287819"/>
                        <a:gd name="connsiteX4" fmla="*/ 152664 w 153409"/>
                        <a:gd name="connsiteY4" fmla="*/ 166785 h 287819"/>
                        <a:gd name="connsiteX5" fmla="*/ 134182 w 153409"/>
                        <a:gd name="connsiteY5" fmla="*/ 81077 h 287819"/>
                        <a:gd name="connsiteX0" fmla="*/ 134182 w 153409"/>
                        <a:gd name="connsiteY0" fmla="*/ 103875 h 310615"/>
                        <a:gd name="connsiteX1" fmla="*/ 67739 w 153409"/>
                        <a:gd name="connsiteY1" fmla="*/ 2075 h 310615"/>
                        <a:gd name="connsiteX2" fmla="*/ 0 w 153409"/>
                        <a:gd name="connsiteY2" fmla="*/ 270190 h 310615"/>
                        <a:gd name="connsiteX3" fmla="*/ 70624 w 153409"/>
                        <a:gd name="connsiteY3" fmla="*/ 300976 h 310615"/>
                        <a:gd name="connsiteX4" fmla="*/ 152664 w 153409"/>
                        <a:gd name="connsiteY4" fmla="*/ 189583 h 310615"/>
                        <a:gd name="connsiteX5" fmla="*/ 134182 w 153409"/>
                        <a:gd name="connsiteY5" fmla="*/ 103875 h 310615"/>
                        <a:gd name="connsiteX0" fmla="*/ 134870 w 154097"/>
                        <a:gd name="connsiteY0" fmla="*/ 103875 h 310617"/>
                        <a:gd name="connsiteX1" fmla="*/ 68427 w 154097"/>
                        <a:gd name="connsiteY1" fmla="*/ 2075 h 310617"/>
                        <a:gd name="connsiteX2" fmla="*/ 50547 w 154097"/>
                        <a:gd name="connsiteY2" fmla="*/ 129528 h 310617"/>
                        <a:gd name="connsiteX3" fmla="*/ 688 w 154097"/>
                        <a:gd name="connsiteY3" fmla="*/ 270190 h 310617"/>
                        <a:gd name="connsiteX4" fmla="*/ 71312 w 154097"/>
                        <a:gd name="connsiteY4" fmla="*/ 300976 h 310617"/>
                        <a:gd name="connsiteX5" fmla="*/ 153352 w 154097"/>
                        <a:gd name="connsiteY5" fmla="*/ 189583 h 310617"/>
                        <a:gd name="connsiteX6" fmla="*/ 134870 w 154097"/>
                        <a:gd name="connsiteY6" fmla="*/ 103875 h 310617"/>
                        <a:gd name="connsiteX0" fmla="*/ 286319 w 305546"/>
                        <a:gd name="connsiteY0" fmla="*/ 103875 h 316422"/>
                        <a:gd name="connsiteX1" fmla="*/ 219876 w 305546"/>
                        <a:gd name="connsiteY1" fmla="*/ 2075 h 316422"/>
                        <a:gd name="connsiteX2" fmla="*/ 201996 w 305546"/>
                        <a:gd name="connsiteY2" fmla="*/ 129528 h 316422"/>
                        <a:gd name="connsiteX3" fmla="*/ 170 w 305546"/>
                        <a:gd name="connsiteY3" fmla="*/ 288640 h 316422"/>
                        <a:gd name="connsiteX4" fmla="*/ 222761 w 305546"/>
                        <a:gd name="connsiteY4" fmla="*/ 300976 h 316422"/>
                        <a:gd name="connsiteX5" fmla="*/ 304801 w 305546"/>
                        <a:gd name="connsiteY5" fmla="*/ 189583 h 316422"/>
                        <a:gd name="connsiteX6" fmla="*/ 286319 w 305546"/>
                        <a:gd name="connsiteY6" fmla="*/ 103875 h 316422"/>
                        <a:gd name="connsiteX0" fmla="*/ 286434 w 305661"/>
                        <a:gd name="connsiteY0" fmla="*/ 127077 h 339624"/>
                        <a:gd name="connsiteX1" fmla="*/ 219991 w 305661"/>
                        <a:gd name="connsiteY1" fmla="*/ 25277 h 339624"/>
                        <a:gd name="connsiteX2" fmla="*/ 121169 w 305661"/>
                        <a:gd name="connsiteY2" fmla="*/ 17606 h 339624"/>
                        <a:gd name="connsiteX3" fmla="*/ 285 w 305661"/>
                        <a:gd name="connsiteY3" fmla="*/ 311842 h 339624"/>
                        <a:gd name="connsiteX4" fmla="*/ 222876 w 305661"/>
                        <a:gd name="connsiteY4" fmla="*/ 324178 h 339624"/>
                        <a:gd name="connsiteX5" fmla="*/ 304916 w 305661"/>
                        <a:gd name="connsiteY5" fmla="*/ 212785 h 339624"/>
                        <a:gd name="connsiteX6" fmla="*/ 286434 w 305661"/>
                        <a:gd name="connsiteY6" fmla="*/ 127077 h 339624"/>
                        <a:gd name="connsiteX0" fmla="*/ 312003 w 331230"/>
                        <a:gd name="connsiteY0" fmla="*/ 127077 h 339624"/>
                        <a:gd name="connsiteX1" fmla="*/ 245560 w 331230"/>
                        <a:gd name="connsiteY1" fmla="*/ 25277 h 339624"/>
                        <a:gd name="connsiteX2" fmla="*/ 146738 w 331230"/>
                        <a:gd name="connsiteY2" fmla="*/ 17606 h 339624"/>
                        <a:gd name="connsiteX3" fmla="*/ 11423 w 331230"/>
                        <a:gd name="connsiteY3" fmla="*/ 244058 h 339624"/>
                        <a:gd name="connsiteX4" fmla="*/ 25854 w 331230"/>
                        <a:gd name="connsiteY4" fmla="*/ 311842 h 339624"/>
                        <a:gd name="connsiteX5" fmla="*/ 248445 w 331230"/>
                        <a:gd name="connsiteY5" fmla="*/ 324178 h 339624"/>
                        <a:gd name="connsiteX6" fmla="*/ 330485 w 331230"/>
                        <a:gd name="connsiteY6" fmla="*/ 212785 h 339624"/>
                        <a:gd name="connsiteX7" fmla="*/ 312003 w 331230"/>
                        <a:gd name="connsiteY7" fmla="*/ 127077 h 339624"/>
                        <a:gd name="connsiteX0" fmla="*/ 308864 w 328091"/>
                        <a:gd name="connsiteY0" fmla="*/ 127077 h 331225"/>
                        <a:gd name="connsiteX1" fmla="*/ 242421 w 328091"/>
                        <a:gd name="connsiteY1" fmla="*/ 25277 h 331225"/>
                        <a:gd name="connsiteX2" fmla="*/ 143599 w 328091"/>
                        <a:gd name="connsiteY2" fmla="*/ 17606 h 331225"/>
                        <a:gd name="connsiteX3" fmla="*/ 8284 w 328091"/>
                        <a:gd name="connsiteY3" fmla="*/ 244058 h 331225"/>
                        <a:gd name="connsiteX4" fmla="*/ 22715 w 328091"/>
                        <a:gd name="connsiteY4" fmla="*/ 311842 h 331225"/>
                        <a:gd name="connsiteX5" fmla="*/ 96661 w 328091"/>
                        <a:gd name="connsiteY5" fmla="*/ 312963 h 331225"/>
                        <a:gd name="connsiteX6" fmla="*/ 245306 w 328091"/>
                        <a:gd name="connsiteY6" fmla="*/ 324178 h 331225"/>
                        <a:gd name="connsiteX7" fmla="*/ 327346 w 328091"/>
                        <a:gd name="connsiteY7" fmla="*/ 212785 h 331225"/>
                        <a:gd name="connsiteX8" fmla="*/ 308864 w 328091"/>
                        <a:gd name="connsiteY8" fmla="*/ 127077 h 331225"/>
                        <a:gd name="connsiteX0" fmla="*/ 308864 w 328091"/>
                        <a:gd name="connsiteY0" fmla="*/ 127077 h 327926"/>
                        <a:gd name="connsiteX1" fmla="*/ 242421 w 328091"/>
                        <a:gd name="connsiteY1" fmla="*/ 25277 h 327926"/>
                        <a:gd name="connsiteX2" fmla="*/ 143599 w 328091"/>
                        <a:gd name="connsiteY2" fmla="*/ 17606 h 327926"/>
                        <a:gd name="connsiteX3" fmla="*/ 8284 w 328091"/>
                        <a:gd name="connsiteY3" fmla="*/ 244058 h 327926"/>
                        <a:gd name="connsiteX4" fmla="*/ 22715 w 328091"/>
                        <a:gd name="connsiteY4" fmla="*/ 311842 h 327926"/>
                        <a:gd name="connsiteX5" fmla="*/ 96661 w 328091"/>
                        <a:gd name="connsiteY5" fmla="*/ 312963 h 327926"/>
                        <a:gd name="connsiteX6" fmla="*/ 118178 w 328091"/>
                        <a:gd name="connsiteY6" fmla="*/ 294294 h 327926"/>
                        <a:gd name="connsiteX7" fmla="*/ 245306 w 328091"/>
                        <a:gd name="connsiteY7" fmla="*/ 324178 h 327926"/>
                        <a:gd name="connsiteX8" fmla="*/ 327346 w 328091"/>
                        <a:gd name="connsiteY8" fmla="*/ 212785 h 327926"/>
                        <a:gd name="connsiteX9" fmla="*/ 308864 w 328091"/>
                        <a:gd name="connsiteY9" fmla="*/ 127077 h 327926"/>
                        <a:gd name="connsiteX0" fmla="*/ 308864 w 328091"/>
                        <a:gd name="connsiteY0" fmla="*/ 127077 h 342899"/>
                        <a:gd name="connsiteX1" fmla="*/ 242421 w 328091"/>
                        <a:gd name="connsiteY1" fmla="*/ 25277 h 342899"/>
                        <a:gd name="connsiteX2" fmla="*/ 143599 w 328091"/>
                        <a:gd name="connsiteY2" fmla="*/ 17606 h 342899"/>
                        <a:gd name="connsiteX3" fmla="*/ 8284 w 328091"/>
                        <a:gd name="connsiteY3" fmla="*/ 244058 h 342899"/>
                        <a:gd name="connsiteX4" fmla="*/ 22715 w 328091"/>
                        <a:gd name="connsiteY4" fmla="*/ 311842 h 342899"/>
                        <a:gd name="connsiteX5" fmla="*/ 96661 w 328091"/>
                        <a:gd name="connsiteY5" fmla="*/ 312963 h 342899"/>
                        <a:gd name="connsiteX6" fmla="*/ 118178 w 328091"/>
                        <a:gd name="connsiteY6" fmla="*/ 294294 h 342899"/>
                        <a:gd name="connsiteX7" fmla="*/ 162221 w 328091"/>
                        <a:gd name="connsiteY7" fmla="*/ 341133 h 342899"/>
                        <a:gd name="connsiteX8" fmla="*/ 245306 w 328091"/>
                        <a:gd name="connsiteY8" fmla="*/ 324178 h 342899"/>
                        <a:gd name="connsiteX9" fmla="*/ 327346 w 328091"/>
                        <a:gd name="connsiteY9" fmla="*/ 212785 h 342899"/>
                        <a:gd name="connsiteX10" fmla="*/ 308864 w 328091"/>
                        <a:gd name="connsiteY10" fmla="*/ 127077 h 342899"/>
                        <a:gd name="connsiteX0" fmla="*/ 308864 w 328091"/>
                        <a:gd name="connsiteY0" fmla="*/ 127077 h 342900"/>
                        <a:gd name="connsiteX1" fmla="*/ 242421 w 328091"/>
                        <a:gd name="connsiteY1" fmla="*/ 25277 h 342900"/>
                        <a:gd name="connsiteX2" fmla="*/ 143599 w 328091"/>
                        <a:gd name="connsiteY2" fmla="*/ 17606 h 342900"/>
                        <a:gd name="connsiteX3" fmla="*/ 8284 w 328091"/>
                        <a:gd name="connsiteY3" fmla="*/ 244058 h 342900"/>
                        <a:gd name="connsiteX4" fmla="*/ 22715 w 328091"/>
                        <a:gd name="connsiteY4" fmla="*/ 311842 h 342900"/>
                        <a:gd name="connsiteX5" fmla="*/ 85253 w 328091"/>
                        <a:gd name="connsiteY5" fmla="*/ 292593 h 342900"/>
                        <a:gd name="connsiteX6" fmla="*/ 118178 w 328091"/>
                        <a:gd name="connsiteY6" fmla="*/ 294294 h 342900"/>
                        <a:gd name="connsiteX7" fmla="*/ 162221 w 328091"/>
                        <a:gd name="connsiteY7" fmla="*/ 341133 h 342900"/>
                        <a:gd name="connsiteX8" fmla="*/ 245306 w 328091"/>
                        <a:gd name="connsiteY8" fmla="*/ 324178 h 342900"/>
                        <a:gd name="connsiteX9" fmla="*/ 327346 w 328091"/>
                        <a:gd name="connsiteY9" fmla="*/ 212785 h 342900"/>
                        <a:gd name="connsiteX10" fmla="*/ 308864 w 328091"/>
                        <a:gd name="connsiteY10" fmla="*/ 127077 h 342900"/>
                        <a:gd name="connsiteX0" fmla="*/ 308864 w 328091"/>
                        <a:gd name="connsiteY0" fmla="*/ 127077 h 342900"/>
                        <a:gd name="connsiteX1" fmla="*/ 242421 w 328091"/>
                        <a:gd name="connsiteY1" fmla="*/ 25277 h 342900"/>
                        <a:gd name="connsiteX2" fmla="*/ 143599 w 328091"/>
                        <a:gd name="connsiteY2" fmla="*/ 17606 h 342900"/>
                        <a:gd name="connsiteX3" fmla="*/ 8284 w 328091"/>
                        <a:gd name="connsiteY3" fmla="*/ 244058 h 342900"/>
                        <a:gd name="connsiteX4" fmla="*/ 22715 w 328091"/>
                        <a:gd name="connsiteY4" fmla="*/ 311842 h 342900"/>
                        <a:gd name="connsiteX5" fmla="*/ 85253 w 328091"/>
                        <a:gd name="connsiteY5" fmla="*/ 292593 h 342900"/>
                        <a:gd name="connsiteX6" fmla="*/ 118178 w 328091"/>
                        <a:gd name="connsiteY6" fmla="*/ 294294 h 342900"/>
                        <a:gd name="connsiteX7" fmla="*/ 162221 w 328091"/>
                        <a:gd name="connsiteY7" fmla="*/ 341133 h 342900"/>
                        <a:gd name="connsiteX8" fmla="*/ 245306 w 328091"/>
                        <a:gd name="connsiteY8" fmla="*/ 324178 h 342900"/>
                        <a:gd name="connsiteX9" fmla="*/ 327346 w 328091"/>
                        <a:gd name="connsiteY9" fmla="*/ 212785 h 342900"/>
                        <a:gd name="connsiteX10" fmla="*/ 308864 w 328091"/>
                        <a:gd name="connsiteY10" fmla="*/ 127077 h 342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28091" h="342900">
                          <a:moveTo>
                            <a:pt x="308864" y="127077"/>
                          </a:moveTo>
                          <a:cubicBezTo>
                            <a:pt x="291848" y="107978"/>
                            <a:pt x="262993" y="7611"/>
                            <a:pt x="242421" y="25277"/>
                          </a:cubicBezTo>
                          <a:cubicBezTo>
                            <a:pt x="225043" y="27678"/>
                            <a:pt x="154889" y="-27080"/>
                            <a:pt x="143599" y="17606"/>
                          </a:cubicBezTo>
                          <a:cubicBezTo>
                            <a:pt x="117048" y="40566"/>
                            <a:pt x="28431" y="195019"/>
                            <a:pt x="8284" y="244058"/>
                          </a:cubicBezTo>
                          <a:cubicBezTo>
                            <a:pt x="-11863" y="293097"/>
                            <a:pt x="9413" y="296885"/>
                            <a:pt x="22715" y="311842"/>
                          </a:cubicBezTo>
                          <a:cubicBezTo>
                            <a:pt x="36017" y="326799"/>
                            <a:pt x="77345" y="317754"/>
                            <a:pt x="85253" y="292593"/>
                          </a:cubicBezTo>
                          <a:cubicBezTo>
                            <a:pt x="100516" y="292848"/>
                            <a:pt x="106527" y="294569"/>
                            <a:pt x="118178" y="294294"/>
                          </a:cubicBezTo>
                          <a:cubicBezTo>
                            <a:pt x="129829" y="294019"/>
                            <a:pt x="141033" y="336152"/>
                            <a:pt x="162221" y="341133"/>
                          </a:cubicBezTo>
                          <a:cubicBezTo>
                            <a:pt x="183409" y="346114"/>
                            <a:pt x="218509" y="340599"/>
                            <a:pt x="245306" y="324178"/>
                          </a:cubicBezTo>
                          <a:cubicBezTo>
                            <a:pt x="272103" y="307757"/>
                            <a:pt x="324675" y="241390"/>
                            <a:pt x="327346" y="212785"/>
                          </a:cubicBezTo>
                          <a:cubicBezTo>
                            <a:pt x="330017" y="184180"/>
                            <a:pt x="325881" y="146176"/>
                            <a:pt x="308864" y="12707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06" name="Freeform 282"/>
                    <p:cNvSpPr>
                      <a:spLocks noChangeAspect="1"/>
                    </p:cNvSpPr>
                    <p:nvPr/>
                  </p:nvSpPr>
                  <p:spPr>
                    <a:xfrm rot="11700000">
                      <a:off x="5833698" y="4832562"/>
                      <a:ext cx="167875" cy="161174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399682 w 516301"/>
                        <a:gd name="connsiteY0" fmla="*/ 1010 h 421254"/>
                        <a:gd name="connsiteX1" fmla="*/ 10420 w 516301"/>
                        <a:gd name="connsiteY1" fmla="*/ 158802 h 421254"/>
                        <a:gd name="connsiteX2" fmla="*/ 119284 w 516301"/>
                        <a:gd name="connsiteY2" fmla="*/ 373513 h 421254"/>
                        <a:gd name="connsiteX3" fmla="*/ 223300 w 516301"/>
                        <a:gd name="connsiteY3" fmla="*/ 412622 h 421254"/>
                        <a:gd name="connsiteX4" fmla="*/ 500779 w 516301"/>
                        <a:gd name="connsiteY4" fmla="*/ 234448 h 421254"/>
                        <a:gd name="connsiteX5" fmla="*/ 399682 w 516301"/>
                        <a:gd name="connsiteY5" fmla="*/ 1010 h 421254"/>
                        <a:gd name="connsiteX0" fmla="*/ 400635 w 517254"/>
                        <a:gd name="connsiteY0" fmla="*/ 1205 h 500568"/>
                        <a:gd name="connsiteX1" fmla="*/ 11373 w 517254"/>
                        <a:gd name="connsiteY1" fmla="*/ 158997 h 500568"/>
                        <a:gd name="connsiteX2" fmla="*/ 112660 w 517254"/>
                        <a:gd name="connsiteY2" fmla="*/ 492609 h 500568"/>
                        <a:gd name="connsiteX3" fmla="*/ 224253 w 517254"/>
                        <a:gd name="connsiteY3" fmla="*/ 412817 h 500568"/>
                        <a:gd name="connsiteX4" fmla="*/ 501732 w 517254"/>
                        <a:gd name="connsiteY4" fmla="*/ 234643 h 500568"/>
                        <a:gd name="connsiteX5" fmla="*/ 400635 w 517254"/>
                        <a:gd name="connsiteY5" fmla="*/ 1205 h 500568"/>
                        <a:gd name="connsiteX0" fmla="*/ 400635 w 517254"/>
                        <a:gd name="connsiteY0" fmla="*/ 1205 h 500507"/>
                        <a:gd name="connsiteX1" fmla="*/ 11373 w 517254"/>
                        <a:gd name="connsiteY1" fmla="*/ 158997 h 500507"/>
                        <a:gd name="connsiteX2" fmla="*/ 112660 w 517254"/>
                        <a:gd name="connsiteY2" fmla="*/ 492609 h 500507"/>
                        <a:gd name="connsiteX3" fmla="*/ 224253 w 517254"/>
                        <a:gd name="connsiteY3" fmla="*/ 412817 h 500507"/>
                        <a:gd name="connsiteX4" fmla="*/ 317232 w 517254"/>
                        <a:gd name="connsiteY4" fmla="*/ 297923 h 500507"/>
                        <a:gd name="connsiteX5" fmla="*/ 501732 w 517254"/>
                        <a:gd name="connsiteY5" fmla="*/ 234643 h 500507"/>
                        <a:gd name="connsiteX6" fmla="*/ 400635 w 517254"/>
                        <a:gd name="connsiteY6" fmla="*/ 1205 h 500507"/>
                        <a:gd name="connsiteX0" fmla="*/ 400635 w 504610"/>
                        <a:gd name="connsiteY0" fmla="*/ 170 h 499472"/>
                        <a:gd name="connsiteX1" fmla="*/ 11373 w 504610"/>
                        <a:gd name="connsiteY1" fmla="*/ 157962 h 499472"/>
                        <a:gd name="connsiteX2" fmla="*/ 112660 w 504610"/>
                        <a:gd name="connsiteY2" fmla="*/ 491574 h 499472"/>
                        <a:gd name="connsiteX3" fmla="*/ 224253 w 504610"/>
                        <a:gd name="connsiteY3" fmla="*/ 411782 h 499472"/>
                        <a:gd name="connsiteX4" fmla="*/ 317232 w 504610"/>
                        <a:gd name="connsiteY4" fmla="*/ 296888 h 499472"/>
                        <a:gd name="connsiteX5" fmla="*/ 501732 w 504610"/>
                        <a:gd name="connsiteY5" fmla="*/ 233608 h 499472"/>
                        <a:gd name="connsiteX6" fmla="*/ 306603 w 504610"/>
                        <a:gd name="connsiteY6" fmla="*/ 184221 h 499472"/>
                        <a:gd name="connsiteX7" fmla="*/ 400635 w 504610"/>
                        <a:gd name="connsiteY7" fmla="*/ 170 h 499472"/>
                        <a:gd name="connsiteX0" fmla="*/ 400635 w 504679"/>
                        <a:gd name="connsiteY0" fmla="*/ 170 h 499472"/>
                        <a:gd name="connsiteX1" fmla="*/ 11373 w 504679"/>
                        <a:gd name="connsiteY1" fmla="*/ 157962 h 499472"/>
                        <a:gd name="connsiteX2" fmla="*/ 112660 w 504679"/>
                        <a:gd name="connsiteY2" fmla="*/ 491574 h 499472"/>
                        <a:gd name="connsiteX3" fmla="*/ 224253 w 504679"/>
                        <a:gd name="connsiteY3" fmla="*/ 411782 h 499472"/>
                        <a:gd name="connsiteX4" fmla="*/ 317232 w 504679"/>
                        <a:gd name="connsiteY4" fmla="*/ 296888 h 499472"/>
                        <a:gd name="connsiteX5" fmla="*/ 311162 w 504679"/>
                        <a:gd name="connsiteY5" fmla="*/ 298968 h 499472"/>
                        <a:gd name="connsiteX6" fmla="*/ 501732 w 504679"/>
                        <a:gd name="connsiteY6" fmla="*/ 233608 h 499472"/>
                        <a:gd name="connsiteX7" fmla="*/ 306603 w 504679"/>
                        <a:gd name="connsiteY7" fmla="*/ 184221 h 499472"/>
                        <a:gd name="connsiteX8" fmla="*/ 400635 w 504679"/>
                        <a:gd name="connsiteY8" fmla="*/ 170 h 499472"/>
                        <a:gd name="connsiteX0" fmla="*/ 400635 w 411811"/>
                        <a:gd name="connsiteY0" fmla="*/ 170 h 499472"/>
                        <a:gd name="connsiteX1" fmla="*/ 11373 w 411811"/>
                        <a:gd name="connsiteY1" fmla="*/ 157962 h 499472"/>
                        <a:gd name="connsiteX2" fmla="*/ 112660 w 411811"/>
                        <a:gd name="connsiteY2" fmla="*/ 491574 h 499472"/>
                        <a:gd name="connsiteX3" fmla="*/ 224253 w 411811"/>
                        <a:gd name="connsiteY3" fmla="*/ 411782 h 499472"/>
                        <a:gd name="connsiteX4" fmla="*/ 317232 w 411811"/>
                        <a:gd name="connsiteY4" fmla="*/ 296888 h 499472"/>
                        <a:gd name="connsiteX5" fmla="*/ 311162 w 411811"/>
                        <a:gd name="connsiteY5" fmla="*/ 298968 h 499472"/>
                        <a:gd name="connsiteX6" fmla="*/ 306603 w 411811"/>
                        <a:gd name="connsiteY6" fmla="*/ 184221 h 499472"/>
                        <a:gd name="connsiteX7" fmla="*/ 400635 w 411811"/>
                        <a:gd name="connsiteY7" fmla="*/ 170 h 499472"/>
                        <a:gd name="connsiteX0" fmla="*/ 344675 w 361138"/>
                        <a:gd name="connsiteY0" fmla="*/ 231 h 473092"/>
                        <a:gd name="connsiteX1" fmla="*/ 8407 w 361138"/>
                        <a:gd name="connsiteY1" fmla="*/ 131582 h 473092"/>
                        <a:gd name="connsiteX2" fmla="*/ 109694 w 361138"/>
                        <a:gd name="connsiteY2" fmla="*/ 465194 h 473092"/>
                        <a:gd name="connsiteX3" fmla="*/ 221287 w 361138"/>
                        <a:gd name="connsiteY3" fmla="*/ 385402 h 473092"/>
                        <a:gd name="connsiteX4" fmla="*/ 314266 w 361138"/>
                        <a:gd name="connsiteY4" fmla="*/ 270508 h 473092"/>
                        <a:gd name="connsiteX5" fmla="*/ 308196 w 361138"/>
                        <a:gd name="connsiteY5" fmla="*/ 272588 h 473092"/>
                        <a:gd name="connsiteX6" fmla="*/ 303637 w 361138"/>
                        <a:gd name="connsiteY6" fmla="*/ 157841 h 473092"/>
                        <a:gd name="connsiteX7" fmla="*/ 344675 w 361138"/>
                        <a:gd name="connsiteY7" fmla="*/ 231 h 473092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09825 w 313478"/>
                        <a:gd name="connsiteY0" fmla="*/ 2 h 472863"/>
                        <a:gd name="connsiteX1" fmla="*/ 171247 w 313478"/>
                        <a:gd name="connsiteY1" fmla="*/ 157767 h 472863"/>
                        <a:gd name="connsiteX2" fmla="*/ 2828 w 313478"/>
                        <a:gd name="connsiteY2" fmla="*/ 270869 h 472863"/>
                        <a:gd name="connsiteX3" fmla="*/ 74844 w 313478"/>
                        <a:gd name="connsiteY3" fmla="*/ 464965 h 472863"/>
                        <a:gd name="connsiteX4" fmla="*/ 186437 w 313478"/>
                        <a:gd name="connsiteY4" fmla="*/ 385173 h 472863"/>
                        <a:gd name="connsiteX5" fmla="*/ 279416 w 313478"/>
                        <a:gd name="connsiteY5" fmla="*/ 270279 h 472863"/>
                        <a:gd name="connsiteX6" fmla="*/ 273346 w 313478"/>
                        <a:gd name="connsiteY6" fmla="*/ 272359 h 472863"/>
                        <a:gd name="connsiteX7" fmla="*/ 268787 w 313478"/>
                        <a:gd name="connsiteY7" fmla="*/ 157612 h 472863"/>
                        <a:gd name="connsiteX8" fmla="*/ 309825 w 313478"/>
                        <a:gd name="connsiteY8" fmla="*/ 2 h 472863"/>
                        <a:gd name="connsiteX0" fmla="*/ 268787 w 297124"/>
                        <a:gd name="connsiteY0" fmla="*/ 14163 h 329414"/>
                        <a:gd name="connsiteX1" fmla="*/ 171247 w 297124"/>
                        <a:gd name="connsiteY1" fmla="*/ 14318 h 329414"/>
                        <a:gd name="connsiteX2" fmla="*/ 2828 w 297124"/>
                        <a:gd name="connsiteY2" fmla="*/ 127420 h 329414"/>
                        <a:gd name="connsiteX3" fmla="*/ 74844 w 297124"/>
                        <a:gd name="connsiteY3" fmla="*/ 321516 h 329414"/>
                        <a:gd name="connsiteX4" fmla="*/ 186437 w 297124"/>
                        <a:gd name="connsiteY4" fmla="*/ 241724 h 329414"/>
                        <a:gd name="connsiteX5" fmla="*/ 279416 w 297124"/>
                        <a:gd name="connsiteY5" fmla="*/ 126830 h 329414"/>
                        <a:gd name="connsiteX6" fmla="*/ 273346 w 297124"/>
                        <a:gd name="connsiteY6" fmla="*/ 128910 h 329414"/>
                        <a:gd name="connsiteX7" fmla="*/ 268787 w 297124"/>
                        <a:gd name="connsiteY7" fmla="*/ 14163 h 329414"/>
                        <a:gd name="connsiteX0" fmla="*/ 194771 w 297124"/>
                        <a:gd name="connsiteY0" fmla="*/ 54292 h 319287"/>
                        <a:gd name="connsiteX1" fmla="*/ 171247 w 297124"/>
                        <a:gd name="connsiteY1" fmla="*/ 4191 h 319287"/>
                        <a:gd name="connsiteX2" fmla="*/ 2828 w 297124"/>
                        <a:gd name="connsiteY2" fmla="*/ 117293 h 319287"/>
                        <a:gd name="connsiteX3" fmla="*/ 74844 w 297124"/>
                        <a:gd name="connsiteY3" fmla="*/ 311389 h 319287"/>
                        <a:gd name="connsiteX4" fmla="*/ 186437 w 297124"/>
                        <a:gd name="connsiteY4" fmla="*/ 231597 h 319287"/>
                        <a:gd name="connsiteX5" fmla="*/ 279416 w 297124"/>
                        <a:gd name="connsiteY5" fmla="*/ 116703 h 319287"/>
                        <a:gd name="connsiteX6" fmla="*/ 273346 w 297124"/>
                        <a:gd name="connsiteY6" fmla="*/ 118783 h 319287"/>
                        <a:gd name="connsiteX7" fmla="*/ 194771 w 297124"/>
                        <a:gd name="connsiteY7" fmla="*/ 54292 h 319287"/>
                        <a:gd name="connsiteX0" fmla="*/ 176997 w 297124"/>
                        <a:gd name="connsiteY0" fmla="*/ 92018 h 317703"/>
                        <a:gd name="connsiteX1" fmla="*/ 171247 w 297124"/>
                        <a:gd name="connsiteY1" fmla="*/ 2607 h 317703"/>
                        <a:gd name="connsiteX2" fmla="*/ 2828 w 297124"/>
                        <a:gd name="connsiteY2" fmla="*/ 115709 h 317703"/>
                        <a:gd name="connsiteX3" fmla="*/ 74844 w 297124"/>
                        <a:gd name="connsiteY3" fmla="*/ 309805 h 317703"/>
                        <a:gd name="connsiteX4" fmla="*/ 186437 w 297124"/>
                        <a:gd name="connsiteY4" fmla="*/ 230013 h 317703"/>
                        <a:gd name="connsiteX5" fmla="*/ 279416 w 297124"/>
                        <a:gd name="connsiteY5" fmla="*/ 115119 h 317703"/>
                        <a:gd name="connsiteX6" fmla="*/ 273346 w 297124"/>
                        <a:gd name="connsiteY6" fmla="*/ 117199 h 317703"/>
                        <a:gd name="connsiteX7" fmla="*/ 176997 w 297124"/>
                        <a:gd name="connsiteY7" fmla="*/ 92018 h 317703"/>
                        <a:gd name="connsiteX0" fmla="*/ 226739 w 297124"/>
                        <a:gd name="connsiteY0" fmla="*/ 51834 h 319465"/>
                        <a:gd name="connsiteX1" fmla="*/ 171247 w 297124"/>
                        <a:gd name="connsiteY1" fmla="*/ 4369 h 319465"/>
                        <a:gd name="connsiteX2" fmla="*/ 2828 w 297124"/>
                        <a:gd name="connsiteY2" fmla="*/ 117471 h 319465"/>
                        <a:gd name="connsiteX3" fmla="*/ 74844 w 297124"/>
                        <a:gd name="connsiteY3" fmla="*/ 311567 h 319465"/>
                        <a:gd name="connsiteX4" fmla="*/ 186437 w 297124"/>
                        <a:gd name="connsiteY4" fmla="*/ 231775 h 319465"/>
                        <a:gd name="connsiteX5" fmla="*/ 279416 w 297124"/>
                        <a:gd name="connsiteY5" fmla="*/ 116881 h 319465"/>
                        <a:gd name="connsiteX6" fmla="*/ 273346 w 297124"/>
                        <a:gd name="connsiteY6" fmla="*/ 118961 h 319465"/>
                        <a:gd name="connsiteX7" fmla="*/ 226739 w 297124"/>
                        <a:gd name="connsiteY7" fmla="*/ 51834 h 319465"/>
                        <a:gd name="connsiteX0" fmla="*/ 226739 w 289446"/>
                        <a:gd name="connsiteY0" fmla="*/ 51834 h 319465"/>
                        <a:gd name="connsiteX1" fmla="*/ 171247 w 289446"/>
                        <a:gd name="connsiteY1" fmla="*/ 4369 h 319465"/>
                        <a:gd name="connsiteX2" fmla="*/ 2828 w 289446"/>
                        <a:gd name="connsiteY2" fmla="*/ 117471 h 319465"/>
                        <a:gd name="connsiteX3" fmla="*/ 74844 w 289446"/>
                        <a:gd name="connsiteY3" fmla="*/ 311567 h 319465"/>
                        <a:gd name="connsiteX4" fmla="*/ 186437 w 289446"/>
                        <a:gd name="connsiteY4" fmla="*/ 231775 h 319465"/>
                        <a:gd name="connsiteX5" fmla="*/ 279416 w 289446"/>
                        <a:gd name="connsiteY5" fmla="*/ 116881 h 319465"/>
                        <a:gd name="connsiteX6" fmla="*/ 214719 w 289446"/>
                        <a:gd name="connsiteY6" fmla="*/ 180566 h 319465"/>
                        <a:gd name="connsiteX7" fmla="*/ 226739 w 289446"/>
                        <a:gd name="connsiteY7" fmla="*/ 51834 h 319465"/>
                        <a:gd name="connsiteX0" fmla="*/ 202461 w 289446"/>
                        <a:gd name="connsiteY0" fmla="*/ 59631 h 318953"/>
                        <a:gd name="connsiteX1" fmla="*/ 171247 w 289446"/>
                        <a:gd name="connsiteY1" fmla="*/ 3857 h 318953"/>
                        <a:gd name="connsiteX2" fmla="*/ 2828 w 289446"/>
                        <a:gd name="connsiteY2" fmla="*/ 116959 h 318953"/>
                        <a:gd name="connsiteX3" fmla="*/ 74844 w 289446"/>
                        <a:gd name="connsiteY3" fmla="*/ 311055 h 318953"/>
                        <a:gd name="connsiteX4" fmla="*/ 186437 w 289446"/>
                        <a:gd name="connsiteY4" fmla="*/ 231263 h 318953"/>
                        <a:gd name="connsiteX5" fmla="*/ 279416 w 289446"/>
                        <a:gd name="connsiteY5" fmla="*/ 116369 h 318953"/>
                        <a:gd name="connsiteX6" fmla="*/ 214719 w 289446"/>
                        <a:gd name="connsiteY6" fmla="*/ 180054 h 318953"/>
                        <a:gd name="connsiteX7" fmla="*/ 202461 w 289446"/>
                        <a:gd name="connsiteY7" fmla="*/ 59631 h 318953"/>
                        <a:gd name="connsiteX0" fmla="*/ 202461 w 216515"/>
                        <a:gd name="connsiteY0" fmla="*/ 59631 h 318929"/>
                        <a:gd name="connsiteX1" fmla="*/ 171247 w 216515"/>
                        <a:gd name="connsiteY1" fmla="*/ 3857 h 318929"/>
                        <a:gd name="connsiteX2" fmla="*/ 2828 w 216515"/>
                        <a:gd name="connsiteY2" fmla="*/ 116959 h 318929"/>
                        <a:gd name="connsiteX3" fmla="*/ 74844 w 216515"/>
                        <a:gd name="connsiteY3" fmla="*/ 311055 h 318929"/>
                        <a:gd name="connsiteX4" fmla="*/ 186437 w 216515"/>
                        <a:gd name="connsiteY4" fmla="*/ 231263 h 318929"/>
                        <a:gd name="connsiteX5" fmla="*/ 214719 w 216515"/>
                        <a:gd name="connsiteY5" fmla="*/ 180054 h 318929"/>
                        <a:gd name="connsiteX6" fmla="*/ 202461 w 216515"/>
                        <a:gd name="connsiteY6" fmla="*/ 59631 h 318929"/>
                        <a:gd name="connsiteX0" fmla="*/ 200078 w 214132"/>
                        <a:gd name="connsiteY0" fmla="*/ 113647 h 372945"/>
                        <a:gd name="connsiteX1" fmla="*/ 105135 w 214132"/>
                        <a:gd name="connsiteY1" fmla="*/ 2146 h 372945"/>
                        <a:gd name="connsiteX2" fmla="*/ 445 w 214132"/>
                        <a:gd name="connsiteY2" fmla="*/ 170975 h 372945"/>
                        <a:gd name="connsiteX3" fmla="*/ 72461 w 214132"/>
                        <a:gd name="connsiteY3" fmla="*/ 365071 h 372945"/>
                        <a:gd name="connsiteX4" fmla="*/ 184054 w 214132"/>
                        <a:gd name="connsiteY4" fmla="*/ 285279 h 372945"/>
                        <a:gd name="connsiteX5" fmla="*/ 212336 w 214132"/>
                        <a:gd name="connsiteY5" fmla="*/ 234070 h 372945"/>
                        <a:gd name="connsiteX6" fmla="*/ 200078 w 214132"/>
                        <a:gd name="connsiteY6" fmla="*/ 113647 h 372945"/>
                        <a:gd name="connsiteX0" fmla="*/ 171466 w 185520"/>
                        <a:gd name="connsiteY0" fmla="*/ 113647 h 372945"/>
                        <a:gd name="connsiteX1" fmla="*/ 76523 w 185520"/>
                        <a:gd name="connsiteY1" fmla="*/ 2146 h 372945"/>
                        <a:gd name="connsiteX2" fmla="*/ 1029 w 185520"/>
                        <a:gd name="connsiteY2" fmla="*/ 227444 h 372945"/>
                        <a:gd name="connsiteX3" fmla="*/ 43849 w 185520"/>
                        <a:gd name="connsiteY3" fmla="*/ 365071 h 372945"/>
                        <a:gd name="connsiteX4" fmla="*/ 155442 w 185520"/>
                        <a:gd name="connsiteY4" fmla="*/ 285279 h 372945"/>
                        <a:gd name="connsiteX5" fmla="*/ 183724 w 185520"/>
                        <a:gd name="connsiteY5" fmla="*/ 234070 h 372945"/>
                        <a:gd name="connsiteX6" fmla="*/ 171466 w 185520"/>
                        <a:gd name="connsiteY6" fmla="*/ 113647 h 372945"/>
                        <a:gd name="connsiteX0" fmla="*/ 171466 w 185520"/>
                        <a:gd name="connsiteY0" fmla="*/ 113647 h 396811"/>
                        <a:gd name="connsiteX1" fmla="*/ 76523 w 185520"/>
                        <a:gd name="connsiteY1" fmla="*/ 2146 h 396811"/>
                        <a:gd name="connsiteX2" fmla="*/ 1029 w 185520"/>
                        <a:gd name="connsiteY2" fmla="*/ 227444 h 396811"/>
                        <a:gd name="connsiteX3" fmla="*/ 43849 w 185520"/>
                        <a:gd name="connsiteY3" fmla="*/ 365071 h 396811"/>
                        <a:gd name="connsiteX4" fmla="*/ 158771 w 185520"/>
                        <a:gd name="connsiteY4" fmla="*/ 383831 h 396811"/>
                        <a:gd name="connsiteX5" fmla="*/ 183724 w 185520"/>
                        <a:gd name="connsiteY5" fmla="*/ 234070 h 396811"/>
                        <a:gd name="connsiteX6" fmla="*/ 171466 w 185520"/>
                        <a:gd name="connsiteY6" fmla="*/ 113647 h 396811"/>
                        <a:gd name="connsiteX0" fmla="*/ 170767 w 184821"/>
                        <a:gd name="connsiteY0" fmla="*/ 113647 h 387719"/>
                        <a:gd name="connsiteX1" fmla="*/ 75824 w 184821"/>
                        <a:gd name="connsiteY1" fmla="*/ 2146 h 387719"/>
                        <a:gd name="connsiteX2" fmla="*/ 330 w 184821"/>
                        <a:gd name="connsiteY2" fmla="*/ 227444 h 387719"/>
                        <a:gd name="connsiteX3" fmla="*/ 54416 w 184821"/>
                        <a:gd name="connsiteY3" fmla="*/ 294753 h 387719"/>
                        <a:gd name="connsiteX4" fmla="*/ 158072 w 184821"/>
                        <a:gd name="connsiteY4" fmla="*/ 383831 h 387719"/>
                        <a:gd name="connsiteX5" fmla="*/ 183025 w 184821"/>
                        <a:gd name="connsiteY5" fmla="*/ 234070 h 387719"/>
                        <a:gd name="connsiteX6" fmla="*/ 170767 w 184821"/>
                        <a:gd name="connsiteY6" fmla="*/ 113647 h 387719"/>
                        <a:gd name="connsiteX0" fmla="*/ 194313 w 208367"/>
                        <a:gd name="connsiteY0" fmla="*/ 113647 h 387719"/>
                        <a:gd name="connsiteX1" fmla="*/ 99370 w 208367"/>
                        <a:gd name="connsiteY1" fmla="*/ 2146 h 387719"/>
                        <a:gd name="connsiteX2" fmla="*/ 182 w 208367"/>
                        <a:gd name="connsiteY2" fmla="*/ 279863 h 387719"/>
                        <a:gd name="connsiteX3" fmla="*/ 77962 w 208367"/>
                        <a:gd name="connsiteY3" fmla="*/ 294753 h 387719"/>
                        <a:gd name="connsiteX4" fmla="*/ 181618 w 208367"/>
                        <a:gd name="connsiteY4" fmla="*/ 383831 h 387719"/>
                        <a:gd name="connsiteX5" fmla="*/ 206571 w 208367"/>
                        <a:gd name="connsiteY5" fmla="*/ 234070 h 387719"/>
                        <a:gd name="connsiteX6" fmla="*/ 194313 w 208367"/>
                        <a:gd name="connsiteY6" fmla="*/ 113647 h 387719"/>
                        <a:gd name="connsiteX0" fmla="*/ 207936 w 221990"/>
                        <a:gd name="connsiteY0" fmla="*/ 113647 h 400440"/>
                        <a:gd name="connsiteX1" fmla="*/ 112993 w 221990"/>
                        <a:gd name="connsiteY1" fmla="*/ 2146 h 400440"/>
                        <a:gd name="connsiteX2" fmla="*/ 13805 w 221990"/>
                        <a:gd name="connsiteY2" fmla="*/ 279863 h 400440"/>
                        <a:gd name="connsiteX3" fmla="*/ 21510 w 221990"/>
                        <a:gd name="connsiteY3" fmla="*/ 374120 h 400440"/>
                        <a:gd name="connsiteX4" fmla="*/ 195241 w 221990"/>
                        <a:gd name="connsiteY4" fmla="*/ 383831 h 400440"/>
                        <a:gd name="connsiteX5" fmla="*/ 220194 w 221990"/>
                        <a:gd name="connsiteY5" fmla="*/ 234070 h 400440"/>
                        <a:gd name="connsiteX6" fmla="*/ 207936 w 221990"/>
                        <a:gd name="connsiteY6" fmla="*/ 113647 h 400440"/>
                        <a:gd name="connsiteX0" fmla="*/ 207936 w 221990"/>
                        <a:gd name="connsiteY0" fmla="*/ 113647 h 384477"/>
                        <a:gd name="connsiteX1" fmla="*/ 112993 w 221990"/>
                        <a:gd name="connsiteY1" fmla="*/ 2146 h 384477"/>
                        <a:gd name="connsiteX2" fmla="*/ 13805 w 221990"/>
                        <a:gd name="connsiteY2" fmla="*/ 279863 h 384477"/>
                        <a:gd name="connsiteX3" fmla="*/ 21510 w 221990"/>
                        <a:gd name="connsiteY3" fmla="*/ 374120 h 384477"/>
                        <a:gd name="connsiteX4" fmla="*/ 113162 w 221990"/>
                        <a:gd name="connsiteY4" fmla="*/ 323303 h 384477"/>
                        <a:gd name="connsiteX5" fmla="*/ 220194 w 221990"/>
                        <a:gd name="connsiteY5" fmla="*/ 234070 h 384477"/>
                        <a:gd name="connsiteX6" fmla="*/ 207936 w 221990"/>
                        <a:gd name="connsiteY6" fmla="*/ 113647 h 384477"/>
                        <a:gd name="connsiteX0" fmla="*/ 207936 w 211307"/>
                        <a:gd name="connsiteY0" fmla="*/ 113647 h 384477"/>
                        <a:gd name="connsiteX1" fmla="*/ 112993 w 211307"/>
                        <a:gd name="connsiteY1" fmla="*/ 2146 h 384477"/>
                        <a:gd name="connsiteX2" fmla="*/ 13805 w 211307"/>
                        <a:gd name="connsiteY2" fmla="*/ 279863 h 384477"/>
                        <a:gd name="connsiteX3" fmla="*/ 21510 w 211307"/>
                        <a:gd name="connsiteY3" fmla="*/ 374120 h 384477"/>
                        <a:gd name="connsiteX4" fmla="*/ 113162 w 211307"/>
                        <a:gd name="connsiteY4" fmla="*/ 323303 h 384477"/>
                        <a:gd name="connsiteX5" fmla="*/ 169474 w 211307"/>
                        <a:gd name="connsiteY5" fmla="*/ 240351 h 384477"/>
                        <a:gd name="connsiteX6" fmla="*/ 207936 w 211307"/>
                        <a:gd name="connsiteY6" fmla="*/ 113647 h 384477"/>
                        <a:gd name="connsiteX0" fmla="*/ 173979 w 181017"/>
                        <a:gd name="connsiteY0" fmla="*/ 157929 h 383911"/>
                        <a:gd name="connsiteX1" fmla="*/ 112993 w 181017"/>
                        <a:gd name="connsiteY1" fmla="*/ 1580 h 383911"/>
                        <a:gd name="connsiteX2" fmla="*/ 13805 w 181017"/>
                        <a:gd name="connsiteY2" fmla="*/ 279297 h 383911"/>
                        <a:gd name="connsiteX3" fmla="*/ 21510 w 181017"/>
                        <a:gd name="connsiteY3" fmla="*/ 373554 h 383911"/>
                        <a:gd name="connsiteX4" fmla="*/ 113162 w 181017"/>
                        <a:gd name="connsiteY4" fmla="*/ 322737 h 383911"/>
                        <a:gd name="connsiteX5" fmla="*/ 169474 w 181017"/>
                        <a:gd name="connsiteY5" fmla="*/ 239785 h 383911"/>
                        <a:gd name="connsiteX6" fmla="*/ 173979 w 181017"/>
                        <a:gd name="connsiteY6" fmla="*/ 157929 h 383911"/>
                        <a:gd name="connsiteX0" fmla="*/ 173918 w 180956"/>
                        <a:gd name="connsiteY0" fmla="*/ 81382 h 307364"/>
                        <a:gd name="connsiteX1" fmla="*/ 111926 w 180956"/>
                        <a:gd name="connsiteY1" fmla="*/ 2917 h 307364"/>
                        <a:gd name="connsiteX2" fmla="*/ 13744 w 180956"/>
                        <a:gd name="connsiteY2" fmla="*/ 202750 h 307364"/>
                        <a:gd name="connsiteX3" fmla="*/ 21449 w 180956"/>
                        <a:gd name="connsiteY3" fmla="*/ 297007 h 307364"/>
                        <a:gd name="connsiteX4" fmla="*/ 113101 w 180956"/>
                        <a:gd name="connsiteY4" fmla="*/ 246190 h 307364"/>
                        <a:gd name="connsiteX5" fmla="*/ 169413 w 180956"/>
                        <a:gd name="connsiteY5" fmla="*/ 163238 h 307364"/>
                        <a:gd name="connsiteX6" fmla="*/ 173918 w 180956"/>
                        <a:gd name="connsiteY6" fmla="*/ 81382 h 307364"/>
                        <a:gd name="connsiteX0" fmla="*/ 163348 w 170386"/>
                        <a:gd name="connsiteY0" fmla="*/ 81382 h 251896"/>
                        <a:gd name="connsiteX1" fmla="*/ 101356 w 170386"/>
                        <a:gd name="connsiteY1" fmla="*/ 2917 h 251896"/>
                        <a:gd name="connsiteX2" fmla="*/ 3174 w 170386"/>
                        <a:gd name="connsiteY2" fmla="*/ 202750 h 251896"/>
                        <a:gd name="connsiteX3" fmla="*/ 39914 w 170386"/>
                        <a:gd name="connsiteY3" fmla="*/ 187378 h 251896"/>
                        <a:gd name="connsiteX4" fmla="*/ 102531 w 170386"/>
                        <a:gd name="connsiteY4" fmla="*/ 246190 h 251896"/>
                        <a:gd name="connsiteX5" fmla="*/ 158843 w 170386"/>
                        <a:gd name="connsiteY5" fmla="*/ 163238 h 251896"/>
                        <a:gd name="connsiteX6" fmla="*/ 163348 w 170386"/>
                        <a:gd name="connsiteY6" fmla="*/ 81382 h 251896"/>
                        <a:gd name="connsiteX0" fmla="*/ 161438 w 168476"/>
                        <a:gd name="connsiteY0" fmla="*/ 81382 h 251896"/>
                        <a:gd name="connsiteX1" fmla="*/ 99446 w 168476"/>
                        <a:gd name="connsiteY1" fmla="*/ 2917 h 251896"/>
                        <a:gd name="connsiteX2" fmla="*/ 1264 w 168476"/>
                        <a:gd name="connsiteY2" fmla="*/ 202750 h 251896"/>
                        <a:gd name="connsiteX3" fmla="*/ 38004 w 168476"/>
                        <a:gd name="connsiteY3" fmla="*/ 187378 h 251896"/>
                        <a:gd name="connsiteX4" fmla="*/ 100621 w 168476"/>
                        <a:gd name="connsiteY4" fmla="*/ 246190 h 251896"/>
                        <a:gd name="connsiteX5" fmla="*/ 156933 w 168476"/>
                        <a:gd name="connsiteY5" fmla="*/ 163238 h 251896"/>
                        <a:gd name="connsiteX6" fmla="*/ 161438 w 168476"/>
                        <a:gd name="connsiteY6" fmla="*/ 81382 h 251896"/>
                        <a:gd name="connsiteX0" fmla="*/ 123435 w 130473"/>
                        <a:gd name="connsiteY0" fmla="*/ 81079 h 251593"/>
                        <a:gd name="connsiteX1" fmla="*/ 61443 w 130473"/>
                        <a:gd name="connsiteY1" fmla="*/ 2614 h 251593"/>
                        <a:gd name="connsiteX2" fmla="*/ 1 w 130473"/>
                        <a:gd name="connsiteY2" fmla="*/ 187075 h 251593"/>
                        <a:gd name="connsiteX3" fmla="*/ 62618 w 130473"/>
                        <a:gd name="connsiteY3" fmla="*/ 245887 h 251593"/>
                        <a:gd name="connsiteX4" fmla="*/ 118930 w 130473"/>
                        <a:gd name="connsiteY4" fmla="*/ 162935 h 251593"/>
                        <a:gd name="connsiteX5" fmla="*/ 123435 w 130473"/>
                        <a:gd name="connsiteY5" fmla="*/ 81079 h 251593"/>
                        <a:gd name="connsiteX0" fmla="*/ 123435 w 130472"/>
                        <a:gd name="connsiteY0" fmla="*/ 81077 h 281983"/>
                        <a:gd name="connsiteX1" fmla="*/ 61443 w 130472"/>
                        <a:gd name="connsiteY1" fmla="*/ 2612 h 281983"/>
                        <a:gd name="connsiteX2" fmla="*/ 1 w 130472"/>
                        <a:gd name="connsiteY2" fmla="*/ 187073 h 281983"/>
                        <a:gd name="connsiteX3" fmla="*/ 59877 w 130472"/>
                        <a:gd name="connsiteY3" fmla="*/ 278178 h 281983"/>
                        <a:gd name="connsiteX4" fmla="*/ 118930 w 130472"/>
                        <a:gd name="connsiteY4" fmla="*/ 162933 h 281983"/>
                        <a:gd name="connsiteX5" fmla="*/ 123435 w 130472"/>
                        <a:gd name="connsiteY5" fmla="*/ 81077 h 281983"/>
                        <a:gd name="connsiteX0" fmla="*/ 134182 w 141219"/>
                        <a:gd name="connsiteY0" fmla="*/ 81077 h 287817"/>
                        <a:gd name="connsiteX1" fmla="*/ 72190 w 141219"/>
                        <a:gd name="connsiteY1" fmla="*/ 2612 h 287817"/>
                        <a:gd name="connsiteX2" fmla="*/ 0 w 141219"/>
                        <a:gd name="connsiteY2" fmla="*/ 247392 h 287817"/>
                        <a:gd name="connsiteX3" fmla="*/ 70624 w 141219"/>
                        <a:gd name="connsiteY3" fmla="*/ 278178 h 287817"/>
                        <a:gd name="connsiteX4" fmla="*/ 129677 w 141219"/>
                        <a:gd name="connsiteY4" fmla="*/ 162933 h 287817"/>
                        <a:gd name="connsiteX5" fmla="*/ 134182 w 141219"/>
                        <a:gd name="connsiteY5" fmla="*/ 81077 h 287817"/>
                        <a:gd name="connsiteX0" fmla="*/ 134182 w 153409"/>
                        <a:gd name="connsiteY0" fmla="*/ 81077 h 287819"/>
                        <a:gd name="connsiteX1" fmla="*/ 72190 w 153409"/>
                        <a:gd name="connsiteY1" fmla="*/ 2612 h 287819"/>
                        <a:gd name="connsiteX2" fmla="*/ 0 w 153409"/>
                        <a:gd name="connsiteY2" fmla="*/ 247392 h 287819"/>
                        <a:gd name="connsiteX3" fmla="*/ 70624 w 153409"/>
                        <a:gd name="connsiteY3" fmla="*/ 278178 h 287819"/>
                        <a:gd name="connsiteX4" fmla="*/ 152664 w 153409"/>
                        <a:gd name="connsiteY4" fmla="*/ 166785 h 287819"/>
                        <a:gd name="connsiteX5" fmla="*/ 134182 w 153409"/>
                        <a:gd name="connsiteY5" fmla="*/ 81077 h 287819"/>
                        <a:gd name="connsiteX0" fmla="*/ 134182 w 153409"/>
                        <a:gd name="connsiteY0" fmla="*/ 103875 h 310615"/>
                        <a:gd name="connsiteX1" fmla="*/ 67739 w 153409"/>
                        <a:gd name="connsiteY1" fmla="*/ 2075 h 310615"/>
                        <a:gd name="connsiteX2" fmla="*/ 0 w 153409"/>
                        <a:gd name="connsiteY2" fmla="*/ 270190 h 310615"/>
                        <a:gd name="connsiteX3" fmla="*/ 70624 w 153409"/>
                        <a:gd name="connsiteY3" fmla="*/ 300976 h 310615"/>
                        <a:gd name="connsiteX4" fmla="*/ 152664 w 153409"/>
                        <a:gd name="connsiteY4" fmla="*/ 189583 h 310615"/>
                        <a:gd name="connsiteX5" fmla="*/ 134182 w 153409"/>
                        <a:gd name="connsiteY5" fmla="*/ 103875 h 310615"/>
                        <a:gd name="connsiteX0" fmla="*/ 134870 w 154097"/>
                        <a:gd name="connsiteY0" fmla="*/ 103875 h 310617"/>
                        <a:gd name="connsiteX1" fmla="*/ 68427 w 154097"/>
                        <a:gd name="connsiteY1" fmla="*/ 2075 h 310617"/>
                        <a:gd name="connsiteX2" fmla="*/ 50547 w 154097"/>
                        <a:gd name="connsiteY2" fmla="*/ 129528 h 310617"/>
                        <a:gd name="connsiteX3" fmla="*/ 688 w 154097"/>
                        <a:gd name="connsiteY3" fmla="*/ 270190 h 310617"/>
                        <a:gd name="connsiteX4" fmla="*/ 71312 w 154097"/>
                        <a:gd name="connsiteY4" fmla="*/ 300976 h 310617"/>
                        <a:gd name="connsiteX5" fmla="*/ 153352 w 154097"/>
                        <a:gd name="connsiteY5" fmla="*/ 189583 h 310617"/>
                        <a:gd name="connsiteX6" fmla="*/ 134870 w 154097"/>
                        <a:gd name="connsiteY6" fmla="*/ 103875 h 310617"/>
                        <a:gd name="connsiteX0" fmla="*/ 286319 w 305546"/>
                        <a:gd name="connsiteY0" fmla="*/ 103875 h 316422"/>
                        <a:gd name="connsiteX1" fmla="*/ 219876 w 305546"/>
                        <a:gd name="connsiteY1" fmla="*/ 2075 h 316422"/>
                        <a:gd name="connsiteX2" fmla="*/ 201996 w 305546"/>
                        <a:gd name="connsiteY2" fmla="*/ 129528 h 316422"/>
                        <a:gd name="connsiteX3" fmla="*/ 170 w 305546"/>
                        <a:gd name="connsiteY3" fmla="*/ 288640 h 316422"/>
                        <a:gd name="connsiteX4" fmla="*/ 222761 w 305546"/>
                        <a:gd name="connsiteY4" fmla="*/ 300976 h 316422"/>
                        <a:gd name="connsiteX5" fmla="*/ 304801 w 305546"/>
                        <a:gd name="connsiteY5" fmla="*/ 189583 h 316422"/>
                        <a:gd name="connsiteX6" fmla="*/ 286319 w 305546"/>
                        <a:gd name="connsiteY6" fmla="*/ 103875 h 316422"/>
                        <a:gd name="connsiteX0" fmla="*/ 286434 w 305661"/>
                        <a:gd name="connsiteY0" fmla="*/ 127077 h 339624"/>
                        <a:gd name="connsiteX1" fmla="*/ 219991 w 305661"/>
                        <a:gd name="connsiteY1" fmla="*/ 25277 h 339624"/>
                        <a:gd name="connsiteX2" fmla="*/ 121169 w 305661"/>
                        <a:gd name="connsiteY2" fmla="*/ 17606 h 339624"/>
                        <a:gd name="connsiteX3" fmla="*/ 285 w 305661"/>
                        <a:gd name="connsiteY3" fmla="*/ 311842 h 339624"/>
                        <a:gd name="connsiteX4" fmla="*/ 222876 w 305661"/>
                        <a:gd name="connsiteY4" fmla="*/ 324178 h 339624"/>
                        <a:gd name="connsiteX5" fmla="*/ 304916 w 305661"/>
                        <a:gd name="connsiteY5" fmla="*/ 212785 h 339624"/>
                        <a:gd name="connsiteX6" fmla="*/ 286434 w 305661"/>
                        <a:gd name="connsiteY6" fmla="*/ 127077 h 339624"/>
                        <a:gd name="connsiteX0" fmla="*/ 312003 w 331230"/>
                        <a:gd name="connsiteY0" fmla="*/ 127077 h 339624"/>
                        <a:gd name="connsiteX1" fmla="*/ 245560 w 331230"/>
                        <a:gd name="connsiteY1" fmla="*/ 25277 h 339624"/>
                        <a:gd name="connsiteX2" fmla="*/ 146738 w 331230"/>
                        <a:gd name="connsiteY2" fmla="*/ 17606 h 339624"/>
                        <a:gd name="connsiteX3" fmla="*/ 11423 w 331230"/>
                        <a:gd name="connsiteY3" fmla="*/ 244058 h 339624"/>
                        <a:gd name="connsiteX4" fmla="*/ 25854 w 331230"/>
                        <a:gd name="connsiteY4" fmla="*/ 311842 h 339624"/>
                        <a:gd name="connsiteX5" fmla="*/ 248445 w 331230"/>
                        <a:gd name="connsiteY5" fmla="*/ 324178 h 339624"/>
                        <a:gd name="connsiteX6" fmla="*/ 330485 w 331230"/>
                        <a:gd name="connsiteY6" fmla="*/ 212785 h 339624"/>
                        <a:gd name="connsiteX7" fmla="*/ 312003 w 331230"/>
                        <a:gd name="connsiteY7" fmla="*/ 127077 h 339624"/>
                        <a:gd name="connsiteX0" fmla="*/ 312003 w 331230"/>
                        <a:gd name="connsiteY0" fmla="*/ 129967 h 342514"/>
                        <a:gd name="connsiteX1" fmla="*/ 245560 w 331230"/>
                        <a:gd name="connsiteY1" fmla="*/ 28167 h 342514"/>
                        <a:gd name="connsiteX2" fmla="*/ 229520 w 331230"/>
                        <a:gd name="connsiteY2" fmla="*/ 9825 h 342514"/>
                        <a:gd name="connsiteX3" fmla="*/ 146738 w 331230"/>
                        <a:gd name="connsiteY3" fmla="*/ 20496 h 342514"/>
                        <a:gd name="connsiteX4" fmla="*/ 11423 w 331230"/>
                        <a:gd name="connsiteY4" fmla="*/ 246948 h 342514"/>
                        <a:gd name="connsiteX5" fmla="*/ 25854 w 331230"/>
                        <a:gd name="connsiteY5" fmla="*/ 314732 h 342514"/>
                        <a:gd name="connsiteX6" fmla="*/ 248445 w 331230"/>
                        <a:gd name="connsiteY6" fmla="*/ 327068 h 342514"/>
                        <a:gd name="connsiteX7" fmla="*/ 330485 w 331230"/>
                        <a:gd name="connsiteY7" fmla="*/ 215675 h 342514"/>
                        <a:gd name="connsiteX8" fmla="*/ 312003 w 331230"/>
                        <a:gd name="connsiteY8" fmla="*/ 129967 h 342514"/>
                        <a:gd name="connsiteX0" fmla="*/ 312003 w 331230"/>
                        <a:gd name="connsiteY0" fmla="*/ 120233 h 332780"/>
                        <a:gd name="connsiteX1" fmla="*/ 245560 w 331230"/>
                        <a:gd name="connsiteY1" fmla="*/ 18433 h 332780"/>
                        <a:gd name="connsiteX2" fmla="*/ 229520 w 331230"/>
                        <a:gd name="connsiteY2" fmla="*/ 91 h 332780"/>
                        <a:gd name="connsiteX3" fmla="*/ 148955 w 331230"/>
                        <a:gd name="connsiteY3" fmla="*/ 48683 h 332780"/>
                        <a:gd name="connsiteX4" fmla="*/ 11423 w 331230"/>
                        <a:gd name="connsiteY4" fmla="*/ 237214 h 332780"/>
                        <a:gd name="connsiteX5" fmla="*/ 25854 w 331230"/>
                        <a:gd name="connsiteY5" fmla="*/ 304998 h 332780"/>
                        <a:gd name="connsiteX6" fmla="*/ 248445 w 331230"/>
                        <a:gd name="connsiteY6" fmla="*/ 317334 h 332780"/>
                        <a:gd name="connsiteX7" fmla="*/ 330485 w 331230"/>
                        <a:gd name="connsiteY7" fmla="*/ 205941 h 332780"/>
                        <a:gd name="connsiteX8" fmla="*/ 312003 w 331230"/>
                        <a:gd name="connsiteY8" fmla="*/ 120233 h 332780"/>
                        <a:gd name="connsiteX0" fmla="*/ 312003 w 331230"/>
                        <a:gd name="connsiteY0" fmla="*/ 120163 h 332710"/>
                        <a:gd name="connsiteX1" fmla="*/ 245560 w 331230"/>
                        <a:gd name="connsiteY1" fmla="*/ 18363 h 332710"/>
                        <a:gd name="connsiteX2" fmla="*/ 229520 w 331230"/>
                        <a:gd name="connsiteY2" fmla="*/ 21 h 332710"/>
                        <a:gd name="connsiteX3" fmla="*/ 148955 w 331230"/>
                        <a:gd name="connsiteY3" fmla="*/ 48613 h 332710"/>
                        <a:gd name="connsiteX4" fmla="*/ 11423 w 331230"/>
                        <a:gd name="connsiteY4" fmla="*/ 237144 h 332710"/>
                        <a:gd name="connsiteX5" fmla="*/ 25854 w 331230"/>
                        <a:gd name="connsiteY5" fmla="*/ 304928 h 332710"/>
                        <a:gd name="connsiteX6" fmla="*/ 248445 w 331230"/>
                        <a:gd name="connsiteY6" fmla="*/ 317264 h 332710"/>
                        <a:gd name="connsiteX7" fmla="*/ 330485 w 331230"/>
                        <a:gd name="connsiteY7" fmla="*/ 205871 h 332710"/>
                        <a:gd name="connsiteX8" fmla="*/ 312003 w 331230"/>
                        <a:gd name="connsiteY8" fmla="*/ 120163 h 332710"/>
                        <a:gd name="connsiteX0" fmla="*/ 307579 w 326806"/>
                        <a:gd name="connsiteY0" fmla="*/ 120182 h 332729"/>
                        <a:gd name="connsiteX1" fmla="*/ 241136 w 326806"/>
                        <a:gd name="connsiteY1" fmla="*/ 18382 h 332729"/>
                        <a:gd name="connsiteX2" fmla="*/ 225096 w 326806"/>
                        <a:gd name="connsiteY2" fmla="*/ 40 h 332729"/>
                        <a:gd name="connsiteX3" fmla="*/ 144531 w 326806"/>
                        <a:gd name="connsiteY3" fmla="*/ 48632 h 332729"/>
                        <a:gd name="connsiteX4" fmla="*/ 75222 w 326806"/>
                        <a:gd name="connsiteY4" fmla="*/ 95215 h 332729"/>
                        <a:gd name="connsiteX5" fmla="*/ 6999 w 326806"/>
                        <a:gd name="connsiteY5" fmla="*/ 237163 h 332729"/>
                        <a:gd name="connsiteX6" fmla="*/ 21430 w 326806"/>
                        <a:gd name="connsiteY6" fmla="*/ 304947 h 332729"/>
                        <a:gd name="connsiteX7" fmla="*/ 244021 w 326806"/>
                        <a:gd name="connsiteY7" fmla="*/ 317283 h 332729"/>
                        <a:gd name="connsiteX8" fmla="*/ 326061 w 326806"/>
                        <a:gd name="connsiteY8" fmla="*/ 205890 h 332729"/>
                        <a:gd name="connsiteX9" fmla="*/ 307579 w 326806"/>
                        <a:gd name="connsiteY9" fmla="*/ 120182 h 332729"/>
                        <a:gd name="connsiteX0" fmla="*/ 307579 w 326806"/>
                        <a:gd name="connsiteY0" fmla="*/ 120168 h 332715"/>
                        <a:gd name="connsiteX1" fmla="*/ 241136 w 326806"/>
                        <a:gd name="connsiteY1" fmla="*/ 18368 h 332715"/>
                        <a:gd name="connsiteX2" fmla="*/ 225096 w 326806"/>
                        <a:gd name="connsiteY2" fmla="*/ 26 h 332715"/>
                        <a:gd name="connsiteX3" fmla="*/ 158280 w 326806"/>
                        <a:gd name="connsiteY3" fmla="*/ 68106 h 332715"/>
                        <a:gd name="connsiteX4" fmla="*/ 75222 w 326806"/>
                        <a:gd name="connsiteY4" fmla="*/ 95201 h 332715"/>
                        <a:gd name="connsiteX5" fmla="*/ 6999 w 326806"/>
                        <a:gd name="connsiteY5" fmla="*/ 237149 h 332715"/>
                        <a:gd name="connsiteX6" fmla="*/ 21430 w 326806"/>
                        <a:gd name="connsiteY6" fmla="*/ 304933 h 332715"/>
                        <a:gd name="connsiteX7" fmla="*/ 244021 w 326806"/>
                        <a:gd name="connsiteY7" fmla="*/ 317269 h 332715"/>
                        <a:gd name="connsiteX8" fmla="*/ 326061 w 326806"/>
                        <a:gd name="connsiteY8" fmla="*/ 205876 h 332715"/>
                        <a:gd name="connsiteX9" fmla="*/ 307579 w 326806"/>
                        <a:gd name="connsiteY9" fmla="*/ 120168 h 332715"/>
                        <a:gd name="connsiteX0" fmla="*/ 294262 w 313489"/>
                        <a:gd name="connsiteY0" fmla="*/ 120167 h 332714"/>
                        <a:gd name="connsiteX1" fmla="*/ 227819 w 313489"/>
                        <a:gd name="connsiteY1" fmla="*/ 18367 h 332714"/>
                        <a:gd name="connsiteX2" fmla="*/ 211779 w 313489"/>
                        <a:gd name="connsiteY2" fmla="*/ 25 h 332714"/>
                        <a:gd name="connsiteX3" fmla="*/ 144963 w 313489"/>
                        <a:gd name="connsiteY3" fmla="*/ 68105 h 332714"/>
                        <a:gd name="connsiteX4" fmla="*/ 61905 w 313489"/>
                        <a:gd name="connsiteY4" fmla="*/ 95200 h 332714"/>
                        <a:gd name="connsiteX5" fmla="*/ 39349 w 313489"/>
                        <a:gd name="connsiteY5" fmla="*/ 174157 h 332714"/>
                        <a:gd name="connsiteX6" fmla="*/ 8113 w 313489"/>
                        <a:gd name="connsiteY6" fmla="*/ 304932 h 332714"/>
                        <a:gd name="connsiteX7" fmla="*/ 230704 w 313489"/>
                        <a:gd name="connsiteY7" fmla="*/ 317268 h 332714"/>
                        <a:gd name="connsiteX8" fmla="*/ 312744 w 313489"/>
                        <a:gd name="connsiteY8" fmla="*/ 205875 h 332714"/>
                        <a:gd name="connsiteX9" fmla="*/ 294262 w 313489"/>
                        <a:gd name="connsiteY9" fmla="*/ 120167 h 332714"/>
                        <a:gd name="connsiteX0" fmla="*/ 256217 w 275444"/>
                        <a:gd name="connsiteY0" fmla="*/ 120167 h 321536"/>
                        <a:gd name="connsiteX1" fmla="*/ 189774 w 275444"/>
                        <a:gd name="connsiteY1" fmla="*/ 18367 h 321536"/>
                        <a:gd name="connsiteX2" fmla="*/ 173734 w 275444"/>
                        <a:gd name="connsiteY2" fmla="*/ 25 h 321536"/>
                        <a:gd name="connsiteX3" fmla="*/ 106918 w 275444"/>
                        <a:gd name="connsiteY3" fmla="*/ 68105 h 321536"/>
                        <a:gd name="connsiteX4" fmla="*/ 23860 w 275444"/>
                        <a:gd name="connsiteY4" fmla="*/ 95200 h 321536"/>
                        <a:gd name="connsiteX5" fmla="*/ 1304 w 275444"/>
                        <a:gd name="connsiteY5" fmla="*/ 174157 h 321536"/>
                        <a:gd name="connsiteX6" fmla="*/ 67379 w 275444"/>
                        <a:gd name="connsiteY6" fmla="*/ 236591 h 321536"/>
                        <a:gd name="connsiteX7" fmla="*/ 192659 w 275444"/>
                        <a:gd name="connsiteY7" fmla="*/ 317268 h 321536"/>
                        <a:gd name="connsiteX8" fmla="*/ 274699 w 275444"/>
                        <a:gd name="connsiteY8" fmla="*/ 205875 h 321536"/>
                        <a:gd name="connsiteX9" fmla="*/ 256217 w 275444"/>
                        <a:gd name="connsiteY9" fmla="*/ 120167 h 321536"/>
                        <a:gd name="connsiteX0" fmla="*/ 239854 w 259081"/>
                        <a:gd name="connsiteY0" fmla="*/ 120167 h 321536"/>
                        <a:gd name="connsiteX1" fmla="*/ 173411 w 259081"/>
                        <a:gd name="connsiteY1" fmla="*/ 18367 h 321536"/>
                        <a:gd name="connsiteX2" fmla="*/ 157371 w 259081"/>
                        <a:gd name="connsiteY2" fmla="*/ 25 h 321536"/>
                        <a:gd name="connsiteX3" fmla="*/ 90555 w 259081"/>
                        <a:gd name="connsiteY3" fmla="*/ 68105 h 321536"/>
                        <a:gd name="connsiteX4" fmla="*/ 7497 w 259081"/>
                        <a:gd name="connsiteY4" fmla="*/ 95200 h 321536"/>
                        <a:gd name="connsiteX5" fmla="*/ 12561 w 259081"/>
                        <a:gd name="connsiteY5" fmla="*/ 174329 h 321536"/>
                        <a:gd name="connsiteX6" fmla="*/ 51016 w 259081"/>
                        <a:gd name="connsiteY6" fmla="*/ 236591 h 321536"/>
                        <a:gd name="connsiteX7" fmla="*/ 176296 w 259081"/>
                        <a:gd name="connsiteY7" fmla="*/ 317268 h 321536"/>
                        <a:gd name="connsiteX8" fmla="*/ 258336 w 259081"/>
                        <a:gd name="connsiteY8" fmla="*/ 205875 h 321536"/>
                        <a:gd name="connsiteX9" fmla="*/ 239854 w 259081"/>
                        <a:gd name="connsiteY9" fmla="*/ 120167 h 321536"/>
                        <a:gd name="connsiteX0" fmla="*/ 239854 w 259081"/>
                        <a:gd name="connsiteY0" fmla="*/ 120167 h 321536"/>
                        <a:gd name="connsiteX1" fmla="*/ 173411 w 259081"/>
                        <a:gd name="connsiteY1" fmla="*/ 18367 h 321536"/>
                        <a:gd name="connsiteX2" fmla="*/ 157371 w 259081"/>
                        <a:gd name="connsiteY2" fmla="*/ 25 h 321536"/>
                        <a:gd name="connsiteX3" fmla="*/ 90555 w 259081"/>
                        <a:gd name="connsiteY3" fmla="*/ 68105 h 321536"/>
                        <a:gd name="connsiteX4" fmla="*/ 7497 w 259081"/>
                        <a:gd name="connsiteY4" fmla="*/ 95200 h 321536"/>
                        <a:gd name="connsiteX5" fmla="*/ 12561 w 259081"/>
                        <a:gd name="connsiteY5" fmla="*/ 174329 h 321536"/>
                        <a:gd name="connsiteX6" fmla="*/ 51016 w 259081"/>
                        <a:gd name="connsiteY6" fmla="*/ 236591 h 321536"/>
                        <a:gd name="connsiteX7" fmla="*/ 176296 w 259081"/>
                        <a:gd name="connsiteY7" fmla="*/ 317268 h 321536"/>
                        <a:gd name="connsiteX8" fmla="*/ 258336 w 259081"/>
                        <a:gd name="connsiteY8" fmla="*/ 205875 h 321536"/>
                        <a:gd name="connsiteX9" fmla="*/ 239854 w 259081"/>
                        <a:gd name="connsiteY9" fmla="*/ 120167 h 321536"/>
                        <a:gd name="connsiteX0" fmla="*/ 239854 w 259081"/>
                        <a:gd name="connsiteY0" fmla="*/ 120167 h 254595"/>
                        <a:gd name="connsiteX1" fmla="*/ 173411 w 259081"/>
                        <a:gd name="connsiteY1" fmla="*/ 18367 h 254595"/>
                        <a:gd name="connsiteX2" fmla="*/ 157371 w 259081"/>
                        <a:gd name="connsiteY2" fmla="*/ 25 h 254595"/>
                        <a:gd name="connsiteX3" fmla="*/ 90555 w 259081"/>
                        <a:gd name="connsiteY3" fmla="*/ 68105 h 254595"/>
                        <a:gd name="connsiteX4" fmla="*/ 7497 w 259081"/>
                        <a:gd name="connsiteY4" fmla="*/ 95200 h 254595"/>
                        <a:gd name="connsiteX5" fmla="*/ 12561 w 259081"/>
                        <a:gd name="connsiteY5" fmla="*/ 174329 h 254595"/>
                        <a:gd name="connsiteX6" fmla="*/ 51016 w 259081"/>
                        <a:gd name="connsiteY6" fmla="*/ 236591 h 254595"/>
                        <a:gd name="connsiteX7" fmla="*/ 146415 w 259081"/>
                        <a:gd name="connsiteY7" fmla="*/ 226344 h 254595"/>
                        <a:gd name="connsiteX8" fmla="*/ 258336 w 259081"/>
                        <a:gd name="connsiteY8" fmla="*/ 205875 h 254595"/>
                        <a:gd name="connsiteX9" fmla="*/ 239854 w 259081"/>
                        <a:gd name="connsiteY9" fmla="*/ 120167 h 254595"/>
                        <a:gd name="connsiteX0" fmla="*/ 239854 w 242526"/>
                        <a:gd name="connsiteY0" fmla="*/ 120167 h 254596"/>
                        <a:gd name="connsiteX1" fmla="*/ 173411 w 242526"/>
                        <a:gd name="connsiteY1" fmla="*/ 18367 h 254596"/>
                        <a:gd name="connsiteX2" fmla="*/ 157371 w 242526"/>
                        <a:gd name="connsiteY2" fmla="*/ 25 h 254596"/>
                        <a:gd name="connsiteX3" fmla="*/ 90555 w 242526"/>
                        <a:gd name="connsiteY3" fmla="*/ 68105 h 254596"/>
                        <a:gd name="connsiteX4" fmla="*/ 7497 w 242526"/>
                        <a:gd name="connsiteY4" fmla="*/ 95200 h 254596"/>
                        <a:gd name="connsiteX5" fmla="*/ 12561 w 242526"/>
                        <a:gd name="connsiteY5" fmla="*/ 174329 h 254596"/>
                        <a:gd name="connsiteX6" fmla="*/ 51016 w 242526"/>
                        <a:gd name="connsiteY6" fmla="*/ 236591 h 254596"/>
                        <a:gd name="connsiteX7" fmla="*/ 146415 w 242526"/>
                        <a:gd name="connsiteY7" fmla="*/ 226344 h 254596"/>
                        <a:gd name="connsiteX8" fmla="*/ 184503 w 242526"/>
                        <a:gd name="connsiteY8" fmla="*/ 173775 h 254596"/>
                        <a:gd name="connsiteX9" fmla="*/ 239854 w 242526"/>
                        <a:gd name="connsiteY9" fmla="*/ 120167 h 254596"/>
                        <a:gd name="connsiteX0" fmla="*/ 239854 w 241066"/>
                        <a:gd name="connsiteY0" fmla="*/ 120167 h 254596"/>
                        <a:gd name="connsiteX1" fmla="*/ 173411 w 241066"/>
                        <a:gd name="connsiteY1" fmla="*/ 18367 h 254596"/>
                        <a:gd name="connsiteX2" fmla="*/ 157371 w 241066"/>
                        <a:gd name="connsiteY2" fmla="*/ 25 h 254596"/>
                        <a:gd name="connsiteX3" fmla="*/ 90555 w 241066"/>
                        <a:gd name="connsiteY3" fmla="*/ 68105 h 254596"/>
                        <a:gd name="connsiteX4" fmla="*/ 7497 w 241066"/>
                        <a:gd name="connsiteY4" fmla="*/ 95200 h 254596"/>
                        <a:gd name="connsiteX5" fmla="*/ 12561 w 241066"/>
                        <a:gd name="connsiteY5" fmla="*/ 174329 h 254596"/>
                        <a:gd name="connsiteX6" fmla="*/ 51016 w 241066"/>
                        <a:gd name="connsiteY6" fmla="*/ 236591 h 254596"/>
                        <a:gd name="connsiteX7" fmla="*/ 146415 w 241066"/>
                        <a:gd name="connsiteY7" fmla="*/ 226344 h 254596"/>
                        <a:gd name="connsiteX8" fmla="*/ 184503 w 241066"/>
                        <a:gd name="connsiteY8" fmla="*/ 173775 h 254596"/>
                        <a:gd name="connsiteX9" fmla="*/ 187588 w 241066"/>
                        <a:gd name="connsiteY9" fmla="*/ 119007 h 254596"/>
                        <a:gd name="connsiteX10" fmla="*/ 239854 w 241066"/>
                        <a:gd name="connsiteY10" fmla="*/ 120167 h 254596"/>
                        <a:gd name="connsiteX0" fmla="*/ 195978 w 200246"/>
                        <a:gd name="connsiteY0" fmla="*/ 87358 h 254596"/>
                        <a:gd name="connsiteX1" fmla="*/ 173411 w 200246"/>
                        <a:gd name="connsiteY1" fmla="*/ 18367 h 254596"/>
                        <a:gd name="connsiteX2" fmla="*/ 157371 w 200246"/>
                        <a:gd name="connsiteY2" fmla="*/ 25 h 254596"/>
                        <a:gd name="connsiteX3" fmla="*/ 90555 w 200246"/>
                        <a:gd name="connsiteY3" fmla="*/ 68105 h 254596"/>
                        <a:gd name="connsiteX4" fmla="*/ 7497 w 200246"/>
                        <a:gd name="connsiteY4" fmla="*/ 95200 h 254596"/>
                        <a:gd name="connsiteX5" fmla="*/ 12561 w 200246"/>
                        <a:gd name="connsiteY5" fmla="*/ 174329 h 254596"/>
                        <a:gd name="connsiteX6" fmla="*/ 51016 w 200246"/>
                        <a:gd name="connsiteY6" fmla="*/ 236591 h 254596"/>
                        <a:gd name="connsiteX7" fmla="*/ 146415 w 200246"/>
                        <a:gd name="connsiteY7" fmla="*/ 226344 h 254596"/>
                        <a:gd name="connsiteX8" fmla="*/ 184503 w 200246"/>
                        <a:gd name="connsiteY8" fmla="*/ 173775 h 254596"/>
                        <a:gd name="connsiteX9" fmla="*/ 187588 w 200246"/>
                        <a:gd name="connsiteY9" fmla="*/ 119007 h 254596"/>
                        <a:gd name="connsiteX10" fmla="*/ 195978 w 200246"/>
                        <a:gd name="connsiteY10" fmla="*/ 87358 h 254596"/>
                        <a:gd name="connsiteX0" fmla="*/ 195978 w 198011"/>
                        <a:gd name="connsiteY0" fmla="*/ 87358 h 254596"/>
                        <a:gd name="connsiteX1" fmla="*/ 173411 w 198011"/>
                        <a:gd name="connsiteY1" fmla="*/ 18367 h 254596"/>
                        <a:gd name="connsiteX2" fmla="*/ 157371 w 198011"/>
                        <a:gd name="connsiteY2" fmla="*/ 25 h 254596"/>
                        <a:gd name="connsiteX3" fmla="*/ 90555 w 198011"/>
                        <a:gd name="connsiteY3" fmla="*/ 68105 h 254596"/>
                        <a:gd name="connsiteX4" fmla="*/ 7497 w 198011"/>
                        <a:gd name="connsiteY4" fmla="*/ 95200 h 254596"/>
                        <a:gd name="connsiteX5" fmla="*/ 12561 w 198011"/>
                        <a:gd name="connsiteY5" fmla="*/ 174329 h 254596"/>
                        <a:gd name="connsiteX6" fmla="*/ 51016 w 198011"/>
                        <a:gd name="connsiteY6" fmla="*/ 236591 h 254596"/>
                        <a:gd name="connsiteX7" fmla="*/ 146415 w 198011"/>
                        <a:gd name="connsiteY7" fmla="*/ 226344 h 254596"/>
                        <a:gd name="connsiteX8" fmla="*/ 184503 w 198011"/>
                        <a:gd name="connsiteY8" fmla="*/ 173775 h 254596"/>
                        <a:gd name="connsiteX9" fmla="*/ 168074 w 198011"/>
                        <a:gd name="connsiteY9" fmla="*/ 108738 h 254596"/>
                        <a:gd name="connsiteX10" fmla="*/ 195978 w 198011"/>
                        <a:gd name="connsiteY10" fmla="*/ 87358 h 254596"/>
                        <a:gd name="connsiteX0" fmla="*/ 187078 w 189765"/>
                        <a:gd name="connsiteY0" fmla="*/ 80140 h 254596"/>
                        <a:gd name="connsiteX1" fmla="*/ 173411 w 189765"/>
                        <a:gd name="connsiteY1" fmla="*/ 18367 h 254596"/>
                        <a:gd name="connsiteX2" fmla="*/ 157371 w 189765"/>
                        <a:gd name="connsiteY2" fmla="*/ 25 h 254596"/>
                        <a:gd name="connsiteX3" fmla="*/ 90555 w 189765"/>
                        <a:gd name="connsiteY3" fmla="*/ 68105 h 254596"/>
                        <a:gd name="connsiteX4" fmla="*/ 7497 w 189765"/>
                        <a:gd name="connsiteY4" fmla="*/ 95200 h 254596"/>
                        <a:gd name="connsiteX5" fmla="*/ 12561 w 189765"/>
                        <a:gd name="connsiteY5" fmla="*/ 174329 h 254596"/>
                        <a:gd name="connsiteX6" fmla="*/ 51016 w 189765"/>
                        <a:gd name="connsiteY6" fmla="*/ 236591 h 254596"/>
                        <a:gd name="connsiteX7" fmla="*/ 146415 w 189765"/>
                        <a:gd name="connsiteY7" fmla="*/ 226344 h 254596"/>
                        <a:gd name="connsiteX8" fmla="*/ 184503 w 189765"/>
                        <a:gd name="connsiteY8" fmla="*/ 173775 h 254596"/>
                        <a:gd name="connsiteX9" fmla="*/ 168074 w 189765"/>
                        <a:gd name="connsiteY9" fmla="*/ 108738 h 254596"/>
                        <a:gd name="connsiteX10" fmla="*/ 187078 w 189765"/>
                        <a:gd name="connsiteY10" fmla="*/ 80140 h 254596"/>
                        <a:gd name="connsiteX0" fmla="*/ 175837 w 187636"/>
                        <a:gd name="connsiteY0" fmla="*/ 73802 h 254596"/>
                        <a:gd name="connsiteX1" fmla="*/ 173411 w 187636"/>
                        <a:gd name="connsiteY1" fmla="*/ 18367 h 254596"/>
                        <a:gd name="connsiteX2" fmla="*/ 157371 w 187636"/>
                        <a:gd name="connsiteY2" fmla="*/ 25 h 254596"/>
                        <a:gd name="connsiteX3" fmla="*/ 90555 w 187636"/>
                        <a:gd name="connsiteY3" fmla="*/ 68105 h 254596"/>
                        <a:gd name="connsiteX4" fmla="*/ 7497 w 187636"/>
                        <a:gd name="connsiteY4" fmla="*/ 95200 h 254596"/>
                        <a:gd name="connsiteX5" fmla="*/ 12561 w 187636"/>
                        <a:gd name="connsiteY5" fmla="*/ 174329 h 254596"/>
                        <a:gd name="connsiteX6" fmla="*/ 51016 w 187636"/>
                        <a:gd name="connsiteY6" fmla="*/ 236591 h 254596"/>
                        <a:gd name="connsiteX7" fmla="*/ 146415 w 187636"/>
                        <a:gd name="connsiteY7" fmla="*/ 226344 h 254596"/>
                        <a:gd name="connsiteX8" fmla="*/ 184503 w 187636"/>
                        <a:gd name="connsiteY8" fmla="*/ 173775 h 254596"/>
                        <a:gd name="connsiteX9" fmla="*/ 168074 w 187636"/>
                        <a:gd name="connsiteY9" fmla="*/ 108738 h 254596"/>
                        <a:gd name="connsiteX10" fmla="*/ 175837 w 187636"/>
                        <a:gd name="connsiteY10" fmla="*/ 73802 h 254596"/>
                        <a:gd name="connsiteX0" fmla="*/ 168074 w 188474"/>
                        <a:gd name="connsiteY0" fmla="*/ 108738 h 254596"/>
                        <a:gd name="connsiteX1" fmla="*/ 173411 w 188474"/>
                        <a:gd name="connsiteY1" fmla="*/ 18367 h 254596"/>
                        <a:gd name="connsiteX2" fmla="*/ 157371 w 188474"/>
                        <a:gd name="connsiteY2" fmla="*/ 25 h 254596"/>
                        <a:gd name="connsiteX3" fmla="*/ 90555 w 188474"/>
                        <a:gd name="connsiteY3" fmla="*/ 68105 h 254596"/>
                        <a:gd name="connsiteX4" fmla="*/ 7497 w 188474"/>
                        <a:gd name="connsiteY4" fmla="*/ 95200 h 254596"/>
                        <a:gd name="connsiteX5" fmla="*/ 12561 w 188474"/>
                        <a:gd name="connsiteY5" fmla="*/ 174329 h 254596"/>
                        <a:gd name="connsiteX6" fmla="*/ 51016 w 188474"/>
                        <a:gd name="connsiteY6" fmla="*/ 236591 h 254596"/>
                        <a:gd name="connsiteX7" fmla="*/ 146415 w 188474"/>
                        <a:gd name="connsiteY7" fmla="*/ 226344 h 254596"/>
                        <a:gd name="connsiteX8" fmla="*/ 184503 w 188474"/>
                        <a:gd name="connsiteY8" fmla="*/ 173775 h 254596"/>
                        <a:gd name="connsiteX9" fmla="*/ 168074 w 188474"/>
                        <a:gd name="connsiteY9" fmla="*/ 108738 h 254596"/>
                        <a:gd name="connsiteX0" fmla="*/ 168074 w 188474"/>
                        <a:gd name="connsiteY0" fmla="*/ 108738 h 254596"/>
                        <a:gd name="connsiteX1" fmla="*/ 178258 w 188474"/>
                        <a:gd name="connsiteY1" fmla="*/ 30636 h 254596"/>
                        <a:gd name="connsiteX2" fmla="*/ 157371 w 188474"/>
                        <a:gd name="connsiteY2" fmla="*/ 25 h 254596"/>
                        <a:gd name="connsiteX3" fmla="*/ 90555 w 188474"/>
                        <a:gd name="connsiteY3" fmla="*/ 68105 h 254596"/>
                        <a:gd name="connsiteX4" fmla="*/ 7497 w 188474"/>
                        <a:gd name="connsiteY4" fmla="*/ 95200 h 254596"/>
                        <a:gd name="connsiteX5" fmla="*/ 12561 w 188474"/>
                        <a:gd name="connsiteY5" fmla="*/ 174329 h 254596"/>
                        <a:gd name="connsiteX6" fmla="*/ 51016 w 188474"/>
                        <a:gd name="connsiteY6" fmla="*/ 236591 h 254596"/>
                        <a:gd name="connsiteX7" fmla="*/ 146415 w 188474"/>
                        <a:gd name="connsiteY7" fmla="*/ 226344 h 254596"/>
                        <a:gd name="connsiteX8" fmla="*/ 184503 w 188474"/>
                        <a:gd name="connsiteY8" fmla="*/ 173775 h 254596"/>
                        <a:gd name="connsiteX9" fmla="*/ 168074 w 188474"/>
                        <a:gd name="connsiteY9" fmla="*/ 108738 h 254596"/>
                        <a:gd name="connsiteX0" fmla="*/ 168074 w 188474"/>
                        <a:gd name="connsiteY0" fmla="*/ 87861 h 233719"/>
                        <a:gd name="connsiteX1" fmla="*/ 178258 w 188474"/>
                        <a:gd name="connsiteY1" fmla="*/ 9759 h 233719"/>
                        <a:gd name="connsiteX2" fmla="*/ 149432 w 188474"/>
                        <a:gd name="connsiteY2" fmla="*/ 3274 h 233719"/>
                        <a:gd name="connsiteX3" fmla="*/ 90555 w 188474"/>
                        <a:gd name="connsiteY3" fmla="*/ 47228 h 233719"/>
                        <a:gd name="connsiteX4" fmla="*/ 7497 w 188474"/>
                        <a:gd name="connsiteY4" fmla="*/ 74323 h 233719"/>
                        <a:gd name="connsiteX5" fmla="*/ 12561 w 188474"/>
                        <a:gd name="connsiteY5" fmla="*/ 153452 h 233719"/>
                        <a:gd name="connsiteX6" fmla="*/ 51016 w 188474"/>
                        <a:gd name="connsiteY6" fmla="*/ 215714 h 233719"/>
                        <a:gd name="connsiteX7" fmla="*/ 146415 w 188474"/>
                        <a:gd name="connsiteY7" fmla="*/ 205467 h 233719"/>
                        <a:gd name="connsiteX8" fmla="*/ 184503 w 188474"/>
                        <a:gd name="connsiteY8" fmla="*/ 152898 h 233719"/>
                        <a:gd name="connsiteX9" fmla="*/ 168074 w 188474"/>
                        <a:gd name="connsiteY9" fmla="*/ 87861 h 233719"/>
                        <a:gd name="connsiteX0" fmla="*/ 168074 w 188474"/>
                        <a:gd name="connsiteY0" fmla="*/ 88957 h 234815"/>
                        <a:gd name="connsiteX1" fmla="*/ 178258 w 188474"/>
                        <a:gd name="connsiteY1" fmla="*/ 10855 h 234815"/>
                        <a:gd name="connsiteX2" fmla="*/ 149432 w 188474"/>
                        <a:gd name="connsiteY2" fmla="*/ 4370 h 234815"/>
                        <a:gd name="connsiteX3" fmla="*/ 129338 w 188474"/>
                        <a:gd name="connsiteY3" fmla="*/ 43643 h 234815"/>
                        <a:gd name="connsiteX4" fmla="*/ 90555 w 188474"/>
                        <a:gd name="connsiteY4" fmla="*/ 48324 h 234815"/>
                        <a:gd name="connsiteX5" fmla="*/ 7497 w 188474"/>
                        <a:gd name="connsiteY5" fmla="*/ 75419 h 234815"/>
                        <a:gd name="connsiteX6" fmla="*/ 12561 w 188474"/>
                        <a:gd name="connsiteY6" fmla="*/ 154548 h 234815"/>
                        <a:gd name="connsiteX7" fmla="*/ 51016 w 188474"/>
                        <a:gd name="connsiteY7" fmla="*/ 216810 h 234815"/>
                        <a:gd name="connsiteX8" fmla="*/ 146415 w 188474"/>
                        <a:gd name="connsiteY8" fmla="*/ 206563 h 234815"/>
                        <a:gd name="connsiteX9" fmla="*/ 184503 w 188474"/>
                        <a:gd name="connsiteY9" fmla="*/ 153994 h 234815"/>
                        <a:gd name="connsiteX10" fmla="*/ 168074 w 188474"/>
                        <a:gd name="connsiteY10" fmla="*/ 88957 h 234815"/>
                        <a:gd name="connsiteX0" fmla="*/ 168074 w 188474"/>
                        <a:gd name="connsiteY0" fmla="*/ 84485 h 230343"/>
                        <a:gd name="connsiteX1" fmla="*/ 178258 w 188474"/>
                        <a:gd name="connsiteY1" fmla="*/ 6383 h 230343"/>
                        <a:gd name="connsiteX2" fmla="*/ 152568 w 188474"/>
                        <a:gd name="connsiteY2" fmla="*/ 16334 h 230343"/>
                        <a:gd name="connsiteX3" fmla="*/ 129338 w 188474"/>
                        <a:gd name="connsiteY3" fmla="*/ 39171 h 230343"/>
                        <a:gd name="connsiteX4" fmla="*/ 90555 w 188474"/>
                        <a:gd name="connsiteY4" fmla="*/ 43852 h 230343"/>
                        <a:gd name="connsiteX5" fmla="*/ 7497 w 188474"/>
                        <a:gd name="connsiteY5" fmla="*/ 70947 h 230343"/>
                        <a:gd name="connsiteX6" fmla="*/ 12561 w 188474"/>
                        <a:gd name="connsiteY6" fmla="*/ 150076 h 230343"/>
                        <a:gd name="connsiteX7" fmla="*/ 51016 w 188474"/>
                        <a:gd name="connsiteY7" fmla="*/ 212338 h 230343"/>
                        <a:gd name="connsiteX8" fmla="*/ 146415 w 188474"/>
                        <a:gd name="connsiteY8" fmla="*/ 202091 h 230343"/>
                        <a:gd name="connsiteX9" fmla="*/ 184503 w 188474"/>
                        <a:gd name="connsiteY9" fmla="*/ 149522 h 230343"/>
                        <a:gd name="connsiteX10" fmla="*/ 168074 w 188474"/>
                        <a:gd name="connsiteY10" fmla="*/ 84485 h 230343"/>
                        <a:gd name="connsiteX0" fmla="*/ 168074 w 188474"/>
                        <a:gd name="connsiteY0" fmla="*/ 84485 h 230343"/>
                        <a:gd name="connsiteX1" fmla="*/ 178258 w 188474"/>
                        <a:gd name="connsiteY1" fmla="*/ 6383 h 230343"/>
                        <a:gd name="connsiteX2" fmla="*/ 152568 w 188474"/>
                        <a:gd name="connsiteY2" fmla="*/ 16334 h 230343"/>
                        <a:gd name="connsiteX3" fmla="*/ 129338 w 188474"/>
                        <a:gd name="connsiteY3" fmla="*/ 39171 h 230343"/>
                        <a:gd name="connsiteX4" fmla="*/ 106644 w 188474"/>
                        <a:gd name="connsiteY4" fmla="*/ 62458 h 230343"/>
                        <a:gd name="connsiteX5" fmla="*/ 7497 w 188474"/>
                        <a:gd name="connsiteY5" fmla="*/ 70947 h 230343"/>
                        <a:gd name="connsiteX6" fmla="*/ 12561 w 188474"/>
                        <a:gd name="connsiteY6" fmla="*/ 150076 h 230343"/>
                        <a:gd name="connsiteX7" fmla="*/ 51016 w 188474"/>
                        <a:gd name="connsiteY7" fmla="*/ 212338 h 230343"/>
                        <a:gd name="connsiteX8" fmla="*/ 146415 w 188474"/>
                        <a:gd name="connsiteY8" fmla="*/ 202091 h 230343"/>
                        <a:gd name="connsiteX9" fmla="*/ 184503 w 188474"/>
                        <a:gd name="connsiteY9" fmla="*/ 149522 h 230343"/>
                        <a:gd name="connsiteX10" fmla="*/ 168074 w 188474"/>
                        <a:gd name="connsiteY10" fmla="*/ 84485 h 230343"/>
                        <a:gd name="connsiteX0" fmla="*/ 168074 w 188474"/>
                        <a:gd name="connsiteY0" fmla="*/ 84485 h 230343"/>
                        <a:gd name="connsiteX1" fmla="*/ 178258 w 188474"/>
                        <a:gd name="connsiteY1" fmla="*/ 6383 h 230343"/>
                        <a:gd name="connsiteX2" fmla="*/ 152568 w 188474"/>
                        <a:gd name="connsiteY2" fmla="*/ 16334 h 230343"/>
                        <a:gd name="connsiteX3" fmla="*/ 134645 w 188474"/>
                        <a:gd name="connsiteY3" fmla="*/ 40696 h 230343"/>
                        <a:gd name="connsiteX4" fmla="*/ 106644 w 188474"/>
                        <a:gd name="connsiteY4" fmla="*/ 62458 h 230343"/>
                        <a:gd name="connsiteX5" fmla="*/ 7497 w 188474"/>
                        <a:gd name="connsiteY5" fmla="*/ 70947 h 230343"/>
                        <a:gd name="connsiteX6" fmla="*/ 12561 w 188474"/>
                        <a:gd name="connsiteY6" fmla="*/ 150076 h 230343"/>
                        <a:gd name="connsiteX7" fmla="*/ 51016 w 188474"/>
                        <a:gd name="connsiteY7" fmla="*/ 212338 h 230343"/>
                        <a:gd name="connsiteX8" fmla="*/ 146415 w 188474"/>
                        <a:gd name="connsiteY8" fmla="*/ 202091 h 230343"/>
                        <a:gd name="connsiteX9" fmla="*/ 184503 w 188474"/>
                        <a:gd name="connsiteY9" fmla="*/ 149522 h 230343"/>
                        <a:gd name="connsiteX10" fmla="*/ 168074 w 188474"/>
                        <a:gd name="connsiteY10" fmla="*/ 84485 h 230343"/>
                        <a:gd name="connsiteX0" fmla="*/ 160026 w 180426"/>
                        <a:gd name="connsiteY0" fmla="*/ 84485 h 230343"/>
                        <a:gd name="connsiteX1" fmla="*/ 170210 w 180426"/>
                        <a:gd name="connsiteY1" fmla="*/ 6383 h 230343"/>
                        <a:gd name="connsiteX2" fmla="*/ 144520 w 180426"/>
                        <a:gd name="connsiteY2" fmla="*/ 16334 h 230343"/>
                        <a:gd name="connsiteX3" fmla="*/ 126597 w 180426"/>
                        <a:gd name="connsiteY3" fmla="*/ 40696 h 230343"/>
                        <a:gd name="connsiteX4" fmla="*/ 98596 w 180426"/>
                        <a:gd name="connsiteY4" fmla="*/ 62458 h 230343"/>
                        <a:gd name="connsiteX5" fmla="*/ 9267 w 180426"/>
                        <a:gd name="connsiteY5" fmla="*/ 56682 h 230343"/>
                        <a:gd name="connsiteX6" fmla="*/ 4513 w 180426"/>
                        <a:gd name="connsiteY6" fmla="*/ 150076 h 230343"/>
                        <a:gd name="connsiteX7" fmla="*/ 42968 w 180426"/>
                        <a:gd name="connsiteY7" fmla="*/ 212338 h 230343"/>
                        <a:gd name="connsiteX8" fmla="*/ 138367 w 180426"/>
                        <a:gd name="connsiteY8" fmla="*/ 202091 h 230343"/>
                        <a:gd name="connsiteX9" fmla="*/ 176455 w 180426"/>
                        <a:gd name="connsiteY9" fmla="*/ 149522 h 230343"/>
                        <a:gd name="connsiteX10" fmla="*/ 160026 w 180426"/>
                        <a:gd name="connsiteY10" fmla="*/ 84485 h 230343"/>
                        <a:gd name="connsiteX0" fmla="*/ 160026 w 170775"/>
                        <a:gd name="connsiteY0" fmla="*/ 84485 h 230343"/>
                        <a:gd name="connsiteX1" fmla="*/ 170210 w 170775"/>
                        <a:gd name="connsiteY1" fmla="*/ 6383 h 230343"/>
                        <a:gd name="connsiteX2" fmla="*/ 144520 w 170775"/>
                        <a:gd name="connsiteY2" fmla="*/ 16334 h 230343"/>
                        <a:gd name="connsiteX3" fmla="*/ 126597 w 170775"/>
                        <a:gd name="connsiteY3" fmla="*/ 40696 h 230343"/>
                        <a:gd name="connsiteX4" fmla="*/ 98596 w 170775"/>
                        <a:gd name="connsiteY4" fmla="*/ 62458 h 230343"/>
                        <a:gd name="connsiteX5" fmla="*/ 9267 w 170775"/>
                        <a:gd name="connsiteY5" fmla="*/ 56682 h 230343"/>
                        <a:gd name="connsiteX6" fmla="*/ 4513 w 170775"/>
                        <a:gd name="connsiteY6" fmla="*/ 150076 h 230343"/>
                        <a:gd name="connsiteX7" fmla="*/ 42968 w 170775"/>
                        <a:gd name="connsiteY7" fmla="*/ 212338 h 230343"/>
                        <a:gd name="connsiteX8" fmla="*/ 138367 w 170775"/>
                        <a:gd name="connsiteY8" fmla="*/ 202091 h 230343"/>
                        <a:gd name="connsiteX9" fmla="*/ 165215 w 170775"/>
                        <a:gd name="connsiteY9" fmla="*/ 143182 h 230343"/>
                        <a:gd name="connsiteX10" fmla="*/ 160026 w 170775"/>
                        <a:gd name="connsiteY10" fmla="*/ 84485 h 2303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70775" h="230343">
                          <a:moveTo>
                            <a:pt x="160026" y="84485"/>
                          </a:moveTo>
                          <a:cubicBezTo>
                            <a:pt x="158177" y="58584"/>
                            <a:pt x="171994" y="24502"/>
                            <a:pt x="170210" y="6383"/>
                          </a:cubicBezTo>
                          <a:cubicBezTo>
                            <a:pt x="168426" y="-11736"/>
                            <a:pt x="154575" y="14264"/>
                            <a:pt x="144520" y="16334"/>
                          </a:cubicBezTo>
                          <a:cubicBezTo>
                            <a:pt x="134465" y="18404"/>
                            <a:pt x="136410" y="33370"/>
                            <a:pt x="126597" y="40696"/>
                          </a:cubicBezTo>
                          <a:cubicBezTo>
                            <a:pt x="116784" y="48022"/>
                            <a:pt x="117002" y="53767"/>
                            <a:pt x="98596" y="62458"/>
                          </a:cubicBezTo>
                          <a:cubicBezTo>
                            <a:pt x="80191" y="71149"/>
                            <a:pt x="32189" y="25260"/>
                            <a:pt x="9267" y="56682"/>
                          </a:cubicBezTo>
                          <a:cubicBezTo>
                            <a:pt x="-13655" y="88104"/>
                            <a:pt x="14419" y="120052"/>
                            <a:pt x="4513" y="150076"/>
                          </a:cubicBezTo>
                          <a:cubicBezTo>
                            <a:pt x="28787" y="188375"/>
                            <a:pt x="15936" y="185482"/>
                            <a:pt x="42968" y="212338"/>
                          </a:cubicBezTo>
                          <a:cubicBezTo>
                            <a:pt x="74799" y="247582"/>
                            <a:pt x="115055" y="223924"/>
                            <a:pt x="138367" y="202091"/>
                          </a:cubicBezTo>
                          <a:cubicBezTo>
                            <a:pt x="161679" y="180258"/>
                            <a:pt x="150887" y="159184"/>
                            <a:pt x="165215" y="143182"/>
                          </a:cubicBezTo>
                          <a:cubicBezTo>
                            <a:pt x="179543" y="127180"/>
                            <a:pt x="161875" y="110386"/>
                            <a:pt x="160026" y="8448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07" name="Freeform 283"/>
                    <p:cNvSpPr>
                      <a:spLocks noChangeAspect="1"/>
                    </p:cNvSpPr>
                    <p:nvPr/>
                  </p:nvSpPr>
                  <p:spPr>
                    <a:xfrm rot="11700000">
                      <a:off x="5805834" y="4531088"/>
                      <a:ext cx="195987" cy="147978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517116" h="374655">
                          <a:moveTo>
                            <a:pt x="400497" y="1010"/>
                          </a:moveTo>
                          <a:cubicBezTo>
                            <a:pt x="318771" y="-11598"/>
                            <a:pt x="57968" y="96718"/>
                            <a:pt x="11235" y="158802"/>
                          </a:cubicBezTo>
                          <a:cubicBezTo>
                            <a:pt x="-35498" y="220886"/>
                            <a:pt x="75879" y="340261"/>
                            <a:pt x="120099" y="373513"/>
                          </a:cubicBezTo>
                          <a:cubicBezTo>
                            <a:pt x="201826" y="386121"/>
                            <a:pt x="439621" y="291452"/>
                            <a:pt x="501594" y="234448"/>
                          </a:cubicBezTo>
                          <a:cubicBezTo>
                            <a:pt x="548327" y="172364"/>
                            <a:pt x="482224" y="13618"/>
                            <a:pt x="400497" y="101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308" name="Freeform 284"/>
                    <p:cNvSpPr>
                      <a:spLocks noChangeAspect="1"/>
                    </p:cNvSpPr>
                    <p:nvPr/>
                  </p:nvSpPr>
                  <p:spPr>
                    <a:xfrm rot="11700000">
                      <a:off x="6686044" y="3577632"/>
                      <a:ext cx="110907" cy="97980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400497 w 751271"/>
                        <a:gd name="connsiteY0" fmla="*/ 6 h 373651"/>
                        <a:gd name="connsiteX1" fmla="*/ 11235 w 751271"/>
                        <a:gd name="connsiteY1" fmla="*/ 157798 h 373651"/>
                        <a:gd name="connsiteX2" fmla="*/ 120099 w 751271"/>
                        <a:gd name="connsiteY2" fmla="*/ 372509 h 373651"/>
                        <a:gd name="connsiteX3" fmla="*/ 501594 w 751271"/>
                        <a:gd name="connsiteY3" fmla="*/ 233444 h 373651"/>
                        <a:gd name="connsiteX4" fmla="*/ 750272 w 751271"/>
                        <a:gd name="connsiteY4" fmla="*/ 161580 h 373651"/>
                        <a:gd name="connsiteX5" fmla="*/ 400497 w 751271"/>
                        <a:gd name="connsiteY5" fmla="*/ 6 h 373651"/>
                        <a:gd name="connsiteX0" fmla="*/ 400497 w 751271"/>
                        <a:gd name="connsiteY0" fmla="*/ 6 h 373651"/>
                        <a:gd name="connsiteX1" fmla="*/ 11235 w 751271"/>
                        <a:gd name="connsiteY1" fmla="*/ 157798 h 373651"/>
                        <a:gd name="connsiteX2" fmla="*/ 120099 w 751271"/>
                        <a:gd name="connsiteY2" fmla="*/ 372509 h 373651"/>
                        <a:gd name="connsiteX3" fmla="*/ 501594 w 751271"/>
                        <a:gd name="connsiteY3" fmla="*/ 233444 h 373651"/>
                        <a:gd name="connsiteX4" fmla="*/ 750272 w 751271"/>
                        <a:gd name="connsiteY4" fmla="*/ 161580 h 373651"/>
                        <a:gd name="connsiteX5" fmla="*/ 400497 w 751271"/>
                        <a:gd name="connsiteY5" fmla="*/ 6 h 373651"/>
                        <a:gd name="connsiteX0" fmla="*/ 400497 w 777678"/>
                        <a:gd name="connsiteY0" fmla="*/ 1412 h 375057"/>
                        <a:gd name="connsiteX1" fmla="*/ 11235 w 777678"/>
                        <a:gd name="connsiteY1" fmla="*/ 159204 h 375057"/>
                        <a:gd name="connsiteX2" fmla="*/ 120099 w 777678"/>
                        <a:gd name="connsiteY2" fmla="*/ 373915 h 375057"/>
                        <a:gd name="connsiteX3" fmla="*/ 501594 w 777678"/>
                        <a:gd name="connsiteY3" fmla="*/ 234850 h 375057"/>
                        <a:gd name="connsiteX4" fmla="*/ 776788 w 777678"/>
                        <a:gd name="connsiteY4" fmla="*/ 78055 h 375057"/>
                        <a:gd name="connsiteX5" fmla="*/ 400497 w 777678"/>
                        <a:gd name="connsiteY5" fmla="*/ 1412 h 375057"/>
                        <a:gd name="connsiteX0" fmla="*/ 400497 w 808515"/>
                        <a:gd name="connsiteY0" fmla="*/ 1412 h 375307"/>
                        <a:gd name="connsiteX1" fmla="*/ 11235 w 808515"/>
                        <a:gd name="connsiteY1" fmla="*/ 159204 h 375307"/>
                        <a:gd name="connsiteX2" fmla="*/ 120099 w 808515"/>
                        <a:gd name="connsiteY2" fmla="*/ 373915 h 375307"/>
                        <a:gd name="connsiteX3" fmla="*/ 774732 w 808515"/>
                        <a:gd name="connsiteY3" fmla="*/ 253777 h 375307"/>
                        <a:gd name="connsiteX4" fmla="*/ 776788 w 808515"/>
                        <a:gd name="connsiteY4" fmla="*/ 78055 h 375307"/>
                        <a:gd name="connsiteX5" fmla="*/ 400497 w 808515"/>
                        <a:gd name="connsiteY5" fmla="*/ 1412 h 375307"/>
                        <a:gd name="connsiteX0" fmla="*/ 393682 w 801700"/>
                        <a:gd name="connsiteY0" fmla="*/ 1412 h 508438"/>
                        <a:gd name="connsiteX1" fmla="*/ 4420 w 801700"/>
                        <a:gd name="connsiteY1" fmla="*/ 159204 h 508438"/>
                        <a:gd name="connsiteX2" fmla="*/ 188468 w 801700"/>
                        <a:gd name="connsiteY2" fmla="*/ 507891 h 508438"/>
                        <a:gd name="connsiteX3" fmla="*/ 767917 w 801700"/>
                        <a:gd name="connsiteY3" fmla="*/ 253777 h 508438"/>
                        <a:gd name="connsiteX4" fmla="*/ 769973 w 801700"/>
                        <a:gd name="connsiteY4" fmla="*/ 78055 h 508438"/>
                        <a:gd name="connsiteX5" fmla="*/ 393682 w 801700"/>
                        <a:gd name="connsiteY5" fmla="*/ 1412 h 508438"/>
                        <a:gd name="connsiteX0" fmla="*/ 394767 w 802785"/>
                        <a:gd name="connsiteY0" fmla="*/ 1412 h 527716"/>
                        <a:gd name="connsiteX1" fmla="*/ 5505 w 802785"/>
                        <a:gd name="connsiteY1" fmla="*/ 159204 h 527716"/>
                        <a:gd name="connsiteX2" fmla="*/ 189553 w 802785"/>
                        <a:gd name="connsiteY2" fmla="*/ 507891 h 527716"/>
                        <a:gd name="connsiteX3" fmla="*/ 590543 w 802785"/>
                        <a:gd name="connsiteY3" fmla="*/ 479474 h 527716"/>
                        <a:gd name="connsiteX4" fmla="*/ 769002 w 802785"/>
                        <a:gd name="connsiteY4" fmla="*/ 253777 h 527716"/>
                        <a:gd name="connsiteX5" fmla="*/ 771058 w 802785"/>
                        <a:gd name="connsiteY5" fmla="*/ 78055 h 527716"/>
                        <a:gd name="connsiteX6" fmla="*/ 394767 w 802785"/>
                        <a:gd name="connsiteY6" fmla="*/ 1412 h 527716"/>
                        <a:gd name="connsiteX0" fmla="*/ 394767 w 866596"/>
                        <a:gd name="connsiteY0" fmla="*/ 1412 h 527716"/>
                        <a:gd name="connsiteX1" fmla="*/ 5505 w 866596"/>
                        <a:gd name="connsiteY1" fmla="*/ 159204 h 527716"/>
                        <a:gd name="connsiteX2" fmla="*/ 189553 w 866596"/>
                        <a:gd name="connsiteY2" fmla="*/ 507891 h 527716"/>
                        <a:gd name="connsiteX3" fmla="*/ 590543 w 866596"/>
                        <a:gd name="connsiteY3" fmla="*/ 479474 h 527716"/>
                        <a:gd name="connsiteX4" fmla="*/ 847917 w 866596"/>
                        <a:gd name="connsiteY4" fmla="*/ 346957 h 527716"/>
                        <a:gd name="connsiteX5" fmla="*/ 771058 w 866596"/>
                        <a:gd name="connsiteY5" fmla="*/ 78055 h 527716"/>
                        <a:gd name="connsiteX6" fmla="*/ 394767 w 866596"/>
                        <a:gd name="connsiteY6" fmla="*/ 1412 h 527716"/>
                        <a:gd name="connsiteX0" fmla="*/ 394767 w 918392"/>
                        <a:gd name="connsiteY0" fmla="*/ 1412 h 527716"/>
                        <a:gd name="connsiteX1" fmla="*/ 5505 w 918392"/>
                        <a:gd name="connsiteY1" fmla="*/ 159204 h 527716"/>
                        <a:gd name="connsiteX2" fmla="*/ 189553 w 918392"/>
                        <a:gd name="connsiteY2" fmla="*/ 507891 h 527716"/>
                        <a:gd name="connsiteX3" fmla="*/ 590543 w 918392"/>
                        <a:gd name="connsiteY3" fmla="*/ 479474 h 527716"/>
                        <a:gd name="connsiteX4" fmla="*/ 847917 w 918392"/>
                        <a:gd name="connsiteY4" fmla="*/ 346957 h 527716"/>
                        <a:gd name="connsiteX5" fmla="*/ 916334 w 918392"/>
                        <a:gd name="connsiteY5" fmla="*/ 127910 h 527716"/>
                        <a:gd name="connsiteX6" fmla="*/ 771058 w 918392"/>
                        <a:gd name="connsiteY6" fmla="*/ 78055 h 527716"/>
                        <a:gd name="connsiteX7" fmla="*/ 394767 w 918392"/>
                        <a:gd name="connsiteY7" fmla="*/ 1412 h 527716"/>
                        <a:gd name="connsiteX0" fmla="*/ 394767 w 918392"/>
                        <a:gd name="connsiteY0" fmla="*/ 5461 h 531765"/>
                        <a:gd name="connsiteX1" fmla="*/ 5505 w 918392"/>
                        <a:gd name="connsiteY1" fmla="*/ 163253 h 531765"/>
                        <a:gd name="connsiteX2" fmla="*/ 189553 w 918392"/>
                        <a:gd name="connsiteY2" fmla="*/ 511940 h 531765"/>
                        <a:gd name="connsiteX3" fmla="*/ 590543 w 918392"/>
                        <a:gd name="connsiteY3" fmla="*/ 483523 h 531765"/>
                        <a:gd name="connsiteX4" fmla="*/ 847917 w 918392"/>
                        <a:gd name="connsiteY4" fmla="*/ 351006 h 531765"/>
                        <a:gd name="connsiteX5" fmla="*/ 916334 w 918392"/>
                        <a:gd name="connsiteY5" fmla="*/ 131959 h 531765"/>
                        <a:gd name="connsiteX6" fmla="*/ 812897 w 918392"/>
                        <a:gd name="connsiteY6" fmla="*/ 34617 h 531765"/>
                        <a:gd name="connsiteX7" fmla="*/ 394767 w 918392"/>
                        <a:gd name="connsiteY7" fmla="*/ 5461 h 53176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918392" h="531765">
                          <a:moveTo>
                            <a:pt x="394767" y="5461"/>
                          </a:moveTo>
                          <a:cubicBezTo>
                            <a:pt x="260202" y="26900"/>
                            <a:pt x="39707" y="78840"/>
                            <a:pt x="5505" y="163253"/>
                          </a:cubicBezTo>
                          <a:cubicBezTo>
                            <a:pt x="-28697" y="247666"/>
                            <a:pt x="104351" y="472011"/>
                            <a:pt x="189553" y="511940"/>
                          </a:cubicBezTo>
                          <a:cubicBezTo>
                            <a:pt x="274755" y="551869"/>
                            <a:pt x="493968" y="525875"/>
                            <a:pt x="590543" y="483523"/>
                          </a:cubicBezTo>
                          <a:cubicBezTo>
                            <a:pt x="687118" y="441171"/>
                            <a:pt x="816689" y="407778"/>
                            <a:pt x="847917" y="351006"/>
                          </a:cubicBezTo>
                          <a:cubicBezTo>
                            <a:pt x="879145" y="294234"/>
                            <a:pt x="929144" y="176776"/>
                            <a:pt x="916334" y="131959"/>
                          </a:cubicBezTo>
                          <a:cubicBezTo>
                            <a:pt x="903524" y="87142"/>
                            <a:pt x="876754" y="57522"/>
                            <a:pt x="812897" y="34617"/>
                          </a:cubicBezTo>
                          <a:cubicBezTo>
                            <a:pt x="586552" y="32503"/>
                            <a:pt x="529332" y="-15978"/>
                            <a:pt x="394767" y="546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1100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sp>
                <p:nvSpPr>
                  <p:cNvPr id="302" name="DF"/>
                  <p:cNvSpPr/>
                  <p:nvPr/>
                </p:nvSpPr>
                <p:spPr bwMode="auto">
                  <a:xfrm>
                    <a:off x="7138245" y="3025113"/>
                    <a:ext cx="62655" cy="73687"/>
                  </a:xfrm>
                  <a:custGeom>
                    <a:avLst/>
                    <a:gdLst>
                      <a:gd name="connsiteX0" fmla="*/ 0 w 92922"/>
                      <a:gd name="connsiteY0" fmla="*/ 38626 h 77251"/>
                      <a:gd name="connsiteX1" fmla="*/ 46461 w 92922"/>
                      <a:gd name="connsiteY1" fmla="*/ 0 h 77251"/>
                      <a:gd name="connsiteX2" fmla="*/ 92922 w 92922"/>
                      <a:gd name="connsiteY2" fmla="*/ 38626 h 77251"/>
                      <a:gd name="connsiteX3" fmla="*/ 46461 w 92922"/>
                      <a:gd name="connsiteY3" fmla="*/ 77252 h 77251"/>
                      <a:gd name="connsiteX4" fmla="*/ 0 w 92922"/>
                      <a:gd name="connsiteY4" fmla="*/ 38626 h 77251"/>
                      <a:gd name="connsiteX0" fmla="*/ 2773 w 95695"/>
                      <a:gd name="connsiteY0" fmla="*/ 46630 h 85256"/>
                      <a:gd name="connsiteX1" fmla="*/ 10043 w 95695"/>
                      <a:gd name="connsiteY1" fmla="*/ 3241 h 85256"/>
                      <a:gd name="connsiteX2" fmla="*/ 49234 w 95695"/>
                      <a:gd name="connsiteY2" fmla="*/ 8004 h 85256"/>
                      <a:gd name="connsiteX3" fmla="*/ 95695 w 95695"/>
                      <a:gd name="connsiteY3" fmla="*/ 46630 h 85256"/>
                      <a:gd name="connsiteX4" fmla="*/ 49234 w 95695"/>
                      <a:gd name="connsiteY4" fmla="*/ 85256 h 85256"/>
                      <a:gd name="connsiteX5" fmla="*/ 2773 w 95695"/>
                      <a:gd name="connsiteY5" fmla="*/ 46630 h 85256"/>
                      <a:gd name="connsiteX0" fmla="*/ 2217 w 98314"/>
                      <a:gd name="connsiteY0" fmla="*/ 62505 h 85631"/>
                      <a:gd name="connsiteX1" fmla="*/ 12662 w 98314"/>
                      <a:gd name="connsiteY1" fmla="*/ 3241 h 85631"/>
                      <a:gd name="connsiteX2" fmla="*/ 51853 w 98314"/>
                      <a:gd name="connsiteY2" fmla="*/ 8004 h 85631"/>
                      <a:gd name="connsiteX3" fmla="*/ 98314 w 98314"/>
                      <a:gd name="connsiteY3" fmla="*/ 46630 h 85631"/>
                      <a:gd name="connsiteX4" fmla="*/ 51853 w 98314"/>
                      <a:gd name="connsiteY4" fmla="*/ 85256 h 85631"/>
                      <a:gd name="connsiteX5" fmla="*/ 2217 w 98314"/>
                      <a:gd name="connsiteY5" fmla="*/ 62505 h 85631"/>
                      <a:gd name="connsiteX0" fmla="*/ 2659 w 98756"/>
                      <a:gd name="connsiteY0" fmla="*/ 62505 h 69284"/>
                      <a:gd name="connsiteX1" fmla="*/ 13104 w 98756"/>
                      <a:gd name="connsiteY1" fmla="*/ 3241 h 69284"/>
                      <a:gd name="connsiteX2" fmla="*/ 52295 w 98756"/>
                      <a:gd name="connsiteY2" fmla="*/ 8004 h 69284"/>
                      <a:gd name="connsiteX3" fmla="*/ 98756 w 98756"/>
                      <a:gd name="connsiteY3" fmla="*/ 46630 h 69284"/>
                      <a:gd name="connsiteX4" fmla="*/ 58645 w 98756"/>
                      <a:gd name="connsiteY4" fmla="*/ 66206 h 69284"/>
                      <a:gd name="connsiteX5" fmla="*/ 2659 w 98756"/>
                      <a:gd name="connsiteY5" fmla="*/ 62505 h 69284"/>
                      <a:gd name="connsiteX0" fmla="*/ 2659 w 98756"/>
                      <a:gd name="connsiteY0" fmla="*/ 62150 h 69531"/>
                      <a:gd name="connsiteX1" fmla="*/ 13104 w 98756"/>
                      <a:gd name="connsiteY1" fmla="*/ 2886 h 69531"/>
                      <a:gd name="connsiteX2" fmla="*/ 52295 w 98756"/>
                      <a:gd name="connsiteY2" fmla="*/ 7649 h 69531"/>
                      <a:gd name="connsiteX3" fmla="*/ 98756 w 98756"/>
                      <a:gd name="connsiteY3" fmla="*/ 36750 h 69531"/>
                      <a:gd name="connsiteX4" fmla="*/ 58645 w 98756"/>
                      <a:gd name="connsiteY4" fmla="*/ 65851 h 69531"/>
                      <a:gd name="connsiteX5" fmla="*/ 2659 w 98756"/>
                      <a:gd name="connsiteY5" fmla="*/ 62150 h 69531"/>
                      <a:gd name="connsiteX0" fmla="*/ 2659 w 98756"/>
                      <a:gd name="connsiteY0" fmla="*/ 69247 h 76628"/>
                      <a:gd name="connsiteX1" fmla="*/ 13104 w 98756"/>
                      <a:gd name="connsiteY1" fmla="*/ 9983 h 76628"/>
                      <a:gd name="connsiteX2" fmla="*/ 58645 w 98756"/>
                      <a:gd name="connsiteY2" fmla="*/ 2046 h 76628"/>
                      <a:gd name="connsiteX3" fmla="*/ 98756 w 98756"/>
                      <a:gd name="connsiteY3" fmla="*/ 43847 h 76628"/>
                      <a:gd name="connsiteX4" fmla="*/ 58645 w 98756"/>
                      <a:gd name="connsiteY4" fmla="*/ 72948 h 76628"/>
                      <a:gd name="connsiteX5" fmla="*/ 2659 w 98756"/>
                      <a:gd name="connsiteY5" fmla="*/ 69247 h 76628"/>
                      <a:gd name="connsiteX0" fmla="*/ 12211 w 108308"/>
                      <a:gd name="connsiteY0" fmla="*/ 72519 h 80420"/>
                      <a:gd name="connsiteX1" fmla="*/ 3606 w 108308"/>
                      <a:gd name="connsiteY1" fmla="*/ 4803 h 80420"/>
                      <a:gd name="connsiteX2" fmla="*/ 68197 w 108308"/>
                      <a:gd name="connsiteY2" fmla="*/ 5318 h 80420"/>
                      <a:gd name="connsiteX3" fmla="*/ 108308 w 108308"/>
                      <a:gd name="connsiteY3" fmla="*/ 47119 h 80420"/>
                      <a:gd name="connsiteX4" fmla="*/ 68197 w 108308"/>
                      <a:gd name="connsiteY4" fmla="*/ 76220 h 80420"/>
                      <a:gd name="connsiteX5" fmla="*/ 12211 w 108308"/>
                      <a:gd name="connsiteY5" fmla="*/ 72519 h 80420"/>
                      <a:gd name="connsiteX0" fmla="*/ 2818 w 127490"/>
                      <a:gd name="connsiteY0" fmla="*/ 76745 h 83125"/>
                      <a:gd name="connsiteX1" fmla="*/ 22788 w 127490"/>
                      <a:gd name="connsiteY1" fmla="*/ 4803 h 83125"/>
                      <a:gd name="connsiteX2" fmla="*/ 87379 w 127490"/>
                      <a:gd name="connsiteY2" fmla="*/ 5318 h 83125"/>
                      <a:gd name="connsiteX3" fmla="*/ 127490 w 127490"/>
                      <a:gd name="connsiteY3" fmla="*/ 47119 h 83125"/>
                      <a:gd name="connsiteX4" fmla="*/ 87379 w 127490"/>
                      <a:gd name="connsiteY4" fmla="*/ 76220 h 83125"/>
                      <a:gd name="connsiteX5" fmla="*/ 2818 w 127490"/>
                      <a:gd name="connsiteY5" fmla="*/ 76745 h 83125"/>
                      <a:gd name="connsiteX0" fmla="*/ 4020 w 128692"/>
                      <a:gd name="connsiteY0" fmla="*/ 76745 h 85175"/>
                      <a:gd name="connsiteX1" fmla="*/ 23990 w 128692"/>
                      <a:gd name="connsiteY1" fmla="*/ 4803 h 85175"/>
                      <a:gd name="connsiteX2" fmla="*/ 88581 w 128692"/>
                      <a:gd name="connsiteY2" fmla="*/ 5318 h 85175"/>
                      <a:gd name="connsiteX3" fmla="*/ 128692 w 128692"/>
                      <a:gd name="connsiteY3" fmla="*/ 47119 h 85175"/>
                      <a:gd name="connsiteX4" fmla="*/ 107631 w 128692"/>
                      <a:gd name="connsiteY4" fmla="*/ 80446 h 85175"/>
                      <a:gd name="connsiteX5" fmla="*/ 4020 w 128692"/>
                      <a:gd name="connsiteY5" fmla="*/ 76745 h 85175"/>
                      <a:gd name="connsiteX0" fmla="*/ 311 w 124983"/>
                      <a:gd name="connsiteY0" fmla="*/ 114981 h 126242"/>
                      <a:gd name="connsiteX1" fmla="*/ 71081 w 124983"/>
                      <a:gd name="connsiteY1" fmla="*/ 780 h 126242"/>
                      <a:gd name="connsiteX2" fmla="*/ 84872 w 124983"/>
                      <a:gd name="connsiteY2" fmla="*/ 43554 h 126242"/>
                      <a:gd name="connsiteX3" fmla="*/ 124983 w 124983"/>
                      <a:gd name="connsiteY3" fmla="*/ 85355 h 126242"/>
                      <a:gd name="connsiteX4" fmla="*/ 103922 w 124983"/>
                      <a:gd name="connsiteY4" fmla="*/ 118682 h 126242"/>
                      <a:gd name="connsiteX5" fmla="*/ 311 w 124983"/>
                      <a:gd name="connsiteY5" fmla="*/ 114981 h 126242"/>
                      <a:gd name="connsiteX0" fmla="*/ 3123 w 127795"/>
                      <a:gd name="connsiteY0" fmla="*/ 136754 h 149197"/>
                      <a:gd name="connsiteX1" fmla="*/ 31136 w 127795"/>
                      <a:gd name="connsiteY1" fmla="*/ 5728 h 149197"/>
                      <a:gd name="connsiteX2" fmla="*/ 73893 w 127795"/>
                      <a:gd name="connsiteY2" fmla="*/ 22553 h 149197"/>
                      <a:gd name="connsiteX3" fmla="*/ 87684 w 127795"/>
                      <a:gd name="connsiteY3" fmla="*/ 65327 h 149197"/>
                      <a:gd name="connsiteX4" fmla="*/ 127795 w 127795"/>
                      <a:gd name="connsiteY4" fmla="*/ 107128 h 149197"/>
                      <a:gd name="connsiteX5" fmla="*/ 106734 w 127795"/>
                      <a:gd name="connsiteY5" fmla="*/ 140455 h 149197"/>
                      <a:gd name="connsiteX6" fmla="*/ 3123 w 127795"/>
                      <a:gd name="connsiteY6" fmla="*/ 136754 h 149197"/>
                      <a:gd name="connsiteX0" fmla="*/ 9048 w 133720"/>
                      <a:gd name="connsiteY0" fmla="*/ 185654 h 201733"/>
                      <a:gd name="connsiteX1" fmla="*/ 8486 w 133720"/>
                      <a:gd name="connsiteY1" fmla="*/ 3916 h 201733"/>
                      <a:gd name="connsiteX2" fmla="*/ 37061 w 133720"/>
                      <a:gd name="connsiteY2" fmla="*/ 54628 h 201733"/>
                      <a:gd name="connsiteX3" fmla="*/ 79818 w 133720"/>
                      <a:gd name="connsiteY3" fmla="*/ 71453 h 201733"/>
                      <a:gd name="connsiteX4" fmla="*/ 93609 w 133720"/>
                      <a:gd name="connsiteY4" fmla="*/ 114227 h 201733"/>
                      <a:gd name="connsiteX5" fmla="*/ 133720 w 133720"/>
                      <a:gd name="connsiteY5" fmla="*/ 156028 h 201733"/>
                      <a:gd name="connsiteX6" fmla="*/ 112659 w 133720"/>
                      <a:gd name="connsiteY6" fmla="*/ 189355 h 201733"/>
                      <a:gd name="connsiteX7" fmla="*/ 9048 w 133720"/>
                      <a:gd name="connsiteY7" fmla="*/ 185654 h 201733"/>
                      <a:gd name="connsiteX0" fmla="*/ 9048 w 133720"/>
                      <a:gd name="connsiteY0" fmla="*/ 192718 h 208797"/>
                      <a:gd name="connsiteX1" fmla="*/ 8486 w 133720"/>
                      <a:gd name="connsiteY1" fmla="*/ 10980 h 208797"/>
                      <a:gd name="connsiteX2" fmla="*/ 37061 w 133720"/>
                      <a:gd name="connsiteY2" fmla="*/ 19432 h 208797"/>
                      <a:gd name="connsiteX3" fmla="*/ 37061 w 133720"/>
                      <a:gd name="connsiteY3" fmla="*/ 61692 h 208797"/>
                      <a:gd name="connsiteX4" fmla="*/ 79818 w 133720"/>
                      <a:gd name="connsiteY4" fmla="*/ 78517 h 208797"/>
                      <a:gd name="connsiteX5" fmla="*/ 93609 w 133720"/>
                      <a:gd name="connsiteY5" fmla="*/ 121291 h 208797"/>
                      <a:gd name="connsiteX6" fmla="*/ 133720 w 133720"/>
                      <a:gd name="connsiteY6" fmla="*/ 163092 h 208797"/>
                      <a:gd name="connsiteX7" fmla="*/ 112659 w 133720"/>
                      <a:gd name="connsiteY7" fmla="*/ 196419 h 208797"/>
                      <a:gd name="connsiteX8" fmla="*/ 9048 w 133720"/>
                      <a:gd name="connsiteY8" fmla="*/ 192718 h 208797"/>
                      <a:gd name="connsiteX0" fmla="*/ 33011 w 125933"/>
                      <a:gd name="connsiteY0" fmla="*/ 142007 h 196916"/>
                      <a:gd name="connsiteX1" fmla="*/ 699 w 125933"/>
                      <a:gd name="connsiteY1" fmla="*/ 10980 h 196916"/>
                      <a:gd name="connsiteX2" fmla="*/ 29274 w 125933"/>
                      <a:gd name="connsiteY2" fmla="*/ 19432 h 196916"/>
                      <a:gd name="connsiteX3" fmla="*/ 29274 w 125933"/>
                      <a:gd name="connsiteY3" fmla="*/ 61692 h 196916"/>
                      <a:gd name="connsiteX4" fmla="*/ 72031 w 125933"/>
                      <a:gd name="connsiteY4" fmla="*/ 78517 h 196916"/>
                      <a:gd name="connsiteX5" fmla="*/ 85822 w 125933"/>
                      <a:gd name="connsiteY5" fmla="*/ 121291 h 196916"/>
                      <a:gd name="connsiteX6" fmla="*/ 125933 w 125933"/>
                      <a:gd name="connsiteY6" fmla="*/ 163092 h 196916"/>
                      <a:gd name="connsiteX7" fmla="*/ 104872 w 125933"/>
                      <a:gd name="connsiteY7" fmla="*/ 196419 h 196916"/>
                      <a:gd name="connsiteX8" fmla="*/ 33011 w 125933"/>
                      <a:gd name="connsiteY8" fmla="*/ 142007 h 196916"/>
                      <a:gd name="connsiteX0" fmla="*/ 49204 w 142126"/>
                      <a:gd name="connsiteY0" fmla="*/ 142007 h 196916"/>
                      <a:gd name="connsiteX1" fmla="*/ 1017 w 142126"/>
                      <a:gd name="connsiteY1" fmla="*/ 61692 h 196916"/>
                      <a:gd name="connsiteX2" fmla="*/ 16892 w 142126"/>
                      <a:gd name="connsiteY2" fmla="*/ 10980 h 196916"/>
                      <a:gd name="connsiteX3" fmla="*/ 45467 w 142126"/>
                      <a:gd name="connsiteY3" fmla="*/ 19432 h 196916"/>
                      <a:gd name="connsiteX4" fmla="*/ 45467 w 142126"/>
                      <a:gd name="connsiteY4" fmla="*/ 61692 h 196916"/>
                      <a:gd name="connsiteX5" fmla="*/ 88224 w 142126"/>
                      <a:gd name="connsiteY5" fmla="*/ 78517 h 196916"/>
                      <a:gd name="connsiteX6" fmla="*/ 102015 w 142126"/>
                      <a:gd name="connsiteY6" fmla="*/ 121291 h 196916"/>
                      <a:gd name="connsiteX7" fmla="*/ 142126 w 142126"/>
                      <a:gd name="connsiteY7" fmla="*/ 163092 h 196916"/>
                      <a:gd name="connsiteX8" fmla="*/ 121065 w 142126"/>
                      <a:gd name="connsiteY8" fmla="*/ 196419 h 196916"/>
                      <a:gd name="connsiteX9" fmla="*/ 49204 w 142126"/>
                      <a:gd name="connsiteY9" fmla="*/ 142007 h 196916"/>
                      <a:gd name="connsiteX0" fmla="*/ 49204 w 142126"/>
                      <a:gd name="connsiteY0" fmla="*/ 142007 h 173263"/>
                      <a:gd name="connsiteX1" fmla="*/ 1017 w 142126"/>
                      <a:gd name="connsiteY1" fmla="*/ 61692 h 173263"/>
                      <a:gd name="connsiteX2" fmla="*/ 16892 w 142126"/>
                      <a:gd name="connsiteY2" fmla="*/ 10980 h 173263"/>
                      <a:gd name="connsiteX3" fmla="*/ 45467 w 142126"/>
                      <a:gd name="connsiteY3" fmla="*/ 19432 h 173263"/>
                      <a:gd name="connsiteX4" fmla="*/ 45467 w 142126"/>
                      <a:gd name="connsiteY4" fmla="*/ 61692 h 173263"/>
                      <a:gd name="connsiteX5" fmla="*/ 88224 w 142126"/>
                      <a:gd name="connsiteY5" fmla="*/ 78517 h 173263"/>
                      <a:gd name="connsiteX6" fmla="*/ 102015 w 142126"/>
                      <a:gd name="connsiteY6" fmla="*/ 121291 h 173263"/>
                      <a:gd name="connsiteX7" fmla="*/ 142126 w 142126"/>
                      <a:gd name="connsiteY7" fmla="*/ 163092 h 173263"/>
                      <a:gd name="connsiteX8" fmla="*/ 79790 w 142126"/>
                      <a:gd name="connsiteY8" fmla="*/ 162612 h 173263"/>
                      <a:gd name="connsiteX9" fmla="*/ 49204 w 142126"/>
                      <a:gd name="connsiteY9" fmla="*/ 142007 h 17326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45467 w 110376"/>
                      <a:gd name="connsiteY4" fmla="*/ 61692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62136 w 110376"/>
                      <a:gd name="connsiteY4" fmla="*/ 49014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05613"/>
                      <a:gd name="connsiteY0" fmla="*/ 142007 h 164051"/>
                      <a:gd name="connsiteX1" fmla="*/ 1017 w 105613"/>
                      <a:gd name="connsiteY1" fmla="*/ 61692 h 164051"/>
                      <a:gd name="connsiteX2" fmla="*/ 16892 w 105613"/>
                      <a:gd name="connsiteY2" fmla="*/ 10980 h 164051"/>
                      <a:gd name="connsiteX3" fmla="*/ 45467 w 105613"/>
                      <a:gd name="connsiteY3" fmla="*/ 19432 h 164051"/>
                      <a:gd name="connsiteX4" fmla="*/ 62136 w 105613"/>
                      <a:gd name="connsiteY4" fmla="*/ 49014 h 164051"/>
                      <a:gd name="connsiteX5" fmla="*/ 88224 w 105613"/>
                      <a:gd name="connsiteY5" fmla="*/ 78517 h 164051"/>
                      <a:gd name="connsiteX6" fmla="*/ 102015 w 105613"/>
                      <a:gd name="connsiteY6" fmla="*/ 121291 h 164051"/>
                      <a:gd name="connsiteX7" fmla="*/ 105613 w 105613"/>
                      <a:gd name="connsiteY7" fmla="*/ 111323 h 164051"/>
                      <a:gd name="connsiteX8" fmla="*/ 79790 w 105613"/>
                      <a:gd name="connsiteY8" fmla="*/ 162612 h 164051"/>
                      <a:gd name="connsiteX9" fmla="*/ 49204 w 105613"/>
                      <a:gd name="connsiteY9" fmla="*/ 142007 h 164051"/>
                      <a:gd name="connsiteX0" fmla="*/ 49204 w 105613"/>
                      <a:gd name="connsiteY0" fmla="*/ 142007 h 149974"/>
                      <a:gd name="connsiteX1" fmla="*/ 1017 w 105613"/>
                      <a:gd name="connsiteY1" fmla="*/ 61692 h 149974"/>
                      <a:gd name="connsiteX2" fmla="*/ 16892 w 105613"/>
                      <a:gd name="connsiteY2" fmla="*/ 10980 h 149974"/>
                      <a:gd name="connsiteX3" fmla="*/ 45467 w 105613"/>
                      <a:gd name="connsiteY3" fmla="*/ 19432 h 149974"/>
                      <a:gd name="connsiteX4" fmla="*/ 62136 w 105613"/>
                      <a:gd name="connsiteY4" fmla="*/ 49014 h 149974"/>
                      <a:gd name="connsiteX5" fmla="*/ 88224 w 105613"/>
                      <a:gd name="connsiteY5" fmla="*/ 78517 h 149974"/>
                      <a:gd name="connsiteX6" fmla="*/ 102015 w 105613"/>
                      <a:gd name="connsiteY6" fmla="*/ 121291 h 149974"/>
                      <a:gd name="connsiteX7" fmla="*/ 105613 w 105613"/>
                      <a:gd name="connsiteY7" fmla="*/ 111323 h 149974"/>
                      <a:gd name="connsiteX8" fmla="*/ 89315 w 105613"/>
                      <a:gd name="connsiteY8" fmla="*/ 143596 h 149974"/>
                      <a:gd name="connsiteX9" fmla="*/ 49204 w 105613"/>
                      <a:gd name="connsiteY9" fmla="*/ 142007 h 149974"/>
                      <a:gd name="connsiteX0" fmla="*/ 53967 w 105613"/>
                      <a:gd name="connsiteY0" fmla="*/ 122990 h 143862"/>
                      <a:gd name="connsiteX1" fmla="*/ 1017 w 105613"/>
                      <a:gd name="connsiteY1" fmla="*/ 61692 h 143862"/>
                      <a:gd name="connsiteX2" fmla="*/ 16892 w 105613"/>
                      <a:gd name="connsiteY2" fmla="*/ 10980 h 143862"/>
                      <a:gd name="connsiteX3" fmla="*/ 45467 w 105613"/>
                      <a:gd name="connsiteY3" fmla="*/ 19432 h 143862"/>
                      <a:gd name="connsiteX4" fmla="*/ 62136 w 105613"/>
                      <a:gd name="connsiteY4" fmla="*/ 49014 h 143862"/>
                      <a:gd name="connsiteX5" fmla="*/ 88224 w 105613"/>
                      <a:gd name="connsiteY5" fmla="*/ 78517 h 143862"/>
                      <a:gd name="connsiteX6" fmla="*/ 102015 w 105613"/>
                      <a:gd name="connsiteY6" fmla="*/ 121291 h 143862"/>
                      <a:gd name="connsiteX7" fmla="*/ 105613 w 105613"/>
                      <a:gd name="connsiteY7" fmla="*/ 111323 h 143862"/>
                      <a:gd name="connsiteX8" fmla="*/ 89315 w 105613"/>
                      <a:gd name="connsiteY8" fmla="*/ 143596 h 143862"/>
                      <a:gd name="connsiteX9" fmla="*/ 53967 w 105613"/>
                      <a:gd name="connsiteY9" fmla="*/ 122990 h 143862"/>
                      <a:gd name="connsiteX0" fmla="*/ 40087 w 91733"/>
                      <a:gd name="connsiteY0" fmla="*/ 122990 h 143903"/>
                      <a:gd name="connsiteX1" fmla="*/ 3806 w 91733"/>
                      <a:gd name="connsiteY1" fmla="*/ 52185 h 143903"/>
                      <a:gd name="connsiteX2" fmla="*/ 3012 w 91733"/>
                      <a:gd name="connsiteY2" fmla="*/ 10980 h 143903"/>
                      <a:gd name="connsiteX3" fmla="*/ 31587 w 91733"/>
                      <a:gd name="connsiteY3" fmla="*/ 19432 h 143903"/>
                      <a:gd name="connsiteX4" fmla="*/ 48256 w 91733"/>
                      <a:gd name="connsiteY4" fmla="*/ 49014 h 143903"/>
                      <a:gd name="connsiteX5" fmla="*/ 74344 w 91733"/>
                      <a:gd name="connsiteY5" fmla="*/ 78517 h 143903"/>
                      <a:gd name="connsiteX6" fmla="*/ 88135 w 91733"/>
                      <a:gd name="connsiteY6" fmla="*/ 121291 h 143903"/>
                      <a:gd name="connsiteX7" fmla="*/ 91733 w 91733"/>
                      <a:gd name="connsiteY7" fmla="*/ 111323 h 143903"/>
                      <a:gd name="connsiteX8" fmla="*/ 75435 w 91733"/>
                      <a:gd name="connsiteY8" fmla="*/ 143596 h 143903"/>
                      <a:gd name="connsiteX9" fmla="*/ 40087 w 91733"/>
                      <a:gd name="connsiteY9" fmla="*/ 122990 h 143903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88135 w 91733"/>
                      <a:gd name="connsiteY6" fmla="*/ 121291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1733" h="143597">
                        <a:moveTo>
                          <a:pt x="44850" y="110312"/>
                        </a:moveTo>
                        <a:cubicBezTo>
                          <a:pt x="32912" y="95077"/>
                          <a:pt x="9191" y="74023"/>
                          <a:pt x="3806" y="52185"/>
                        </a:cubicBezTo>
                        <a:cubicBezTo>
                          <a:pt x="-1579" y="30347"/>
                          <a:pt x="-692" y="22249"/>
                          <a:pt x="3012" y="10980"/>
                        </a:cubicBezTo>
                        <a:cubicBezTo>
                          <a:pt x="6093" y="-14379"/>
                          <a:pt x="26824" y="10980"/>
                          <a:pt x="31587" y="19432"/>
                        </a:cubicBezTo>
                        <a:cubicBezTo>
                          <a:pt x="36350" y="27884"/>
                          <a:pt x="39542" y="42688"/>
                          <a:pt x="48256" y="49014"/>
                        </a:cubicBezTo>
                        <a:cubicBezTo>
                          <a:pt x="56970" y="55340"/>
                          <a:pt x="66507" y="77036"/>
                          <a:pt x="74344" y="78517"/>
                        </a:cubicBezTo>
                        <a:cubicBezTo>
                          <a:pt x="82181" y="79998"/>
                          <a:pt x="85237" y="115823"/>
                          <a:pt x="88135" y="121291"/>
                        </a:cubicBezTo>
                        <a:cubicBezTo>
                          <a:pt x="91033" y="126759"/>
                          <a:pt x="91733" y="89990"/>
                          <a:pt x="91733" y="111323"/>
                        </a:cubicBezTo>
                        <a:cubicBezTo>
                          <a:pt x="91733" y="132656"/>
                          <a:pt x="83249" y="143764"/>
                          <a:pt x="75435" y="143596"/>
                        </a:cubicBezTo>
                        <a:cubicBezTo>
                          <a:pt x="67621" y="143428"/>
                          <a:pt x="56788" y="125547"/>
                          <a:pt x="44850" y="11031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100">
                      <a:solidFill>
                        <a:prstClr val="white"/>
                      </a:solidFill>
                    </a:endParaRPr>
                  </a:p>
                </p:txBody>
              </p:sp>
            </p:grpSp>
            <p:sp>
              <p:nvSpPr>
                <p:cNvPr id="300" name="Freeform 276"/>
                <p:cNvSpPr/>
                <p:nvPr/>
              </p:nvSpPr>
              <p:spPr>
                <a:xfrm rot="11700000">
                  <a:off x="5441840" y="4280341"/>
                  <a:ext cx="62448" cy="69032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7116" h="374655">
                      <a:moveTo>
                        <a:pt x="400497" y="1010"/>
                      </a:moveTo>
                      <a:cubicBezTo>
                        <a:pt x="318771" y="-11598"/>
                        <a:pt x="57968" y="96718"/>
                        <a:pt x="11235" y="158802"/>
                      </a:cubicBezTo>
                      <a:cubicBezTo>
                        <a:pt x="-35498" y="220886"/>
                        <a:pt x="75879" y="340261"/>
                        <a:pt x="120099" y="373513"/>
                      </a:cubicBezTo>
                      <a:cubicBezTo>
                        <a:pt x="201826" y="386121"/>
                        <a:pt x="439621" y="291452"/>
                        <a:pt x="501594" y="234448"/>
                      </a:cubicBezTo>
                      <a:cubicBezTo>
                        <a:pt x="548327" y="172364"/>
                        <a:pt x="482224" y="13618"/>
                        <a:pt x="400497" y="101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1100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94" name="Group 269"/>
              <p:cNvGrpSpPr/>
              <p:nvPr/>
            </p:nvGrpSpPr>
            <p:grpSpPr>
              <a:xfrm>
                <a:off x="6979920" y="2906890"/>
                <a:ext cx="1725930" cy="1979888"/>
                <a:chOff x="5429812" y="2990076"/>
                <a:chExt cx="1786949" cy="2049886"/>
              </a:xfrm>
              <a:grpFill/>
            </p:grpSpPr>
            <p:grpSp>
              <p:nvGrpSpPr>
                <p:cNvPr id="295" name="Group 270"/>
                <p:cNvGrpSpPr/>
                <p:nvPr/>
              </p:nvGrpSpPr>
              <p:grpSpPr>
                <a:xfrm>
                  <a:off x="5429812" y="2990076"/>
                  <a:ext cx="1786949" cy="2049886"/>
                  <a:chOff x="5429812" y="2990076"/>
                  <a:chExt cx="1786949" cy="2049886"/>
                </a:xfrm>
                <a:grpFill/>
              </p:grpSpPr>
              <p:sp>
                <p:nvSpPr>
                  <p:cNvPr id="297" name="Freeform 272"/>
                  <p:cNvSpPr/>
                  <p:nvPr/>
                </p:nvSpPr>
                <p:spPr>
                  <a:xfrm rot="11700000">
                    <a:off x="5429812" y="4895509"/>
                    <a:ext cx="125360" cy="144453"/>
                  </a:xfrm>
                  <a:custGeom>
                    <a:avLst/>
                    <a:gdLst>
                      <a:gd name="connsiteX0" fmla="*/ 175260 w 541020"/>
                      <a:gd name="connsiteY0" fmla="*/ 45720 h 281940"/>
                      <a:gd name="connsiteX1" fmla="*/ 0 w 541020"/>
                      <a:gd name="connsiteY1" fmla="*/ 121920 h 281940"/>
                      <a:gd name="connsiteX2" fmla="*/ 7620 w 541020"/>
                      <a:gd name="connsiteY2" fmla="*/ 251460 h 281940"/>
                      <a:gd name="connsiteX3" fmla="*/ 160020 w 541020"/>
                      <a:gd name="connsiteY3" fmla="*/ 281940 h 281940"/>
                      <a:gd name="connsiteX4" fmla="*/ 327660 w 541020"/>
                      <a:gd name="connsiteY4" fmla="*/ 236220 h 281940"/>
                      <a:gd name="connsiteX5" fmla="*/ 495300 w 541020"/>
                      <a:gd name="connsiteY5" fmla="*/ 114300 h 281940"/>
                      <a:gd name="connsiteX6" fmla="*/ 541020 w 541020"/>
                      <a:gd name="connsiteY6" fmla="*/ 30480 h 281940"/>
                      <a:gd name="connsiteX7" fmla="*/ 518160 w 541020"/>
                      <a:gd name="connsiteY7" fmla="*/ 0 h 281940"/>
                      <a:gd name="connsiteX8" fmla="*/ 449580 w 541020"/>
                      <a:gd name="connsiteY8" fmla="*/ 0 h 281940"/>
                      <a:gd name="connsiteX9" fmla="*/ 175260 w 541020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64165"/>
                      <a:gd name="connsiteY0" fmla="*/ 50529 h 287263"/>
                      <a:gd name="connsiteX1" fmla="*/ 17128 w 564165"/>
                      <a:gd name="connsiteY1" fmla="*/ 126729 h 287263"/>
                      <a:gd name="connsiteX2" fmla="*/ 24748 w 564165"/>
                      <a:gd name="connsiteY2" fmla="*/ 256269 h 287263"/>
                      <a:gd name="connsiteX3" fmla="*/ 177148 w 564165"/>
                      <a:gd name="connsiteY3" fmla="*/ 286749 h 287263"/>
                      <a:gd name="connsiteX4" fmla="*/ 344788 w 564165"/>
                      <a:gd name="connsiteY4" fmla="*/ 241029 h 287263"/>
                      <a:gd name="connsiteX5" fmla="*/ 545402 w 564165"/>
                      <a:gd name="connsiteY5" fmla="*/ 181894 h 287263"/>
                      <a:gd name="connsiteX6" fmla="*/ 558148 w 564165"/>
                      <a:gd name="connsiteY6" fmla="*/ 35289 h 287263"/>
                      <a:gd name="connsiteX7" fmla="*/ 535288 w 564165"/>
                      <a:gd name="connsiteY7" fmla="*/ 4809 h 287263"/>
                      <a:gd name="connsiteX8" fmla="*/ 466708 w 564165"/>
                      <a:gd name="connsiteY8" fmla="*/ 4809 h 287263"/>
                      <a:gd name="connsiteX9" fmla="*/ 192388 w 564165"/>
                      <a:gd name="connsiteY9" fmla="*/ 50529 h 287263"/>
                      <a:gd name="connsiteX0" fmla="*/ 192388 w 564165"/>
                      <a:gd name="connsiteY0" fmla="*/ 50529 h 310225"/>
                      <a:gd name="connsiteX1" fmla="*/ 17128 w 564165"/>
                      <a:gd name="connsiteY1" fmla="*/ 126729 h 310225"/>
                      <a:gd name="connsiteX2" fmla="*/ 24748 w 564165"/>
                      <a:gd name="connsiteY2" fmla="*/ 256269 h 310225"/>
                      <a:gd name="connsiteX3" fmla="*/ 177148 w 564165"/>
                      <a:gd name="connsiteY3" fmla="*/ 286749 h 310225"/>
                      <a:gd name="connsiteX4" fmla="*/ 338214 w 564165"/>
                      <a:gd name="connsiteY4" fmla="*/ 301010 h 310225"/>
                      <a:gd name="connsiteX5" fmla="*/ 545402 w 564165"/>
                      <a:gd name="connsiteY5" fmla="*/ 181894 h 310225"/>
                      <a:gd name="connsiteX6" fmla="*/ 558148 w 564165"/>
                      <a:gd name="connsiteY6" fmla="*/ 35289 h 310225"/>
                      <a:gd name="connsiteX7" fmla="*/ 535288 w 564165"/>
                      <a:gd name="connsiteY7" fmla="*/ 4809 h 310225"/>
                      <a:gd name="connsiteX8" fmla="*/ 466708 w 564165"/>
                      <a:gd name="connsiteY8" fmla="*/ 4809 h 310225"/>
                      <a:gd name="connsiteX9" fmla="*/ 192388 w 564165"/>
                      <a:gd name="connsiteY9" fmla="*/ 50529 h 310225"/>
                      <a:gd name="connsiteX0" fmla="*/ 192388 w 564165"/>
                      <a:gd name="connsiteY0" fmla="*/ 50529 h 353427"/>
                      <a:gd name="connsiteX1" fmla="*/ 17128 w 564165"/>
                      <a:gd name="connsiteY1" fmla="*/ 126729 h 353427"/>
                      <a:gd name="connsiteX2" fmla="*/ 24748 w 564165"/>
                      <a:gd name="connsiteY2" fmla="*/ 256269 h 353427"/>
                      <a:gd name="connsiteX3" fmla="*/ 193096 w 564165"/>
                      <a:gd name="connsiteY3" fmla="*/ 353363 h 353427"/>
                      <a:gd name="connsiteX4" fmla="*/ 338214 w 564165"/>
                      <a:gd name="connsiteY4" fmla="*/ 301010 h 353427"/>
                      <a:gd name="connsiteX5" fmla="*/ 545402 w 564165"/>
                      <a:gd name="connsiteY5" fmla="*/ 181894 h 353427"/>
                      <a:gd name="connsiteX6" fmla="*/ 558148 w 564165"/>
                      <a:gd name="connsiteY6" fmla="*/ 35289 h 353427"/>
                      <a:gd name="connsiteX7" fmla="*/ 535288 w 564165"/>
                      <a:gd name="connsiteY7" fmla="*/ 4809 h 353427"/>
                      <a:gd name="connsiteX8" fmla="*/ 466708 w 564165"/>
                      <a:gd name="connsiteY8" fmla="*/ 4809 h 353427"/>
                      <a:gd name="connsiteX9" fmla="*/ 192388 w 564165"/>
                      <a:gd name="connsiteY9" fmla="*/ 50529 h 353427"/>
                      <a:gd name="connsiteX0" fmla="*/ 183456 w 555233"/>
                      <a:gd name="connsiteY0" fmla="*/ 50529 h 359674"/>
                      <a:gd name="connsiteX1" fmla="*/ 8196 w 555233"/>
                      <a:gd name="connsiteY1" fmla="*/ 126729 h 359674"/>
                      <a:gd name="connsiteX2" fmla="*/ 57235 w 555233"/>
                      <a:gd name="connsiteY2" fmla="*/ 343912 h 359674"/>
                      <a:gd name="connsiteX3" fmla="*/ 184164 w 555233"/>
                      <a:gd name="connsiteY3" fmla="*/ 353363 h 359674"/>
                      <a:gd name="connsiteX4" fmla="*/ 329282 w 555233"/>
                      <a:gd name="connsiteY4" fmla="*/ 301010 h 359674"/>
                      <a:gd name="connsiteX5" fmla="*/ 536470 w 555233"/>
                      <a:gd name="connsiteY5" fmla="*/ 181894 h 359674"/>
                      <a:gd name="connsiteX6" fmla="*/ 549216 w 555233"/>
                      <a:gd name="connsiteY6" fmla="*/ 35289 h 359674"/>
                      <a:gd name="connsiteX7" fmla="*/ 526356 w 555233"/>
                      <a:gd name="connsiteY7" fmla="*/ 4809 h 359674"/>
                      <a:gd name="connsiteX8" fmla="*/ 457776 w 555233"/>
                      <a:gd name="connsiteY8" fmla="*/ 4809 h 359674"/>
                      <a:gd name="connsiteX9" fmla="*/ 183456 w 555233"/>
                      <a:gd name="connsiteY9" fmla="*/ 50529 h 359674"/>
                      <a:gd name="connsiteX0" fmla="*/ 141822 w 513599"/>
                      <a:gd name="connsiteY0" fmla="*/ 50529 h 359674"/>
                      <a:gd name="connsiteX1" fmla="*/ 26880 w 513599"/>
                      <a:gd name="connsiteY1" fmla="*/ 162601 h 359674"/>
                      <a:gd name="connsiteX2" fmla="*/ 15601 w 513599"/>
                      <a:gd name="connsiteY2" fmla="*/ 343912 h 359674"/>
                      <a:gd name="connsiteX3" fmla="*/ 142530 w 513599"/>
                      <a:gd name="connsiteY3" fmla="*/ 353363 h 359674"/>
                      <a:gd name="connsiteX4" fmla="*/ 287648 w 513599"/>
                      <a:gd name="connsiteY4" fmla="*/ 301010 h 359674"/>
                      <a:gd name="connsiteX5" fmla="*/ 494836 w 513599"/>
                      <a:gd name="connsiteY5" fmla="*/ 181894 h 359674"/>
                      <a:gd name="connsiteX6" fmla="*/ 507582 w 513599"/>
                      <a:gd name="connsiteY6" fmla="*/ 35289 h 359674"/>
                      <a:gd name="connsiteX7" fmla="*/ 484722 w 513599"/>
                      <a:gd name="connsiteY7" fmla="*/ 4809 h 359674"/>
                      <a:gd name="connsiteX8" fmla="*/ 416142 w 513599"/>
                      <a:gd name="connsiteY8" fmla="*/ 4809 h 359674"/>
                      <a:gd name="connsiteX9" fmla="*/ 141822 w 513599"/>
                      <a:gd name="connsiteY9" fmla="*/ 50529 h 359674"/>
                      <a:gd name="connsiteX0" fmla="*/ 141822 w 530249"/>
                      <a:gd name="connsiteY0" fmla="*/ 50529 h 359674"/>
                      <a:gd name="connsiteX1" fmla="*/ 26880 w 530249"/>
                      <a:gd name="connsiteY1" fmla="*/ 162601 h 359674"/>
                      <a:gd name="connsiteX2" fmla="*/ 15601 w 530249"/>
                      <a:gd name="connsiteY2" fmla="*/ 343912 h 359674"/>
                      <a:gd name="connsiteX3" fmla="*/ 142530 w 530249"/>
                      <a:gd name="connsiteY3" fmla="*/ 353363 h 359674"/>
                      <a:gd name="connsiteX4" fmla="*/ 287648 w 530249"/>
                      <a:gd name="connsiteY4" fmla="*/ 301010 h 359674"/>
                      <a:gd name="connsiteX5" fmla="*/ 517239 w 530249"/>
                      <a:gd name="connsiteY5" fmla="*/ 238247 h 359674"/>
                      <a:gd name="connsiteX6" fmla="*/ 507582 w 530249"/>
                      <a:gd name="connsiteY6" fmla="*/ 35289 h 359674"/>
                      <a:gd name="connsiteX7" fmla="*/ 484722 w 530249"/>
                      <a:gd name="connsiteY7" fmla="*/ 4809 h 359674"/>
                      <a:gd name="connsiteX8" fmla="*/ 416142 w 530249"/>
                      <a:gd name="connsiteY8" fmla="*/ 4809 h 359674"/>
                      <a:gd name="connsiteX9" fmla="*/ 141822 w 530249"/>
                      <a:gd name="connsiteY9" fmla="*/ 50529 h 35967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47613 h 369288"/>
                      <a:gd name="connsiteX1" fmla="*/ 26880 w 530248"/>
                      <a:gd name="connsiteY1" fmla="*/ 159685 h 369288"/>
                      <a:gd name="connsiteX2" fmla="*/ 15601 w 530248"/>
                      <a:gd name="connsiteY2" fmla="*/ 340996 h 369288"/>
                      <a:gd name="connsiteX3" fmla="*/ 142530 w 530248"/>
                      <a:gd name="connsiteY3" fmla="*/ 350447 h 369288"/>
                      <a:gd name="connsiteX4" fmla="*/ 292200 w 530248"/>
                      <a:gd name="connsiteY4" fmla="*/ 359200 h 369288"/>
                      <a:gd name="connsiteX5" fmla="*/ 517239 w 530248"/>
                      <a:gd name="connsiteY5" fmla="*/ 235331 h 369288"/>
                      <a:gd name="connsiteX6" fmla="*/ 507582 w 530248"/>
                      <a:gd name="connsiteY6" fmla="*/ 32373 h 369288"/>
                      <a:gd name="connsiteX7" fmla="*/ 416142 w 530248"/>
                      <a:gd name="connsiteY7" fmla="*/ 1893 h 369288"/>
                      <a:gd name="connsiteX8" fmla="*/ 141822 w 530248"/>
                      <a:gd name="connsiteY8" fmla="*/ 47613 h 369288"/>
                      <a:gd name="connsiteX0" fmla="*/ 138197 w 526623"/>
                      <a:gd name="connsiteY0" fmla="*/ 47613 h 376324"/>
                      <a:gd name="connsiteX1" fmla="*/ 23255 w 526623"/>
                      <a:gd name="connsiteY1" fmla="*/ 159685 h 376324"/>
                      <a:gd name="connsiteX2" fmla="*/ 11976 w 526623"/>
                      <a:gd name="connsiteY2" fmla="*/ 340996 h 376324"/>
                      <a:gd name="connsiteX3" fmla="*/ 132119 w 526623"/>
                      <a:gd name="connsiteY3" fmla="*/ 374396 h 376324"/>
                      <a:gd name="connsiteX4" fmla="*/ 288575 w 526623"/>
                      <a:gd name="connsiteY4" fmla="*/ 359200 h 376324"/>
                      <a:gd name="connsiteX5" fmla="*/ 513614 w 526623"/>
                      <a:gd name="connsiteY5" fmla="*/ 235331 h 376324"/>
                      <a:gd name="connsiteX6" fmla="*/ 503957 w 526623"/>
                      <a:gd name="connsiteY6" fmla="*/ 32373 h 376324"/>
                      <a:gd name="connsiteX7" fmla="*/ 412517 w 526623"/>
                      <a:gd name="connsiteY7" fmla="*/ 1893 h 376324"/>
                      <a:gd name="connsiteX8" fmla="*/ 138197 w 526623"/>
                      <a:gd name="connsiteY8" fmla="*/ 47613 h 376324"/>
                      <a:gd name="connsiteX0" fmla="*/ 427441 w 541547"/>
                      <a:gd name="connsiteY0" fmla="*/ 10181 h 384611"/>
                      <a:gd name="connsiteX1" fmla="*/ 38179 w 541547"/>
                      <a:gd name="connsiteY1" fmla="*/ 167973 h 384611"/>
                      <a:gd name="connsiteX2" fmla="*/ 26900 w 541547"/>
                      <a:gd name="connsiteY2" fmla="*/ 349284 h 384611"/>
                      <a:gd name="connsiteX3" fmla="*/ 147043 w 541547"/>
                      <a:gd name="connsiteY3" fmla="*/ 382684 h 384611"/>
                      <a:gd name="connsiteX4" fmla="*/ 303499 w 541547"/>
                      <a:gd name="connsiteY4" fmla="*/ 367488 h 384611"/>
                      <a:gd name="connsiteX5" fmla="*/ 528538 w 541547"/>
                      <a:gd name="connsiteY5" fmla="*/ 243619 h 384611"/>
                      <a:gd name="connsiteX6" fmla="*/ 518881 w 541547"/>
                      <a:gd name="connsiteY6" fmla="*/ 40661 h 384611"/>
                      <a:gd name="connsiteX7" fmla="*/ 427441 w 541547"/>
                      <a:gd name="connsiteY7" fmla="*/ 10181 h 384611"/>
                      <a:gd name="connsiteX0" fmla="*/ 400497 w 514603"/>
                      <a:gd name="connsiteY0" fmla="*/ 10183 h 384613"/>
                      <a:gd name="connsiteX1" fmla="*/ 11235 w 514603"/>
                      <a:gd name="connsiteY1" fmla="*/ 167975 h 384613"/>
                      <a:gd name="connsiteX2" fmla="*/ 120099 w 514603"/>
                      <a:gd name="connsiteY2" fmla="*/ 382686 h 384613"/>
                      <a:gd name="connsiteX3" fmla="*/ 276555 w 514603"/>
                      <a:gd name="connsiteY3" fmla="*/ 367490 h 384613"/>
                      <a:gd name="connsiteX4" fmla="*/ 501594 w 514603"/>
                      <a:gd name="connsiteY4" fmla="*/ 243621 h 384613"/>
                      <a:gd name="connsiteX5" fmla="*/ 491937 w 514603"/>
                      <a:gd name="connsiteY5" fmla="*/ 40663 h 384613"/>
                      <a:gd name="connsiteX6" fmla="*/ 400497 w 514603"/>
                      <a:gd name="connsiteY6" fmla="*/ 10183 h 384613"/>
                      <a:gd name="connsiteX0" fmla="*/ 400497 w 514603"/>
                      <a:gd name="connsiteY0" fmla="*/ 10183 h 383828"/>
                      <a:gd name="connsiteX1" fmla="*/ 11235 w 514603"/>
                      <a:gd name="connsiteY1" fmla="*/ 167975 h 383828"/>
                      <a:gd name="connsiteX2" fmla="*/ 120099 w 514603"/>
                      <a:gd name="connsiteY2" fmla="*/ 382686 h 383828"/>
                      <a:gd name="connsiteX3" fmla="*/ 501594 w 514603"/>
                      <a:gd name="connsiteY3" fmla="*/ 243621 h 383828"/>
                      <a:gd name="connsiteX4" fmla="*/ 491937 w 514603"/>
                      <a:gd name="connsiteY4" fmla="*/ 40663 h 383828"/>
                      <a:gd name="connsiteX5" fmla="*/ 400497 w 514603"/>
                      <a:gd name="connsiteY5" fmla="*/ 10183 h 383828"/>
                      <a:gd name="connsiteX0" fmla="*/ 400497 w 517116"/>
                      <a:gd name="connsiteY0" fmla="*/ 1010 h 374655"/>
                      <a:gd name="connsiteX1" fmla="*/ 11235 w 517116"/>
                      <a:gd name="connsiteY1" fmla="*/ 158802 h 374655"/>
                      <a:gd name="connsiteX2" fmla="*/ 120099 w 517116"/>
                      <a:gd name="connsiteY2" fmla="*/ 373513 h 374655"/>
                      <a:gd name="connsiteX3" fmla="*/ 501594 w 517116"/>
                      <a:gd name="connsiteY3" fmla="*/ 234448 h 374655"/>
                      <a:gd name="connsiteX4" fmla="*/ 400497 w 517116"/>
                      <a:gd name="connsiteY4" fmla="*/ 1010 h 374655"/>
                      <a:gd name="connsiteX0" fmla="*/ 399682 w 516301"/>
                      <a:gd name="connsiteY0" fmla="*/ 1010 h 421254"/>
                      <a:gd name="connsiteX1" fmla="*/ 10420 w 516301"/>
                      <a:gd name="connsiteY1" fmla="*/ 158802 h 421254"/>
                      <a:gd name="connsiteX2" fmla="*/ 119284 w 516301"/>
                      <a:gd name="connsiteY2" fmla="*/ 373513 h 421254"/>
                      <a:gd name="connsiteX3" fmla="*/ 223300 w 516301"/>
                      <a:gd name="connsiteY3" fmla="*/ 412622 h 421254"/>
                      <a:gd name="connsiteX4" fmla="*/ 500779 w 516301"/>
                      <a:gd name="connsiteY4" fmla="*/ 234448 h 421254"/>
                      <a:gd name="connsiteX5" fmla="*/ 399682 w 516301"/>
                      <a:gd name="connsiteY5" fmla="*/ 1010 h 421254"/>
                      <a:gd name="connsiteX0" fmla="*/ 400635 w 517254"/>
                      <a:gd name="connsiteY0" fmla="*/ 1205 h 500568"/>
                      <a:gd name="connsiteX1" fmla="*/ 11373 w 517254"/>
                      <a:gd name="connsiteY1" fmla="*/ 158997 h 500568"/>
                      <a:gd name="connsiteX2" fmla="*/ 112660 w 517254"/>
                      <a:gd name="connsiteY2" fmla="*/ 492609 h 500568"/>
                      <a:gd name="connsiteX3" fmla="*/ 224253 w 517254"/>
                      <a:gd name="connsiteY3" fmla="*/ 412817 h 500568"/>
                      <a:gd name="connsiteX4" fmla="*/ 501732 w 517254"/>
                      <a:gd name="connsiteY4" fmla="*/ 234643 h 500568"/>
                      <a:gd name="connsiteX5" fmla="*/ 400635 w 517254"/>
                      <a:gd name="connsiteY5" fmla="*/ 1205 h 500568"/>
                      <a:gd name="connsiteX0" fmla="*/ 400635 w 517254"/>
                      <a:gd name="connsiteY0" fmla="*/ 1205 h 500507"/>
                      <a:gd name="connsiteX1" fmla="*/ 11373 w 517254"/>
                      <a:gd name="connsiteY1" fmla="*/ 158997 h 500507"/>
                      <a:gd name="connsiteX2" fmla="*/ 112660 w 517254"/>
                      <a:gd name="connsiteY2" fmla="*/ 492609 h 500507"/>
                      <a:gd name="connsiteX3" fmla="*/ 224253 w 517254"/>
                      <a:gd name="connsiteY3" fmla="*/ 412817 h 500507"/>
                      <a:gd name="connsiteX4" fmla="*/ 317232 w 517254"/>
                      <a:gd name="connsiteY4" fmla="*/ 297923 h 500507"/>
                      <a:gd name="connsiteX5" fmla="*/ 501732 w 517254"/>
                      <a:gd name="connsiteY5" fmla="*/ 234643 h 500507"/>
                      <a:gd name="connsiteX6" fmla="*/ 400635 w 517254"/>
                      <a:gd name="connsiteY6" fmla="*/ 1205 h 500507"/>
                      <a:gd name="connsiteX0" fmla="*/ 400635 w 504610"/>
                      <a:gd name="connsiteY0" fmla="*/ 170 h 499472"/>
                      <a:gd name="connsiteX1" fmla="*/ 11373 w 504610"/>
                      <a:gd name="connsiteY1" fmla="*/ 157962 h 499472"/>
                      <a:gd name="connsiteX2" fmla="*/ 112660 w 504610"/>
                      <a:gd name="connsiteY2" fmla="*/ 491574 h 499472"/>
                      <a:gd name="connsiteX3" fmla="*/ 224253 w 504610"/>
                      <a:gd name="connsiteY3" fmla="*/ 411782 h 499472"/>
                      <a:gd name="connsiteX4" fmla="*/ 317232 w 504610"/>
                      <a:gd name="connsiteY4" fmla="*/ 296888 h 499472"/>
                      <a:gd name="connsiteX5" fmla="*/ 501732 w 504610"/>
                      <a:gd name="connsiteY5" fmla="*/ 233608 h 499472"/>
                      <a:gd name="connsiteX6" fmla="*/ 306603 w 504610"/>
                      <a:gd name="connsiteY6" fmla="*/ 184221 h 499472"/>
                      <a:gd name="connsiteX7" fmla="*/ 400635 w 504610"/>
                      <a:gd name="connsiteY7" fmla="*/ 170 h 499472"/>
                      <a:gd name="connsiteX0" fmla="*/ 400635 w 504679"/>
                      <a:gd name="connsiteY0" fmla="*/ 170 h 499472"/>
                      <a:gd name="connsiteX1" fmla="*/ 11373 w 504679"/>
                      <a:gd name="connsiteY1" fmla="*/ 157962 h 499472"/>
                      <a:gd name="connsiteX2" fmla="*/ 112660 w 504679"/>
                      <a:gd name="connsiteY2" fmla="*/ 491574 h 499472"/>
                      <a:gd name="connsiteX3" fmla="*/ 224253 w 504679"/>
                      <a:gd name="connsiteY3" fmla="*/ 411782 h 499472"/>
                      <a:gd name="connsiteX4" fmla="*/ 317232 w 504679"/>
                      <a:gd name="connsiteY4" fmla="*/ 296888 h 499472"/>
                      <a:gd name="connsiteX5" fmla="*/ 311162 w 504679"/>
                      <a:gd name="connsiteY5" fmla="*/ 298968 h 499472"/>
                      <a:gd name="connsiteX6" fmla="*/ 501732 w 504679"/>
                      <a:gd name="connsiteY6" fmla="*/ 233608 h 499472"/>
                      <a:gd name="connsiteX7" fmla="*/ 306603 w 504679"/>
                      <a:gd name="connsiteY7" fmla="*/ 184221 h 499472"/>
                      <a:gd name="connsiteX8" fmla="*/ 400635 w 504679"/>
                      <a:gd name="connsiteY8" fmla="*/ 170 h 499472"/>
                      <a:gd name="connsiteX0" fmla="*/ 400635 w 411811"/>
                      <a:gd name="connsiteY0" fmla="*/ 170 h 499472"/>
                      <a:gd name="connsiteX1" fmla="*/ 11373 w 411811"/>
                      <a:gd name="connsiteY1" fmla="*/ 157962 h 499472"/>
                      <a:gd name="connsiteX2" fmla="*/ 112660 w 411811"/>
                      <a:gd name="connsiteY2" fmla="*/ 491574 h 499472"/>
                      <a:gd name="connsiteX3" fmla="*/ 224253 w 411811"/>
                      <a:gd name="connsiteY3" fmla="*/ 411782 h 499472"/>
                      <a:gd name="connsiteX4" fmla="*/ 317232 w 411811"/>
                      <a:gd name="connsiteY4" fmla="*/ 296888 h 499472"/>
                      <a:gd name="connsiteX5" fmla="*/ 311162 w 411811"/>
                      <a:gd name="connsiteY5" fmla="*/ 298968 h 499472"/>
                      <a:gd name="connsiteX6" fmla="*/ 306603 w 411811"/>
                      <a:gd name="connsiteY6" fmla="*/ 184221 h 499472"/>
                      <a:gd name="connsiteX7" fmla="*/ 400635 w 411811"/>
                      <a:gd name="connsiteY7" fmla="*/ 170 h 499472"/>
                      <a:gd name="connsiteX0" fmla="*/ 344675 w 361138"/>
                      <a:gd name="connsiteY0" fmla="*/ 231 h 473092"/>
                      <a:gd name="connsiteX1" fmla="*/ 8407 w 361138"/>
                      <a:gd name="connsiteY1" fmla="*/ 131582 h 473092"/>
                      <a:gd name="connsiteX2" fmla="*/ 109694 w 361138"/>
                      <a:gd name="connsiteY2" fmla="*/ 465194 h 473092"/>
                      <a:gd name="connsiteX3" fmla="*/ 221287 w 361138"/>
                      <a:gd name="connsiteY3" fmla="*/ 385402 h 473092"/>
                      <a:gd name="connsiteX4" fmla="*/ 314266 w 361138"/>
                      <a:gd name="connsiteY4" fmla="*/ 270508 h 473092"/>
                      <a:gd name="connsiteX5" fmla="*/ 308196 w 361138"/>
                      <a:gd name="connsiteY5" fmla="*/ 272588 h 473092"/>
                      <a:gd name="connsiteX6" fmla="*/ 303637 w 361138"/>
                      <a:gd name="connsiteY6" fmla="*/ 157841 h 473092"/>
                      <a:gd name="connsiteX7" fmla="*/ 344675 w 361138"/>
                      <a:gd name="connsiteY7" fmla="*/ 231 h 473092"/>
                      <a:gd name="connsiteX0" fmla="*/ 338258 w 341911"/>
                      <a:gd name="connsiteY0" fmla="*/ 2 h 472863"/>
                      <a:gd name="connsiteX1" fmla="*/ 199680 w 341911"/>
                      <a:gd name="connsiteY1" fmla="*/ 157767 h 472863"/>
                      <a:gd name="connsiteX2" fmla="*/ 1990 w 341911"/>
                      <a:gd name="connsiteY2" fmla="*/ 131353 h 472863"/>
                      <a:gd name="connsiteX3" fmla="*/ 103277 w 341911"/>
                      <a:gd name="connsiteY3" fmla="*/ 464965 h 472863"/>
                      <a:gd name="connsiteX4" fmla="*/ 214870 w 341911"/>
                      <a:gd name="connsiteY4" fmla="*/ 385173 h 472863"/>
                      <a:gd name="connsiteX5" fmla="*/ 307849 w 341911"/>
                      <a:gd name="connsiteY5" fmla="*/ 270279 h 472863"/>
                      <a:gd name="connsiteX6" fmla="*/ 301779 w 341911"/>
                      <a:gd name="connsiteY6" fmla="*/ 272359 h 472863"/>
                      <a:gd name="connsiteX7" fmla="*/ 297220 w 341911"/>
                      <a:gd name="connsiteY7" fmla="*/ 157612 h 472863"/>
                      <a:gd name="connsiteX8" fmla="*/ 338258 w 341911"/>
                      <a:gd name="connsiteY8" fmla="*/ 2 h 472863"/>
                      <a:gd name="connsiteX0" fmla="*/ 338258 w 341911"/>
                      <a:gd name="connsiteY0" fmla="*/ 2 h 472863"/>
                      <a:gd name="connsiteX1" fmla="*/ 199680 w 341911"/>
                      <a:gd name="connsiteY1" fmla="*/ 157767 h 472863"/>
                      <a:gd name="connsiteX2" fmla="*/ 1990 w 341911"/>
                      <a:gd name="connsiteY2" fmla="*/ 131353 h 472863"/>
                      <a:gd name="connsiteX3" fmla="*/ 103277 w 341911"/>
                      <a:gd name="connsiteY3" fmla="*/ 464965 h 472863"/>
                      <a:gd name="connsiteX4" fmla="*/ 214870 w 341911"/>
                      <a:gd name="connsiteY4" fmla="*/ 385173 h 472863"/>
                      <a:gd name="connsiteX5" fmla="*/ 307849 w 341911"/>
                      <a:gd name="connsiteY5" fmla="*/ 270279 h 472863"/>
                      <a:gd name="connsiteX6" fmla="*/ 301779 w 341911"/>
                      <a:gd name="connsiteY6" fmla="*/ 272359 h 472863"/>
                      <a:gd name="connsiteX7" fmla="*/ 297220 w 341911"/>
                      <a:gd name="connsiteY7" fmla="*/ 157612 h 472863"/>
                      <a:gd name="connsiteX8" fmla="*/ 338258 w 341911"/>
                      <a:gd name="connsiteY8" fmla="*/ 2 h 472863"/>
                      <a:gd name="connsiteX0" fmla="*/ 309825 w 313478"/>
                      <a:gd name="connsiteY0" fmla="*/ 2 h 472863"/>
                      <a:gd name="connsiteX1" fmla="*/ 171247 w 313478"/>
                      <a:gd name="connsiteY1" fmla="*/ 157767 h 472863"/>
                      <a:gd name="connsiteX2" fmla="*/ 2828 w 313478"/>
                      <a:gd name="connsiteY2" fmla="*/ 270869 h 472863"/>
                      <a:gd name="connsiteX3" fmla="*/ 74844 w 313478"/>
                      <a:gd name="connsiteY3" fmla="*/ 464965 h 472863"/>
                      <a:gd name="connsiteX4" fmla="*/ 186437 w 313478"/>
                      <a:gd name="connsiteY4" fmla="*/ 385173 h 472863"/>
                      <a:gd name="connsiteX5" fmla="*/ 279416 w 313478"/>
                      <a:gd name="connsiteY5" fmla="*/ 270279 h 472863"/>
                      <a:gd name="connsiteX6" fmla="*/ 273346 w 313478"/>
                      <a:gd name="connsiteY6" fmla="*/ 272359 h 472863"/>
                      <a:gd name="connsiteX7" fmla="*/ 268787 w 313478"/>
                      <a:gd name="connsiteY7" fmla="*/ 157612 h 472863"/>
                      <a:gd name="connsiteX8" fmla="*/ 309825 w 313478"/>
                      <a:gd name="connsiteY8" fmla="*/ 2 h 472863"/>
                      <a:gd name="connsiteX0" fmla="*/ 268787 w 297124"/>
                      <a:gd name="connsiteY0" fmla="*/ 14163 h 329414"/>
                      <a:gd name="connsiteX1" fmla="*/ 171247 w 297124"/>
                      <a:gd name="connsiteY1" fmla="*/ 14318 h 329414"/>
                      <a:gd name="connsiteX2" fmla="*/ 2828 w 297124"/>
                      <a:gd name="connsiteY2" fmla="*/ 127420 h 329414"/>
                      <a:gd name="connsiteX3" fmla="*/ 74844 w 297124"/>
                      <a:gd name="connsiteY3" fmla="*/ 321516 h 329414"/>
                      <a:gd name="connsiteX4" fmla="*/ 186437 w 297124"/>
                      <a:gd name="connsiteY4" fmla="*/ 241724 h 329414"/>
                      <a:gd name="connsiteX5" fmla="*/ 279416 w 297124"/>
                      <a:gd name="connsiteY5" fmla="*/ 126830 h 329414"/>
                      <a:gd name="connsiteX6" fmla="*/ 273346 w 297124"/>
                      <a:gd name="connsiteY6" fmla="*/ 128910 h 329414"/>
                      <a:gd name="connsiteX7" fmla="*/ 268787 w 297124"/>
                      <a:gd name="connsiteY7" fmla="*/ 14163 h 329414"/>
                      <a:gd name="connsiteX0" fmla="*/ 194771 w 297124"/>
                      <a:gd name="connsiteY0" fmla="*/ 54292 h 319287"/>
                      <a:gd name="connsiteX1" fmla="*/ 171247 w 297124"/>
                      <a:gd name="connsiteY1" fmla="*/ 4191 h 319287"/>
                      <a:gd name="connsiteX2" fmla="*/ 2828 w 297124"/>
                      <a:gd name="connsiteY2" fmla="*/ 117293 h 319287"/>
                      <a:gd name="connsiteX3" fmla="*/ 74844 w 297124"/>
                      <a:gd name="connsiteY3" fmla="*/ 311389 h 319287"/>
                      <a:gd name="connsiteX4" fmla="*/ 186437 w 297124"/>
                      <a:gd name="connsiteY4" fmla="*/ 231597 h 319287"/>
                      <a:gd name="connsiteX5" fmla="*/ 279416 w 297124"/>
                      <a:gd name="connsiteY5" fmla="*/ 116703 h 319287"/>
                      <a:gd name="connsiteX6" fmla="*/ 273346 w 297124"/>
                      <a:gd name="connsiteY6" fmla="*/ 118783 h 319287"/>
                      <a:gd name="connsiteX7" fmla="*/ 194771 w 297124"/>
                      <a:gd name="connsiteY7" fmla="*/ 54292 h 319287"/>
                      <a:gd name="connsiteX0" fmla="*/ 176997 w 297124"/>
                      <a:gd name="connsiteY0" fmla="*/ 92018 h 317703"/>
                      <a:gd name="connsiteX1" fmla="*/ 171247 w 297124"/>
                      <a:gd name="connsiteY1" fmla="*/ 2607 h 317703"/>
                      <a:gd name="connsiteX2" fmla="*/ 2828 w 297124"/>
                      <a:gd name="connsiteY2" fmla="*/ 115709 h 317703"/>
                      <a:gd name="connsiteX3" fmla="*/ 74844 w 297124"/>
                      <a:gd name="connsiteY3" fmla="*/ 309805 h 317703"/>
                      <a:gd name="connsiteX4" fmla="*/ 186437 w 297124"/>
                      <a:gd name="connsiteY4" fmla="*/ 230013 h 317703"/>
                      <a:gd name="connsiteX5" fmla="*/ 279416 w 297124"/>
                      <a:gd name="connsiteY5" fmla="*/ 115119 h 317703"/>
                      <a:gd name="connsiteX6" fmla="*/ 273346 w 297124"/>
                      <a:gd name="connsiteY6" fmla="*/ 117199 h 317703"/>
                      <a:gd name="connsiteX7" fmla="*/ 176997 w 297124"/>
                      <a:gd name="connsiteY7" fmla="*/ 92018 h 317703"/>
                      <a:gd name="connsiteX0" fmla="*/ 226739 w 297124"/>
                      <a:gd name="connsiteY0" fmla="*/ 51834 h 319465"/>
                      <a:gd name="connsiteX1" fmla="*/ 171247 w 297124"/>
                      <a:gd name="connsiteY1" fmla="*/ 4369 h 319465"/>
                      <a:gd name="connsiteX2" fmla="*/ 2828 w 297124"/>
                      <a:gd name="connsiteY2" fmla="*/ 117471 h 319465"/>
                      <a:gd name="connsiteX3" fmla="*/ 74844 w 297124"/>
                      <a:gd name="connsiteY3" fmla="*/ 311567 h 319465"/>
                      <a:gd name="connsiteX4" fmla="*/ 186437 w 297124"/>
                      <a:gd name="connsiteY4" fmla="*/ 231775 h 319465"/>
                      <a:gd name="connsiteX5" fmla="*/ 279416 w 297124"/>
                      <a:gd name="connsiteY5" fmla="*/ 116881 h 319465"/>
                      <a:gd name="connsiteX6" fmla="*/ 273346 w 297124"/>
                      <a:gd name="connsiteY6" fmla="*/ 118961 h 319465"/>
                      <a:gd name="connsiteX7" fmla="*/ 226739 w 297124"/>
                      <a:gd name="connsiteY7" fmla="*/ 51834 h 319465"/>
                      <a:gd name="connsiteX0" fmla="*/ 226739 w 289446"/>
                      <a:gd name="connsiteY0" fmla="*/ 51834 h 319465"/>
                      <a:gd name="connsiteX1" fmla="*/ 171247 w 289446"/>
                      <a:gd name="connsiteY1" fmla="*/ 4369 h 319465"/>
                      <a:gd name="connsiteX2" fmla="*/ 2828 w 289446"/>
                      <a:gd name="connsiteY2" fmla="*/ 117471 h 319465"/>
                      <a:gd name="connsiteX3" fmla="*/ 74844 w 289446"/>
                      <a:gd name="connsiteY3" fmla="*/ 311567 h 319465"/>
                      <a:gd name="connsiteX4" fmla="*/ 186437 w 289446"/>
                      <a:gd name="connsiteY4" fmla="*/ 231775 h 319465"/>
                      <a:gd name="connsiteX5" fmla="*/ 279416 w 289446"/>
                      <a:gd name="connsiteY5" fmla="*/ 116881 h 319465"/>
                      <a:gd name="connsiteX6" fmla="*/ 214719 w 289446"/>
                      <a:gd name="connsiteY6" fmla="*/ 180566 h 319465"/>
                      <a:gd name="connsiteX7" fmla="*/ 226739 w 289446"/>
                      <a:gd name="connsiteY7" fmla="*/ 51834 h 319465"/>
                      <a:gd name="connsiteX0" fmla="*/ 202461 w 289446"/>
                      <a:gd name="connsiteY0" fmla="*/ 59631 h 318953"/>
                      <a:gd name="connsiteX1" fmla="*/ 171247 w 289446"/>
                      <a:gd name="connsiteY1" fmla="*/ 3857 h 318953"/>
                      <a:gd name="connsiteX2" fmla="*/ 2828 w 289446"/>
                      <a:gd name="connsiteY2" fmla="*/ 116959 h 318953"/>
                      <a:gd name="connsiteX3" fmla="*/ 74844 w 289446"/>
                      <a:gd name="connsiteY3" fmla="*/ 311055 h 318953"/>
                      <a:gd name="connsiteX4" fmla="*/ 186437 w 289446"/>
                      <a:gd name="connsiteY4" fmla="*/ 231263 h 318953"/>
                      <a:gd name="connsiteX5" fmla="*/ 279416 w 289446"/>
                      <a:gd name="connsiteY5" fmla="*/ 116369 h 318953"/>
                      <a:gd name="connsiteX6" fmla="*/ 214719 w 289446"/>
                      <a:gd name="connsiteY6" fmla="*/ 180054 h 318953"/>
                      <a:gd name="connsiteX7" fmla="*/ 202461 w 289446"/>
                      <a:gd name="connsiteY7" fmla="*/ 59631 h 318953"/>
                      <a:gd name="connsiteX0" fmla="*/ 202461 w 216515"/>
                      <a:gd name="connsiteY0" fmla="*/ 59631 h 318929"/>
                      <a:gd name="connsiteX1" fmla="*/ 171247 w 216515"/>
                      <a:gd name="connsiteY1" fmla="*/ 3857 h 318929"/>
                      <a:gd name="connsiteX2" fmla="*/ 2828 w 216515"/>
                      <a:gd name="connsiteY2" fmla="*/ 116959 h 318929"/>
                      <a:gd name="connsiteX3" fmla="*/ 74844 w 216515"/>
                      <a:gd name="connsiteY3" fmla="*/ 311055 h 318929"/>
                      <a:gd name="connsiteX4" fmla="*/ 186437 w 216515"/>
                      <a:gd name="connsiteY4" fmla="*/ 231263 h 318929"/>
                      <a:gd name="connsiteX5" fmla="*/ 214719 w 216515"/>
                      <a:gd name="connsiteY5" fmla="*/ 180054 h 318929"/>
                      <a:gd name="connsiteX6" fmla="*/ 202461 w 216515"/>
                      <a:gd name="connsiteY6" fmla="*/ 59631 h 318929"/>
                      <a:gd name="connsiteX0" fmla="*/ 200078 w 214132"/>
                      <a:gd name="connsiteY0" fmla="*/ 113647 h 372945"/>
                      <a:gd name="connsiteX1" fmla="*/ 105135 w 214132"/>
                      <a:gd name="connsiteY1" fmla="*/ 2146 h 372945"/>
                      <a:gd name="connsiteX2" fmla="*/ 445 w 214132"/>
                      <a:gd name="connsiteY2" fmla="*/ 170975 h 372945"/>
                      <a:gd name="connsiteX3" fmla="*/ 72461 w 214132"/>
                      <a:gd name="connsiteY3" fmla="*/ 365071 h 372945"/>
                      <a:gd name="connsiteX4" fmla="*/ 184054 w 214132"/>
                      <a:gd name="connsiteY4" fmla="*/ 285279 h 372945"/>
                      <a:gd name="connsiteX5" fmla="*/ 212336 w 214132"/>
                      <a:gd name="connsiteY5" fmla="*/ 234070 h 372945"/>
                      <a:gd name="connsiteX6" fmla="*/ 200078 w 214132"/>
                      <a:gd name="connsiteY6" fmla="*/ 113647 h 372945"/>
                      <a:gd name="connsiteX0" fmla="*/ 171466 w 185520"/>
                      <a:gd name="connsiteY0" fmla="*/ 113647 h 372945"/>
                      <a:gd name="connsiteX1" fmla="*/ 76523 w 185520"/>
                      <a:gd name="connsiteY1" fmla="*/ 2146 h 372945"/>
                      <a:gd name="connsiteX2" fmla="*/ 1029 w 185520"/>
                      <a:gd name="connsiteY2" fmla="*/ 227444 h 372945"/>
                      <a:gd name="connsiteX3" fmla="*/ 43849 w 185520"/>
                      <a:gd name="connsiteY3" fmla="*/ 365071 h 372945"/>
                      <a:gd name="connsiteX4" fmla="*/ 155442 w 185520"/>
                      <a:gd name="connsiteY4" fmla="*/ 285279 h 372945"/>
                      <a:gd name="connsiteX5" fmla="*/ 183724 w 185520"/>
                      <a:gd name="connsiteY5" fmla="*/ 234070 h 372945"/>
                      <a:gd name="connsiteX6" fmla="*/ 171466 w 185520"/>
                      <a:gd name="connsiteY6" fmla="*/ 113647 h 372945"/>
                      <a:gd name="connsiteX0" fmla="*/ 171466 w 185520"/>
                      <a:gd name="connsiteY0" fmla="*/ 113647 h 396811"/>
                      <a:gd name="connsiteX1" fmla="*/ 76523 w 185520"/>
                      <a:gd name="connsiteY1" fmla="*/ 2146 h 396811"/>
                      <a:gd name="connsiteX2" fmla="*/ 1029 w 185520"/>
                      <a:gd name="connsiteY2" fmla="*/ 227444 h 396811"/>
                      <a:gd name="connsiteX3" fmla="*/ 43849 w 185520"/>
                      <a:gd name="connsiteY3" fmla="*/ 365071 h 396811"/>
                      <a:gd name="connsiteX4" fmla="*/ 158771 w 185520"/>
                      <a:gd name="connsiteY4" fmla="*/ 383831 h 396811"/>
                      <a:gd name="connsiteX5" fmla="*/ 183724 w 185520"/>
                      <a:gd name="connsiteY5" fmla="*/ 234070 h 396811"/>
                      <a:gd name="connsiteX6" fmla="*/ 171466 w 185520"/>
                      <a:gd name="connsiteY6" fmla="*/ 113647 h 396811"/>
                      <a:gd name="connsiteX0" fmla="*/ 170767 w 184821"/>
                      <a:gd name="connsiteY0" fmla="*/ 113647 h 387719"/>
                      <a:gd name="connsiteX1" fmla="*/ 75824 w 184821"/>
                      <a:gd name="connsiteY1" fmla="*/ 2146 h 387719"/>
                      <a:gd name="connsiteX2" fmla="*/ 330 w 184821"/>
                      <a:gd name="connsiteY2" fmla="*/ 227444 h 387719"/>
                      <a:gd name="connsiteX3" fmla="*/ 54416 w 184821"/>
                      <a:gd name="connsiteY3" fmla="*/ 294753 h 387719"/>
                      <a:gd name="connsiteX4" fmla="*/ 158072 w 184821"/>
                      <a:gd name="connsiteY4" fmla="*/ 383831 h 387719"/>
                      <a:gd name="connsiteX5" fmla="*/ 183025 w 184821"/>
                      <a:gd name="connsiteY5" fmla="*/ 234070 h 387719"/>
                      <a:gd name="connsiteX6" fmla="*/ 170767 w 184821"/>
                      <a:gd name="connsiteY6" fmla="*/ 113647 h 387719"/>
                      <a:gd name="connsiteX0" fmla="*/ 194313 w 208367"/>
                      <a:gd name="connsiteY0" fmla="*/ 113647 h 387719"/>
                      <a:gd name="connsiteX1" fmla="*/ 99370 w 208367"/>
                      <a:gd name="connsiteY1" fmla="*/ 2146 h 387719"/>
                      <a:gd name="connsiteX2" fmla="*/ 182 w 208367"/>
                      <a:gd name="connsiteY2" fmla="*/ 279863 h 387719"/>
                      <a:gd name="connsiteX3" fmla="*/ 77962 w 208367"/>
                      <a:gd name="connsiteY3" fmla="*/ 294753 h 387719"/>
                      <a:gd name="connsiteX4" fmla="*/ 181618 w 208367"/>
                      <a:gd name="connsiteY4" fmla="*/ 383831 h 387719"/>
                      <a:gd name="connsiteX5" fmla="*/ 206571 w 208367"/>
                      <a:gd name="connsiteY5" fmla="*/ 234070 h 387719"/>
                      <a:gd name="connsiteX6" fmla="*/ 194313 w 208367"/>
                      <a:gd name="connsiteY6" fmla="*/ 113647 h 387719"/>
                      <a:gd name="connsiteX0" fmla="*/ 207936 w 221990"/>
                      <a:gd name="connsiteY0" fmla="*/ 113647 h 400440"/>
                      <a:gd name="connsiteX1" fmla="*/ 112993 w 221990"/>
                      <a:gd name="connsiteY1" fmla="*/ 2146 h 400440"/>
                      <a:gd name="connsiteX2" fmla="*/ 13805 w 221990"/>
                      <a:gd name="connsiteY2" fmla="*/ 279863 h 400440"/>
                      <a:gd name="connsiteX3" fmla="*/ 21510 w 221990"/>
                      <a:gd name="connsiteY3" fmla="*/ 374120 h 400440"/>
                      <a:gd name="connsiteX4" fmla="*/ 195241 w 221990"/>
                      <a:gd name="connsiteY4" fmla="*/ 383831 h 400440"/>
                      <a:gd name="connsiteX5" fmla="*/ 220194 w 221990"/>
                      <a:gd name="connsiteY5" fmla="*/ 234070 h 400440"/>
                      <a:gd name="connsiteX6" fmla="*/ 207936 w 221990"/>
                      <a:gd name="connsiteY6" fmla="*/ 113647 h 400440"/>
                      <a:gd name="connsiteX0" fmla="*/ 207936 w 221990"/>
                      <a:gd name="connsiteY0" fmla="*/ 113647 h 384477"/>
                      <a:gd name="connsiteX1" fmla="*/ 112993 w 221990"/>
                      <a:gd name="connsiteY1" fmla="*/ 2146 h 384477"/>
                      <a:gd name="connsiteX2" fmla="*/ 13805 w 221990"/>
                      <a:gd name="connsiteY2" fmla="*/ 279863 h 384477"/>
                      <a:gd name="connsiteX3" fmla="*/ 21510 w 221990"/>
                      <a:gd name="connsiteY3" fmla="*/ 374120 h 384477"/>
                      <a:gd name="connsiteX4" fmla="*/ 113162 w 221990"/>
                      <a:gd name="connsiteY4" fmla="*/ 323303 h 384477"/>
                      <a:gd name="connsiteX5" fmla="*/ 220194 w 221990"/>
                      <a:gd name="connsiteY5" fmla="*/ 234070 h 384477"/>
                      <a:gd name="connsiteX6" fmla="*/ 207936 w 221990"/>
                      <a:gd name="connsiteY6" fmla="*/ 113647 h 384477"/>
                      <a:gd name="connsiteX0" fmla="*/ 207936 w 211307"/>
                      <a:gd name="connsiteY0" fmla="*/ 113647 h 384477"/>
                      <a:gd name="connsiteX1" fmla="*/ 112993 w 211307"/>
                      <a:gd name="connsiteY1" fmla="*/ 2146 h 384477"/>
                      <a:gd name="connsiteX2" fmla="*/ 13805 w 211307"/>
                      <a:gd name="connsiteY2" fmla="*/ 279863 h 384477"/>
                      <a:gd name="connsiteX3" fmla="*/ 21510 w 211307"/>
                      <a:gd name="connsiteY3" fmla="*/ 374120 h 384477"/>
                      <a:gd name="connsiteX4" fmla="*/ 113162 w 211307"/>
                      <a:gd name="connsiteY4" fmla="*/ 323303 h 384477"/>
                      <a:gd name="connsiteX5" fmla="*/ 169474 w 211307"/>
                      <a:gd name="connsiteY5" fmla="*/ 240351 h 384477"/>
                      <a:gd name="connsiteX6" fmla="*/ 207936 w 211307"/>
                      <a:gd name="connsiteY6" fmla="*/ 113647 h 384477"/>
                      <a:gd name="connsiteX0" fmla="*/ 173979 w 181017"/>
                      <a:gd name="connsiteY0" fmla="*/ 157929 h 383911"/>
                      <a:gd name="connsiteX1" fmla="*/ 112993 w 181017"/>
                      <a:gd name="connsiteY1" fmla="*/ 1580 h 383911"/>
                      <a:gd name="connsiteX2" fmla="*/ 13805 w 181017"/>
                      <a:gd name="connsiteY2" fmla="*/ 279297 h 383911"/>
                      <a:gd name="connsiteX3" fmla="*/ 21510 w 181017"/>
                      <a:gd name="connsiteY3" fmla="*/ 373554 h 383911"/>
                      <a:gd name="connsiteX4" fmla="*/ 113162 w 181017"/>
                      <a:gd name="connsiteY4" fmla="*/ 322737 h 383911"/>
                      <a:gd name="connsiteX5" fmla="*/ 169474 w 181017"/>
                      <a:gd name="connsiteY5" fmla="*/ 239785 h 383911"/>
                      <a:gd name="connsiteX6" fmla="*/ 173979 w 181017"/>
                      <a:gd name="connsiteY6" fmla="*/ 157929 h 383911"/>
                      <a:gd name="connsiteX0" fmla="*/ 173918 w 180956"/>
                      <a:gd name="connsiteY0" fmla="*/ 81382 h 307364"/>
                      <a:gd name="connsiteX1" fmla="*/ 111926 w 180956"/>
                      <a:gd name="connsiteY1" fmla="*/ 2917 h 307364"/>
                      <a:gd name="connsiteX2" fmla="*/ 13744 w 180956"/>
                      <a:gd name="connsiteY2" fmla="*/ 202750 h 307364"/>
                      <a:gd name="connsiteX3" fmla="*/ 21449 w 180956"/>
                      <a:gd name="connsiteY3" fmla="*/ 297007 h 307364"/>
                      <a:gd name="connsiteX4" fmla="*/ 113101 w 180956"/>
                      <a:gd name="connsiteY4" fmla="*/ 246190 h 307364"/>
                      <a:gd name="connsiteX5" fmla="*/ 169413 w 180956"/>
                      <a:gd name="connsiteY5" fmla="*/ 163238 h 307364"/>
                      <a:gd name="connsiteX6" fmla="*/ 173918 w 180956"/>
                      <a:gd name="connsiteY6" fmla="*/ 81382 h 307364"/>
                      <a:gd name="connsiteX0" fmla="*/ 163348 w 170386"/>
                      <a:gd name="connsiteY0" fmla="*/ 81382 h 251896"/>
                      <a:gd name="connsiteX1" fmla="*/ 101356 w 170386"/>
                      <a:gd name="connsiteY1" fmla="*/ 2917 h 251896"/>
                      <a:gd name="connsiteX2" fmla="*/ 3174 w 170386"/>
                      <a:gd name="connsiteY2" fmla="*/ 202750 h 251896"/>
                      <a:gd name="connsiteX3" fmla="*/ 39914 w 170386"/>
                      <a:gd name="connsiteY3" fmla="*/ 187378 h 251896"/>
                      <a:gd name="connsiteX4" fmla="*/ 102531 w 170386"/>
                      <a:gd name="connsiteY4" fmla="*/ 246190 h 251896"/>
                      <a:gd name="connsiteX5" fmla="*/ 158843 w 170386"/>
                      <a:gd name="connsiteY5" fmla="*/ 163238 h 251896"/>
                      <a:gd name="connsiteX6" fmla="*/ 163348 w 170386"/>
                      <a:gd name="connsiteY6" fmla="*/ 81382 h 251896"/>
                      <a:gd name="connsiteX0" fmla="*/ 161438 w 168476"/>
                      <a:gd name="connsiteY0" fmla="*/ 81382 h 251896"/>
                      <a:gd name="connsiteX1" fmla="*/ 99446 w 168476"/>
                      <a:gd name="connsiteY1" fmla="*/ 2917 h 251896"/>
                      <a:gd name="connsiteX2" fmla="*/ 1264 w 168476"/>
                      <a:gd name="connsiteY2" fmla="*/ 202750 h 251896"/>
                      <a:gd name="connsiteX3" fmla="*/ 38004 w 168476"/>
                      <a:gd name="connsiteY3" fmla="*/ 187378 h 251896"/>
                      <a:gd name="connsiteX4" fmla="*/ 100621 w 168476"/>
                      <a:gd name="connsiteY4" fmla="*/ 246190 h 251896"/>
                      <a:gd name="connsiteX5" fmla="*/ 156933 w 168476"/>
                      <a:gd name="connsiteY5" fmla="*/ 163238 h 251896"/>
                      <a:gd name="connsiteX6" fmla="*/ 161438 w 168476"/>
                      <a:gd name="connsiteY6" fmla="*/ 81382 h 251896"/>
                      <a:gd name="connsiteX0" fmla="*/ 123435 w 130473"/>
                      <a:gd name="connsiteY0" fmla="*/ 81079 h 251593"/>
                      <a:gd name="connsiteX1" fmla="*/ 61443 w 130473"/>
                      <a:gd name="connsiteY1" fmla="*/ 2614 h 251593"/>
                      <a:gd name="connsiteX2" fmla="*/ 1 w 130473"/>
                      <a:gd name="connsiteY2" fmla="*/ 187075 h 251593"/>
                      <a:gd name="connsiteX3" fmla="*/ 62618 w 130473"/>
                      <a:gd name="connsiteY3" fmla="*/ 245887 h 251593"/>
                      <a:gd name="connsiteX4" fmla="*/ 118930 w 130473"/>
                      <a:gd name="connsiteY4" fmla="*/ 162935 h 251593"/>
                      <a:gd name="connsiteX5" fmla="*/ 123435 w 130473"/>
                      <a:gd name="connsiteY5" fmla="*/ 81079 h 251593"/>
                      <a:gd name="connsiteX0" fmla="*/ 241058 w 248096"/>
                      <a:gd name="connsiteY0" fmla="*/ 81079 h 253692"/>
                      <a:gd name="connsiteX1" fmla="*/ 179066 w 248096"/>
                      <a:gd name="connsiteY1" fmla="*/ 2614 h 253692"/>
                      <a:gd name="connsiteX2" fmla="*/ 0 w 248096"/>
                      <a:gd name="connsiteY2" fmla="*/ 205175 h 253692"/>
                      <a:gd name="connsiteX3" fmla="*/ 180241 w 248096"/>
                      <a:gd name="connsiteY3" fmla="*/ 245887 h 253692"/>
                      <a:gd name="connsiteX4" fmla="*/ 236553 w 248096"/>
                      <a:gd name="connsiteY4" fmla="*/ 162935 h 253692"/>
                      <a:gd name="connsiteX5" fmla="*/ 241058 w 248096"/>
                      <a:gd name="connsiteY5" fmla="*/ 81079 h 253692"/>
                      <a:gd name="connsiteX0" fmla="*/ 241058 w 248096"/>
                      <a:gd name="connsiteY0" fmla="*/ 148777 h 321390"/>
                      <a:gd name="connsiteX1" fmla="*/ 121262 w 248096"/>
                      <a:gd name="connsiteY1" fmla="*/ 1480 h 321390"/>
                      <a:gd name="connsiteX2" fmla="*/ 0 w 248096"/>
                      <a:gd name="connsiteY2" fmla="*/ 272873 h 321390"/>
                      <a:gd name="connsiteX3" fmla="*/ 180241 w 248096"/>
                      <a:gd name="connsiteY3" fmla="*/ 313585 h 321390"/>
                      <a:gd name="connsiteX4" fmla="*/ 236553 w 248096"/>
                      <a:gd name="connsiteY4" fmla="*/ 230633 h 321390"/>
                      <a:gd name="connsiteX5" fmla="*/ 241058 w 248096"/>
                      <a:gd name="connsiteY5" fmla="*/ 148777 h 321390"/>
                      <a:gd name="connsiteX0" fmla="*/ 241058 w 248096"/>
                      <a:gd name="connsiteY0" fmla="*/ 228189 h 400802"/>
                      <a:gd name="connsiteX1" fmla="*/ 95824 w 248096"/>
                      <a:gd name="connsiteY1" fmla="*/ 984 h 400802"/>
                      <a:gd name="connsiteX2" fmla="*/ 0 w 248096"/>
                      <a:gd name="connsiteY2" fmla="*/ 352285 h 400802"/>
                      <a:gd name="connsiteX3" fmla="*/ 180241 w 248096"/>
                      <a:gd name="connsiteY3" fmla="*/ 392997 h 400802"/>
                      <a:gd name="connsiteX4" fmla="*/ 236553 w 248096"/>
                      <a:gd name="connsiteY4" fmla="*/ 310045 h 400802"/>
                      <a:gd name="connsiteX5" fmla="*/ 241058 w 248096"/>
                      <a:gd name="connsiteY5" fmla="*/ 228189 h 400802"/>
                      <a:gd name="connsiteX0" fmla="*/ 268668 w 275706"/>
                      <a:gd name="connsiteY0" fmla="*/ 228189 h 400802"/>
                      <a:gd name="connsiteX1" fmla="*/ 123434 w 275706"/>
                      <a:gd name="connsiteY1" fmla="*/ 984 h 400802"/>
                      <a:gd name="connsiteX2" fmla="*/ 7590 w 275706"/>
                      <a:gd name="connsiteY2" fmla="*/ 151352 h 400802"/>
                      <a:gd name="connsiteX3" fmla="*/ 27610 w 275706"/>
                      <a:gd name="connsiteY3" fmla="*/ 352285 h 400802"/>
                      <a:gd name="connsiteX4" fmla="*/ 207851 w 275706"/>
                      <a:gd name="connsiteY4" fmla="*/ 392997 h 400802"/>
                      <a:gd name="connsiteX5" fmla="*/ 264163 w 275706"/>
                      <a:gd name="connsiteY5" fmla="*/ 310045 h 400802"/>
                      <a:gd name="connsiteX6" fmla="*/ 268668 w 275706"/>
                      <a:gd name="connsiteY6" fmla="*/ 228189 h 400802"/>
                      <a:gd name="connsiteX0" fmla="*/ 268668 w 275706"/>
                      <a:gd name="connsiteY0" fmla="*/ 248044 h 420657"/>
                      <a:gd name="connsiteX1" fmla="*/ 84560 w 275706"/>
                      <a:gd name="connsiteY1" fmla="*/ 908 h 420657"/>
                      <a:gd name="connsiteX2" fmla="*/ 7590 w 275706"/>
                      <a:gd name="connsiteY2" fmla="*/ 171207 h 420657"/>
                      <a:gd name="connsiteX3" fmla="*/ 27610 w 275706"/>
                      <a:gd name="connsiteY3" fmla="*/ 372140 h 420657"/>
                      <a:gd name="connsiteX4" fmla="*/ 207851 w 275706"/>
                      <a:gd name="connsiteY4" fmla="*/ 412852 h 420657"/>
                      <a:gd name="connsiteX5" fmla="*/ 264163 w 275706"/>
                      <a:gd name="connsiteY5" fmla="*/ 329900 h 420657"/>
                      <a:gd name="connsiteX6" fmla="*/ 268668 w 275706"/>
                      <a:gd name="connsiteY6" fmla="*/ 248044 h 420657"/>
                      <a:gd name="connsiteX0" fmla="*/ 303067 w 310105"/>
                      <a:gd name="connsiteY0" fmla="*/ 248044 h 420657"/>
                      <a:gd name="connsiteX1" fmla="*/ 118959 w 310105"/>
                      <a:gd name="connsiteY1" fmla="*/ 908 h 420657"/>
                      <a:gd name="connsiteX2" fmla="*/ 3118 w 310105"/>
                      <a:gd name="connsiteY2" fmla="*/ 151280 h 420657"/>
                      <a:gd name="connsiteX3" fmla="*/ 62009 w 310105"/>
                      <a:gd name="connsiteY3" fmla="*/ 372140 h 420657"/>
                      <a:gd name="connsiteX4" fmla="*/ 242250 w 310105"/>
                      <a:gd name="connsiteY4" fmla="*/ 412852 h 420657"/>
                      <a:gd name="connsiteX5" fmla="*/ 298562 w 310105"/>
                      <a:gd name="connsiteY5" fmla="*/ 329900 h 420657"/>
                      <a:gd name="connsiteX6" fmla="*/ 303067 w 310105"/>
                      <a:gd name="connsiteY6" fmla="*/ 248044 h 420657"/>
                      <a:gd name="connsiteX0" fmla="*/ 303067 w 310105"/>
                      <a:gd name="connsiteY0" fmla="*/ 248044 h 420657"/>
                      <a:gd name="connsiteX1" fmla="*/ 118959 w 310105"/>
                      <a:gd name="connsiteY1" fmla="*/ 908 h 420657"/>
                      <a:gd name="connsiteX2" fmla="*/ 3118 w 310105"/>
                      <a:gd name="connsiteY2" fmla="*/ 151280 h 420657"/>
                      <a:gd name="connsiteX3" fmla="*/ 62009 w 310105"/>
                      <a:gd name="connsiteY3" fmla="*/ 372140 h 420657"/>
                      <a:gd name="connsiteX4" fmla="*/ 242250 w 310105"/>
                      <a:gd name="connsiteY4" fmla="*/ 412852 h 420657"/>
                      <a:gd name="connsiteX5" fmla="*/ 298562 w 310105"/>
                      <a:gd name="connsiteY5" fmla="*/ 329900 h 420657"/>
                      <a:gd name="connsiteX6" fmla="*/ 303067 w 310105"/>
                      <a:gd name="connsiteY6" fmla="*/ 248044 h 420657"/>
                      <a:gd name="connsiteX0" fmla="*/ 326763 w 330767"/>
                      <a:gd name="connsiteY0" fmla="*/ 195862 h 420890"/>
                      <a:gd name="connsiteX1" fmla="*/ 118959 w 330767"/>
                      <a:gd name="connsiteY1" fmla="*/ 1141 h 420890"/>
                      <a:gd name="connsiteX2" fmla="*/ 3118 w 330767"/>
                      <a:gd name="connsiteY2" fmla="*/ 151513 h 420890"/>
                      <a:gd name="connsiteX3" fmla="*/ 62009 w 330767"/>
                      <a:gd name="connsiteY3" fmla="*/ 372373 h 420890"/>
                      <a:gd name="connsiteX4" fmla="*/ 242250 w 330767"/>
                      <a:gd name="connsiteY4" fmla="*/ 413085 h 420890"/>
                      <a:gd name="connsiteX5" fmla="*/ 298562 w 330767"/>
                      <a:gd name="connsiteY5" fmla="*/ 330133 h 420890"/>
                      <a:gd name="connsiteX6" fmla="*/ 326763 w 330767"/>
                      <a:gd name="connsiteY6" fmla="*/ 195862 h 420890"/>
                      <a:gd name="connsiteX0" fmla="*/ 326763 w 330767"/>
                      <a:gd name="connsiteY0" fmla="*/ 261764 h 486792"/>
                      <a:gd name="connsiteX1" fmla="*/ 193411 w 330767"/>
                      <a:gd name="connsiteY1" fmla="*/ 8291 h 486792"/>
                      <a:gd name="connsiteX2" fmla="*/ 118959 w 330767"/>
                      <a:gd name="connsiteY2" fmla="*/ 67043 h 486792"/>
                      <a:gd name="connsiteX3" fmla="*/ 3118 w 330767"/>
                      <a:gd name="connsiteY3" fmla="*/ 217415 h 486792"/>
                      <a:gd name="connsiteX4" fmla="*/ 62009 w 330767"/>
                      <a:gd name="connsiteY4" fmla="*/ 438275 h 486792"/>
                      <a:gd name="connsiteX5" fmla="*/ 242250 w 330767"/>
                      <a:gd name="connsiteY5" fmla="*/ 478987 h 486792"/>
                      <a:gd name="connsiteX6" fmla="*/ 298562 w 330767"/>
                      <a:gd name="connsiteY6" fmla="*/ 396035 h 486792"/>
                      <a:gd name="connsiteX7" fmla="*/ 326763 w 330767"/>
                      <a:gd name="connsiteY7" fmla="*/ 261764 h 486792"/>
                      <a:gd name="connsiteX0" fmla="*/ 326763 w 330767"/>
                      <a:gd name="connsiteY0" fmla="*/ 261764 h 486792"/>
                      <a:gd name="connsiteX1" fmla="*/ 193411 w 330767"/>
                      <a:gd name="connsiteY1" fmla="*/ 8291 h 486792"/>
                      <a:gd name="connsiteX2" fmla="*/ 118959 w 330767"/>
                      <a:gd name="connsiteY2" fmla="*/ 67043 h 486792"/>
                      <a:gd name="connsiteX3" fmla="*/ 3118 w 330767"/>
                      <a:gd name="connsiteY3" fmla="*/ 217415 h 486792"/>
                      <a:gd name="connsiteX4" fmla="*/ 62009 w 330767"/>
                      <a:gd name="connsiteY4" fmla="*/ 438275 h 486792"/>
                      <a:gd name="connsiteX5" fmla="*/ 242250 w 330767"/>
                      <a:gd name="connsiteY5" fmla="*/ 478987 h 486792"/>
                      <a:gd name="connsiteX6" fmla="*/ 298562 w 330767"/>
                      <a:gd name="connsiteY6" fmla="*/ 396035 h 486792"/>
                      <a:gd name="connsiteX7" fmla="*/ 326763 w 330767"/>
                      <a:gd name="connsiteY7" fmla="*/ 261764 h 486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30767" h="486792">
                        <a:moveTo>
                          <a:pt x="326763" y="261764"/>
                        </a:moveTo>
                        <a:cubicBezTo>
                          <a:pt x="306734" y="212766"/>
                          <a:pt x="183831" y="78031"/>
                          <a:pt x="193411" y="8291"/>
                        </a:cubicBezTo>
                        <a:cubicBezTo>
                          <a:pt x="158777" y="-24162"/>
                          <a:pt x="148171" y="47815"/>
                          <a:pt x="118959" y="67043"/>
                        </a:cubicBezTo>
                        <a:cubicBezTo>
                          <a:pt x="83274" y="57097"/>
                          <a:pt x="43947" y="194664"/>
                          <a:pt x="3118" y="217415"/>
                        </a:cubicBezTo>
                        <a:cubicBezTo>
                          <a:pt x="-12853" y="275965"/>
                          <a:pt x="36460" y="400861"/>
                          <a:pt x="62009" y="438275"/>
                        </a:cubicBezTo>
                        <a:cubicBezTo>
                          <a:pt x="93840" y="473519"/>
                          <a:pt x="218938" y="500820"/>
                          <a:pt x="242250" y="478987"/>
                        </a:cubicBezTo>
                        <a:cubicBezTo>
                          <a:pt x="265562" y="457154"/>
                          <a:pt x="295891" y="424640"/>
                          <a:pt x="298562" y="396035"/>
                        </a:cubicBezTo>
                        <a:cubicBezTo>
                          <a:pt x="301233" y="367430"/>
                          <a:pt x="343780" y="280863"/>
                          <a:pt x="326763" y="261764"/>
                        </a:cubicBezTo>
                        <a:close/>
                      </a:path>
                    </a:pathLst>
                  </a:custGeom>
                  <a:grpFill/>
                  <a:ln w="6350">
                    <a:noFill/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8" name="Freeform 273"/>
                  <p:cNvSpPr/>
                  <p:nvPr/>
                </p:nvSpPr>
                <p:spPr>
                  <a:xfrm rot="11700000">
                    <a:off x="7158794" y="2990076"/>
                    <a:ext cx="57967" cy="65537"/>
                  </a:xfrm>
                  <a:custGeom>
                    <a:avLst/>
                    <a:gdLst>
                      <a:gd name="connsiteX0" fmla="*/ 175260 w 541020"/>
                      <a:gd name="connsiteY0" fmla="*/ 45720 h 281940"/>
                      <a:gd name="connsiteX1" fmla="*/ 0 w 541020"/>
                      <a:gd name="connsiteY1" fmla="*/ 121920 h 281940"/>
                      <a:gd name="connsiteX2" fmla="*/ 7620 w 541020"/>
                      <a:gd name="connsiteY2" fmla="*/ 251460 h 281940"/>
                      <a:gd name="connsiteX3" fmla="*/ 160020 w 541020"/>
                      <a:gd name="connsiteY3" fmla="*/ 281940 h 281940"/>
                      <a:gd name="connsiteX4" fmla="*/ 327660 w 541020"/>
                      <a:gd name="connsiteY4" fmla="*/ 236220 h 281940"/>
                      <a:gd name="connsiteX5" fmla="*/ 495300 w 541020"/>
                      <a:gd name="connsiteY5" fmla="*/ 114300 h 281940"/>
                      <a:gd name="connsiteX6" fmla="*/ 541020 w 541020"/>
                      <a:gd name="connsiteY6" fmla="*/ 30480 h 281940"/>
                      <a:gd name="connsiteX7" fmla="*/ 518160 w 541020"/>
                      <a:gd name="connsiteY7" fmla="*/ 0 h 281940"/>
                      <a:gd name="connsiteX8" fmla="*/ 449580 w 541020"/>
                      <a:gd name="connsiteY8" fmla="*/ 0 h 281940"/>
                      <a:gd name="connsiteX9" fmla="*/ 175260 w 541020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64165"/>
                      <a:gd name="connsiteY0" fmla="*/ 50529 h 287263"/>
                      <a:gd name="connsiteX1" fmla="*/ 17128 w 564165"/>
                      <a:gd name="connsiteY1" fmla="*/ 126729 h 287263"/>
                      <a:gd name="connsiteX2" fmla="*/ 24748 w 564165"/>
                      <a:gd name="connsiteY2" fmla="*/ 256269 h 287263"/>
                      <a:gd name="connsiteX3" fmla="*/ 177148 w 564165"/>
                      <a:gd name="connsiteY3" fmla="*/ 286749 h 287263"/>
                      <a:gd name="connsiteX4" fmla="*/ 344788 w 564165"/>
                      <a:gd name="connsiteY4" fmla="*/ 241029 h 287263"/>
                      <a:gd name="connsiteX5" fmla="*/ 545402 w 564165"/>
                      <a:gd name="connsiteY5" fmla="*/ 181894 h 287263"/>
                      <a:gd name="connsiteX6" fmla="*/ 558148 w 564165"/>
                      <a:gd name="connsiteY6" fmla="*/ 35289 h 287263"/>
                      <a:gd name="connsiteX7" fmla="*/ 535288 w 564165"/>
                      <a:gd name="connsiteY7" fmla="*/ 4809 h 287263"/>
                      <a:gd name="connsiteX8" fmla="*/ 466708 w 564165"/>
                      <a:gd name="connsiteY8" fmla="*/ 4809 h 287263"/>
                      <a:gd name="connsiteX9" fmla="*/ 192388 w 564165"/>
                      <a:gd name="connsiteY9" fmla="*/ 50529 h 287263"/>
                      <a:gd name="connsiteX0" fmla="*/ 192388 w 564165"/>
                      <a:gd name="connsiteY0" fmla="*/ 50529 h 310225"/>
                      <a:gd name="connsiteX1" fmla="*/ 17128 w 564165"/>
                      <a:gd name="connsiteY1" fmla="*/ 126729 h 310225"/>
                      <a:gd name="connsiteX2" fmla="*/ 24748 w 564165"/>
                      <a:gd name="connsiteY2" fmla="*/ 256269 h 310225"/>
                      <a:gd name="connsiteX3" fmla="*/ 177148 w 564165"/>
                      <a:gd name="connsiteY3" fmla="*/ 286749 h 310225"/>
                      <a:gd name="connsiteX4" fmla="*/ 338214 w 564165"/>
                      <a:gd name="connsiteY4" fmla="*/ 301010 h 310225"/>
                      <a:gd name="connsiteX5" fmla="*/ 545402 w 564165"/>
                      <a:gd name="connsiteY5" fmla="*/ 181894 h 310225"/>
                      <a:gd name="connsiteX6" fmla="*/ 558148 w 564165"/>
                      <a:gd name="connsiteY6" fmla="*/ 35289 h 310225"/>
                      <a:gd name="connsiteX7" fmla="*/ 535288 w 564165"/>
                      <a:gd name="connsiteY7" fmla="*/ 4809 h 310225"/>
                      <a:gd name="connsiteX8" fmla="*/ 466708 w 564165"/>
                      <a:gd name="connsiteY8" fmla="*/ 4809 h 310225"/>
                      <a:gd name="connsiteX9" fmla="*/ 192388 w 564165"/>
                      <a:gd name="connsiteY9" fmla="*/ 50529 h 310225"/>
                      <a:gd name="connsiteX0" fmla="*/ 192388 w 564165"/>
                      <a:gd name="connsiteY0" fmla="*/ 50529 h 353427"/>
                      <a:gd name="connsiteX1" fmla="*/ 17128 w 564165"/>
                      <a:gd name="connsiteY1" fmla="*/ 126729 h 353427"/>
                      <a:gd name="connsiteX2" fmla="*/ 24748 w 564165"/>
                      <a:gd name="connsiteY2" fmla="*/ 256269 h 353427"/>
                      <a:gd name="connsiteX3" fmla="*/ 193096 w 564165"/>
                      <a:gd name="connsiteY3" fmla="*/ 353363 h 353427"/>
                      <a:gd name="connsiteX4" fmla="*/ 338214 w 564165"/>
                      <a:gd name="connsiteY4" fmla="*/ 301010 h 353427"/>
                      <a:gd name="connsiteX5" fmla="*/ 545402 w 564165"/>
                      <a:gd name="connsiteY5" fmla="*/ 181894 h 353427"/>
                      <a:gd name="connsiteX6" fmla="*/ 558148 w 564165"/>
                      <a:gd name="connsiteY6" fmla="*/ 35289 h 353427"/>
                      <a:gd name="connsiteX7" fmla="*/ 535288 w 564165"/>
                      <a:gd name="connsiteY7" fmla="*/ 4809 h 353427"/>
                      <a:gd name="connsiteX8" fmla="*/ 466708 w 564165"/>
                      <a:gd name="connsiteY8" fmla="*/ 4809 h 353427"/>
                      <a:gd name="connsiteX9" fmla="*/ 192388 w 564165"/>
                      <a:gd name="connsiteY9" fmla="*/ 50529 h 353427"/>
                      <a:gd name="connsiteX0" fmla="*/ 183456 w 555233"/>
                      <a:gd name="connsiteY0" fmla="*/ 50529 h 359674"/>
                      <a:gd name="connsiteX1" fmla="*/ 8196 w 555233"/>
                      <a:gd name="connsiteY1" fmla="*/ 126729 h 359674"/>
                      <a:gd name="connsiteX2" fmla="*/ 57235 w 555233"/>
                      <a:gd name="connsiteY2" fmla="*/ 343912 h 359674"/>
                      <a:gd name="connsiteX3" fmla="*/ 184164 w 555233"/>
                      <a:gd name="connsiteY3" fmla="*/ 353363 h 359674"/>
                      <a:gd name="connsiteX4" fmla="*/ 329282 w 555233"/>
                      <a:gd name="connsiteY4" fmla="*/ 301010 h 359674"/>
                      <a:gd name="connsiteX5" fmla="*/ 536470 w 555233"/>
                      <a:gd name="connsiteY5" fmla="*/ 181894 h 359674"/>
                      <a:gd name="connsiteX6" fmla="*/ 549216 w 555233"/>
                      <a:gd name="connsiteY6" fmla="*/ 35289 h 359674"/>
                      <a:gd name="connsiteX7" fmla="*/ 526356 w 555233"/>
                      <a:gd name="connsiteY7" fmla="*/ 4809 h 359674"/>
                      <a:gd name="connsiteX8" fmla="*/ 457776 w 555233"/>
                      <a:gd name="connsiteY8" fmla="*/ 4809 h 359674"/>
                      <a:gd name="connsiteX9" fmla="*/ 183456 w 555233"/>
                      <a:gd name="connsiteY9" fmla="*/ 50529 h 359674"/>
                      <a:gd name="connsiteX0" fmla="*/ 141822 w 513599"/>
                      <a:gd name="connsiteY0" fmla="*/ 50529 h 359674"/>
                      <a:gd name="connsiteX1" fmla="*/ 26880 w 513599"/>
                      <a:gd name="connsiteY1" fmla="*/ 162601 h 359674"/>
                      <a:gd name="connsiteX2" fmla="*/ 15601 w 513599"/>
                      <a:gd name="connsiteY2" fmla="*/ 343912 h 359674"/>
                      <a:gd name="connsiteX3" fmla="*/ 142530 w 513599"/>
                      <a:gd name="connsiteY3" fmla="*/ 353363 h 359674"/>
                      <a:gd name="connsiteX4" fmla="*/ 287648 w 513599"/>
                      <a:gd name="connsiteY4" fmla="*/ 301010 h 359674"/>
                      <a:gd name="connsiteX5" fmla="*/ 494836 w 513599"/>
                      <a:gd name="connsiteY5" fmla="*/ 181894 h 359674"/>
                      <a:gd name="connsiteX6" fmla="*/ 507582 w 513599"/>
                      <a:gd name="connsiteY6" fmla="*/ 35289 h 359674"/>
                      <a:gd name="connsiteX7" fmla="*/ 484722 w 513599"/>
                      <a:gd name="connsiteY7" fmla="*/ 4809 h 359674"/>
                      <a:gd name="connsiteX8" fmla="*/ 416142 w 513599"/>
                      <a:gd name="connsiteY8" fmla="*/ 4809 h 359674"/>
                      <a:gd name="connsiteX9" fmla="*/ 141822 w 513599"/>
                      <a:gd name="connsiteY9" fmla="*/ 50529 h 359674"/>
                      <a:gd name="connsiteX0" fmla="*/ 141822 w 530249"/>
                      <a:gd name="connsiteY0" fmla="*/ 50529 h 359674"/>
                      <a:gd name="connsiteX1" fmla="*/ 26880 w 530249"/>
                      <a:gd name="connsiteY1" fmla="*/ 162601 h 359674"/>
                      <a:gd name="connsiteX2" fmla="*/ 15601 w 530249"/>
                      <a:gd name="connsiteY2" fmla="*/ 343912 h 359674"/>
                      <a:gd name="connsiteX3" fmla="*/ 142530 w 530249"/>
                      <a:gd name="connsiteY3" fmla="*/ 353363 h 359674"/>
                      <a:gd name="connsiteX4" fmla="*/ 287648 w 530249"/>
                      <a:gd name="connsiteY4" fmla="*/ 301010 h 359674"/>
                      <a:gd name="connsiteX5" fmla="*/ 517239 w 530249"/>
                      <a:gd name="connsiteY5" fmla="*/ 238247 h 359674"/>
                      <a:gd name="connsiteX6" fmla="*/ 507582 w 530249"/>
                      <a:gd name="connsiteY6" fmla="*/ 35289 h 359674"/>
                      <a:gd name="connsiteX7" fmla="*/ 484722 w 530249"/>
                      <a:gd name="connsiteY7" fmla="*/ 4809 h 359674"/>
                      <a:gd name="connsiteX8" fmla="*/ 416142 w 530249"/>
                      <a:gd name="connsiteY8" fmla="*/ 4809 h 359674"/>
                      <a:gd name="connsiteX9" fmla="*/ 141822 w 530249"/>
                      <a:gd name="connsiteY9" fmla="*/ 50529 h 35967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47613 h 369288"/>
                      <a:gd name="connsiteX1" fmla="*/ 26880 w 530248"/>
                      <a:gd name="connsiteY1" fmla="*/ 159685 h 369288"/>
                      <a:gd name="connsiteX2" fmla="*/ 15601 w 530248"/>
                      <a:gd name="connsiteY2" fmla="*/ 340996 h 369288"/>
                      <a:gd name="connsiteX3" fmla="*/ 142530 w 530248"/>
                      <a:gd name="connsiteY3" fmla="*/ 350447 h 369288"/>
                      <a:gd name="connsiteX4" fmla="*/ 292200 w 530248"/>
                      <a:gd name="connsiteY4" fmla="*/ 359200 h 369288"/>
                      <a:gd name="connsiteX5" fmla="*/ 517239 w 530248"/>
                      <a:gd name="connsiteY5" fmla="*/ 235331 h 369288"/>
                      <a:gd name="connsiteX6" fmla="*/ 507582 w 530248"/>
                      <a:gd name="connsiteY6" fmla="*/ 32373 h 369288"/>
                      <a:gd name="connsiteX7" fmla="*/ 416142 w 530248"/>
                      <a:gd name="connsiteY7" fmla="*/ 1893 h 369288"/>
                      <a:gd name="connsiteX8" fmla="*/ 141822 w 530248"/>
                      <a:gd name="connsiteY8" fmla="*/ 47613 h 369288"/>
                      <a:gd name="connsiteX0" fmla="*/ 138197 w 526623"/>
                      <a:gd name="connsiteY0" fmla="*/ 47613 h 376324"/>
                      <a:gd name="connsiteX1" fmla="*/ 23255 w 526623"/>
                      <a:gd name="connsiteY1" fmla="*/ 159685 h 376324"/>
                      <a:gd name="connsiteX2" fmla="*/ 11976 w 526623"/>
                      <a:gd name="connsiteY2" fmla="*/ 340996 h 376324"/>
                      <a:gd name="connsiteX3" fmla="*/ 132119 w 526623"/>
                      <a:gd name="connsiteY3" fmla="*/ 374396 h 376324"/>
                      <a:gd name="connsiteX4" fmla="*/ 288575 w 526623"/>
                      <a:gd name="connsiteY4" fmla="*/ 359200 h 376324"/>
                      <a:gd name="connsiteX5" fmla="*/ 513614 w 526623"/>
                      <a:gd name="connsiteY5" fmla="*/ 235331 h 376324"/>
                      <a:gd name="connsiteX6" fmla="*/ 503957 w 526623"/>
                      <a:gd name="connsiteY6" fmla="*/ 32373 h 376324"/>
                      <a:gd name="connsiteX7" fmla="*/ 412517 w 526623"/>
                      <a:gd name="connsiteY7" fmla="*/ 1893 h 376324"/>
                      <a:gd name="connsiteX8" fmla="*/ 138197 w 526623"/>
                      <a:gd name="connsiteY8" fmla="*/ 47613 h 376324"/>
                      <a:gd name="connsiteX0" fmla="*/ 427441 w 541547"/>
                      <a:gd name="connsiteY0" fmla="*/ 10181 h 384611"/>
                      <a:gd name="connsiteX1" fmla="*/ 38179 w 541547"/>
                      <a:gd name="connsiteY1" fmla="*/ 167973 h 384611"/>
                      <a:gd name="connsiteX2" fmla="*/ 26900 w 541547"/>
                      <a:gd name="connsiteY2" fmla="*/ 349284 h 384611"/>
                      <a:gd name="connsiteX3" fmla="*/ 147043 w 541547"/>
                      <a:gd name="connsiteY3" fmla="*/ 382684 h 384611"/>
                      <a:gd name="connsiteX4" fmla="*/ 303499 w 541547"/>
                      <a:gd name="connsiteY4" fmla="*/ 367488 h 384611"/>
                      <a:gd name="connsiteX5" fmla="*/ 528538 w 541547"/>
                      <a:gd name="connsiteY5" fmla="*/ 243619 h 384611"/>
                      <a:gd name="connsiteX6" fmla="*/ 518881 w 541547"/>
                      <a:gd name="connsiteY6" fmla="*/ 40661 h 384611"/>
                      <a:gd name="connsiteX7" fmla="*/ 427441 w 541547"/>
                      <a:gd name="connsiteY7" fmla="*/ 10181 h 384611"/>
                      <a:gd name="connsiteX0" fmla="*/ 400497 w 514603"/>
                      <a:gd name="connsiteY0" fmla="*/ 10183 h 384613"/>
                      <a:gd name="connsiteX1" fmla="*/ 11235 w 514603"/>
                      <a:gd name="connsiteY1" fmla="*/ 167975 h 384613"/>
                      <a:gd name="connsiteX2" fmla="*/ 120099 w 514603"/>
                      <a:gd name="connsiteY2" fmla="*/ 382686 h 384613"/>
                      <a:gd name="connsiteX3" fmla="*/ 276555 w 514603"/>
                      <a:gd name="connsiteY3" fmla="*/ 367490 h 384613"/>
                      <a:gd name="connsiteX4" fmla="*/ 501594 w 514603"/>
                      <a:gd name="connsiteY4" fmla="*/ 243621 h 384613"/>
                      <a:gd name="connsiteX5" fmla="*/ 491937 w 514603"/>
                      <a:gd name="connsiteY5" fmla="*/ 40663 h 384613"/>
                      <a:gd name="connsiteX6" fmla="*/ 400497 w 514603"/>
                      <a:gd name="connsiteY6" fmla="*/ 10183 h 384613"/>
                      <a:gd name="connsiteX0" fmla="*/ 400497 w 514603"/>
                      <a:gd name="connsiteY0" fmla="*/ 10183 h 383828"/>
                      <a:gd name="connsiteX1" fmla="*/ 11235 w 514603"/>
                      <a:gd name="connsiteY1" fmla="*/ 167975 h 383828"/>
                      <a:gd name="connsiteX2" fmla="*/ 120099 w 514603"/>
                      <a:gd name="connsiteY2" fmla="*/ 382686 h 383828"/>
                      <a:gd name="connsiteX3" fmla="*/ 501594 w 514603"/>
                      <a:gd name="connsiteY3" fmla="*/ 243621 h 383828"/>
                      <a:gd name="connsiteX4" fmla="*/ 491937 w 514603"/>
                      <a:gd name="connsiteY4" fmla="*/ 40663 h 383828"/>
                      <a:gd name="connsiteX5" fmla="*/ 400497 w 514603"/>
                      <a:gd name="connsiteY5" fmla="*/ 10183 h 383828"/>
                      <a:gd name="connsiteX0" fmla="*/ 400497 w 517116"/>
                      <a:gd name="connsiteY0" fmla="*/ 1010 h 374655"/>
                      <a:gd name="connsiteX1" fmla="*/ 11235 w 517116"/>
                      <a:gd name="connsiteY1" fmla="*/ 158802 h 374655"/>
                      <a:gd name="connsiteX2" fmla="*/ 120099 w 517116"/>
                      <a:gd name="connsiteY2" fmla="*/ 373513 h 374655"/>
                      <a:gd name="connsiteX3" fmla="*/ 501594 w 517116"/>
                      <a:gd name="connsiteY3" fmla="*/ 234448 h 374655"/>
                      <a:gd name="connsiteX4" fmla="*/ 400497 w 517116"/>
                      <a:gd name="connsiteY4" fmla="*/ 1010 h 374655"/>
                      <a:gd name="connsiteX0" fmla="*/ 400497 w 751271"/>
                      <a:gd name="connsiteY0" fmla="*/ 6 h 373651"/>
                      <a:gd name="connsiteX1" fmla="*/ 11235 w 751271"/>
                      <a:gd name="connsiteY1" fmla="*/ 157798 h 373651"/>
                      <a:gd name="connsiteX2" fmla="*/ 120099 w 751271"/>
                      <a:gd name="connsiteY2" fmla="*/ 372509 h 373651"/>
                      <a:gd name="connsiteX3" fmla="*/ 501594 w 751271"/>
                      <a:gd name="connsiteY3" fmla="*/ 233444 h 373651"/>
                      <a:gd name="connsiteX4" fmla="*/ 750272 w 751271"/>
                      <a:gd name="connsiteY4" fmla="*/ 161580 h 373651"/>
                      <a:gd name="connsiteX5" fmla="*/ 400497 w 751271"/>
                      <a:gd name="connsiteY5" fmla="*/ 6 h 373651"/>
                      <a:gd name="connsiteX0" fmla="*/ 400497 w 751271"/>
                      <a:gd name="connsiteY0" fmla="*/ 6 h 373651"/>
                      <a:gd name="connsiteX1" fmla="*/ 11235 w 751271"/>
                      <a:gd name="connsiteY1" fmla="*/ 157798 h 373651"/>
                      <a:gd name="connsiteX2" fmla="*/ 120099 w 751271"/>
                      <a:gd name="connsiteY2" fmla="*/ 372509 h 373651"/>
                      <a:gd name="connsiteX3" fmla="*/ 501594 w 751271"/>
                      <a:gd name="connsiteY3" fmla="*/ 233444 h 373651"/>
                      <a:gd name="connsiteX4" fmla="*/ 750272 w 751271"/>
                      <a:gd name="connsiteY4" fmla="*/ 161580 h 373651"/>
                      <a:gd name="connsiteX5" fmla="*/ 400497 w 751271"/>
                      <a:gd name="connsiteY5" fmla="*/ 6 h 373651"/>
                      <a:gd name="connsiteX0" fmla="*/ 400497 w 777678"/>
                      <a:gd name="connsiteY0" fmla="*/ 1412 h 375057"/>
                      <a:gd name="connsiteX1" fmla="*/ 11235 w 777678"/>
                      <a:gd name="connsiteY1" fmla="*/ 159204 h 375057"/>
                      <a:gd name="connsiteX2" fmla="*/ 120099 w 777678"/>
                      <a:gd name="connsiteY2" fmla="*/ 373915 h 375057"/>
                      <a:gd name="connsiteX3" fmla="*/ 501594 w 777678"/>
                      <a:gd name="connsiteY3" fmla="*/ 234850 h 375057"/>
                      <a:gd name="connsiteX4" fmla="*/ 776788 w 777678"/>
                      <a:gd name="connsiteY4" fmla="*/ 78055 h 375057"/>
                      <a:gd name="connsiteX5" fmla="*/ 400497 w 777678"/>
                      <a:gd name="connsiteY5" fmla="*/ 1412 h 375057"/>
                      <a:gd name="connsiteX0" fmla="*/ 400497 w 808515"/>
                      <a:gd name="connsiteY0" fmla="*/ 1412 h 375307"/>
                      <a:gd name="connsiteX1" fmla="*/ 11235 w 808515"/>
                      <a:gd name="connsiteY1" fmla="*/ 159204 h 375307"/>
                      <a:gd name="connsiteX2" fmla="*/ 120099 w 808515"/>
                      <a:gd name="connsiteY2" fmla="*/ 373915 h 375307"/>
                      <a:gd name="connsiteX3" fmla="*/ 774732 w 808515"/>
                      <a:gd name="connsiteY3" fmla="*/ 253777 h 375307"/>
                      <a:gd name="connsiteX4" fmla="*/ 776788 w 808515"/>
                      <a:gd name="connsiteY4" fmla="*/ 78055 h 375307"/>
                      <a:gd name="connsiteX5" fmla="*/ 400497 w 808515"/>
                      <a:gd name="connsiteY5" fmla="*/ 1412 h 375307"/>
                      <a:gd name="connsiteX0" fmla="*/ 414293 w 822311"/>
                      <a:gd name="connsiteY0" fmla="*/ 1412 h 475619"/>
                      <a:gd name="connsiteX1" fmla="*/ 25031 w 822311"/>
                      <a:gd name="connsiteY1" fmla="*/ 159204 h 475619"/>
                      <a:gd name="connsiteX2" fmla="*/ 66336 w 822311"/>
                      <a:gd name="connsiteY2" fmla="*/ 474979 h 475619"/>
                      <a:gd name="connsiteX3" fmla="*/ 788528 w 822311"/>
                      <a:gd name="connsiteY3" fmla="*/ 253777 h 475619"/>
                      <a:gd name="connsiteX4" fmla="*/ 790584 w 822311"/>
                      <a:gd name="connsiteY4" fmla="*/ 78055 h 475619"/>
                      <a:gd name="connsiteX5" fmla="*/ 414293 w 822311"/>
                      <a:gd name="connsiteY5" fmla="*/ 1412 h 475619"/>
                      <a:gd name="connsiteX0" fmla="*/ 414293 w 791258"/>
                      <a:gd name="connsiteY0" fmla="*/ 1412 h 475652"/>
                      <a:gd name="connsiteX1" fmla="*/ 25031 w 791258"/>
                      <a:gd name="connsiteY1" fmla="*/ 159204 h 475652"/>
                      <a:gd name="connsiteX2" fmla="*/ 66336 w 791258"/>
                      <a:gd name="connsiteY2" fmla="*/ 474979 h 475652"/>
                      <a:gd name="connsiteX3" fmla="*/ 437976 w 791258"/>
                      <a:gd name="connsiteY3" fmla="*/ 261831 h 475652"/>
                      <a:gd name="connsiteX4" fmla="*/ 790584 w 791258"/>
                      <a:gd name="connsiteY4" fmla="*/ 78055 h 475652"/>
                      <a:gd name="connsiteX5" fmla="*/ 414293 w 791258"/>
                      <a:gd name="connsiteY5" fmla="*/ 1412 h 475652"/>
                      <a:gd name="connsiteX0" fmla="*/ 414293 w 480010"/>
                      <a:gd name="connsiteY0" fmla="*/ 82 h 474317"/>
                      <a:gd name="connsiteX1" fmla="*/ 25031 w 480010"/>
                      <a:gd name="connsiteY1" fmla="*/ 157874 h 474317"/>
                      <a:gd name="connsiteX2" fmla="*/ 66336 w 480010"/>
                      <a:gd name="connsiteY2" fmla="*/ 473649 h 474317"/>
                      <a:gd name="connsiteX3" fmla="*/ 437976 w 480010"/>
                      <a:gd name="connsiteY3" fmla="*/ 260501 h 474317"/>
                      <a:gd name="connsiteX4" fmla="*/ 460454 w 480010"/>
                      <a:gd name="connsiteY4" fmla="*/ 134703 h 474317"/>
                      <a:gd name="connsiteX5" fmla="*/ 414293 w 480010"/>
                      <a:gd name="connsiteY5" fmla="*/ 82 h 474317"/>
                      <a:gd name="connsiteX0" fmla="*/ 460454 w 480010"/>
                      <a:gd name="connsiteY0" fmla="*/ 16074 h 355688"/>
                      <a:gd name="connsiteX1" fmla="*/ 25031 w 480010"/>
                      <a:gd name="connsiteY1" fmla="*/ 39245 h 355688"/>
                      <a:gd name="connsiteX2" fmla="*/ 66336 w 480010"/>
                      <a:gd name="connsiteY2" fmla="*/ 355020 h 355688"/>
                      <a:gd name="connsiteX3" fmla="*/ 437976 w 480010"/>
                      <a:gd name="connsiteY3" fmla="*/ 141872 h 355688"/>
                      <a:gd name="connsiteX4" fmla="*/ 460454 w 480010"/>
                      <a:gd name="connsiteY4" fmla="*/ 16074 h 3556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80010" h="355688">
                        <a:moveTo>
                          <a:pt x="460454" y="16074"/>
                        </a:moveTo>
                        <a:cubicBezTo>
                          <a:pt x="391630" y="-1030"/>
                          <a:pt x="90717" y="-17246"/>
                          <a:pt x="25031" y="39245"/>
                        </a:cubicBezTo>
                        <a:cubicBezTo>
                          <a:pt x="-32962" y="118173"/>
                          <a:pt x="22116" y="321768"/>
                          <a:pt x="66336" y="355020"/>
                        </a:cubicBezTo>
                        <a:cubicBezTo>
                          <a:pt x="148063" y="367628"/>
                          <a:pt x="376003" y="198876"/>
                          <a:pt x="437976" y="141872"/>
                        </a:cubicBezTo>
                        <a:cubicBezTo>
                          <a:pt x="503211" y="109246"/>
                          <a:pt x="477303" y="54980"/>
                          <a:pt x="460454" y="16074"/>
                        </a:cubicBezTo>
                        <a:close/>
                      </a:path>
                    </a:pathLst>
                  </a:custGeom>
                  <a:grpFill/>
                  <a:ln w="6350">
                    <a:noFill/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>
                      <a:solidFill>
                        <a:prstClr val="black"/>
                      </a:solidFill>
                    </a:endParaRPr>
                  </a:p>
                </p:txBody>
              </p:sp>
            </p:grpSp>
            <p:sp>
              <p:nvSpPr>
                <p:cNvPr id="296" name="DF"/>
                <p:cNvSpPr/>
                <p:nvPr/>
              </p:nvSpPr>
              <p:spPr bwMode="auto">
                <a:xfrm>
                  <a:off x="7119195" y="3048000"/>
                  <a:ext cx="62655" cy="73687"/>
                </a:xfrm>
                <a:custGeom>
                  <a:avLst/>
                  <a:gdLst>
                    <a:gd name="connsiteX0" fmla="*/ 0 w 92922"/>
                    <a:gd name="connsiteY0" fmla="*/ 38626 h 77251"/>
                    <a:gd name="connsiteX1" fmla="*/ 46461 w 92922"/>
                    <a:gd name="connsiteY1" fmla="*/ 0 h 77251"/>
                    <a:gd name="connsiteX2" fmla="*/ 92922 w 92922"/>
                    <a:gd name="connsiteY2" fmla="*/ 38626 h 77251"/>
                    <a:gd name="connsiteX3" fmla="*/ 46461 w 92922"/>
                    <a:gd name="connsiteY3" fmla="*/ 77252 h 77251"/>
                    <a:gd name="connsiteX4" fmla="*/ 0 w 92922"/>
                    <a:gd name="connsiteY4" fmla="*/ 38626 h 77251"/>
                    <a:gd name="connsiteX0" fmla="*/ 2773 w 95695"/>
                    <a:gd name="connsiteY0" fmla="*/ 46630 h 85256"/>
                    <a:gd name="connsiteX1" fmla="*/ 10043 w 95695"/>
                    <a:gd name="connsiteY1" fmla="*/ 3241 h 85256"/>
                    <a:gd name="connsiteX2" fmla="*/ 49234 w 95695"/>
                    <a:gd name="connsiteY2" fmla="*/ 8004 h 85256"/>
                    <a:gd name="connsiteX3" fmla="*/ 95695 w 95695"/>
                    <a:gd name="connsiteY3" fmla="*/ 46630 h 85256"/>
                    <a:gd name="connsiteX4" fmla="*/ 49234 w 95695"/>
                    <a:gd name="connsiteY4" fmla="*/ 85256 h 85256"/>
                    <a:gd name="connsiteX5" fmla="*/ 2773 w 95695"/>
                    <a:gd name="connsiteY5" fmla="*/ 46630 h 85256"/>
                    <a:gd name="connsiteX0" fmla="*/ 2217 w 98314"/>
                    <a:gd name="connsiteY0" fmla="*/ 62505 h 85631"/>
                    <a:gd name="connsiteX1" fmla="*/ 12662 w 98314"/>
                    <a:gd name="connsiteY1" fmla="*/ 3241 h 85631"/>
                    <a:gd name="connsiteX2" fmla="*/ 51853 w 98314"/>
                    <a:gd name="connsiteY2" fmla="*/ 8004 h 85631"/>
                    <a:gd name="connsiteX3" fmla="*/ 98314 w 98314"/>
                    <a:gd name="connsiteY3" fmla="*/ 46630 h 85631"/>
                    <a:gd name="connsiteX4" fmla="*/ 51853 w 98314"/>
                    <a:gd name="connsiteY4" fmla="*/ 85256 h 85631"/>
                    <a:gd name="connsiteX5" fmla="*/ 2217 w 98314"/>
                    <a:gd name="connsiteY5" fmla="*/ 62505 h 85631"/>
                    <a:gd name="connsiteX0" fmla="*/ 2659 w 98756"/>
                    <a:gd name="connsiteY0" fmla="*/ 62505 h 69284"/>
                    <a:gd name="connsiteX1" fmla="*/ 13104 w 98756"/>
                    <a:gd name="connsiteY1" fmla="*/ 3241 h 69284"/>
                    <a:gd name="connsiteX2" fmla="*/ 52295 w 98756"/>
                    <a:gd name="connsiteY2" fmla="*/ 8004 h 69284"/>
                    <a:gd name="connsiteX3" fmla="*/ 98756 w 98756"/>
                    <a:gd name="connsiteY3" fmla="*/ 46630 h 69284"/>
                    <a:gd name="connsiteX4" fmla="*/ 58645 w 98756"/>
                    <a:gd name="connsiteY4" fmla="*/ 66206 h 69284"/>
                    <a:gd name="connsiteX5" fmla="*/ 2659 w 98756"/>
                    <a:gd name="connsiteY5" fmla="*/ 62505 h 69284"/>
                    <a:gd name="connsiteX0" fmla="*/ 2659 w 98756"/>
                    <a:gd name="connsiteY0" fmla="*/ 62150 h 69531"/>
                    <a:gd name="connsiteX1" fmla="*/ 13104 w 98756"/>
                    <a:gd name="connsiteY1" fmla="*/ 2886 h 69531"/>
                    <a:gd name="connsiteX2" fmla="*/ 52295 w 98756"/>
                    <a:gd name="connsiteY2" fmla="*/ 7649 h 69531"/>
                    <a:gd name="connsiteX3" fmla="*/ 98756 w 98756"/>
                    <a:gd name="connsiteY3" fmla="*/ 36750 h 69531"/>
                    <a:gd name="connsiteX4" fmla="*/ 58645 w 98756"/>
                    <a:gd name="connsiteY4" fmla="*/ 65851 h 69531"/>
                    <a:gd name="connsiteX5" fmla="*/ 2659 w 98756"/>
                    <a:gd name="connsiteY5" fmla="*/ 62150 h 69531"/>
                    <a:gd name="connsiteX0" fmla="*/ 2659 w 98756"/>
                    <a:gd name="connsiteY0" fmla="*/ 69247 h 76628"/>
                    <a:gd name="connsiteX1" fmla="*/ 13104 w 98756"/>
                    <a:gd name="connsiteY1" fmla="*/ 9983 h 76628"/>
                    <a:gd name="connsiteX2" fmla="*/ 58645 w 98756"/>
                    <a:gd name="connsiteY2" fmla="*/ 2046 h 76628"/>
                    <a:gd name="connsiteX3" fmla="*/ 98756 w 98756"/>
                    <a:gd name="connsiteY3" fmla="*/ 43847 h 76628"/>
                    <a:gd name="connsiteX4" fmla="*/ 58645 w 98756"/>
                    <a:gd name="connsiteY4" fmla="*/ 72948 h 76628"/>
                    <a:gd name="connsiteX5" fmla="*/ 2659 w 98756"/>
                    <a:gd name="connsiteY5" fmla="*/ 69247 h 76628"/>
                    <a:gd name="connsiteX0" fmla="*/ 12211 w 108308"/>
                    <a:gd name="connsiteY0" fmla="*/ 72519 h 80420"/>
                    <a:gd name="connsiteX1" fmla="*/ 3606 w 108308"/>
                    <a:gd name="connsiteY1" fmla="*/ 4803 h 80420"/>
                    <a:gd name="connsiteX2" fmla="*/ 68197 w 108308"/>
                    <a:gd name="connsiteY2" fmla="*/ 5318 h 80420"/>
                    <a:gd name="connsiteX3" fmla="*/ 108308 w 108308"/>
                    <a:gd name="connsiteY3" fmla="*/ 47119 h 80420"/>
                    <a:gd name="connsiteX4" fmla="*/ 68197 w 108308"/>
                    <a:gd name="connsiteY4" fmla="*/ 76220 h 80420"/>
                    <a:gd name="connsiteX5" fmla="*/ 12211 w 108308"/>
                    <a:gd name="connsiteY5" fmla="*/ 72519 h 80420"/>
                    <a:gd name="connsiteX0" fmla="*/ 2818 w 127490"/>
                    <a:gd name="connsiteY0" fmla="*/ 76745 h 83125"/>
                    <a:gd name="connsiteX1" fmla="*/ 22788 w 127490"/>
                    <a:gd name="connsiteY1" fmla="*/ 4803 h 83125"/>
                    <a:gd name="connsiteX2" fmla="*/ 87379 w 127490"/>
                    <a:gd name="connsiteY2" fmla="*/ 5318 h 83125"/>
                    <a:gd name="connsiteX3" fmla="*/ 127490 w 127490"/>
                    <a:gd name="connsiteY3" fmla="*/ 47119 h 83125"/>
                    <a:gd name="connsiteX4" fmla="*/ 87379 w 127490"/>
                    <a:gd name="connsiteY4" fmla="*/ 76220 h 83125"/>
                    <a:gd name="connsiteX5" fmla="*/ 2818 w 127490"/>
                    <a:gd name="connsiteY5" fmla="*/ 76745 h 83125"/>
                    <a:gd name="connsiteX0" fmla="*/ 4020 w 128692"/>
                    <a:gd name="connsiteY0" fmla="*/ 76745 h 85175"/>
                    <a:gd name="connsiteX1" fmla="*/ 23990 w 128692"/>
                    <a:gd name="connsiteY1" fmla="*/ 4803 h 85175"/>
                    <a:gd name="connsiteX2" fmla="*/ 88581 w 128692"/>
                    <a:gd name="connsiteY2" fmla="*/ 5318 h 85175"/>
                    <a:gd name="connsiteX3" fmla="*/ 128692 w 128692"/>
                    <a:gd name="connsiteY3" fmla="*/ 47119 h 85175"/>
                    <a:gd name="connsiteX4" fmla="*/ 107631 w 128692"/>
                    <a:gd name="connsiteY4" fmla="*/ 80446 h 85175"/>
                    <a:gd name="connsiteX5" fmla="*/ 4020 w 128692"/>
                    <a:gd name="connsiteY5" fmla="*/ 76745 h 85175"/>
                    <a:gd name="connsiteX0" fmla="*/ 311 w 124983"/>
                    <a:gd name="connsiteY0" fmla="*/ 114981 h 126242"/>
                    <a:gd name="connsiteX1" fmla="*/ 71081 w 124983"/>
                    <a:gd name="connsiteY1" fmla="*/ 780 h 126242"/>
                    <a:gd name="connsiteX2" fmla="*/ 84872 w 124983"/>
                    <a:gd name="connsiteY2" fmla="*/ 43554 h 126242"/>
                    <a:gd name="connsiteX3" fmla="*/ 124983 w 124983"/>
                    <a:gd name="connsiteY3" fmla="*/ 85355 h 126242"/>
                    <a:gd name="connsiteX4" fmla="*/ 103922 w 124983"/>
                    <a:gd name="connsiteY4" fmla="*/ 118682 h 126242"/>
                    <a:gd name="connsiteX5" fmla="*/ 311 w 124983"/>
                    <a:gd name="connsiteY5" fmla="*/ 114981 h 126242"/>
                    <a:gd name="connsiteX0" fmla="*/ 3123 w 127795"/>
                    <a:gd name="connsiteY0" fmla="*/ 136754 h 149197"/>
                    <a:gd name="connsiteX1" fmla="*/ 31136 w 127795"/>
                    <a:gd name="connsiteY1" fmla="*/ 5728 h 149197"/>
                    <a:gd name="connsiteX2" fmla="*/ 73893 w 127795"/>
                    <a:gd name="connsiteY2" fmla="*/ 22553 h 149197"/>
                    <a:gd name="connsiteX3" fmla="*/ 87684 w 127795"/>
                    <a:gd name="connsiteY3" fmla="*/ 65327 h 149197"/>
                    <a:gd name="connsiteX4" fmla="*/ 127795 w 127795"/>
                    <a:gd name="connsiteY4" fmla="*/ 107128 h 149197"/>
                    <a:gd name="connsiteX5" fmla="*/ 106734 w 127795"/>
                    <a:gd name="connsiteY5" fmla="*/ 140455 h 149197"/>
                    <a:gd name="connsiteX6" fmla="*/ 3123 w 127795"/>
                    <a:gd name="connsiteY6" fmla="*/ 136754 h 149197"/>
                    <a:gd name="connsiteX0" fmla="*/ 9048 w 133720"/>
                    <a:gd name="connsiteY0" fmla="*/ 185654 h 201733"/>
                    <a:gd name="connsiteX1" fmla="*/ 8486 w 133720"/>
                    <a:gd name="connsiteY1" fmla="*/ 3916 h 201733"/>
                    <a:gd name="connsiteX2" fmla="*/ 37061 w 133720"/>
                    <a:gd name="connsiteY2" fmla="*/ 54628 h 201733"/>
                    <a:gd name="connsiteX3" fmla="*/ 79818 w 133720"/>
                    <a:gd name="connsiteY3" fmla="*/ 71453 h 201733"/>
                    <a:gd name="connsiteX4" fmla="*/ 93609 w 133720"/>
                    <a:gd name="connsiteY4" fmla="*/ 114227 h 201733"/>
                    <a:gd name="connsiteX5" fmla="*/ 133720 w 133720"/>
                    <a:gd name="connsiteY5" fmla="*/ 156028 h 201733"/>
                    <a:gd name="connsiteX6" fmla="*/ 112659 w 133720"/>
                    <a:gd name="connsiteY6" fmla="*/ 189355 h 201733"/>
                    <a:gd name="connsiteX7" fmla="*/ 9048 w 133720"/>
                    <a:gd name="connsiteY7" fmla="*/ 185654 h 201733"/>
                    <a:gd name="connsiteX0" fmla="*/ 9048 w 133720"/>
                    <a:gd name="connsiteY0" fmla="*/ 192718 h 208797"/>
                    <a:gd name="connsiteX1" fmla="*/ 8486 w 133720"/>
                    <a:gd name="connsiteY1" fmla="*/ 10980 h 208797"/>
                    <a:gd name="connsiteX2" fmla="*/ 37061 w 133720"/>
                    <a:gd name="connsiteY2" fmla="*/ 19432 h 208797"/>
                    <a:gd name="connsiteX3" fmla="*/ 37061 w 133720"/>
                    <a:gd name="connsiteY3" fmla="*/ 61692 h 208797"/>
                    <a:gd name="connsiteX4" fmla="*/ 79818 w 133720"/>
                    <a:gd name="connsiteY4" fmla="*/ 78517 h 208797"/>
                    <a:gd name="connsiteX5" fmla="*/ 93609 w 133720"/>
                    <a:gd name="connsiteY5" fmla="*/ 121291 h 208797"/>
                    <a:gd name="connsiteX6" fmla="*/ 133720 w 133720"/>
                    <a:gd name="connsiteY6" fmla="*/ 163092 h 208797"/>
                    <a:gd name="connsiteX7" fmla="*/ 112659 w 133720"/>
                    <a:gd name="connsiteY7" fmla="*/ 196419 h 208797"/>
                    <a:gd name="connsiteX8" fmla="*/ 9048 w 133720"/>
                    <a:gd name="connsiteY8" fmla="*/ 192718 h 208797"/>
                    <a:gd name="connsiteX0" fmla="*/ 33011 w 125933"/>
                    <a:gd name="connsiteY0" fmla="*/ 142007 h 196916"/>
                    <a:gd name="connsiteX1" fmla="*/ 699 w 125933"/>
                    <a:gd name="connsiteY1" fmla="*/ 10980 h 196916"/>
                    <a:gd name="connsiteX2" fmla="*/ 29274 w 125933"/>
                    <a:gd name="connsiteY2" fmla="*/ 19432 h 196916"/>
                    <a:gd name="connsiteX3" fmla="*/ 29274 w 125933"/>
                    <a:gd name="connsiteY3" fmla="*/ 61692 h 196916"/>
                    <a:gd name="connsiteX4" fmla="*/ 72031 w 125933"/>
                    <a:gd name="connsiteY4" fmla="*/ 78517 h 196916"/>
                    <a:gd name="connsiteX5" fmla="*/ 85822 w 125933"/>
                    <a:gd name="connsiteY5" fmla="*/ 121291 h 196916"/>
                    <a:gd name="connsiteX6" fmla="*/ 125933 w 125933"/>
                    <a:gd name="connsiteY6" fmla="*/ 163092 h 196916"/>
                    <a:gd name="connsiteX7" fmla="*/ 104872 w 125933"/>
                    <a:gd name="connsiteY7" fmla="*/ 196419 h 196916"/>
                    <a:gd name="connsiteX8" fmla="*/ 33011 w 125933"/>
                    <a:gd name="connsiteY8" fmla="*/ 142007 h 196916"/>
                    <a:gd name="connsiteX0" fmla="*/ 49204 w 142126"/>
                    <a:gd name="connsiteY0" fmla="*/ 142007 h 196916"/>
                    <a:gd name="connsiteX1" fmla="*/ 1017 w 142126"/>
                    <a:gd name="connsiteY1" fmla="*/ 61692 h 196916"/>
                    <a:gd name="connsiteX2" fmla="*/ 16892 w 142126"/>
                    <a:gd name="connsiteY2" fmla="*/ 10980 h 196916"/>
                    <a:gd name="connsiteX3" fmla="*/ 45467 w 142126"/>
                    <a:gd name="connsiteY3" fmla="*/ 19432 h 196916"/>
                    <a:gd name="connsiteX4" fmla="*/ 45467 w 142126"/>
                    <a:gd name="connsiteY4" fmla="*/ 61692 h 196916"/>
                    <a:gd name="connsiteX5" fmla="*/ 88224 w 142126"/>
                    <a:gd name="connsiteY5" fmla="*/ 78517 h 196916"/>
                    <a:gd name="connsiteX6" fmla="*/ 102015 w 142126"/>
                    <a:gd name="connsiteY6" fmla="*/ 121291 h 196916"/>
                    <a:gd name="connsiteX7" fmla="*/ 142126 w 142126"/>
                    <a:gd name="connsiteY7" fmla="*/ 163092 h 196916"/>
                    <a:gd name="connsiteX8" fmla="*/ 121065 w 142126"/>
                    <a:gd name="connsiteY8" fmla="*/ 196419 h 196916"/>
                    <a:gd name="connsiteX9" fmla="*/ 49204 w 142126"/>
                    <a:gd name="connsiteY9" fmla="*/ 142007 h 196916"/>
                    <a:gd name="connsiteX0" fmla="*/ 49204 w 142126"/>
                    <a:gd name="connsiteY0" fmla="*/ 142007 h 173263"/>
                    <a:gd name="connsiteX1" fmla="*/ 1017 w 142126"/>
                    <a:gd name="connsiteY1" fmla="*/ 61692 h 173263"/>
                    <a:gd name="connsiteX2" fmla="*/ 16892 w 142126"/>
                    <a:gd name="connsiteY2" fmla="*/ 10980 h 173263"/>
                    <a:gd name="connsiteX3" fmla="*/ 45467 w 142126"/>
                    <a:gd name="connsiteY3" fmla="*/ 19432 h 173263"/>
                    <a:gd name="connsiteX4" fmla="*/ 45467 w 142126"/>
                    <a:gd name="connsiteY4" fmla="*/ 61692 h 173263"/>
                    <a:gd name="connsiteX5" fmla="*/ 88224 w 142126"/>
                    <a:gd name="connsiteY5" fmla="*/ 78517 h 173263"/>
                    <a:gd name="connsiteX6" fmla="*/ 102015 w 142126"/>
                    <a:gd name="connsiteY6" fmla="*/ 121291 h 173263"/>
                    <a:gd name="connsiteX7" fmla="*/ 142126 w 142126"/>
                    <a:gd name="connsiteY7" fmla="*/ 163092 h 173263"/>
                    <a:gd name="connsiteX8" fmla="*/ 79790 w 142126"/>
                    <a:gd name="connsiteY8" fmla="*/ 162612 h 173263"/>
                    <a:gd name="connsiteX9" fmla="*/ 49204 w 142126"/>
                    <a:gd name="connsiteY9" fmla="*/ 142007 h 173263"/>
                    <a:gd name="connsiteX0" fmla="*/ 49204 w 110376"/>
                    <a:gd name="connsiteY0" fmla="*/ 142007 h 162833"/>
                    <a:gd name="connsiteX1" fmla="*/ 1017 w 110376"/>
                    <a:gd name="connsiteY1" fmla="*/ 61692 h 162833"/>
                    <a:gd name="connsiteX2" fmla="*/ 16892 w 110376"/>
                    <a:gd name="connsiteY2" fmla="*/ 10980 h 162833"/>
                    <a:gd name="connsiteX3" fmla="*/ 45467 w 110376"/>
                    <a:gd name="connsiteY3" fmla="*/ 19432 h 162833"/>
                    <a:gd name="connsiteX4" fmla="*/ 45467 w 110376"/>
                    <a:gd name="connsiteY4" fmla="*/ 61692 h 162833"/>
                    <a:gd name="connsiteX5" fmla="*/ 88224 w 110376"/>
                    <a:gd name="connsiteY5" fmla="*/ 78517 h 162833"/>
                    <a:gd name="connsiteX6" fmla="*/ 102015 w 110376"/>
                    <a:gd name="connsiteY6" fmla="*/ 121291 h 162833"/>
                    <a:gd name="connsiteX7" fmla="*/ 110376 w 110376"/>
                    <a:gd name="connsiteY7" fmla="*/ 133510 h 162833"/>
                    <a:gd name="connsiteX8" fmla="*/ 79790 w 110376"/>
                    <a:gd name="connsiteY8" fmla="*/ 162612 h 162833"/>
                    <a:gd name="connsiteX9" fmla="*/ 49204 w 110376"/>
                    <a:gd name="connsiteY9" fmla="*/ 142007 h 162833"/>
                    <a:gd name="connsiteX0" fmla="*/ 49204 w 110376"/>
                    <a:gd name="connsiteY0" fmla="*/ 142007 h 162833"/>
                    <a:gd name="connsiteX1" fmla="*/ 1017 w 110376"/>
                    <a:gd name="connsiteY1" fmla="*/ 61692 h 162833"/>
                    <a:gd name="connsiteX2" fmla="*/ 16892 w 110376"/>
                    <a:gd name="connsiteY2" fmla="*/ 10980 h 162833"/>
                    <a:gd name="connsiteX3" fmla="*/ 45467 w 110376"/>
                    <a:gd name="connsiteY3" fmla="*/ 19432 h 162833"/>
                    <a:gd name="connsiteX4" fmla="*/ 62136 w 110376"/>
                    <a:gd name="connsiteY4" fmla="*/ 49014 h 162833"/>
                    <a:gd name="connsiteX5" fmla="*/ 88224 w 110376"/>
                    <a:gd name="connsiteY5" fmla="*/ 78517 h 162833"/>
                    <a:gd name="connsiteX6" fmla="*/ 102015 w 110376"/>
                    <a:gd name="connsiteY6" fmla="*/ 121291 h 162833"/>
                    <a:gd name="connsiteX7" fmla="*/ 110376 w 110376"/>
                    <a:gd name="connsiteY7" fmla="*/ 133510 h 162833"/>
                    <a:gd name="connsiteX8" fmla="*/ 79790 w 110376"/>
                    <a:gd name="connsiteY8" fmla="*/ 162612 h 162833"/>
                    <a:gd name="connsiteX9" fmla="*/ 49204 w 110376"/>
                    <a:gd name="connsiteY9" fmla="*/ 142007 h 162833"/>
                    <a:gd name="connsiteX0" fmla="*/ 49204 w 105613"/>
                    <a:gd name="connsiteY0" fmla="*/ 142007 h 164051"/>
                    <a:gd name="connsiteX1" fmla="*/ 1017 w 105613"/>
                    <a:gd name="connsiteY1" fmla="*/ 61692 h 164051"/>
                    <a:gd name="connsiteX2" fmla="*/ 16892 w 105613"/>
                    <a:gd name="connsiteY2" fmla="*/ 10980 h 164051"/>
                    <a:gd name="connsiteX3" fmla="*/ 45467 w 105613"/>
                    <a:gd name="connsiteY3" fmla="*/ 19432 h 164051"/>
                    <a:gd name="connsiteX4" fmla="*/ 62136 w 105613"/>
                    <a:gd name="connsiteY4" fmla="*/ 49014 h 164051"/>
                    <a:gd name="connsiteX5" fmla="*/ 88224 w 105613"/>
                    <a:gd name="connsiteY5" fmla="*/ 78517 h 164051"/>
                    <a:gd name="connsiteX6" fmla="*/ 102015 w 105613"/>
                    <a:gd name="connsiteY6" fmla="*/ 121291 h 164051"/>
                    <a:gd name="connsiteX7" fmla="*/ 105613 w 105613"/>
                    <a:gd name="connsiteY7" fmla="*/ 111323 h 164051"/>
                    <a:gd name="connsiteX8" fmla="*/ 79790 w 105613"/>
                    <a:gd name="connsiteY8" fmla="*/ 162612 h 164051"/>
                    <a:gd name="connsiteX9" fmla="*/ 49204 w 105613"/>
                    <a:gd name="connsiteY9" fmla="*/ 142007 h 164051"/>
                    <a:gd name="connsiteX0" fmla="*/ 49204 w 105613"/>
                    <a:gd name="connsiteY0" fmla="*/ 142007 h 149974"/>
                    <a:gd name="connsiteX1" fmla="*/ 1017 w 105613"/>
                    <a:gd name="connsiteY1" fmla="*/ 61692 h 149974"/>
                    <a:gd name="connsiteX2" fmla="*/ 16892 w 105613"/>
                    <a:gd name="connsiteY2" fmla="*/ 10980 h 149974"/>
                    <a:gd name="connsiteX3" fmla="*/ 45467 w 105613"/>
                    <a:gd name="connsiteY3" fmla="*/ 19432 h 149974"/>
                    <a:gd name="connsiteX4" fmla="*/ 62136 w 105613"/>
                    <a:gd name="connsiteY4" fmla="*/ 49014 h 149974"/>
                    <a:gd name="connsiteX5" fmla="*/ 88224 w 105613"/>
                    <a:gd name="connsiteY5" fmla="*/ 78517 h 149974"/>
                    <a:gd name="connsiteX6" fmla="*/ 102015 w 105613"/>
                    <a:gd name="connsiteY6" fmla="*/ 121291 h 149974"/>
                    <a:gd name="connsiteX7" fmla="*/ 105613 w 105613"/>
                    <a:gd name="connsiteY7" fmla="*/ 111323 h 149974"/>
                    <a:gd name="connsiteX8" fmla="*/ 89315 w 105613"/>
                    <a:gd name="connsiteY8" fmla="*/ 143596 h 149974"/>
                    <a:gd name="connsiteX9" fmla="*/ 49204 w 105613"/>
                    <a:gd name="connsiteY9" fmla="*/ 142007 h 149974"/>
                    <a:gd name="connsiteX0" fmla="*/ 53967 w 105613"/>
                    <a:gd name="connsiteY0" fmla="*/ 122990 h 143862"/>
                    <a:gd name="connsiteX1" fmla="*/ 1017 w 105613"/>
                    <a:gd name="connsiteY1" fmla="*/ 61692 h 143862"/>
                    <a:gd name="connsiteX2" fmla="*/ 16892 w 105613"/>
                    <a:gd name="connsiteY2" fmla="*/ 10980 h 143862"/>
                    <a:gd name="connsiteX3" fmla="*/ 45467 w 105613"/>
                    <a:gd name="connsiteY3" fmla="*/ 19432 h 143862"/>
                    <a:gd name="connsiteX4" fmla="*/ 62136 w 105613"/>
                    <a:gd name="connsiteY4" fmla="*/ 49014 h 143862"/>
                    <a:gd name="connsiteX5" fmla="*/ 88224 w 105613"/>
                    <a:gd name="connsiteY5" fmla="*/ 78517 h 143862"/>
                    <a:gd name="connsiteX6" fmla="*/ 102015 w 105613"/>
                    <a:gd name="connsiteY6" fmla="*/ 121291 h 143862"/>
                    <a:gd name="connsiteX7" fmla="*/ 105613 w 105613"/>
                    <a:gd name="connsiteY7" fmla="*/ 111323 h 143862"/>
                    <a:gd name="connsiteX8" fmla="*/ 89315 w 105613"/>
                    <a:gd name="connsiteY8" fmla="*/ 143596 h 143862"/>
                    <a:gd name="connsiteX9" fmla="*/ 53967 w 105613"/>
                    <a:gd name="connsiteY9" fmla="*/ 122990 h 143862"/>
                    <a:gd name="connsiteX0" fmla="*/ 40087 w 91733"/>
                    <a:gd name="connsiteY0" fmla="*/ 122990 h 143903"/>
                    <a:gd name="connsiteX1" fmla="*/ 3806 w 91733"/>
                    <a:gd name="connsiteY1" fmla="*/ 52185 h 143903"/>
                    <a:gd name="connsiteX2" fmla="*/ 3012 w 91733"/>
                    <a:gd name="connsiteY2" fmla="*/ 10980 h 143903"/>
                    <a:gd name="connsiteX3" fmla="*/ 31587 w 91733"/>
                    <a:gd name="connsiteY3" fmla="*/ 19432 h 143903"/>
                    <a:gd name="connsiteX4" fmla="*/ 48256 w 91733"/>
                    <a:gd name="connsiteY4" fmla="*/ 49014 h 143903"/>
                    <a:gd name="connsiteX5" fmla="*/ 74344 w 91733"/>
                    <a:gd name="connsiteY5" fmla="*/ 78517 h 143903"/>
                    <a:gd name="connsiteX6" fmla="*/ 88135 w 91733"/>
                    <a:gd name="connsiteY6" fmla="*/ 121291 h 143903"/>
                    <a:gd name="connsiteX7" fmla="*/ 91733 w 91733"/>
                    <a:gd name="connsiteY7" fmla="*/ 111323 h 143903"/>
                    <a:gd name="connsiteX8" fmla="*/ 75435 w 91733"/>
                    <a:gd name="connsiteY8" fmla="*/ 143596 h 143903"/>
                    <a:gd name="connsiteX9" fmla="*/ 40087 w 91733"/>
                    <a:gd name="connsiteY9" fmla="*/ 122990 h 143903"/>
                    <a:gd name="connsiteX0" fmla="*/ 44850 w 91733"/>
                    <a:gd name="connsiteY0" fmla="*/ 110312 h 143597"/>
                    <a:gd name="connsiteX1" fmla="*/ 3806 w 91733"/>
                    <a:gd name="connsiteY1" fmla="*/ 52185 h 143597"/>
                    <a:gd name="connsiteX2" fmla="*/ 3012 w 91733"/>
                    <a:gd name="connsiteY2" fmla="*/ 10980 h 143597"/>
                    <a:gd name="connsiteX3" fmla="*/ 31587 w 91733"/>
                    <a:gd name="connsiteY3" fmla="*/ 19432 h 143597"/>
                    <a:gd name="connsiteX4" fmla="*/ 48256 w 91733"/>
                    <a:gd name="connsiteY4" fmla="*/ 49014 h 143597"/>
                    <a:gd name="connsiteX5" fmla="*/ 74344 w 91733"/>
                    <a:gd name="connsiteY5" fmla="*/ 78517 h 143597"/>
                    <a:gd name="connsiteX6" fmla="*/ 88135 w 91733"/>
                    <a:gd name="connsiteY6" fmla="*/ 121291 h 143597"/>
                    <a:gd name="connsiteX7" fmla="*/ 91733 w 91733"/>
                    <a:gd name="connsiteY7" fmla="*/ 111323 h 143597"/>
                    <a:gd name="connsiteX8" fmla="*/ 75435 w 91733"/>
                    <a:gd name="connsiteY8" fmla="*/ 143596 h 143597"/>
                    <a:gd name="connsiteX9" fmla="*/ 44850 w 91733"/>
                    <a:gd name="connsiteY9" fmla="*/ 110312 h 143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1733" h="143597">
                      <a:moveTo>
                        <a:pt x="44850" y="110312"/>
                      </a:moveTo>
                      <a:cubicBezTo>
                        <a:pt x="32912" y="95077"/>
                        <a:pt x="9191" y="74023"/>
                        <a:pt x="3806" y="52185"/>
                      </a:cubicBezTo>
                      <a:cubicBezTo>
                        <a:pt x="-1579" y="30347"/>
                        <a:pt x="-692" y="22249"/>
                        <a:pt x="3012" y="10980"/>
                      </a:cubicBezTo>
                      <a:cubicBezTo>
                        <a:pt x="6093" y="-14379"/>
                        <a:pt x="26824" y="10980"/>
                        <a:pt x="31587" y="19432"/>
                      </a:cubicBezTo>
                      <a:cubicBezTo>
                        <a:pt x="36350" y="27884"/>
                        <a:pt x="39542" y="42688"/>
                        <a:pt x="48256" y="49014"/>
                      </a:cubicBezTo>
                      <a:cubicBezTo>
                        <a:pt x="56970" y="55340"/>
                        <a:pt x="66507" y="77036"/>
                        <a:pt x="74344" y="78517"/>
                      </a:cubicBezTo>
                      <a:cubicBezTo>
                        <a:pt x="82181" y="79998"/>
                        <a:pt x="85237" y="115823"/>
                        <a:pt x="88135" y="121291"/>
                      </a:cubicBezTo>
                      <a:cubicBezTo>
                        <a:pt x="91033" y="126759"/>
                        <a:pt x="91733" y="89990"/>
                        <a:pt x="91733" y="111323"/>
                      </a:cubicBezTo>
                      <a:cubicBezTo>
                        <a:pt x="91733" y="132656"/>
                        <a:pt x="83249" y="143764"/>
                        <a:pt x="75435" y="143596"/>
                      </a:cubicBezTo>
                      <a:cubicBezTo>
                        <a:pt x="67621" y="143428"/>
                        <a:pt x="56788" y="125547"/>
                        <a:pt x="44850" y="110312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9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424" name="Forma livre 351"/>
          <p:cNvSpPr/>
          <p:nvPr/>
        </p:nvSpPr>
        <p:spPr>
          <a:xfrm>
            <a:off x="4849906" y="2223247"/>
            <a:ext cx="609934" cy="1146413"/>
          </a:xfrm>
          <a:custGeom>
            <a:avLst/>
            <a:gdLst>
              <a:gd name="connsiteX0" fmla="*/ 125506 w 609934"/>
              <a:gd name="connsiteY0" fmla="*/ 1138518 h 1138518"/>
              <a:gd name="connsiteX1" fmla="*/ 89647 w 609934"/>
              <a:gd name="connsiteY1" fmla="*/ 1093694 h 1138518"/>
              <a:gd name="connsiteX2" fmla="*/ 53788 w 609934"/>
              <a:gd name="connsiteY2" fmla="*/ 1039906 h 1138518"/>
              <a:gd name="connsiteX3" fmla="*/ 44823 w 609934"/>
              <a:gd name="connsiteY3" fmla="*/ 1004047 h 1138518"/>
              <a:gd name="connsiteX4" fmla="*/ 17929 w 609934"/>
              <a:gd name="connsiteY4" fmla="*/ 923365 h 1138518"/>
              <a:gd name="connsiteX5" fmla="*/ 8965 w 609934"/>
              <a:gd name="connsiteY5" fmla="*/ 896471 h 1138518"/>
              <a:gd name="connsiteX6" fmla="*/ 0 w 609934"/>
              <a:gd name="connsiteY6" fmla="*/ 869577 h 1138518"/>
              <a:gd name="connsiteX7" fmla="*/ 8965 w 609934"/>
              <a:gd name="connsiteY7" fmla="*/ 717177 h 1138518"/>
              <a:gd name="connsiteX8" fmla="*/ 26894 w 609934"/>
              <a:gd name="connsiteY8" fmla="*/ 663388 h 1138518"/>
              <a:gd name="connsiteX9" fmla="*/ 35859 w 609934"/>
              <a:gd name="connsiteY9" fmla="*/ 636494 h 1138518"/>
              <a:gd name="connsiteX10" fmla="*/ 53788 w 609934"/>
              <a:gd name="connsiteY10" fmla="*/ 609600 h 1138518"/>
              <a:gd name="connsiteX11" fmla="*/ 89647 w 609934"/>
              <a:gd name="connsiteY11" fmla="*/ 537882 h 1138518"/>
              <a:gd name="connsiteX12" fmla="*/ 107576 w 609934"/>
              <a:gd name="connsiteY12" fmla="*/ 385482 h 1138518"/>
              <a:gd name="connsiteX13" fmla="*/ 116541 w 609934"/>
              <a:gd name="connsiteY13" fmla="*/ 322729 h 1138518"/>
              <a:gd name="connsiteX14" fmla="*/ 116541 w 609934"/>
              <a:gd name="connsiteY14" fmla="*/ 89647 h 1138518"/>
              <a:gd name="connsiteX15" fmla="*/ 125506 w 609934"/>
              <a:gd name="connsiteY15" fmla="*/ 62753 h 1138518"/>
              <a:gd name="connsiteX16" fmla="*/ 179294 w 609934"/>
              <a:gd name="connsiteY16" fmla="*/ 17929 h 1138518"/>
              <a:gd name="connsiteX17" fmla="*/ 233082 w 609934"/>
              <a:gd name="connsiteY17" fmla="*/ 0 h 1138518"/>
              <a:gd name="connsiteX18" fmla="*/ 430306 w 609934"/>
              <a:gd name="connsiteY18" fmla="*/ 8965 h 1138518"/>
              <a:gd name="connsiteX19" fmla="*/ 457200 w 609934"/>
              <a:gd name="connsiteY19" fmla="*/ 44824 h 1138518"/>
              <a:gd name="connsiteX20" fmla="*/ 475129 w 609934"/>
              <a:gd name="connsiteY20" fmla="*/ 71718 h 1138518"/>
              <a:gd name="connsiteX21" fmla="*/ 528918 w 609934"/>
              <a:gd name="connsiteY21" fmla="*/ 134471 h 1138518"/>
              <a:gd name="connsiteX22" fmla="*/ 564776 w 609934"/>
              <a:gd name="connsiteY22" fmla="*/ 215153 h 1138518"/>
              <a:gd name="connsiteX23" fmla="*/ 573741 w 609934"/>
              <a:gd name="connsiteY23" fmla="*/ 251012 h 1138518"/>
              <a:gd name="connsiteX24" fmla="*/ 591670 w 609934"/>
              <a:gd name="connsiteY24" fmla="*/ 358588 h 1138518"/>
              <a:gd name="connsiteX25" fmla="*/ 600635 w 609934"/>
              <a:gd name="connsiteY25" fmla="*/ 546847 h 1138518"/>
              <a:gd name="connsiteX26" fmla="*/ 609600 w 609934"/>
              <a:gd name="connsiteY26" fmla="*/ 609600 h 1138518"/>
              <a:gd name="connsiteX27" fmla="*/ 591670 w 609934"/>
              <a:gd name="connsiteY27" fmla="*/ 779929 h 1138518"/>
              <a:gd name="connsiteX28" fmla="*/ 573741 w 609934"/>
              <a:gd name="connsiteY28" fmla="*/ 842682 h 1138518"/>
              <a:gd name="connsiteX29" fmla="*/ 555812 w 609934"/>
              <a:gd name="connsiteY29" fmla="*/ 860612 h 1138518"/>
              <a:gd name="connsiteX30" fmla="*/ 528918 w 609934"/>
              <a:gd name="connsiteY30" fmla="*/ 923365 h 1138518"/>
              <a:gd name="connsiteX31" fmla="*/ 519953 w 609934"/>
              <a:gd name="connsiteY31" fmla="*/ 950259 h 1138518"/>
              <a:gd name="connsiteX32" fmla="*/ 502023 w 609934"/>
              <a:gd name="connsiteY32" fmla="*/ 968188 h 1138518"/>
              <a:gd name="connsiteX33" fmla="*/ 448235 w 609934"/>
              <a:gd name="connsiteY33" fmla="*/ 1030941 h 1138518"/>
              <a:gd name="connsiteX34" fmla="*/ 412376 w 609934"/>
              <a:gd name="connsiteY34" fmla="*/ 1066800 h 1138518"/>
              <a:gd name="connsiteX35" fmla="*/ 385482 w 609934"/>
              <a:gd name="connsiteY35" fmla="*/ 1084729 h 1138518"/>
              <a:gd name="connsiteX36" fmla="*/ 322729 w 609934"/>
              <a:gd name="connsiteY36" fmla="*/ 1129553 h 1138518"/>
              <a:gd name="connsiteX37" fmla="*/ 161365 w 609934"/>
              <a:gd name="connsiteY37" fmla="*/ 1120588 h 1138518"/>
              <a:gd name="connsiteX38" fmla="*/ 134470 w 609934"/>
              <a:gd name="connsiteY38" fmla="*/ 1111624 h 1138518"/>
              <a:gd name="connsiteX39" fmla="*/ 89647 w 609934"/>
              <a:gd name="connsiteY39" fmla="*/ 1066800 h 1138518"/>
              <a:gd name="connsiteX0" fmla="*/ 125506 w 609934"/>
              <a:gd name="connsiteY0" fmla="*/ 1138518 h 1138518"/>
              <a:gd name="connsiteX1" fmla="*/ 89647 w 609934"/>
              <a:gd name="connsiteY1" fmla="*/ 1093694 h 1138518"/>
              <a:gd name="connsiteX2" fmla="*/ 53788 w 609934"/>
              <a:gd name="connsiteY2" fmla="*/ 1039906 h 1138518"/>
              <a:gd name="connsiteX3" fmla="*/ 44823 w 609934"/>
              <a:gd name="connsiteY3" fmla="*/ 1004047 h 1138518"/>
              <a:gd name="connsiteX4" fmla="*/ 17929 w 609934"/>
              <a:gd name="connsiteY4" fmla="*/ 923365 h 1138518"/>
              <a:gd name="connsiteX5" fmla="*/ 8965 w 609934"/>
              <a:gd name="connsiteY5" fmla="*/ 896471 h 1138518"/>
              <a:gd name="connsiteX6" fmla="*/ 0 w 609934"/>
              <a:gd name="connsiteY6" fmla="*/ 869577 h 1138518"/>
              <a:gd name="connsiteX7" fmla="*/ 8965 w 609934"/>
              <a:gd name="connsiteY7" fmla="*/ 717177 h 1138518"/>
              <a:gd name="connsiteX8" fmla="*/ 26894 w 609934"/>
              <a:gd name="connsiteY8" fmla="*/ 663388 h 1138518"/>
              <a:gd name="connsiteX9" fmla="*/ 35859 w 609934"/>
              <a:gd name="connsiteY9" fmla="*/ 636494 h 1138518"/>
              <a:gd name="connsiteX10" fmla="*/ 53788 w 609934"/>
              <a:gd name="connsiteY10" fmla="*/ 609600 h 1138518"/>
              <a:gd name="connsiteX11" fmla="*/ 89647 w 609934"/>
              <a:gd name="connsiteY11" fmla="*/ 537882 h 1138518"/>
              <a:gd name="connsiteX12" fmla="*/ 107576 w 609934"/>
              <a:gd name="connsiteY12" fmla="*/ 385482 h 1138518"/>
              <a:gd name="connsiteX13" fmla="*/ 116541 w 609934"/>
              <a:gd name="connsiteY13" fmla="*/ 322729 h 1138518"/>
              <a:gd name="connsiteX14" fmla="*/ 116541 w 609934"/>
              <a:gd name="connsiteY14" fmla="*/ 89647 h 1138518"/>
              <a:gd name="connsiteX15" fmla="*/ 125506 w 609934"/>
              <a:gd name="connsiteY15" fmla="*/ 62753 h 1138518"/>
              <a:gd name="connsiteX16" fmla="*/ 179294 w 609934"/>
              <a:gd name="connsiteY16" fmla="*/ 17929 h 1138518"/>
              <a:gd name="connsiteX17" fmla="*/ 233082 w 609934"/>
              <a:gd name="connsiteY17" fmla="*/ 0 h 1138518"/>
              <a:gd name="connsiteX18" fmla="*/ 430306 w 609934"/>
              <a:gd name="connsiteY18" fmla="*/ 8965 h 1138518"/>
              <a:gd name="connsiteX19" fmla="*/ 457200 w 609934"/>
              <a:gd name="connsiteY19" fmla="*/ 44824 h 1138518"/>
              <a:gd name="connsiteX20" fmla="*/ 475129 w 609934"/>
              <a:gd name="connsiteY20" fmla="*/ 71718 h 1138518"/>
              <a:gd name="connsiteX21" fmla="*/ 528918 w 609934"/>
              <a:gd name="connsiteY21" fmla="*/ 134471 h 1138518"/>
              <a:gd name="connsiteX22" fmla="*/ 564776 w 609934"/>
              <a:gd name="connsiteY22" fmla="*/ 215153 h 1138518"/>
              <a:gd name="connsiteX23" fmla="*/ 573741 w 609934"/>
              <a:gd name="connsiteY23" fmla="*/ 251012 h 1138518"/>
              <a:gd name="connsiteX24" fmla="*/ 591670 w 609934"/>
              <a:gd name="connsiteY24" fmla="*/ 358588 h 1138518"/>
              <a:gd name="connsiteX25" fmla="*/ 600635 w 609934"/>
              <a:gd name="connsiteY25" fmla="*/ 546847 h 1138518"/>
              <a:gd name="connsiteX26" fmla="*/ 609600 w 609934"/>
              <a:gd name="connsiteY26" fmla="*/ 609600 h 1138518"/>
              <a:gd name="connsiteX27" fmla="*/ 591670 w 609934"/>
              <a:gd name="connsiteY27" fmla="*/ 779929 h 1138518"/>
              <a:gd name="connsiteX28" fmla="*/ 573741 w 609934"/>
              <a:gd name="connsiteY28" fmla="*/ 842682 h 1138518"/>
              <a:gd name="connsiteX29" fmla="*/ 555812 w 609934"/>
              <a:gd name="connsiteY29" fmla="*/ 860612 h 1138518"/>
              <a:gd name="connsiteX30" fmla="*/ 528918 w 609934"/>
              <a:gd name="connsiteY30" fmla="*/ 923365 h 1138518"/>
              <a:gd name="connsiteX31" fmla="*/ 519953 w 609934"/>
              <a:gd name="connsiteY31" fmla="*/ 950259 h 1138518"/>
              <a:gd name="connsiteX32" fmla="*/ 502023 w 609934"/>
              <a:gd name="connsiteY32" fmla="*/ 968188 h 1138518"/>
              <a:gd name="connsiteX33" fmla="*/ 448235 w 609934"/>
              <a:gd name="connsiteY33" fmla="*/ 1030941 h 1138518"/>
              <a:gd name="connsiteX34" fmla="*/ 412376 w 609934"/>
              <a:gd name="connsiteY34" fmla="*/ 1066800 h 1138518"/>
              <a:gd name="connsiteX35" fmla="*/ 385482 w 609934"/>
              <a:gd name="connsiteY35" fmla="*/ 1084729 h 1138518"/>
              <a:gd name="connsiteX36" fmla="*/ 322729 w 609934"/>
              <a:gd name="connsiteY36" fmla="*/ 1129553 h 1138518"/>
              <a:gd name="connsiteX37" fmla="*/ 161365 w 609934"/>
              <a:gd name="connsiteY37" fmla="*/ 1120588 h 1138518"/>
              <a:gd name="connsiteX38" fmla="*/ 134470 w 609934"/>
              <a:gd name="connsiteY38" fmla="*/ 1111624 h 1138518"/>
              <a:gd name="connsiteX0" fmla="*/ 125506 w 609934"/>
              <a:gd name="connsiteY0" fmla="*/ 1138518 h 1138518"/>
              <a:gd name="connsiteX1" fmla="*/ 89647 w 609934"/>
              <a:gd name="connsiteY1" fmla="*/ 1093694 h 1138518"/>
              <a:gd name="connsiteX2" fmla="*/ 53788 w 609934"/>
              <a:gd name="connsiteY2" fmla="*/ 1039906 h 1138518"/>
              <a:gd name="connsiteX3" fmla="*/ 44823 w 609934"/>
              <a:gd name="connsiteY3" fmla="*/ 1004047 h 1138518"/>
              <a:gd name="connsiteX4" fmla="*/ 17929 w 609934"/>
              <a:gd name="connsiteY4" fmla="*/ 923365 h 1138518"/>
              <a:gd name="connsiteX5" fmla="*/ 8965 w 609934"/>
              <a:gd name="connsiteY5" fmla="*/ 896471 h 1138518"/>
              <a:gd name="connsiteX6" fmla="*/ 0 w 609934"/>
              <a:gd name="connsiteY6" fmla="*/ 869577 h 1138518"/>
              <a:gd name="connsiteX7" fmla="*/ 8965 w 609934"/>
              <a:gd name="connsiteY7" fmla="*/ 717177 h 1138518"/>
              <a:gd name="connsiteX8" fmla="*/ 26894 w 609934"/>
              <a:gd name="connsiteY8" fmla="*/ 663388 h 1138518"/>
              <a:gd name="connsiteX9" fmla="*/ 35859 w 609934"/>
              <a:gd name="connsiteY9" fmla="*/ 636494 h 1138518"/>
              <a:gd name="connsiteX10" fmla="*/ 53788 w 609934"/>
              <a:gd name="connsiteY10" fmla="*/ 609600 h 1138518"/>
              <a:gd name="connsiteX11" fmla="*/ 89647 w 609934"/>
              <a:gd name="connsiteY11" fmla="*/ 537882 h 1138518"/>
              <a:gd name="connsiteX12" fmla="*/ 107576 w 609934"/>
              <a:gd name="connsiteY12" fmla="*/ 385482 h 1138518"/>
              <a:gd name="connsiteX13" fmla="*/ 116541 w 609934"/>
              <a:gd name="connsiteY13" fmla="*/ 322729 h 1138518"/>
              <a:gd name="connsiteX14" fmla="*/ 116541 w 609934"/>
              <a:gd name="connsiteY14" fmla="*/ 89647 h 1138518"/>
              <a:gd name="connsiteX15" fmla="*/ 125506 w 609934"/>
              <a:gd name="connsiteY15" fmla="*/ 62753 h 1138518"/>
              <a:gd name="connsiteX16" fmla="*/ 179294 w 609934"/>
              <a:gd name="connsiteY16" fmla="*/ 17929 h 1138518"/>
              <a:gd name="connsiteX17" fmla="*/ 233082 w 609934"/>
              <a:gd name="connsiteY17" fmla="*/ 0 h 1138518"/>
              <a:gd name="connsiteX18" fmla="*/ 430306 w 609934"/>
              <a:gd name="connsiteY18" fmla="*/ 8965 h 1138518"/>
              <a:gd name="connsiteX19" fmla="*/ 457200 w 609934"/>
              <a:gd name="connsiteY19" fmla="*/ 44824 h 1138518"/>
              <a:gd name="connsiteX20" fmla="*/ 475129 w 609934"/>
              <a:gd name="connsiteY20" fmla="*/ 71718 h 1138518"/>
              <a:gd name="connsiteX21" fmla="*/ 528918 w 609934"/>
              <a:gd name="connsiteY21" fmla="*/ 134471 h 1138518"/>
              <a:gd name="connsiteX22" fmla="*/ 564776 w 609934"/>
              <a:gd name="connsiteY22" fmla="*/ 215153 h 1138518"/>
              <a:gd name="connsiteX23" fmla="*/ 573741 w 609934"/>
              <a:gd name="connsiteY23" fmla="*/ 251012 h 1138518"/>
              <a:gd name="connsiteX24" fmla="*/ 591670 w 609934"/>
              <a:gd name="connsiteY24" fmla="*/ 358588 h 1138518"/>
              <a:gd name="connsiteX25" fmla="*/ 600635 w 609934"/>
              <a:gd name="connsiteY25" fmla="*/ 546847 h 1138518"/>
              <a:gd name="connsiteX26" fmla="*/ 609600 w 609934"/>
              <a:gd name="connsiteY26" fmla="*/ 609600 h 1138518"/>
              <a:gd name="connsiteX27" fmla="*/ 591670 w 609934"/>
              <a:gd name="connsiteY27" fmla="*/ 779929 h 1138518"/>
              <a:gd name="connsiteX28" fmla="*/ 573741 w 609934"/>
              <a:gd name="connsiteY28" fmla="*/ 842682 h 1138518"/>
              <a:gd name="connsiteX29" fmla="*/ 555812 w 609934"/>
              <a:gd name="connsiteY29" fmla="*/ 860612 h 1138518"/>
              <a:gd name="connsiteX30" fmla="*/ 528918 w 609934"/>
              <a:gd name="connsiteY30" fmla="*/ 923365 h 1138518"/>
              <a:gd name="connsiteX31" fmla="*/ 519953 w 609934"/>
              <a:gd name="connsiteY31" fmla="*/ 950259 h 1138518"/>
              <a:gd name="connsiteX32" fmla="*/ 502023 w 609934"/>
              <a:gd name="connsiteY32" fmla="*/ 968188 h 1138518"/>
              <a:gd name="connsiteX33" fmla="*/ 448235 w 609934"/>
              <a:gd name="connsiteY33" fmla="*/ 1030941 h 1138518"/>
              <a:gd name="connsiteX34" fmla="*/ 412376 w 609934"/>
              <a:gd name="connsiteY34" fmla="*/ 1066800 h 1138518"/>
              <a:gd name="connsiteX35" fmla="*/ 385482 w 609934"/>
              <a:gd name="connsiteY35" fmla="*/ 1084729 h 1138518"/>
              <a:gd name="connsiteX36" fmla="*/ 322729 w 609934"/>
              <a:gd name="connsiteY36" fmla="*/ 1129553 h 1138518"/>
              <a:gd name="connsiteX37" fmla="*/ 161365 w 609934"/>
              <a:gd name="connsiteY37" fmla="*/ 1120588 h 1138518"/>
              <a:gd name="connsiteX38" fmla="*/ 134470 w 609934"/>
              <a:gd name="connsiteY38" fmla="*/ 1111624 h 1138518"/>
              <a:gd name="connsiteX39" fmla="*/ 125506 w 609934"/>
              <a:gd name="connsiteY39" fmla="*/ 1138518 h 1138518"/>
              <a:gd name="connsiteX0" fmla="*/ 125506 w 609934"/>
              <a:gd name="connsiteY0" fmla="*/ 1138518 h 1147035"/>
              <a:gd name="connsiteX1" fmla="*/ 89647 w 609934"/>
              <a:gd name="connsiteY1" fmla="*/ 1093694 h 1147035"/>
              <a:gd name="connsiteX2" fmla="*/ 53788 w 609934"/>
              <a:gd name="connsiteY2" fmla="*/ 1039906 h 1147035"/>
              <a:gd name="connsiteX3" fmla="*/ 44823 w 609934"/>
              <a:gd name="connsiteY3" fmla="*/ 1004047 h 1147035"/>
              <a:gd name="connsiteX4" fmla="*/ 17929 w 609934"/>
              <a:gd name="connsiteY4" fmla="*/ 923365 h 1147035"/>
              <a:gd name="connsiteX5" fmla="*/ 8965 w 609934"/>
              <a:gd name="connsiteY5" fmla="*/ 896471 h 1147035"/>
              <a:gd name="connsiteX6" fmla="*/ 0 w 609934"/>
              <a:gd name="connsiteY6" fmla="*/ 869577 h 1147035"/>
              <a:gd name="connsiteX7" fmla="*/ 8965 w 609934"/>
              <a:gd name="connsiteY7" fmla="*/ 717177 h 1147035"/>
              <a:gd name="connsiteX8" fmla="*/ 26894 w 609934"/>
              <a:gd name="connsiteY8" fmla="*/ 663388 h 1147035"/>
              <a:gd name="connsiteX9" fmla="*/ 35859 w 609934"/>
              <a:gd name="connsiteY9" fmla="*/ 636494 h 1147035"/>
              <a:gd name="connsiteX10" fmla="*/ 53788 w 609934"/>
              <a:gd name="connsiteY10" fmla="*/ 609600 h 1147035"/>
              <a:gd name="connsiteX11" fmla="*/ 89647 w 609934"/>
              <a:gd name="connsiteY11" fmla="*/ 537882 h 1147035"/>
              <a:gd name="connsiteX12" fmla="*/ 107576 w 609934"/>
              <a:gd name="connsiteY12" fmla="*/ 385482 h 1147035"/>
              <a:gd name="connsiteX13" fmla="*/ 116541 w 609934"/>
              <a:gd name="connsiteY13" fmla="*/ 322729 h 1147035"/>
              <a:gd name="connsiteX14" fmla="*/ 116541 w 609934"/>
              <a:gd name="connsiteY14" fmla="*/ 89647 h 1147035"/>
              <a:gd name="connsiteX15" fmla="*/ 125506 w 609934"/>
              <a:gd name="connsiteY15" fmla="*/ 62753 h 1147035"/>
              <a:gd name="connsiteX16" fmla="*/ 179294 w 609934"/>
              <a:gd name="connsiteY16" fmla="*/ 17929 h 1147035"/>
              <a:gd name="connsiteX17" fmla="*/ 233082 w 609934"/>
              <a:gd name="connsiteY17" fmla="*/ 0 h 1147035"/>
              <a:gd name="connsiteX18" fmla="*/ 430306 w 609934"/>
              <a:gd name="connsiteY18" fmla="*/ 8965 h 1147035"/>
              <a:gd name="connsiteX19" fmla="*/ 457200 w 609934"/>
              <a:gd name="connsiteY19" fmla="*/ 44824 h 1147035"/>
              <a:gd name="connsiteX20" fmla="*/ 475129 w 609934"/>
              <a:gd name="connsiteY20" fmla="*/ 71718 h 1147035"/>
              <a:gd name="connsiteX21" fmla="*/ 528918 w 609934"/>
              <a:gd name="connsiteY21" fmla="*/ 134471 h 1147035"/>
              <a:gd name="connsiteX22" fmla="*/ 564776 w 609934"/>
              <a:gd name="connsiteY22" fmla="*/ 215153 h 1147035"/>
              <a:gd name="connsiteX23" fmla="*/ 573741 w 609934"/>
              <a:gd name="connsiteY23" fmla="*/ 251012 h 1147035"/>
              <a:gd name="connsiteX24" fmla="*/ 591670 w 609934"/>
              <a:gd name="connsiteY24" fmla="*/ 358588 h 1147035"/>
              <a:gd name="connsiteX25" fmla="*/ 600635 w 609934"/>
              <a:gd name="connsiteY25" fmla="*/ 546847 h 1147035"/>
              <a:gd name="connsiteX26" fmla="*/ 609600 w 609934"/>
              <a:gd name="connsiteY26" fmla="*/ 609600 h 1147035"/>
              <a:gd name="connsiteX27" fmla="*/ 591670 w 609934"/>
              <a:gd name="connsiteY27" fmla="*/ 779929 h 1147035"/>
              <a:gd name="connsiteX28" fmla="*/ 573741 w 609934"/>
              <a:gd name="connsiteY28" fmla="*/ 842682 h 1147035"/>
              <a:gd name="connsiteX29" fmla="*/ 555812 w 609934"/>
              <a:gd name="connsiteY29" fmla="*/ 860612 h 1147035"/>
              <a:gd name="connsiteX30" fmla="*/ 528918 w 609934"/>
              <a:gd name="connsiteY30" fmla="*/ 923365 h 1147035"/>
              <a:gd name="connsiteX31" fmla="*/ 519953 w 609934"/>
              <a:gd name="connsiteY31" fmla="*/ 950259 h 1147035"/>
              <a:gd name="connsiteX32" fmla="*/ 502023 w 609934"/>
              <a:gd name="connsiteY32" fmla="*/ 968188 h 1147035"/>
              <a:gd name="connsiteX33" fmla="*/ 448235 w 609934"/>
              <a:gd name="connsiteY33" fmla="*/ 1030941 h 1147035"/>
              <a:gd name="connsiteX34" fmla="*/ 412376 w 609934"/>
              <a:gd name="connsiteY34" fmla="*/ 1066800 h 1147035"/>
              <a:gd name="connsiteX35" fmla="*/ 385482 w 609934"/>
              <a:gd name="connsiteY35" fmla="*/ 1084729 h 1147035"/>
              <a:gd name="connsiteX36" fmla="*/ 322729 w 609934"/>
              <a:gd name="connsiteY36" fmla="*/ 1129553 h 1147035"/>
              <a:gd name="connsiteX37" fmla="*/ 161365 w 609934"/>
              <a:gd name="connsiteY37" fmla="*/ 1120588 h 1147035"/>
              <a:gd name="connsiteX38" fmla="*/ 147471 w 609934"/>
              <a:gd name="connsiteY38" fmla="*/ 1146293 h 1147035"/>
              <a:gd name="connsiteX39" fmla="*/ 125506 w 609934"/>
              <a:gd name="connsiteY39" fmla="*/ 1138518 h 1147035"/>
              <a:gd name="connsiteX0" fmla="*/ 125506 w 609934"/>
              <a:gd name="connsiteY0" fmla="*/ 1138518 h 1146413"/>
              <a:gd name="connsiteX1" fmla="*/ 89647 w 609934"/>
              <a:gd name="connsiteY1" fmla="*/ 1093694 h 1146413"/>
              <a:gd name="connsiteX2" fmla="*/ 53788 w 609934"/>
              <a:gd name="connsiteY2" fmla="*/ 1039906 h 1146413"/>
              <a:gd name="connsiteX3" fmla="*/ 44823 w 609934"/>
              <a:gd name="connsiteY3" fmla="*/ 1004047 h 1146413"/>
              <a:gd name="connsiteX4" fmla="*/ 17929 w 609934"/>
              <a:gd name="connsiteY4" fmla="*/ 923365 h 1146413"/>
              <a:gd name="connsiteX5" fmla="*/ 8965 w 609934"/>
              <a:gd name="connsiteY5" fmla="*/ 896471 h 1146413"/>
              <a:gd name="connsiteX6" fmla="*/ 0 w 609934"/>
              <a:gd name="connsiteY6" fmla="*/ 869577 h 1146413"/>
              <a:gd name="connsiteX7" fmla="*/ 8965 w 609934"/>
              <a:gd name="connsiteY7" fmla="*/ 717177 h 1146413"/>
              <a:gd name="connsiteX8" fmla="*/ 26894 w 609934"/>
              <a:gd name="connsiteY8" fmla="*/ 663388 h 1146413"/>
              <a:gd name="connsiteX9" fmla="*/ 35859 w 609934"/>
              <a:gd name="connsiteY9" fmla="*/ 636494 h 1146413"/>
              <a:gd name="connsiteX10" fmla="*/ 53788 w 609934"/>
              <a:gd name="connsiteY10" fmla="*/ 609600 h 1146413"/>
              <a:gd name="connsiteX11" fmla="*/ 89647 w 609934"/>
              <a:gd name="connsiteY11" fmla="*/ 537882 h 1146413"/>
              <a:gd name="connsiteX12" fmla="*/ 107576 w 609934"/>
              <a:gd name="connsiteY12" fmla="*/ 385482 h 1146413"/>
              <a:gd name="connsiteX13" fmla="*/ 116541 w 609934"/>
              <a:gd name="connsiteY13" fmla="*/ 322729 h 1146413"/>
              <a:gd name="connsiteX14" fmla="*/ 116541 w 609934"/>
              <a:gd name="connsiteY14" fmla="*/ 89647 h 1146413"/>
              <a:gd name="connsiteX15" fmla="*/ 125506 w 609934"/>
              <a:gd name="connsiteY15" fmla="*/ 62753 h 1146413"/>
              <a:gd name="connsiteX16" fmla="*/ 179294 w 609934"/>
              <a:gd name="connsiteY16" fmla="*/ 17929 h 1146413"/>
              <a:gd name="connsiteX17" fmla="*/ 233082 w 609934"/>
              <a:gd name="connsiteY17" fmla="*/ 0 h 1146413"/>
              <a:gd name="connsiteX18" fmla="*/ 430306 w 609934"/>
              <a:gd name="connsiteY18" fmla="*/ 8965 h 1146413"/>
              <a:gd name="connsiteX19" fmla="*/ 457200 w 609934"/>
              <a:gd name="connsiteY19" fmla="*/ 44824 h 1146413"/>
              <a:gd name="connsiteX20" fmla="*/ 475129 w 609934"/>
              <a:gd name="connsiteY20" fmla="*/ 71718 h 1146413"/>
              <a:gd name="connsiteX21" fmla="*/ 528918 w 609934"/>
              <a:gd name="connsiteY21" fmla="*/ 134471 h 1146413"/>
              <a:gd name="connsiteX22" fmla="*/ 564776 w 609934"/>
              <a:gd name="connsiteY22" fmla="*/ 215153 h 1146413"/>
              <a:gd name="connsiteX23" fmla="*/ 573741 w 609934"/>
              <a:gd name="connsiteY23" fmla="*/ 251012 h 1146413"/>
              <a:gd name="connsiteX24" fmla="*/ 591670 w 609934"/>
              <a:gd name="connsiteY24" fmla="*/ 358588 h 1146413"/>
              <a:gd name="connsiteX25" fmla="*/ 600635 w 609934"/>
              <a:gd name="connsiteY25" fmla="*/ 546847 h 1146413"/>
              <a:gd name="connsiteX26" fmla="*/ 609600 w 609934"/>
              <a:gd name="connsiteY26" fmla="*/ 609600 h 1146413"/>
              <a:gd name="connsiteX27" fmla="*/ 591670 w 609934"/>
              <a:gd name="connsiteY27" fmla="*/ 779929 h 1146413"/>
              <a:gd name="connsiteX28" fmla="*/ 573741 w 609934"/>
              <a:gd name="connsiteY28" fmla="*/ 842682 h 1146413"/>
              <a:gd name="connsiteX29" fmla="*/ 555812 w 609934"/>
              <a:gd name="connsiteY29" fmla="*/ 860612 h 1146413"/>
              <a:gd name="connsiteX30" fmla="*/ 528918 w 609934"/>
              <a:gd name="connsiteY30" fmla="*/ 923365 h 1146413"/>
              <a:gd name="connsiteX31" fmla="*/ 519953 w 609934"/>
              <a:gd name="connsiteY31" fmla="*/ 950259 h 1146413"/>
              <a:gd name="connsiteX32" fmla="*/ 502023 w 609934"/>
              <a:gd name="connsiteY32" fmla="*/ 968188 h 1146413"/>
              <a:gd name="connsiteX33" fmla="*/ 448235 w 609934"/>
              <a:gd name="connsiteY33" fmla="*/ 1030941 h 1146413"/>
              <a:gd name="connsiteX34" fmla="*/ 412376 w 609934"/>
              <a:gd name="connsiteY34" fmla="*/ 1066800 h 1146413"/>
              <a:gd name="connsiteX35" fmla="*/ 385482 w 609934"/>
              <a:gd name="connsiteY35" fmla="*/ 1084729 h 1146413"/>
              <a:gd name="connsiteX36" fmla="*/ 322729 w 609934"/>
              <a:gd name="connsiteY36" fmla="*/ 1129553 h 1146413"/>
              <a:gd name="connsiteX37" fmla="*/ 200367 w 609934"/>
              <a:gd name="connsiteY37" fmla="*/ 1142256 h 1146413"/>
              <a:gd name="connsiteX38" fmla="*/ 147471 w 609934"/>
              <a:gd name="connsiteY38" fmla="*/ 1146293 h 1146413"/>
              <a:gd name="connsiteX39" fmla="*/ 125506 w 609934"/>
              <a:gd name="connsiteY39" fmla="*/ 1138518 h 1146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9934" h="1146413">
                <a:moveTo>
                  <a:pt x="125506" y="1138518"/>
                </a:moveTo>
                <a:cubicBezTo>
                  <a:pt x="113553" y="1123577"/>
                  <a:pt x="100901" y="1109169"/>
                  <a:pt x="89647" y="1093694"/>
                </a:cubicBezTo>
                <a:cubicBezTo>
                  <a:pt x="76973" y="1076267"/>
                  <a:pt x="53788" y="1039906"/>
                  <a:pt x="53788" y="1039906"/>
                </a:cubicBezTo>
                <a:cubicBezTo>
                  <a:pt x="50800" y="1027953"/>
                  <a:pt x="48363" y="1015848"/>
                  <a:pt x="44823" y="1004047"/>
                </a:cubicBezTo>
                <a:cubicBezTo>
                  <a:pt x="44808" y="1003997"/>
                  <a:pt x="22419" y="936837"/>
                  <a:pt x="17929" y="923365"/>
                </a:cubicBezTo>
                <a:lnTo>
                  <a:pt x="8965" y="896471"/>
                </a:lnTo>
                <a:lnTo>
                  <a:pt x="0" y="869577"/>
                </a:lnTo>
                <a:cubicBezTo>
                  <a:pt x="2988" y="818777"/>
                  <a:pt x="2383" y="767637"/>
                  <a:pt x="8965" y="717177"/>
                </a:cubicBezTo>
                <a:cubicBezTo>
                  <a:pt x="11409" y="698436"/>
                  <a:pt x="20918" y="681318"/>
                  <a:pt x="26894" y="663388"/>
                </a:cubicBezTo>
                <a:cubicBezTo>
                  <a:pt x="29882" y="654423"/>
                  <a:pt x="30617" y="644357"/>
                  <a:pt x="35859" y="636494"/>
                </a:cubicBezTo>
                <a:cubicBezTo>
                  <a:pt x="41835" y="627529"/>
                  <a:pt x="49412" y="619446"/>
                  <a:pt x="53788" y="609600"/>
                </a:cubicBezTo>
                <a:cubicBezTo>
                  <a:pt x="86752" y="535432"/>
                  <a:pt x="52827" y="574704"/>
                  <a:pt x="89647" y="537882"/>
                </a:cubicBezTo>
                <a:cubicBezTo>
                  <a:pt x="110646" y="390891"/>
                  <a:pt x="85442" y="573625"/>
                  <a:pt x="107576" y="385482"/>
                </a:cubicBezTo>
                <a:cubicBezTo>
                  <a:pt x="110045" y="364497"/>
                  <a:pt x="113553" y="343647"/>
                  <a:pt x="116541" y="322729"/>
                </a:cubicBezTo>
                <a:cubicBezTo>
                  <a:pt x="109565" y="204133"/>
                  <a:pt x="100054" y="188566"/>
                  <a:pt x="116541" y="89647"/>
                </a:cubicBezTo>
                <a:cubicBezTo>
                  <a:pt x="118095" y="80326"/>
                  <a:pt x="120264" y="70616"/>
                  <a:pt x="125506" y="62753"/>
                </a:cubicBezTo>
                <a:cubicBezTo>
                  <a:pt x="134394" y="49421"/>
                  <a:pt x="163628" y="24892"/>
                  <a:pt x="179294" y="17929"/>
                </a:cubicBezTo>
                <a:cubicBezTo>
                  <a:pt x="196564" y="10253"/>
                  <a:pt x="233082" y="0"/>
                  <a:pt x="233082" y="0"/>
                </a:cubicBezTo>
                <a:cubicBezTo>
                  <a:pt x="298823" y="2988"/>
                  <a:pt x="365775" y="-3941"/>
                  <a:pt x="430306" y="8965"/>
                </a:cubicBezTo>
                <a:cubicBezTo>
                  <a:pt x="444957" y="11895"/>
                  <a:pt x="448516" y="32666"/>
                  <a:pt x="457200" y="44824"/>
                </a:cubicBezTo>
                <a:cubicBezTo>
                  <a:pt x="463462" y="53591"/>
                  <a:pt x="468117" y="63538"/>
                  <a:pt x="475129" y="71718"/>
                </a:cubicBezTo>
                <a:cubicBezTo>
                  <a:pt x="540350" y="147810"/>
                  <a:pt x="487752" y="72724"/>
                  <a:pt x="528918" y="134471"/>
                </a:cubicBezTo>
                <a:cubicBezTo>
                  <a:pt x="550254" y="198480"/>
                  <a:pt x="536364" y="172534"/>
                  <a:pt x="564776" y="215153"/>
                </a:cubicBezTo>
                <a:cubicBezTo>
                  <a:pt x="567764" y="227106"/>
                  <a:pt x="571867" y="238834"/>
                  <a:pt x="573741" y="251012"/>
                </a:cubicBezTo>
                <a:cubicBezTo>
                  <a:pt x="590899" y="362536"/>
                  <a:pt x="571653" y="298532"/>
                  <a:pt x="591670" y="358588"/>
                </a:cubicBezTo>
                <a:cubicBezTo>
                  <a:pt x="594658" y="421341"/>
                  <a:pt x="596159" y="484183"/>
                  <a:pt x="600635" y="546847"/>
                </a:cubicBezTo>
                <a:cubicBezTo>
                  <a:pt x="602141" y="567923"/>
                  <a:pt x="609600" y="588470"/>
                  <a:pt x="609600" y="609600"/>
                </a:cubicBezTo>
                <a:cubicBezTo>
                  <a:pt x="609600" y="790173"/>
                  <a:pt x="613900" y="702123"/>
                  <a:pt x="591670" y="779929"/>
                </a:cubicBezTo>
                <a:cubicBezTo>
                  <a:pt x="589537" y="787394"/>
                  <a:pt x="579605" y="832908"/>
                  <a:pt x="573741" y="842682"/>
                </a:cubicBezTo>
                <a:cubicBezTo>
                  <a:pt x="569393" y="849930"/>
                  <a:pt x="561788" y="854635"/>
                  <a:pt x="555812" y="860612"/>
                </a:cubicBezTo>
                <a:cubicBezTo>
                  <a:pt x="537154" y="935241"/>
                  <a:pt x="559872" y="861457"/>
                  <a:pt x="528918" y="923365"/>
                </a:cubicBezTo>
                <a:cubicBezTo>
                  <a:pt x="524692" y="931817"/>
                  <a:pt x="524815" y="942156"/>
                  <a:pt x="519953" y="950259"/>
                </a:cubicBezTo>
                <a:cubicBezTo>
                  <a:pt x="515604" y="957506"/>
                  <a:pt x="507303" y="961588"/>
                  <a:pt x="502023" y="968188"/>
                </a:cubicBezTo>
                <a:cubicBezTo>
                  <a:pt x="447400" y="1036465"/>
                  <a:pt x="534572" y="944602"/>
                  <a:pt x="448235" y="1030941"/>
                </a:cubicBezTo>
                <a:lnTo>
                  <a:pt x="412376" y="1066800"/>
                </a:lnTo>
                <a:cubicBezTo>
                  <a:pt x="403411" y="1072776"/>
                  <a:pt x="393662" y="1077717"/>
                  <a:pt x="385482" y="1084729"/>
                </a:cubicBezTo>
                <a:cubicBezTo>
                  <a:pt x="331338" y="1131138"/>
                  <a:pt x="372146" y="1113080"/>
                  <a:pt x="322729" y="1129553"/>
                </a:cubicBezTo>
                <a:cubicBezTo>
                  <a:pt x="268941" y="1126565"/>
                  <a:pt x="229577" y="1139466"/>
                  <a:pt x="200367" y="1142256"/>
                </a:cubicBezTo>
                <a:cubicBezTo>
                  <a:pt x="171157" y="1145046"/>
                  <a:pt x="159948" y="1146916"/>
                  <a:pt x="147471" y="1146293"/>
                </a:cubicBezTo>
                <a:cubicBezTo>
                  <a:pt x="134994" y="1145670"/>
                  <a:pt x="132828" y="1141110"/>
                  <a:pt x="125506" y="1138518"/>
                </a:cubicBezTo>
                <a:close/>
              </a:path>
            </a:pathLst>
          </a:custGeom>
          <a:solidFill>
            <a:schemeClr val="bg1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sp>
        <p:nvSpPr>
          <p:cNvPr id="425" name="Forma livre 148"/>
          <p:cNvSpPr/>
          <p:nvPr/>
        </p:nvSpPr>
        <p:spPr>
          <a:xfrm>
            <a:off x="3894338" y="3977872"/>
            <a:ext cx="411332" cy="231045"/>
          </a:xfrm>
          <a:custGeom>
            <a:avLst/>
            <a:gdLst>
              <a:gd name="connsiteX0" fmla="*/ 358066 w 411332"/>
              <a:gd name="connsiteY0" fmla="*/ 165042 h 231045"/>
              <a:gd name="connsiteX1" fmla="*/ 343270 w 411332"/>
              <a:gd name="connsiteY1" fmla="*/ 168001 h 231045"/>
              <a:gd name="connsiteX2" fmla="*/ 310718 w 411332"/>
              <a:gd name="connsiteY2" fmla="*/ 176879 h 231045"/>
              <a:gd name="connsiteX3" fmla="*/ 290004 w 411332"/>
              <a:gd name="connsiteY3" fmla="*/ 173919 h 231045"/>
              <a:gd name="connsiteX4" fmla="*/ 275208 w 411332"/>
              <a:gd name="connsiteY4" fmla="*/ 162082 h 231045"/>
              <a:gd name="connsiteX5" fmla="*/ 245615 w 411332"/>
              <a:gd name="connsiteY5" fmla="*/ 165042 h 231045"/>
              <a:gd name="connsiteX6" fmla="*/ 230819 w 411332"/>
              <a:gd name="connsiteY6" fmla="*/ 185756 h 231045"/>
              <a:gd name="connsiteX7" fmla="*/ 221942 w 411332"/>
              <a:gd name="connsiteY7" fmla="*/ 203512 h 231045"/>
              <a:gd name="connsiteX8" fmla="*/ 218982 w 411332"/>
              <a:gd name="connsiteY8" fmla="*/ 212389 h 231045"/>
              <a:gd name="connsiteX9" fmla="*/ 204186 w 411332"/>
              <a:gd name="connsiteY9" fmla="*/ 221267 h 231045"/>
              <a:gd name="connsiteX10" fmla="*/ 195309 w 411332"/>
              <a:gd name="connsiteY10" fmla="*/ 227185 h 231045"/>
              <a:gd name="connsiteX11" fmla="*/ 121328 w 411332"/>
              <a:gd name="connsiteY11" fmla="*/ 227185 h 231045"/>
              <a:gd name="connsiteX12" fmla="*/ 106532 w 411332"/>
              <a:gd name="connsiteY12" fmla="*/ 221267 h 231045"/>
              <a:gd name="connsiteX13" fmla="*/ 97654 w 411332"/>
              <a:gd name="connsiteY13" fmla="*/ 218308 h 231045"/>
              <a:gd name="connsiteX14" fmla="*/ 79899 w 411332"/>
              <a:gd name="connsiteY14" fmla="*/ 206471 h 231045"/>
              <a:gd name="connsiteX15" fmla="*/ 38470 w 411332"/>
              <a:gd name="connsiteY15" fmla="*/ 182797 h 231045"/>
              <a:gd name="connsiteX16" fmla="*/ 32551 w 411332"/>
              <a:gd name="connsiteY16" fmla="*/ 176879 h 231045"/>
              <a:gd name="connsiteX17" fmla="*/ 29592 w 411332"/>
              <a:gd name="connsiteY17" fmla="*/ 168001 h 231045"/>
              <a:gd name="connsiteX18" fmla="*/ 23674 w 411332"/>
              <a:gd name="connsiteY18" fmla="*/ 162082 h 231045"/>
              <a:gd name="connsiteX19" fmla="*/ 8878 w 411332"/>
              <a:gd name="connsiteY19" fmla="*/ 144327 h 231045"/>
              <a:gd name="connsiteX20" fmla="*/ 2959 w 411332"/>
              <a:gd name="connsiteY20" fmla="*/ 126572 h 231045"/>
              <a:gd name="connsiteX21" fmla="*/ 0 w 411332"/>
              <a:gd name="connsiteY21" fmla="*/ 117694 h 231045"/>
              <a:gd name="connsiteX22" fmla="*/ 2959 w 411332"/>
              <a:gd name="connsiteY22" fmla="*/ 94020 h 231045"/>
              <a:gd name="connsiteX23" fmla="*/ 11837 w 411332"/>
              <a:gd name="connsiteY23" fmla="*/ 88102 h 231045"/>
              <a:gd name="connsiteX24" fmla="*/ 23674 w 411332"/>
              <a:gd name="connsiteY24" fmla="*/ 82183 h 231045"/>
              <a:gd name="connsiteX25" fmla="*/ 32551 w 411332"/>
              <a:gd name="connsiteY25" fmla="*/ 76265 h 231045"/>
              <a:gd name="connsiteX26" fmla="*/ 53266 w 411332"/>
              <a:gd name="connsiteY26" fmla="*/ 70346 h 231045"/>
              <a:gd name="connsiteX27" fmla="*/ 71021 w 411332"/>
              <a:gd name="connsiteY27" fmla="*/ 58510 h 231045"/>
              <a:gd name="connsiteX28" fmla="*/ 76940 w 411332"/>
              <a:gd name="connsiteY28" fmla="*/ 52591 h 231045"/>
              <a:gd name="connsiteX29" fmla="*/ 94695 w 411332"/>
              <a:gd name="connsiteY29" fmla="*/ 40754 h 231045"/>
              <a:gd name="connsiteX30" fmla="*/ 103573 w 411332"/>
              <a:gd name="connsiteY30" fmla="*/ 34836 h 231045"/>
              <a:gd name="connsiteX31" fmla="*/ 121328 w 411332"/>
              <a:gd name="connsiteY31" fmla="*/ 22999 h 231045"/>
              <a:gd name="connsiteX32" fmla="*/ 133165 w 411332"/>
              <a:gd name="connsiteY32" fmla="*/ 17080 h 231045"/>
              <a:gd name="connsiteX33" fmla="*/ 142043 w 411332"/>
              <a:gd name="connsiteY33" fmla="*/ 11162 h 231045"/>
              <a:gd name="connsiteX34" fmla="*/ 165716 w 411332"/>
              <a:gd name="connsiteY34" fmla="*/ 8203 h 231045"/>
              <a:gd name="connsiteX35" fmla="*/ 174594 w 411332"/>
              <a:gd name="connsiteY35" fmla="*/ 5244 h 231045"/>
              <a:gd name="connsiteX36" fmla="*/ 281126 w 411332"/>
              <a:gd name="connsiteY36" fmla="*/ 5244 h 231045"/>
              <a:gd name="connsiteX37" fmla="*/ 304800 w 411332"/>
              <a:gd name="connsiteY37" fmla="*/ 11162 h 231045"/>
              <a:gd name="connsiteX38" fmla="*/ 322555 w 411332"/>
              <a:gd name="connsiteY38" fmla="*/ 17080 h 231045"/>
              <a:gd name="connsiteX39" fmla="*/ 393577 w 411332"/>
              <a:gd name="connsiteY39" fmla="*/ 22999 h 231045"/>
              <a:gd name="connsiteX40" fmla="*/ 405413 w 411332"/>
              <a:gd name="connsiteY40" fmla="*/ 40754 h 231045"/>
              <a:gd name="connsiteX41" fmla="*/ 411332 w 411332"/>
              <a:gd name="connsiteY41" fmla="*/ 49632 h 231045"/>
              <a:gd name="connsiteX42" fmla="*/ 408373 w 411332"/>
              <a:gd name="connsiteY42" fmla="*/ 102898 h 231045"/>
              <a:gd name="connsiteX43" fmla="*/ 405413 w 411332"/>
              <a:gd name="connsiteY43" fmla="*/ 120653 h 231045"/>
              <a:gd name="connsiteX44" fmla="*/ 396536 w 411332"/>
              <a:gd name="connsiteY44" fmla="*/ 138409 h 231045"/>
              <a:gd name="connsiteX45" fmla="*/ 378780 w 411332"/>
              <a:gd name="connsiteY45" fmla="*/ 150246 h 231045"/>
              <a:gd name="connsiteX46" fmla="*/ 369903 w 411332"/>
              <a:gd name="connsiteY46" fmla="*/ 159123 h 231045"/>
              <a:gd name="connsiteX47" fmla="*/ 358066 w 411332"/>
              <a:gd name="connsiteY47" fmla="*/ 165042 h 231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11332" h="231045">
                <a:moveTo>
                  <a:pt x="358066" y="165042"/>
                </a:moveTo>
                <a:cubicBezTo>
                  <a:pt x="353627" y="166522"/>
                  <a:pt x="348122" y="166678"/>
                  <a:pt x="343270" y="168001"/>
                </a:cubicBezTo>
                <a:cubicBezTo>
                  <a:pt x="301953" y="179268"/>
                  <a:pt x="346780" y="169665"/>
                  <a:pt x="310718" y="176879"/>
                </a:cubicBezTo>
                <a:cubicBezTo>
                  <a:pt x="303813" y="175892"/>
                  <a:pt x="296685" y="175923"/>
                  <a:pt x="290004" y="173919"/>
                </a:cubicBezTo>
                <a:cubicBezTo>
                  <a:pt x="284668" y="172318"/>
                  <a:pt x="279041" y="165915"/>
                  <a:pt x="275208" y="162082"/>
                </a:cubicBezTo>
                <a:cubicBezTo>
                  <a:pt x="265344" y="163069"/>
                  <a:pt x="254868" y="161483"/>
                  <a:pt x="245615" y="165042"/>
                </a:cubicBezTo>
                <a:cubicBezTo>
                  <a:pt x="243973" y="165674"/>
                  <a:pt x="232718" y="182908"/>
                  <a:pt x="230819" y="185756"/>
                </a:cubicBezTo>
                <a:cubicBezTo>
                  <a:pt x="223385" y="208061"/>
                  <a:pt x="233410" y="180576"/>
                  <a:pt x="221942" y="203512"/>
                </a:cubicBezTo>
                <a:cubicBezTo>
                  <a:pt x="220547" y="206302"/>
                  <a:pt x="220587" y="209714"/>
                  <a:pt x="218982" y="212389"/>
                </a:cubicBezTo>
                <a:cubicBezTo>
                  <a:pt x="214919" y="219161"/>
                  <a:pt x="211171" y="218939"/>
                  <a:pt x="204186" y="221267"/>
                </a:cubicBezTo>
                <a:cubicBezTo>
                  <a:pt x="201227" y="223240"/>
                  <a:pt x="198578" y="225784"/>
                  <a:pt x="195309" y="227185"/>
                </a:cubicBezTo>
                <a:cubicBezTo>
                  <a:pt x="175333" y="235747"/>
                  <a:pt x="126450" y="227429"/>
                  <a:pt x="121328" y="227185"/>
                </a:cubicBezTo>
                <a:cubicBezTo>
                  <a:pt x="116396" y="225212"/>
                  <a:pt x="111506" y="223132"/>
                  <a:pt x="106532" y="221267"/>
                </a:cubicBezTo>
                <a:cubicBezTo>
                  <a:pt x="103611" y="220172"/>
                  <a:pt x="100381" y="219823"/>
                  <a:pt x="97654" y="218308"/>
                </a:cubicBezTo>
                <a:cubicBezTo>
                  <a:pt x="91436" y="214854"/>
                  <a:pt x="86261" y="209652"/>
                  <a:pt x="79899" y="206471"/>
                </a:cubicBezTo>
                <a:cubicBezTo>
                  <a:pt x="70610" y="201827"/>
                  <a:pt x="46839" y="191165"/>
                  <a:pt x="38470" y="182797"/>
                </a:cubicBezTo>
                <a:lnTo>
                  <a:pt x="32551" y="176879"/>
                </a:lnTo>
                <a:cubicBezTo>
                  <a:pt x="31565" y="173920"/>
                  <a:pt x="31197" y="170676"/>
                  <a:pt x="29592" y="168001"/>
                </a:cubicBezTo>
                <a:cubicBezTo>
                  <a:pt x="28157" y="165609"/>
                  <a:pt x="25417" y="164261"/>
                  <a:pt x="23674" y="162082"/>
                </a:cubicBezTo>
                <a:cubicBezTo>
                  <a:pt x="7196" y="141485"/>
                  <a:pt x="29963" y="165414"/>
                  <a:pt x="8878" y="144327"/>
                </a:cubicBezTo>
                <a:lnTo>
                  <a:pt x="2959" y="126572"/>
                </a:lnTo>
                <a:lnTo>
                  <a:pt x="0" y="117694"/>
                </a:lnTo>
                <a:cubicBezTo>
                  <a:pt x="986" y="109803"/>
                  <a:pt x="5" y="101404"/>
                  <a:pt x="2959" y="94020"/>
                </a:cubicBezTo>
                <a:cubicBezTo>
                  <a:pt x="4280" y="90718"/>
                  <a:pt x="8749" y="89867"/>
                  <a:pt x="11837" y="88102"/>
                </a:cubicBezTo>
                <a:cubicBezTo>
                  <a:pt x="15667" y="85913"/>
                  <a:pt x="19844" y="84372"/>
                  <a:pt x="23674" y="82183"/>
                </a:cubicBezTo>
                <a:cubicBezTo>
                  <a:pt x="26762" y="80419"/>
                  <a:pt x="29370" y="77855"/>
                  <a:pt x="32551" y="76265"/>
                </a:cubicBezTo>
                <a:cubicBezTo>
                  <a:pt x="36793" y="74144"/>
                  <a:pt x="49478" y="71293"/>
                  <a:pt x="53266" y="70346"/>
                </a:cubicBezTo>
                <a:cubicBezTo>
                  <a:pt x="59184" y="66401"/>
                  <a:pt x="65991" y="63540"/>
                  <a:pt x="71021" y="58510"/>
                </a:cubicBezTo>
                <a:cubicBezTo>
                  <a:pt x="72994" y="56537"/>
                  <a:pt x="74708" y="54265"/>
                  <a:pt x="76940" y="52591"/>
                </a:cubicBezTo>
                <a:cubicBezTo>
                  <a:pt x="82630" y="48323"/>
                  <a:pt x="88777" y="44700"/>
                  <a:pt x="94695" y="40754"/>
                </a:cubicBezTo>
                <a:cubicBezTo>
                  <a:pt x="97654" y="38781"/>
                  <a:pt x="101058" y="37351"/>
                  <a:pt x="103573" y="34836"/>
                </a:cubicBezTo>
                <a:cubicBezTo>
                  <a:pt x="117529" y="20878"/>
                  <a:pt x="106338" y="29423"/>
                  <a:pt x="121328" y="22999"/>
                </a:cubicBezTo>
                <a:cubicBezTo>
                  <a:pt x="125383" y="21261"/>
                  <a:pt x="129335" y="19269"/>
                  <a:pt x="133165" y="17080"/>
                </a:cubicBezTo>
                <a:cubicBezTo>
                  <a:pt x="136253" y="15315"/>
                  <a:pt x="138612" y="12098"/>
                  <a:pt x="142043" y="11162"/>
                </a:cubicBezTo>
                <a:cubicBezTo>
                  <a:pt x="149715" y="9070"/>
                  <a:pt x="157825" y="9189"/>
                  <a:pt x="165716" y="8203"/>
                </a:cubicBezTo>
                <a:cubicBezTo>
                  <a:pt x="168675" y="7217"/>
                  <a:pt x="171595" y="6101"/>
                  <a:pt x="174594" y="5244"/>
                </a:cubicBezTo>
                <a:cubicBezTo>
                  <a:pt x="212288" y="-5527"/>
                  <a:pt x="219479" y="3317"/>
                  <a:pt x="281126" y="5244"/>
                </a:cubicBezTo>
                <a:cubicBezTo>
                  <a:pt x="289017" y="7217"/>
                  <a:pt x="297083" y="8590"/>
                  <a:pt x="304800" y="11162"/>
                </a:cubicBezTo>
                <a:cubicBezTo>
                  <a:pt x="310718" y="13135"/>
                  <a:pt x="316348" y="16459"/>
                  <a:pt x="322555" y="17080"/>
                </a:cubicBezTo>
                <a:cubicBezTo>
                  <a:pt x="365923" y="21418"/>
                  <a:pt x="342259" y="19334"/>
                  <a:pt x="393577" y="22999"/>
                </a:cubicBezTo>
                <a:lnTo>
                  <a:pt x="405413" y="40754"/>
                </a:lnTo>
                <a:lnTo>
                  <a:pt x="411332" y="49632"/>
                </a:lnTo>
                <a:cubicBezTo>
                  <a:pt x="410346" y="67387"/>
                  <a:pt x="409850" y="85177"/>
                  <a:pt x="408373" y="102898"/>
                </a:cubicBezTo>
                <a:cubicBezTo>
                  <a:pt x="407875" y="108877"/>
                  <a:pt x="406590" y="114770"/>
                  <a:pt x="405413" y="120653"/>
                </a:cubicBezTo>
                <a:cubicBezTo>
                  <a:pt x="403387" y="130783"/>
                  <a:pt x="404226" y="132642"/>
                  <a:pt x="396536" y="138409"/>
                </a:cubicBezTo>
                <a:cubicBezTo>
                  <a:pt x="390845" y="142677"/>
                  <a:pt x="383810" y="145216"/>
                  <a:pt x="378780" y="150246"/>
                </a:cubicBezTo>
                <a:cubicBezTo>
                  <a:pt x="375821" y="153205"/>
                  <a:pt x="373561" y="157091"/>
                  <a:pt x="369903" y="159123"/>
                </a:cubicBezTo>
                <a:cubicBezTo>
                  <a:pt x="341285" y="175022"/>
                  <a:pt x="362505" y="163562"/>
                  <a:pt x="358066" y="165042"/>
                </a:cubicBez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rtlCol="0" anchor="ctr"/>
          <a:lstStyle/>
          <a:p>
            <a:pPr algn="ctr"/>
            <a:endParaRPr lang="pt-BR">
              <a:solidFill>
                <a:prstClr val="white"/>
              </a:solidFill>
            </a:endParaRPr>
          </a:p>
        </p:txBody>
      </p:sp>
      <p:grpSp>
        <p:nvGrpSpPr>
          <p:cNvPr id="426" name="Group 376"/>
          <p:cNvGrpSpPr/>
          <p:nvPr/>
        </p:nvGrpSpPr>
        <p:grpSpPr>
          <a:xfrm>
            <a:off x="3944681" y="1055945"/>
            <a:ext cx="452895" cy="327662"/>
            <a:chOff x="3944680" y="1055945"/>
            <a:chExt cx="452895" cy="327662"/>
          </a:xfrm>
        </p:grpSpPr>
        <p:sp>
          <p:nvSpPr>
            <p:cNvPr id="427" name="Freeform 377"/>
            <p:cNvSpPr/>
            <p:nvPr/>
          </p:nvSpPr>
          <p:spPr>
            <a:xfrm>
              <a:off x="3944680" y="1055945"/>
              <a:ext cx="438760" cy="327662"/>
            </a:xfrm>
            <a:custGeom>
              <a:avLst/>
              <a:gdLst>
                <a:gd name="connsiteX0" fmla="*/ 138223 w 499730"/>
                <a:gd name="connsiteY0" fmla="*/ 0 h 425302"/>
                <a:gd name="connsiteX1" fmla="*/ 63795 w 499730"/>
                <a:gd name="connsiteY1" fmla="*/ 74428 h 425302"/>
                <a:gd name="connsiteX2" fmla="*/ 21265 w 499730"/>
                <a:gd name="connsiteY2" fmla="*/ 138223 h 425302"/>
                <a:gd name="connsiteX3" fmla="*/ 0 w 499730"/>
                <a:gd name="connsiteY3" fmla="*/ 170121 h 425302"/>
                <a:gd name="connsiteX4" fmla="*/ 53163 w 499730"/>
                <a:gd name="connsiteY4" fmla="*/ 329609 h 425302"/>
                <a:gd name="connsiteX5" fmla="*/ 85060 w 499730"/>
                <a:gd name="connsiteY5" fmla="*/ 340241 h 425302"/>
                <a:gd name="connsiteX6" fmla="*/ 148856 w 499730"/>
                <a:gd name="connsiteY6" fmla="*/ 393404 h 425302"/>
                <a:gd name="connsiteX7" fmla="*/ 308344 w 499730"/>
                <a:gd name="connsiteY7" fmla="*/ 425302 h 425302"/>
                <a:gd name="connsiteX8" fmla="*/ 340242 w 499730"/>
                <a:gd name="connsiteY8" fmla="*/ 382772 h 425302"/>
                <a:gd name="connsiteX9" fmla="*/ 393405 w 499730"/>
                <a:gd name="connsiteY9" fmla="*/ 265814 h 425302"/>
                <a:gd name="connsiteX10" fmla="*/ 414670 w 499730"/>
                <a:gd name="connsiteY10" fmla="*/ 202018 h 425302"/>
                <a:gd name="connsiteX11" fmla="*/ 478465 w 499730"/>
                <a:gd name="connsiteY11" fmla="*/ 180753 h 425302"/>
                <a:gd name="connsiteX12" fmla="*/ 499730 w 499730"/>
                <a:gd name="connsiteY12" fmla="*/ 138223 h 425302"/>
                <a:gd name="connsiteX0" fmla="*/ 241285 w 499730"/>
                <a:gd name="connsiteY0" fmla="*/ 0 h 465936"/>
                <a:gd name="connsiteX1" fmla="*/ 63795 w 499730"/>
                <a:gd name="connsiteY1" fmla="*/ 115062 h 465936"/>
                <a:gd name="connsiteX2" fmla="*/ 21265 w 499730"/>
                <a:gd name="connsiteY2" fmla="*/ 178857 h 465936"/>
                <a:gd name="connsiteX3" fmla="*/ 0 w 499730"/>
                <a:gd name="connsiteY3" fmla="*/ 210755 h 465936"/>
                <a:gd name="connsiteX4" fmla="*/ 53163 w 499730"/>
                <a:gd name="connsiteY4" fmla="*/ 370243 h 465936"/>
                <a:gd name="connsiteX5" fmla="*/ 85060 w 499730"/>
                <a:gd name="connsiteY5" fmla="*/ 380875 h 465936"/>
                <a:gd name="connsiteX6" fmla="*/ 148856 w 499730"/>
                <a:gd name="connsiteY6" fmla="*/ 434038 h 465936"/>
                <a:gd name="connsiteX7" fmla="*/ 308344 w 499730"/>
                <a:gd name="connsiteY7" fmla="*/ 465936 h 465936"/>
                <a:gd name="connsiteX8" fmla="*/ 340242 w 499730"/>
                <a:gd name="connsiteY8" fmla="*/ 423406 h 465936"/>
                <a:gd name="connsiteX9" fmla="*/ 393405 w 499730"/>
                <a:gd name="connsiteY9" fmla="*/ 306448 h 465936"/>
                <a:gd name="connsiteX10" fmla="*/ 414670 w 499730"/>
                <a:gd name="connsiteY10" fmla="*/ 242652 h 465936"/>
                <a:gd name="connsiteX11" fmla="*/ 478465 w 499730"/>
                <a:gd name="connsiteY11" fmla="*/ 221387 h 465936"/>
                <a:gd name="connsiteX12" fmla="*/ 499730 w 499730"/>
                <a:gd name="connsiteY12" fmla="*/ 178857 h 465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99730" h="465936">
                  <a:moveTo>
                    <a:pt x="241285" y="0"/>
                  </a:moveTo>
                  <a:cubicBezTo>
                    <a:pt x="216476" y="24809"/>
                    <a:pt x="100465" y="85253"/>
                    <a:pt x="63795" y="115062"/>
                  </a:cubicBezTo>
                  <a:cubicBezTo>
                    <a:pt x="27125" y="144871"/>
                    <a:pt x="35442" y="157592"/>
                    <a:pt x="21265" y="178857"/>
                  </a:cubicBezTo>
                  <a:lnTo>
                    <a:pt x="0" y="210755"/>
                  </a:lnTo>
                  <a:cubicBezTo>
                    <a:pt x="16046" y="315052"/>
                    <a:pt x="-15559" y="335883"/>
                    <a:pt x="53163" y="370243"/>
                  </a:cubicBezTo>
                  <a:cubicBezTo>
                    <a:pt x="63187" y="375255"/>
                    <a:pt x="74428" y="377331"/>
                    <a:pt x="85060" y="380875"/>
                  </a:cubicBezTo>
                  <a:cubicBezTo>
                    <a:pt x="105092" y="400907"/>
                    <a:pt x="122210" y="422195"/>
                    <a:pt x="148856" y="434038"/>
                  </a:cubicBezTo>
                  <a:cubicBezTo>
                    <a:pt x="211684" y="461961"/>
                    <a:pt x="235351" y="457825"/>
                    <a:pt x="308344" y="465936"/>
                  </a:cubicBezTo>
                  <a:cubicBezTo>
                    <a:pt x="318977" y="451759"/>
                    <a:pt x="333426" y="439764"/>
                    <a:pt x="340242" y="423406"/>
                  </a:cubicBezTo>
                  <a:cubicBezTo>
                    <a:pt x="393625" y="295287"/>
                    <a:pt x="326193" y="373658"/>
                    <a:pt x="393405" y="306448"/>
                  </a:cubicBezTo>
                  <a:cubicBezTo>
                    <a:pt x="400493" y="285183"/>
                    <a:pt x="393405" y="249740"/>
                    <a:pt x="414670" y="242652"/>
                  </a:cubicBezTo>
                  <a:lnTo>
                    <a:pt x="478465" y="221387"/>
                  </a:lnTo>
                  <a:lnTo>
                    <a:pt x="499730" y="178857"/>
                  </a:lnTo>
                </a:path>
              </a:pathLst>
            </a:custGeom>
            <a:noFill/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8" name="Freeform 378"/>
            <p:cNvSpPr/>
            <p:nvPr/>
          </p:nvSpPr>
          <p:spPr>
            <a:xfrm>
              <a:off x="4201560" y="1076328"/>
              <a:ext cx="196015" cy="123701"/>
            </a:xfrm>
            <a:custGeom>
              <a:avLst/>
              <a:gdLst>
                <a:gd name="connsiteX0" fmla="*/ 0 w 182759"/>
                <a:gd name="connsiteY0" fmla="*/ 0 h 109537"/>
                <a:gd name="connsiteX1" fmla="*/ 4762 w 182759"/>
                <a:gd name="connsiteY1" fmla="*/ 23812 h 109537"/>
                <a:gd name="connsiteX2" fmla="*/ 90487 w 182759"/>
                <a:gd name="connsiteY2" fmla="*/ 47625 h 109537"/>
                <a:gd name="connsiteX3" fmla="*/ 138112 w 182759"/>
                <a:gd name="connsiteY3" fmla="*/ 61912 h 109537"/>
                <a:gd name="connsiteX4" fmla="*/ 166687 w 182759"/>
                <a:gd name="connsiteY4" fmla="*/ 66675 h 109537"/>
                <a:gd name="connsiteX5" fmla="*/ 180975 w 182759"/>
                <a:gd name="connsiteY5" fmla="*/ 71437 h 109537"/>
                <a:gd name="connsiteX6" fmla="*/ 180975 w 182759"/>
                <a:gd name="connsiteY6" fmla="*/ 109537 h 10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759" h="109537">
                  <a:moveTo>
                    <a:pt x="0" y="0"/>
                  </a:moveTo>
                  <a:cubicBezTo>
                    <a:pt x="1587" y="7937"/>
                    <a:pt x="-208" y="17423"/>
                    <a:pt x="4762" y="23812"/>
                  </a:cubicBezTo>
                  <a:cubicBezTo>
                    <a:pt x="26341" y="51557"/>
                    <a:pt x="60171" y="45098"/>
                    <a:pt x="90487" y="47625"/>
                  </a:cubicBezTo>
                  <a:cubicBezTo>
                    <a:pt x="108719" y="53702"/>
                    <a:pt x="120112" y="58312"/>
                    <a:pt x="138112" y="61912"/>
                  </a:cubicBezTo>
                  <a:cubicBezTo>
                    <a:pt x="147581" y="63806"/>
                    <a:pt x="157261" y="64580"/>
                    <a:pt x="166687" y="66675"/>
                  </a:cubicBezTo>
                  <a:cubicBezTo>
                    <a:pt x="171588" y="67764"/>
                    <a:pt x="179387" y="66674"/>
                    <a:pt x="180975" y="71437"/>
                  </a:cubicBezTo>
                  <a:cubicBezTo>
                    <a:pt x="184991" y="83485"/>
                    <a:pt x="180975" y="96837"/>
                    <a:pt x="180975" y="109537"/>
                  </a:cubicBezTo>
                </a:path>
              </a:pathLst>
            </a:custGeom>
            <a:no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9" name="Freeform 379"/>
            <p:cNvSpPr/>
            <p:nvPr/>
          </p:nvSpPr>
          <p:spPr>
            <a:xfrm>
              <a:off x="4129126" y="1062036"/>
              <a:ext cx="71399" cy="45719"/>
            </a:xfrm>
            <a:custGeom>
              <a:avLst/>
              <a:gdLst>
                <a:gd name="connsiteX0" fmla="*/ 0 w 47625"/>
                <a:gd name="connsiteY0" fmla="*/ 0 h 38100"/>
                <a:gd name="connsiteX1" fmla="*/ 28575 w 47625"/>
                <a:gd name="connsiteY1" fmla="*/ 4762 h 38100"/>
                <a:gd name="connsiteX2" fmla="*/ 33337 w 47625"/>
                <a:gd name="connsiteY2" fmla="*/ 19050 h 38100"/>
                <a:gd name="connsiteX3" fmla="*/ 47625 w 4762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38100">
                  <a:moveTo>
                    <a:pt x="0" y="0"/>
                  </a:moveTo>
                  <a:cubicBezTo>
                    <a:pt x="9525" y="1587"/>
                    <a:pt x="20191" y="-29"/>
                    <a:pt x="28575" y="4762"/>
                  </a:cubicBezTo>
                  <a:cubicBezTo>
                    <a:pt x="32934" y="7253"/>
                    <a:pt x="31092" y="14560"/>
                    <a:pt x="33337" y="19050"/>
                  </a:cubicBezTo>
                  <a:cubicBezTo>
                    <a:pt x="38721" y="29819"/>
                    <a:pt x="40928" y="31403"/>
                    <a:pt x="47625" y="38100"/>
                  </a:cubicBezTo>
                </a:path>
              </a:pathLst>
            </a:custGeom>
            <a:noFill/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3" name="Group 532"/>
          <p:cNvGrpSpPr/>
          <p:nvPr/>
        </p:nvGrpSpPr>
        <p:grpSpPr>
          <a:xfrm>
            <a:off x="1922469" y="5836916"/>
            <a:ext cx="953606" cy="498729"/>
            <a:chOff x="609772" y="2518840"/>
            <a:chExt cx="953606" cy="498729"/>
          </a:xfrm>
        </p:grpSpPr>
        <p:sp>
          <p:nvSpPr>
            <p:cNvPr id="534" name="Seta para a esquerda 240"/>
            <p:cNvSpPr/>
            <p:nvPr/>
          </p:nvSpPr>
          <p:spPr>
            <a:xfrm>
              <a:off x="1275378" y="2518840"/>
              <a:ext cx="288000" cy="216000"/>
            </a:xfrm>
            <a:prstGeom prst="leftArrow">
              <a:avLst/>
            </a:prstGeom>
            <a:solidFill>
              <a:srgbClr val="008000"/>
            </a:solidFill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rgbClr val="008000"/>
                </a:solidFill>
              </a:endParaRPr>
            </a:p>
          </p:txBody>
        </p:sp>
        <p:sp>
          <p:nvSpPr>
            <p:cNvPr id="535" name="TextBox 534"/>
            <p:cNvSpPr txBox="1"/>
            <p:nvPr/>
          </p:nvSpPr>
          <p:spPr>
            <a:xfrm>
              <a:off x="609772" y="2709792"/>
              <a:ext cx="6321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pt-BR" sz="1000" dirty="0">
                  <a:solidFill>
                    <a:srgbClr val="008000"/>
                  </a:solidFill>
                  <a:latin typeface="Arial Narrow" pitchFamily="34" charset="0"/>
                  <a:cs typeface="Arial" pitchFamily="34" charset="0"/>
                </a:rPr>
                <a:t>Ligação</a:t>
              </a:r>
            </a:p>
            <a:p>
              <a:pPr algn="r"/>
              <a:r>
                <a:rPr lang="pt-BR" sz="1000" dirty="0">
                  <a:solidFill>
                    <a:srgbClr val="008000"/>
                  </a:solidFill>
                  <a:latin typeface="Arial Narrow" pitchFamily="34" charset="0"/>
                  <a:cs typeface="Arial" pitchFamily="34" charset="0"/>
                </a:rPr>
                <a:t>Pacífico</a:t>
              </a:r>
            </a:p>
          </p:txBody>
        </p:sp>
      </p:grpSp>
      <p:grpSp>
        <p:nvGrpSpPr>
          <p:cNvPr id="536" name="Group 535"/>
          <p:cNvGrpSpPr/>
          <p:nvPr/>
        </p:nvGrpSpPr>
        <p:grpSpPr>
          <a:xfrm>
            <a:off x="982901" y="2123622"/>
            <a:ext cx="632161" cy="510763"/>
            <a:chOff x="1047349" y="2201991"/>
            <a:chExt cx="632161" cy="510763"/>
          </a:xfrm>
        </p:grpSpPr>
        <p:sp>
          <p:nvSpPr>
            <p:cNvPr id="537" name="Seta para a esquerda 240"/>
            <p:cNvSpPr/>
            <p:nvPr/>
          </p:nvSpPr>
          <p:spPr>
            <a:xfrm>
              <a:off x="1164948" y="2496754"/>
              <a:ext cx="288000" cy="216000"/>
            </a:xfrm>
            <a:prstGeom prst="leftArrow">
              <a:avLst/>
            </a:prstGeom>
            <a:solidFill>
              <a:srgbClr val="008000"/>
            </a:solidFill>
            <a:ln>
              <a:solidFill>
                <a:srgbClr val="008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srgbClr val="008000"/>
                </a:solidFill>
              </a:endParaRPr>
            </a:p>
          </p:txBody>
        </p:sp>
        <p:sp>
          <p:nvSpPr>
            <p:cNvPr id="538" name="TextBox 537"/>
            <p:cNvSpPr txBox="1"/>
            <p:nvPr/>
          </p:nvSpPr>
          <p:spPr>
            <a:xfrm>
              <a:off x="1047349" y="2201991"/>
              <a:ext cx="6321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8000"/>
                  </a:solidFill>
                  <a:latin typeface="Arial Narrow" pitchFamily="34" charset="0"/>
                  <a:cs typeface="Arial" pitchFamily="34" charset="0"/>
                </a:rPr>
                <a:t>Ligação</a:t>
              </a:r>
            </a:p>
            <a:p>
              <a:pPr algn="ctr"/>
              <a:r>
                <a:rPr lang="pt-BR" sz="1000" dirty="0">
                  <a:solidFill>
                    <a:srgbClr val="008000"/>
                  </a:solidFill>
                  <a:latin typeface="Arial Narrow" pitchFamily="34" charset="0"/>
                  <a:cs typeface="Arial" pitchFamily="34" charset="0"/>
                </a:rPr>
                <a:t>Pacífico</a:t>
              </a:r>
            </a:p>
          </p:txBody>
        </p:sp>
      </p:grpSp>
      <p:sp>
        <p:nvSpPr>
          <p:cNvPr id="539" name="TextBox 3"/>
          <p:cNvSpPr txBox="1"/>
          <p:nvPr/>
        </p:nvSpPr>
        <p:spPr>
          <a:xfrm>
            <a:off x="4655543" y="282714"/>
            <a:ext cx="4366140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2000" b="1">
                <a:solidFill>
                  <a:schemeClr val="accent3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r"/>
            <a:r>
              <a:rPr lang="pt-BR" sz="2400" dirty="0" smtClean="0">
                <a:latin typeface="+mj-lt"/>
              </a:rPr>
              <a:t>Malha </a:t>
            </a:r>
            <a:r>
              <a:rPr lang="pt-BR" sz="2400" dirty="0" smtClean="0">
                <a:latin typeface="+mj-lt"/>
                <a:ea typeface="ＭＳ Ｐゴシック" pitchFamily="34" charset="-128"/>
                <a:cs typeface="+mn-cs"/>
              </a:rPr>
              <a:t>Ferroviária</a:t>
            </a:r>
          </a:p>
          <a:p>
            <a:pPr algn="r"/>
            <a:r>
              <a:rPr lang="pt-BR" sz="2400" dirty="0" smtClean="0">
                <a:latin typeface="+mj-lt"/>
              </a:rPr>
              <a:t>Ampliação da Malha</a:t>
            </a:r>
            <a:endParaRPr lang="pt-BR" sz="2400" dirty="0">
              <a:latin typeface="+mj-lt"/>
            </a:endParaRPr>
          </a:p>
        </p:txBody>
      </p:sp>
      <p:grpSp>
        <p:nvGrpSpPr>
          <p:cNvPr id="483" name="Group 482"/>
          <p:cNvGrpSpPr/>
          <p:nvPr/>
        </p:nvGrpSpPr>
        <p:grpSpPr>
          <a:xfrm>
            <a:off x="3359151" y="1755776"/>
            <a:ext cx="4762609" cy="3868239"/>
            <a:chOff x="3359150" y="1755775"/>
            <a:chExt cx="4762609" cy="3868239"/>
          </a:xfrm>
        </p:grpSpPr>
        <p:grpSp>
          <p:nvGrpSpPr>
            <p:cNvPr id="484" name="Grupo 15"/>
            <p:cNvGrpSpPr/>
            <p:nvPr/>
          </p:nvGrpSpPr>
          <p:grpSpPr>
            <a:xfrm>
              <a:off x="3359150" y="1755775"/>
              <a:ext cx="4762609" cy="3868239"/>
              <a:chOff x="3359150" y="1755775"/>
              <a:chExt cx="4762609" cy="3868239"/>
            </a:xfrm>
          </p:grpSpPr>
          <p:cxnSp>
            <p:nvCxnSpPr>
              <p:cNvPr id="486" name="Conector reto 338"/>
              <p:cNvCxnSpPr/>
              <p:nvPr/>
            </p:nvCxnSpPr>
            <p:spPr>
              <a:xfrm>
                <a:off x="6793199" y="5569383"/>
                <a:ext cx="360363" cy="0"/>
              </a:xfrm>
              <a:prstGeom prst="line">
                <a:avLst/>
              </a:prstGeom>
              <a:ln w="38100" cmpd="sng">
                <a:solidFill>
                  <a:srgbClr val="0000FF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87" name="Grupo 16"/>
              <p:cNvGrpSpPr>
                <a:grpSpLocks/>
              </p:cNvGrpSpPr>
              <p:nvPr/>
            </p:nvGrpSpPr>
            <p:grpSpPr bwMode="auto">
              <a:xfrm>
                <a:off x="3359150" y="1755775"/>
                <a:ext cx="3189288" cy="2684463"/>
                <a:chOff x="3899002" y="1755648"/>
                <a:chExt cx="3189427" cy="2684678"/>
              </a:xfrm>
            </p:grpSpPr>
            <p:sp>
              <p:nvSpPr>
                <p:cNvPr id="489" name="Forma livre 375"/>
                <p:cNvSpPr/>
                <p:nvPr/>
              </p:nvSpPr>
              <p:spPr>
                <a:xfrm>
                  <a:off x="6350209" y="1755648"/>
                  <a:ext cx="152407" cy="695381"/>
                </a:xfrm>
                <a:custGeom>
                  <a:avLst/>
                  <a:gdLst>
                    <a:gd name="connsiteX0" fmla="*/ 153619 w 153619"/>
                    <a:gd name="connsiteY0" fmla="*/ 0 h 694944"/>
                    <a:gd name="connsiteX1" fmla="*/ 117043 w 153619"/>
                    <a:gd name="connsiteY1" fmla="*/ 80467 h 694944"/>
                    <a:gd name="connsiteX2" fmla="*/ 109728 w 153619"/>
                    <a:gd name="connsiteY2" fmla="*/ 102413 h 694944"/>
                    <a:gd name="connsiteX3" fmla="*/ 73152 w 153619"/>
                    <a:gd name="connsiteY3" fmla="*/ 138989 h 694944"/>
                    <a:gd name="connsiteX4" fmla="*/ 65836 w 153619"/>
                    <a:gd name="connsiteY4" fmla="*/ 160934 h 694944"/>
                    <a:gd name="connsiteX5" fmla="*/ 58521 w 153619"/>
                    <a:gd name="connsiteY5" fmla="*/ 190195 h 694944"/>
                    <a:gd name="connsiteX6" fmla="*/ 43891 w 153619"/>
                    <a:gd name="connsiteY6" fmla="*/ 204826 h 694944"/>
                    <a:gd name="connsiteX7" fmla="*/ 29260 w 153619"/>
                    <a:gd name="connsiteY7" fmla="*/ 226771 h 694944"/>
                    <a:gd name="connsiteX8" fmla="*/ 7315 w 153619"/>
                    <a:gd name="connsiteY8" fmla="*/ 270662 h 694944"/>
                    <a:gd name="connsiteX9" fmla="*/ 0 w 153619"/>
                    <a:gd name="connsiteY9" fmla="*/ 292608 h 694944"/>
                    <a:gd name="connsiteX10" fmla="*/ 7315 w 153619"/>
                    <a:gd name="connsiteY10" fmla="*/ 358445 h 694944"/>
                    <a:gd name="connsiteX11" fmla="*/ 29260 w 153619"/>
                    <a:gd name="connsiteY11" fmla="*/ 373075 h 694944"/>
                    <a:gd name="connsiteX12" fmla="*/ 36576 w 153619"/>
                    <a:gd name="connsiteY12" fmla="*/ 395021 h 694944"/>
                    <a:gd name="connsiteX13" fmla="*/ 65836 w 153619"/>
                    <a:gd name="connsiteY13" fmla="*/ 431597 h 694944"/>
                    <a:gd name="connsiteX14" fmla="*/ 73152 w 153619"/>
                    <a:gd name="connsiteY14" fmla="*/ 460858 h 694944"/>
                    <a:gd name="connsiteX15" fmla="*/ 87782 w 153619"/>
                    <a:gd name="connsiteY15" fmla="*/ 504749 h 694944"/>
                    <a:gd name="connsiteX16" fmla="*/ 80467 w 153619"/>
                    <a:gd name="connsiteY16" fmla="*/ 548640 h 694944"/>
                    <a:gd name="connsiteX17" fmla="*/ 73152 w 153619"/>
                    <a:gd name="connsiteY17" fmla="*/ 570586 h 694944"/>
                    <a:gd name="connsiteX18" fmla="*/ 65836 w 153619"/>
                    <a:gd name="connsiteY18" fmla="*/ 665683 h 694944"/>
                    <a:gd name="connsiteX19" fmla="*/ 51206 w 153619"/>
                    <a:gd name="connsiteY19" fmla="*/ 680314 h 694944"/>
                    <a:gd name="connsiteX20" fmla="*/ 29260 w 153619"/>
                    <a:gd name="connsiteY20" fmla="*/ 694944 h 694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153619" h="694944">
                      <a:moveTo>
                        <a:pt x="153619" y="0"/>
                      </a:moveTo>
                      <a:cubicBezTo>
                        <a:pt x="123739" y="49799"/>
                        <a:pt x="136169" y="23088"/>
                        <a:pt x="117043" y="80467"/>
                      </a:cubicBezTo>
                      <a:cubicBezTo>
                        <a:pt x="114605" y="87782"/>
                        <a:pt x="115181" y="96960"/>
                        <a:pt x="109728" y="102413"/>
                      </a:cubicBezTo>
                      <a:lnTo>
                        <a:pt x="73152" y="138989"/>
                      </a:lnTo>
                      <a:cubicBezTo>
                        <a:pt x="70713" y="146304"/>
                        <a:pt x="67954" y="153520"/>
                        <a:pt x="65836" y="160934"/>
                      </a:cubicBezTo>
                      <a:cubicBezTo>
                        <a:pt x="63074" y="170601"/>
                        <a:pt x="63017" y="181202"/>
                        <a:pt x="58521" y="190195"/>
                      </a:cubicBezTo>
                      <a:cubicBezTo>
                        <a:pt x="55437" y="196364"/>
                        <a:pt x="48199" y="199440"/>
                        <a:pt x="43891" y="204826"/>
                      </a:cubicBezTo>
                      <a:cubicBezTo>
                        <a:pt x="38399" y="211691"/>
                        <a:pt x="34137" y="219456"/>
                        <a:pt x="29260" y="226771"/>
                      </a:cubicBezTo>
                      <a:cubicBezTo>
                        <a:pt x="10873" y="281934"/>
                        <a:pt x="35676" y="213939"/>
                        <a:pt x="7315" y="270662"/>
                      </a:cubicBezTo>
                      <a:cubicBezTo>
                        <a:pt x="3867" y="277559"/>
                        <a:pt x="2438" y="285293"/>
                        <a:pt x="0" y="292608"/>
                      </a:cubicBezTo>
                      <a:cubicBezTo>
                        <a:pt x="2438" y="314554"/>
                        <a:pt x="-231" y="337694"/>
                        <a:pt x="7315" y="358445"/>
                      </a:cubicBezTo>
                      <a:cubicBezTo>
                        <a:pt x="10319" y="366707"/>
                        <a:pt x="23768" y="366210"/>
                        <a:pt x="29260" y="373075"/>
                      </a:cubicBezTo>
                      <a:cubicBezTo>
                        <a:pt x="34077" y="379096"/>
                        <a:pt x="33127" y="388124"/>
                        <a:pt x="36576" y="395021"/>
                      </a:cubicBezTo>
                      <a:cubicBezTo>
                        <a:pt x="45804" y="413476"/>
                        <a:pt x="52229" y="417989"/>
                        <a:pt x="65836" y="431597"/>
                      </a:cubicBezTo>
                      <a:cubicBezTo>
                        <a:pt x="68275" y="441351"/>
                        <a:pt x="70263" y="451228"/>
                        <a:pt x="73152" y="460858"/>
                      </a:cubicBezTo>
                      <a:cubicBezTo>
                        <a:pt x="77583" y="475629"/>
                        <a:pt x="87782" y="504749"/>
                        <a:pt x="87782" y="504749"/>
                      </a:cubicBezTo>
                      <a:cubicBezTo>
                        <a:pt x="85344" y="519379"/>
                        <a:pt x="83684" y="534161"/>
                        <a:pt x="80467" y="548640"/>
                      </a:cubicBezTo>
                      <a:cubicBezTo>
                        <a:pt x="78794" y="556167"/>
                        <a:pt x="74108" y="562935"/>
                        <a:pt x="73152" y="570586"/>
                      </a:cubicBezTo>
                      <a:cubicBezTo>
                        <a:pt x="69208" y="602133"/>
                        <a:pt x="72071" y="634508"/>
                        <a:pt x="65836" y="665683"/>
                      </a:cubicBezTo>
                      <a:cubicBezTo>
                        <a:pt x="64483" y="672446"/>
                        <a:pt x="56592" y="676006"/>
                        <a:pt x="51206" y="680314"/>
                      </a:cubicBezTo>
                      <a:cubicBezTo>
                        <a:pt x="44341" y="685806"/>
                        <a:pt x="29260" y="694944"/>
                        <a:pt x="29260" y="694944"/>
                      </a:cubicBezTo>
                    </a:path>
                  </a:pathLst>
                </a:custGeom>
                <a:ln w="38100" cmpd="sng">
                  <a:solidFill>
                    <a:srgbClr val="0000FF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0" name="Forma livre 377"/>
                <p:cNvSpPr/>
                <p:nvPr/>
              </p:nvSpPr>
              <p:spPr>
                <a:xfrm>
                  <a:off x="5677079" y="2392287"/>
                  <a:ext cx="1411350" cy="95258"/>
                </a:xfrm>
                <a:custGeom>
                  <a:avLst/>
                  <a:gdLst>
                    <a:gd name="connsiteX0" fmla="*/ 1411834 w 1411834"/>
                    <a:gd name="connsiteY0" fmla="*/ 95098 h 95098"/>
                    <a:gd name="connsiteX1" fmla="*/ 1367943 w 1411834"/>
                    <a:gd name="connsiteY1" fmla="*/ 87783 h 95098"/>
                    <a:gd name="connsiteX2" fmla="*/ 1345997 w 1411834"/>
                    <a:gd name="connsiteY2" fmla="*/ 80468 h 95098"/>
                    <a:gd name="connsiteX3" fmla="*/ 1236269 w 1411834"/>
                    <a:gd name="connsiteY3" fmla="*/ 95098 h 95098"/>
                    <a:gd name="connsiteX4" fmla="*/ 1068019 w 1411834"/>
                    <a:gd name="connsiteY4" fmla="*/ 87783 h 95098"/>
                    <a:gd name="connsiteX5" fmla="*/ 1053389 w 1411834"/>
                    <a:gd name="connsiteY5" fmla="*/ 73152 h 95098"/>
                    <a:gd name="connsiteX6" fmla="*/ 1002183 w 1411834"/>
                    <a:gd name="connsiteY6" fmla="*/ 43892 h 95098"/>
                    <a:gd name="connsiteX7" fmla="*/ 943661 w 1411834"/>
                    <a:gd name="connsiteY7" fmla="*/ 0 h 95098"/>
                    <a:gd name="connsiteX8" fmla="*/ 899770 w 1411834"/>
                    <a:gd name="connsiteY8" fmla="*/ 7316 h 95098"/>
                    <a:gd name="connsiteX9" fmla="*/ 848563 w 1411834"/>
                    <a:gd name="connsiteY9" fmla="*/ 21946 h 95098"/>
                    <a:gd name="connsiteX10" fmla="*/ 826618 w 1411834"/>
                    <a:gd name="connsiteY10" fmla="*/ 36576 h 95098"/>
                    <a:gd name="connsiteX11" fmla="*/ 548640 w 1411834"/>
                    <a:gd name="connsiteY11" fmla="*/ 21946 h 95098"/>
                    <a:gd name="connsiteX12" fmla="*/ 468173 w 1411834"/>
                    <a:gd name="connsiteY12" fmla="*/ 43892 h 95098"/>
                    <a:gd name="connsiteX13" fmla="*/ 438912 w 1411834"/>
                    <a:gd name="connsiteY13" fmla="*/ 58522 h 95098"/>
                    <a:gd name="connsiteX14" fmla="*/ 395021 w 1411834"/>
                    <a:gd name="connsiteY14" fmla="*/ 51207 h 95098"/>
                    <a:gd name="connsiteX15" fmla="*/ 380391 w 1411834"/>
                    <a:gd name="connsiteY15" fmla="*/ 36576 h 95098"/>
                    <a:gd name="connsiteX16" fmla="*/ 321869 w 1411834"/>
                    <a:gd name="connsiteY16" fmla="*/ 21946 h 95098"/>
                    <a:gd name="connsiteX17" fmla="*/ 263347 w 1411834"/>
                    <a:gd name="connsiteY17" fmla="*/ 29261 h 95098"/>
                    <a:gd name="connsiteX18" fmla="*/ 219456 w 1411834"/>
                    <a:gd name="connsiteY18" fmla="*/ 43892 h 95098"/>
                    <a:gd name="connsiteX19" fmla="*/ 175565 w 1411834"/>
                    <a:gd name="connsiteY19" fmla="*/ 36576 h 95098"/>
                    <a:gd name="connsiteX20" fmla="*/ 124359 w 1411834"/>
                    <a:gd name="connsiteY20" fmla="*/ 7316 h 95098"/>
                    <a:gd name="connsiteX21" fmla="*/ 102413 w 1411834"/>
                    <a:gd name="connsiteY21" fmla="*/ 0 h 95098"/>
                    <a:gd name="connsiteX22" fmla="*/ 73152 w 1411834"/>
                    <a:gd name="connsiteY22" fmla="*/ 7316 h 95098"/>
                    <a:gd name="connsiteX23" fmla="*/ 58522 w 1411834"/>
                    <a:gd name="connsiteY23" fmla="*/ 36576 h 95098"/>
                    <a:gd name="connsiteX24" fmla="*/ 43891 w 1411834"/>
                    <a:gd name="connsiteY24" fmla="*/ 51207 h 95098"/>
                    <a:gd name="connsiteX25" fmla="*/ 21946 w 1411834"/>
                    <a:gd name="connsiteY25" fmla="*/ 65837 h 95098"/>
                    <a:gd name="connsiteX26" fmla="*/ 0 w 1411834"/>
                    <a:gd name="connsiteY26" fmla="*/ 73152 h 95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411834" h="95098">
                      <a:moveTo>
                        <a:pt x="1411834" y="95098"/>
                      </a:moveTo>
                      <a:cubicBezTo>
                        <a:pt x="1397204" y="92660"/>
                        <a:pt x="1382422" y="91000"/>
                        <a:pt x="1367943" y="87783"/>
                      </a:cubicBezTo>
                      <a:cubicBezTo>
                        <a:pt x="1360416" y="86110"/>
                        <a:pt x="1353708" y="80468"/>
                        <a:pt x="1345997" y="80468"/>
                      </a:cubicBezTo>
                      <a:cubicBezTo>
                        <a:pt x="1319137" y="80468"/>
                        <a:pt x="1265856" y="90167"/>
                        <a:pt x="1236269" y="95098"/>
                      </a:cubicBezTo>
                      <a:cubicBezTo>
                        <a:pt x="1180186" y="92660"/>
                        <a:pt x="1123755" y="94471"/>
                        <a:pt x="1068019" y="87783"/>
                      </a:cubicBezTo>
                      <a:cubicBezTo>
                        <a:pt x="1061171" y="86961"/>
                        <a:pt x="1058687" y="77567"/>
                        <a:pt x="1053389" y="73152"/>
                      </a:cubicBezTo>
                      <a:cubicBezTo>
                        <a:pt x="1023866" y="48550"/>
                        <a:pt x="1031958" y="53817"/>
                        <a:pt x="1002183" y="43892"/>
                      </a:cubicBezTo>
                      <a:cubicBezTo>
                        <a:pt x="952552" y="10805"/>
                        <a:pt x="970724" y="27065"/>
                        <a:pt x="943661" y="0"/>
                      </a:cubicBezTo>
                      <a:cubicBezTo>
                        <a:pt x="929031" y="2439"/>
                        <a:pt x="914314" y="4407"/>
                        <a:pt x="899770" y="7316"/>
                      </a:cubicBezTo>
                      <a:cubicBezTo>
                        <a:pt x="876804" y="11909"/>
                        <a:pt x="869481" y="14974"/>
                        <a:pt x="848563" y="21946"/>
                      </a:cubicBezTo>
                      <a:cubicBezTo>
                        <a:pt x="841248" y="26823"/>
                        <a:pt x="835406" y="36345"/>
                        <a:pt x="826618" y="36576"/>
                      </a:cubicBezTo>
                      <a:cubicBezTo>
                        <a:pt x="603129" y="42457"/>
                        <a:pt x="647949" y="55047"/>
                        <a:pt x="548640" y="21946"/>
                      </a:cubicBezTo>
                      <a:cubicBezTo>
                        <a:pt x="521880" y="27298"/>
                        <a:pt x="492927" y="31515"/>
                        <a:pt x="468173" y="43892"/>
                      </a:cubicBezTo>
                      <a:lnTo>
                        <a:pt x="438912" y="58522"/>
                      </a:lnTo>
                      <a:cubicBezTo>
                        <a:pt x="424282" y="56084"/>
                        <a:pt x="408909" y="56415"/>
                        <a:pt x="395021" y="51207"/>
                      </a:cubicBezTo>
                      <a:cubicBezTo>
                        <a:pt x="388563" y="48785"/>
                        <a:pt x="386305" y="40124"/>
                        <a:pt x="380391" y="36576"/>
                      </a:cubicBezTo>
                      <a:cubicBezTo>
                        <a:pt x="369145" y="29828"/>
                        <a:pt x="329734" y="23519"/>
                        <a:pt x="321869" y="21946"/>
                      </a:cubicBezTo>
                      <a:cubicBezTo>
                        <a:pt x="302362" y="24384"/>
                        <a:pt x="282570" y="25142"/>
                        <a:pt x="263347" y="29261"/>
                      </a:cubicBezTo>
                      <a:cubicBezTo>
                        <a:pt x="248268" y="32492"/>
                        <a:pt x="219456" y="43892"/>
                        <a:pt x="219456" y="43892"/>
                      </a:cubicBezTo>
                      <a:cubicBezTo>
                        <a:pt x="204826" y="41453"/>
                        <a:pt x="189772" y="40838"/>
                        <a:pt x="175565" y="36576"/>
                      </a:cubicBezTo>
                      <a:cubicBezTo>
                        <a:pt x="143501" y="26957"/>
                        <a:pt x="151298" y="20786"/>
                        <a:pt x="124359" y="7316"/>
                      </a:cubicBezTo>
                      <a:cubicBezTo>
                        <a:pt x="117462" y="3867"/>
                        <a:pt x="109728" y="2439"/>
                        <a:pt x="102413" y="0"/>
                      </a:cubicBezTo>
                      <a:cubicBezTo>
                        <a:pt x="92659" y="2439"/>
                        <a:pt x="80876" y="880"/>
                        <a:pt x="73152" y="7316"/>
                      </a:cubicBezTo>
                      <a:cubicBezTo>
                        <a:pt x="64775" y="14297"/>
                        <a:pt x="64571" y="27503"/>
                        <a:pt x="58522" y="36576"/>
                      </a:cubicBezTo>
                      <a:cubicBezTo>
                        <a:pt x="54696" y="42315"/>
                        <a:pt x="49277" y="46898"/>
                        <a:pt x="43891" y="51207"/>
                      </a:cubicBezTo>
                      <a:cubicBezTo>
                        <a:pt x="37026" y="56699"/>
                        <a:pt x="29809" y="61905"/>
                        <a:pt x="21946" y="65837"/>
                      </a:cubicBezTo>
                      <a:cubicBezTo>
                        <a:pt x="15049" y="69285"/>
                        <a:pt x="0" y="73152"/>
                        <a:pt x="0" y="73152"/>
                      </a:cubicBezTo>
                    </a:path>
                  </a:pathLst>
                </a:custGeom>
                <a:ln w="38100" cmpd="sng">
                  <a:solidFill>
                    <a:srgbClr val="0000FF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1" name="Forma livre 379"/>
                <p:cNvSpPr/>
                <p:nvPr/>
              </p:nvSpPr>
              <p:spPr>
                <a:xfrm>
                  <a:off x="3899002" y="3840203"/>
                  <a:ext cx="190508" cy="103195"/>
                </a:xfrm>
                <a:custGeom>
                  <a:avLst/>
                  <a:gdLst>
                    <a:gd name="connsiteX0" fmla="*/ 190195 w 190195"/>
                    <a:gd name="connsiteY0" fmla="*/ 102413 h 102413"/>
                    <a:gd name="connsiteX1" fmla="*/ 153619 w 190195"/>
                    <a:gd name="connsiteY1" fmla="*/ 43891 h 102413"/>
                    <a:gd name="connsiteX2" fmla="*/ 138988 w 190195"/>
                    <a:gd name="connsiteY2" fmla="*/ 29261 h 102413"/>
                    <a:gd name="connsiteX3" fmla="*/ 73152 w 190195"/>
                    <a:gd name="connsiteY3" fmla="*/ 7315 h 102413"/>
                    <a:gd name="connsiteX4" fmla="*/ 51206 w 190195"/>
                    <a:gd name="connsiteY4" fmla="*/ 0 h 102413"/>
                    <a:gd name="connsiteX5" fmla="*/ 0 w 190195"/>
                    <a:gd name="connsiteY5" fmla="*/ 0 h 1024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0195" h="102413">
                      <a:moveTo>
                        <a:pt x="190195" y="102413"/>
                      </a:moveTo>
                      <a:cubicBezTo>
                        <a:pt x="178003" y="82906"/>
                        <a:pt x="169886" y="60157"/>
                        <a:pt x="153619" y="43891"/>
                      </a:cubicBezTo>
                      <a:cubicBezTo>
                        <a:pt x="148742" y="39014"/>
                        <a:pt x="145157" y="32345"/>
                        <a:pt x="138988" y="29261"/>
                      </a:cubicBezTo>
                      <a:cubicBezTo>
                        <a:pt x="138984" y="29259"/>
                        <a:pt x="84127" y="10973"/>
                        <a:pt x="73152" y="7315"/>
                      </a:cubicBezTo>
                      <a:cubicBezTo>
                        <a:pt x="65837" y="4877"/>
                        <a:pt x="58917" y="0"/>
                        <a:pt x="51206" y="0"/>
                      </a:cubicBezTo>
                      <a:lnTo>
                        <a:pt x="0" y="0"/>
                      </a:lnTo>
                    </a:path>
                  </a:pathLst>
                </a:custGeom>
                <a:ln w="38100" cmpd="sng">
                  <a:solidFill>
                    <a:srgbClr val="0000FF"/>
                  </a:solidFill>
                  <a:prstDash val="solid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2" name="Forma livre 381"/>
                <p:cNvSpPr/>
                <p:nvPr/>
              </p:nvSpPr>
              <p:spPr>
                <a:xfrm>
                  <a:off x="4491166" y="2779668"/>
                  <a:ext cx="366728" cy="1660658"/>
                </a:xfrm>
                <a:custGeom>
                  <a:avLst/>
                  <a:gdLst>
                    <a:gd name="connsiteX0" fmla="*/ 365760 w 365760"/>
                    <a:gd name="connsiteY0" fmla="*/ 0 h 1660550"/>
                    <a:gd name="connsiteX1" fmla="*/ 329184 w 365760"/>
                    <a:gd name="connsiteY1" fmla="*/ 58522 h 1660550"/>
                    <a:gd name="connsiteX2" fmla="*/ 314553 w 365760"/>
                    <a:gd name="connsiteY2" fmla="*/ 80467 h 1660550"/>
                    <a:gd name="connsiteX3" fmla="*/ 321869 w 365760"/>
                    <a:gd name="connsiteY3" fmla="*/ 138989 h 1660550"/>
                    <a:gd name="connsiteX4" fmla="*/ 336499 w 365760"/>
                    <a:gd name="connsiteY4" fmla="*/ 160934 h 1660550"/>
                    <a:gd name="connsiteX5" fmla="*/ 314553 w 365760"/>
                    <a:gd name="connsiteY5" fmla="*/ 270662 h 1660550"/>
                    <a:gd name="connsiteX6" fmla="*/ 307238 w 365760"/>
                    <a:gd name="connsiteY6" fmla="*/ 299923 h 1660550"/>
                    <a:gd name="connsiteX7" fmla="*/ 299923 w 365760"/>
                    <a:gd name="connsiteY7" fmla="*/ 555955 h 1660550"/>
                    <a:gd name="connsiteX8" fmla="*/ 292608 w 365760"/>
                    <a:gd name="connsiteY8" fmla="*/ 585216 h 1660550"/>
                    <a:gd name="connsiteX9" fmla="*/ 277977 w 365760"/>
                    <a:gd name="connsiteY9" fmla="*/ 760781 h 1660550"/>
                    <a:gd name="connsiteX10" fmla="*/ 256032 w 365760"/>
                    <a:gd name="connsiteY10" fmla="*/ 826618 h 1660550"/>
                    <a:gd name="connsiteX11" fmla="*/ 248717 w 365760"/>
                    <a:gd name="connsiteY11" fmla="*/ 848563 h 1660550"/>
                    <a:gd name="connsiteX12" fmla="*/ 248717 w 365760"/>
                    <a:gd name="connsiteY12" fmla="*/ 1009498 h 1660550"/>
                    <a:gd name="connsiteX13" fmla="*/ 241401 w 365760"/>
                    <a:gd name="connsiteY13" fmla="*/ 1031443 h 1660550"/>
                    <a:gd name="connsiteX14" fmla="*/ 219456 w 365760"/>
                    <a:gd name="connsiteY14" fmla="*/ 1038758 h 1660550"/>
                    <a:gd name="connsiteX15" fmla="*/ 204825 w 365760"/>
                    <a:gd name="connsiteY15" fmla="*/ 1053389 h 1660550"/>
                    <a:gd name="connsiteX16" fmla="*/ 160934 w 365760"/>
                    <a:gd name="connsiteY16" fmla="*/ 1082650 h 1660550"/>
                    <a:gd name="connsiteX17" fmla="*/ 138989 w 365760"/>
                    <a:gd name="connsiteY17" fmla="*/ 1185062 h 1660550"/>
                    <a:gd name="connsiteX18" fmla="*/ 124358 w 365760"/>
                    <a:gd name="connsiteY18" fmla="*/ 1228954 h 1660550"/>
                    <a:gd name="connsiteX19" fmla="*/ 80467 w 365760"/>
                    <a:gd name="connsiteY19" fmla="*/ 1258214 h 1660550"/>
                    <a:gd name="connsiteX20" fmla="*/ 36576 w 365760"/>
                    <a:gd name="connsiteY20" fmla="*/ 1272845 h 1660550"/>
                    <a:gd name="connsiteX21" fmla="*/ 0 w 365760"/>
                    <a:gd name="connsiteY21" fmla="*/ 1324051 h 1660550"/>
                    <a:gd name="connsiteX22" fmla="*/ 7315 w 365760"/>
                    <a:gd name="connsiteY22" fmla="*/ 1353312 h 1660550"/>
                    <a:gd name="connsiteX23" fmla="*/ 29261 w 365760"/>
                    <a:gd name="connsiteY23" fmla="*/ 1367942 h 1660550"/>
                    <a:gd name="connsiteX24" fmla="*/ 43891 w 365760"/>
                    <a:gd name="connsiteY24" fmla="*/ 1382573 h 1660550"/>
                    <a:gd name="connsiteX25" fmla="*/ 51206 w 365760"/>
                    <a:gd name="connsiteY25" fmla="*/ 1404518 h 1660550"/>
                    <a:gd name="connsiteX26" fmla="*/ 65837 w 365760"/>
                    <a:gd name="connsiteY26" fmla="*/ 1419149 h 1660550"/>
                    <a:gd name="connsiteX27" fmla="*/ 80467 w 365760"/>
                    <a:gd name="connsiteY27" fmla="*/ 1441094 h 1660550"/>
                    <a:gd name="connsiteX28" fmla="*/ 87782 w 365760"/>
                    <a:gd name="connsiteY28" fmla="*/ 1463040 h 1660550"/>
                    <a:gd name="connsiteX29" fmla="*/ 73152 w 365760"/>
                    <a:gd name="connsiteY29" fmla="*/ 1558138 h 1660550"/>
                    <a:gd name="connsiteX30" fmla="*/ 80467 w 365760"/>
                    <a:gd name="connsiteY30" fmla="*/ 1645920 h 1660550"/>
                    <a:gd name="connsiteX31" fmla="*/ 102413 w 365760"/>
                    <a:gd name="connsiteY31" fmla="*/ 1660550 h 1660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365760" h="1660550">
                      <a:moveTo>
                        <a:pt x="365760" y="0"/>
                      </a:moveTo>
                      <a:cubicBezTo>
                        <a:pt x="353568" y="19507"/>
                        <a:pt x="341534" y="39115"/>
                        <a:pt x="329184" y="58522"/>
                      </a:cubicBezTo>
                      <a:cubicBezTo>
                        <a:pt x="324464" y="65939"/>
                        <a:pt x="314553" y="80467"/>
                        <a:pt x="314553" y="80467"/>
                      </a:cubicBezTo>
                      <a:cubicBezTo>
                        <a:pt x="316992" y="99974"/>
                        <a:pt x="316696" y="120023"/>
                        <a:pt x="321869" y="138989"/>
                      </a:cubicBezTo>
                      <a:cubicBezTo>
                        <a:pt x="324182" y="147471"/>
                        <a:pt x="335769" y="152173"/>
                        <a:pt x="336499" y="160934"/>
                      </a:cubicBezTo>
                      <a:cubicBezTo>
                        <a:pt x="341252" y="217968"/>
                        <a:pt x="326549" y="222677"/>
                        <a:pt x="314553" y="270662"/>
                      </a:cubicBezTo>
                      <a:lnTo>
                        <a:pt x="307238" y="299923"/>
                      </a:lnTo>
                      <a:cubicBezTo>
                        <a:pt x="304800" y="385267"/>
                        <a:pt x="304296" y="470688"/>
                        <a:pt x="299923" y="555955"/>
                      </a:cubicBezTo>
                      <a:cubicBezTo>
                        <a:pt x="299408" y="565996"/>
                        <a:pt x="293679" y="575219"/>
                        <a:pt x="292608" y="585216"/>
                      </a:cubicBezTo>
                      <a:cubicBezTo>
                        <a:pt x="286352" y="643606"/>
                        <a:pt x="296547" y="705070"/>
                        <a:pt x="277977" y="760781"/>
                      </a:cubicBezTo>
                      <a:lnTo>
                        <a:pt x="256032" y="826618"/>
                      </a:lnTo>
                      <a:lnTo>
                        <a:pt x="248717" y="848563"/>
                      </a:lnTo>
                      <a:cubicBezTo>
                        <a:pt x="257702" y="929434"/>
                        <a:pt x="260375" y="916235"/>
                        <a:pt x="248717" y="1009498"/>
                      </a:cubicBezTo>
                      <a:cubicBezTo>
                        <a:pt x="247761" y="1017149"/>
                        <a:pt x="246853" y="1025991"/>
                        <a:pt x="241401" y="1031443"/>
                      </a:cubicBezTo>
                      <a:cubicBezTo>
                        <a:pt x="235949" y="1036895"/>
                        <a:pt x="226771" y="1036320"/>
                        <a:pt x="219456" y="1038758"/>
                      </a:cubicBezTo>
                      <a:cubicBezTo>
                        <a:pt x="214579" y="1043635"/>
                        <a:pt x="210343" y="1049251"/>
                        <a:pt x="204825" y="1053389"/>
                      </a:cubicBezTo>
                      <a:cubicBezTo>
                        <a:pt x="190758" y="1063939"/>
                        <a:pt x="160934" y="1082650"/>
                        <a:pt x="160934" y="1082650"/>
                      </a:cubicBezTo>
                      <a:cubicBezTo>
                        <a:pt x="130111" y="1144295"/>
                        <a:pt x="159150" y="1077537"/>
                        <a:pt x="138989" y="1185062"/>
                      </a:cubicBezTo>
                      <a:cubicBezTo>
                        <a:pt x="136147" y="1200220"/>
                        <a:pt x="137190" y="1220399"/>
                        <a:pt x="124358" y="1228954"/>
                      </a:cubicBezTo>
                      <a:cubicBezTo>
                        <a:pt x="109728" y="1238707"/>
                        <a:pt x="97148" y="1252653"/>
                        <a:pt x="80467" y="1258214"/>
                      </a:cubicBezTo>
                      <a:lnTo>
                        <a:pt x="36576" y="1272845"/>
                      </a:lnTo>
                      <a:cubicBezTo>
                        <a:pt x="1863" y="1307558"/>
                        <a:pt x="11677" y="1289020"/>
                        <a:pt x="0" y="1324051"/>
                      </a:cubicBezTo>
                      <a:cubicBezTo>
                        <a:pt x="2438" y="1333805"/>
                        <a:pt x="1738" y="1344947"/>
                        <a:pt x="7315" y="1353312"/>
                      </a:cubicBezTo>
                      <a:cubicBezTo>
                        <a:pt x="12192" y="1360627"/>
                        <a:pt x="22396" y="1362450"/>
                        <a:pt x="29261" y="1367942"/>
                      </a:cubicBezTo>
                      <a:cubicBezTo>
                        <a:pt x="34647" y="1372250"/>
                        <a:pt x="39014" y="1377696"/>
                        <a:pt x="43891" y="1382573"/>
                      </a:cubicBezTo>
                      <a:cubicBezTo>
                        <a:pt x="46329" y="1389888"/>
                        <a:pt x="47239" y="1397906"/>
                        <a:pt x="51206" y="1404518"/>
                      </a:cubicBezTo>
                      <a:cubicBezTo>
                        <a:pt x="54755" y="1410432"/>
                        <a:pt x="61528" y="1413763"/>
                        <a:pt x="65837" y="1419149"/>
                      </a:cubicBezTo>
                      <a:cubicBezTo>
                        <a:pt x="71329" y="1426014"/>
                        <a:pt x="75590" y="1433779"/>
                        <a:pt x="80467" y="1441094"/>
                      </a:cubicBezTo>
                      <a:cubicBezTo>
                        <a:pt x="82905" y="1448409"/>
                        <a:pt x="87782" y="1455329"/>
                        <a:pt x="87782" y="1463040"/>
                      </a:cubicBezTo>
                      <a:cubicBezTo>
                        <a:pt x="87782" y="1519617"/>
                        <a:pt x="85673" y="1520574"/>
                        <a:pt x="73152" y="1558138"/>
                      </a:cubicBezTo>
                      <a:cubicBezTo>
                        <a:pt x="75590" y="1587399"/>
                        <a:pt x="72401" y="1617688"/>
                        <a:pt x="80467" y="1645920"/>
                      </a:cubicBezTo>
                      <a:cubicBezTo>
                        <a:pt x="82882" y="1654374"/>
                        <a:pt x="102413" y="1660550"/>
                        <a:pt x="102413" y="1660550"/>
                      </a:cubicBezTo>
                    </a:path>
                  </a:pathLst>
                </a:custGeom>
                <a:ln w="38100" cmpd="sng">
                  <a:solidFill>
                    <a:srgbClr val="0000FF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3" name="Forma livre 383"/>
                <p:cNvSpPr/>
                <p:nvPr/>
              </p:nvSpPr>
              <p:spPr>
                <a:xfrm rot="360205">
                  <a:off x="5375301" y="3228404"/>
                  <a:ext cx="1115607" cy="529939"/>
                </a:xfrm>
                <a:custGeom>
                  <a:avLst/>
                  <a:gdLst>
                    <a:gd name="connsiteX0" fmla="*/ 0 w 1602081"/>
                    <a:gd name="connsiteY0" fmla="*/ 7315 h 409651"/>
                    <a:gd name="connsiteX1" fmla="*/ 36576 w 1602081"/>
                    <a:gd name="connsiteY1" fmla="*/ 14630 h 409651"/>
                    <a:gd name="connsiteX2" fmla="*/ 138989 w 1602081"/>
                    <a:gd name="connsiteY2" fmla="*/ 0 h 409651"/>
                    <a:gd name="connsiteX3" fmla="*/ 197510 w 1602081"/>
                    <a:gd name="connsiteY3" fmla="*/ 7315 h 409651"/>
                    <a:gd name="connsiteX4" fmla="*/ 241401 w 1602081"/>
                    <a:gd name="connsiteY4" fmla="*/ 21945 h 409651"/>
                    <a:gd name="connsiteX5" fmla="*/ 285293 w 1602081"/>
                    <a:gd name="connsiteY5" fmla="*/ 29260 h 409651"/>
                    <a:gd name="connsiteX6" fmla="*/ 424281 w 1602081"/>
                    <a:gd name="connsiteY6" fmla="*/ 43891 h 409651"/>
                    <a:gd name="connsiteX7" fmla="*/ 446227 w 1602081"/>
                    <a:gd name="connsiteY7" fmla="*/ 51206 h 409651"/>
                    <a:gd name="connsiteX8" fmla="*/ 475488 w 1602081"/>
                    <a:gd name="connsiteY8" fmla="*/ 58521 h 409651"/>
                    <a:gd name="connsiteX9" fmla="*/ 497433 w 1602081"/>
                    <a:gd name="connsiteY9" fmla="*/ 65836 h 409651"/>
                    <a:gd name="connsiteX10" fmla="*/ 592531 w 1602081"/>
                    <a:gd name="connsiteY10" fmla="*/ 73152 h 409651"/>
                    <a:gd name="connsiteX11" fmla="*/ 636422 w 1602081"/>
                    <a:gd name="connsiteY11" fmla="*/ 87782 h 409651"/>
                    <a:gd name="connsiteX12" fmla="*/ 643737 w 1602081"/>
                    <a:gd name="connsiteY12" fmla="*/ 109728 h 409651"/>
                    <a:gd name="connsiteX13" fmla="*/ 665683 w 1602081"/>
                    <a:gd name="connsiteY13" fmla="*/ 117043 h 409651"/>
                    <a:gd name="connsiteX14" fmla="*/ 731520 w 1602081"/>
                    <a:gd name="connsiteY14" fmla="*/ 153619 h 409651"/>
                    <a:gd name="connsiteX15" fmla="*/ 760781 w 1602081"/>
                    <a:gd name="connsiteY15" fmla="*/ 190195 h 409651"/>
                    <a:gd name="connsiteX16" fmla="*/ 782726 w 1602081"/>
                    <a:gd name="connsiteY16" fmla="*/ 197510 h 409651"/>
                    <a:gd name="connsiteX17" fmla="*/ 797357 w 1602081"/>
                    <a:gd name="connsiteY17" fmla="*/ 212140 h 409651"/>
                    <a:gd name="connsiteX18" fmla="*/ 863193 w 1602081"/>
                    <a:gd name="connsiteY18" fmla="*/ 197510 h 409651"/>
                    <a:gd name="connsiteX19" fmla="*/ 885139 w 1602081"/>
                    <a:gd name="connsiteY19" fmla="*/ 204825 h 409651"/>
                    <a:gd name="connsiteX20" fmla="*/ 892454 w 1602081"/>
                    <a:gd name="connsiteY20" fmla="*/ 226771 h 409651"/>
                    <a:gd name="connsiteX21" fmla="*/ 921715 w 1602081"/>
                    <a:gd name="connsiteY21" fmla="*/ 270662 h 409651"/>
                    <a:gd name="connsiteX22" fmla="*/ 921715 w 1602081"/>
                    <a:gd name="connsiteY22" fmla="*/ 270662 h 409651"/>
                    <a:gd name="connsiteX23" fmla="*/ 972921 w 1602081"/>
                    <a:gd name="connsiteY23" fmla="*/ 299923 h 409651"/>
                    <a:gd name="connsiteX24" fmla="*/ 987552 w 1602081"/>
                    <a:gd name="connsiteY24" fmla="*/ 321868 h 409651"/>
                    <a:gd name="connsiteX25" fmla="*/ 1016813 w 1602081"/>
                    <a:gd name="connsiteY25" fmla="*/ 329184 h 409651"/>
                    <a:gd name="connsiteX26" fmla="*/ 1038758 w 1602081"/>
                    <a:gd name="connsiteY26" fmla="*/ 336499 h 409651"/>
                    <a:gd name="connsiteX27" fmla="*/ 1082649 w 1602081"/>
                    <a:gd name="connsiteY27" fmla="*/ 358444 h 409651"/>
                    <a:gd name="connsiteX28" fmla="*/ 1148486 w 1602081"/>
                    <a:gd name="connsiteY28" fmla="*/ 336499 h 409651"/>
                    <a:gd name="connsiteX29" fmla="*/ 1192377 w 1602081"/>
                    <a:gd name="connsiteY29" fmla="*/ 321868 h 409651"/>
                    <a:gd name="connsiteX30" fmla="*/ 1228953 w 1602081"/>
                    <a:gd name="connsiteY30" fmla="*/ 329184 h 409651"/>
                    <a:gd name="connsiteX31" fmla="*/ 1250899 w 1602081"/>
                    <a:gd name="connsiteY31" fmla="*/ 336499 h 409651"/>
                    <a:gd name="connsiteX32" fmla="*/ 1294790 w 1602081"/>
                    <a:gd name="connsiteY32" fmla="*/ 329184 h 409651"/>
                    <a:gd name="connsiteX33" fmla="*/ 1309421 w 1602081"/>
                    <a:gd name="connsiteY33" fmla="*/ 307238 h 409651"/>
                    <a:gd name="connsiteX34" fmla="*/ 1353312 w 1602081"/>
                    <a:gd name="connsiteY34" fmla="*/ 285292 h 409651"/>
                    <a:gd name="connsiteX35" fmla="*/ 1448409 w 1602081"/>
                    <a:gd name="connsiteY35" fmla="*/ 292608 h 409651"/>
                    <a:gd name="connsiteX36" fmla="*/ 1492301 w 1602081"/>
                    <a:gd name="connsiteY36" fmla="*/ 307238 h 409651"/>
                    <a:gd name="connsiteX37" fmla="*/ 1536192 w 1602081"/>
                    <a:gd name="connsiteY37" fmla="*/ 336499 h 409651"/>
                    <a:gd name="connsiteX38" fmla="*/ 1580083 w 1602081"/>
                    <a:gd name="connsiteY38" fmla="*/ 365760 h 409651"/>
                    <a:gd name="connsiteX39" fmla="*/ 1587398 w 1602081"/>
                    <a:gd name="connsiteY39" fmla="*/ 387705 h 409651"/>
                    <a:gd name="connsiteX40" fmla="*/ 1602029 w 1602081"/>
                    <a:gd name="connsiteY40" fmla="*/ 409651 h 409651"/>
                    <a:gd name="connsiteX0" fmla="*/ 0 w 1565505"/>
                    <a:gd name="connsiteY0" fmla="*/ 14630 h 409651"/>
                    <a:gd name="connsiteX1" fmla="*/ 102413 w 1565505"/>
                    <a:gd name="connsiteY1" fmla="*/ 0 h 409651"/>
                    <a:gd name="connsiteX2" fmla="*/ 160934 w 1565505"/>
                    <a:gd name="connsiteY2" fmla="*/ 7315 h 409651"/>
                    <a:gd name="connsiteX3" fmla="*/ 204825 w 1565505"/>
                    <a:gd name="connsiteY3" fmla="*/ 21945 h 409651"/>
                    <a:gd name="connsiteX4" fmla="*/ 248717 w 1565505"/>
                    <a:gd name="connsiteY4" fmla="*/ 29260 h 409651"/>
                    <a:gd name="connsiteX5" fmla="*/ 387705 w 1565505"/>
                    <a:gd name="connsiteY5" fmla="*/ 43891 h 409651"/>
                    <a:gd name="connsiteX6" fmla="*/ 409651 w 1565505"/>
                    <a:gd name="connsiteY6" fmla="*/ 51206 h 409651"/>
                    <a:gd name="connsiteX7" fmla="*/ 438912 w 1565505"/>
                    <a:gd name="connsiteY7" fmla="*/ 58521 h 409651"/>
                    <a:gd name="connsiteX8" fmla="*/ 460857 w 1565505"/>
                    <a:gd name="connsiteY8" fmla="*/ 65836 h 409651"/>
                    <a:gd name="connsiteX9" fmla="*/ 555955 w 1565505"/>
                    <a:gd name="connsiteY9" fmla="*/ 73152 h 409651"/>
                    <a:gd name="connsiteX10" fmla="*/ 599846 w 1565505"/>
                    <a:gd name="connsiteY10" fmla="*/ 87782 h 409651"/>
                    <a:gd name="connsiteX11" fmla="*/ 607161 w 1565505"/>
                    <a:gd name="connsiteY11" fmla="*/ 109728 h 409651"/>
                    <a:gd name="connsiteX12" fmla="*/ 629107 w 1565505"/>
                    <a:gd name="connsiteY12" fmla="*/ 117043 h 409651"/>
                    <a:gd name="connsiteX13" fmla="*/ 694944 w 1565505"/>
                    <a:gd name="connsiteY13" fmla="*/ 153619 h 409651"/>
                    <a:gd name="connsiteX14" fmla="*/ 724205 w 1565505"/>
                    <a:gd name="connsiteY14" fmla="*/ 190195 h 409651"/>
                    <a:gd name="connsiteX15" fmla="*/ 746150 w 1565505"/>
                    <a:gd name="connsiteY15" fmla="*/ 197510 h 409651"/>
                    <a:gd name="connsiteX16" fmla="*/ 760781 w 1565505"/>
                    <a:gd name="connsiteY16" fmla="*/ 212140 h 409651"/>
                    <a:gd name="connsiteX17" fmla="*/ 826617 w 1565505"/>
                    <a:gd name="connsiteY17" fmla="*/ 197510 h 409651"/>
                    <a:gd name="connsiteX18" fmla="*/ 848563 w 1565505"/>
                    <a:gd name="connsiteY18" fmla="*/ 204825 h 409651"/>
                    <a:gd name="connsiteX19" fmla="*/ 855878 w 1565505"/>
                    <a:gd name="connsiteY19" fmla="*/ 226771 h 409651"/>
                    <a:gd name="connsiteX20" fmla="*/ 885139 w 1565505"/>
                    <a:gd name="connsiteY20" fmla="*/ 270662 h 409651"/>
                    <a:gd name="connsiteX21" fmla="*/ 885139 w 1565505"/>
                    <a:gd name="connsiteY21" fmla="*/ 270662 h 409651"/>
                    <a:gd name="connsiteX22" fmla="*/ 936345 w 1565505"/>
                    <a:gd name="connsiteY22" fmla="*/ 299923 h 409651"/>
                    <a:gd name="connsiteX23" fmla="*/ 950976 w 1565505"/>
                    <a:gd name="connsiteY23" fmla="*/ 321868 h 409651"/>
                    <a:gd name="connsiteX24" fmla="*/ 980237 w 1565505"/>
                    <a:gd name="connsiteY24" fmla="*/ 329184 h 409651"/>
                    <a:gd name="connsiteX25" fmla="*/ 1002182 w 1565505"/>
                    <a:gd name="connsiteY25" fmla="*/ 336499 h 409651"/>
                    <a:gd name="connsiteX26" fmla="*/ 1046073 w 1565505"/>
                    <a:gd name="connsiteY26" fmla="*/ 358444 h 409651"/>
                    <a:gd name="connsiteX27" fmla="*/ 1111910 w 1565505"/>
                    <a:gd name="connsiteY27" fmla="*/ 336499 h 409651"/>
                    <a:gd name="connsiteX28" fmla="*/ 1155801 w 1565505"/>
                    <a:gd name="connsiteY28" fmla="*/ 321868 h 409651"/>
                    <a:gd name="connsiteX29" fmla="*/ 1192377 w 1565505"/>
                    <a:gd name="connsiteY29" fmla="*/ 329184 h 409651"/>
                    <a:gd name="connsiteX30" fmla="*/ 1214323 w 1565505"/>
                    <a:gd name="connsiteY30" fmla="*/ 336499 h 409651"/>
                    <a:gd name="connsiteX31" fmla="*/ 1258214 w 1565505"/>
                    <a:gd name="connsiteY31" fmla="*/ 329184 h 409651"/>
                    <a:gd name="connsiteX32" fmla="*/ 1272845 w 1565505"/>
                    <a:gd name="connsiteY32" fmla="*/ 307238 h 409651"/>
                    <a:gd name="connsiteX33" fmla="*/ 1316736 w 1565505"/>
                    <a:gd name="connsiteY33" fmla="*/ 285292 h 409651"/>
                    <a:gd name="connsiteX34" fmla="*/ 1411833 w 1565505"/>
                    <a:gd name="connsiteY34" fmla="*/ 292608 h 409651"/>
                    <a:gd name="connsiteX35" fmla="*/ 1455725 w 1565505"/>
                    <a:gd name="connsiteY35" fmla="*/ 307238 h 409651"/>
                    <a:gd name="connsiteX36" fmla="*/ 1499616 w 1565505"/>
                    <a:gd name="connsiteY36" fmla="*/ 336499 h 409651"/>
                    <a:gd name="connsiteX37" fmla="*/ 1543507 w 1565505"/>
                    <a:gd name="connsiteY37" fmla="*/ 365760 h 409651"/>
                    <a:gd name="connsiteX38" fmla="*/ 1550822 w 1565505"/>
                    <a:gd name="connsiteY38" fmla="*/ 387705 h 409651"/>
                    <a:gd name="connsiteX39" fmla="*/ 1565453 w 1565505"/>
                    <a:gd name="connsiteY39" fmla="*/ 409651 h 409651"/>
                    <a:gd name="connsiteX0" fmla="*/ 0 w 1463092"/>
                    <a:gd name="connsiteY0" fmla="*/ 0 h 409651"/>
                    <a:gd name="connsiteX1" fmla="*/ 58521 w 1463092"/>
                    <a:gd name="connsiteY1" fmla="*/ 7315 h 409651"/>
                    <a:gd name="connsiteX2" fmla="*/ 102412 w 1463092"/>
                    <a:gd name="connsiteY2" fmla="*/ 21945 h 409651"/>
                    <a:gd name="connsiteX3" fmla="*/ 146304 w 1463092"/>
                    <a:gd name="connsiteY3" fmla="*/ 29260 h 409651"/>
                    <a:gd name="connsiteX4" fmla="*/ 285292 w 1463092"/>
                    <a:gd name="connsiteY4" fmla="*/ 43891 h 409651"/>
                    <a:gd name="connsiteX5" fmla="*/ 307238 w 1463092"/>
                    <a:gd name="connsiteY5" fmla="*/ 51206 h 409651"/>
                    <a:gd name="connsiteX6" fmla="*/ 336499 w 1463092"/>
                    <a:gd name="connsiteY6" fmla="*/ 58521 h 409651"/>
                    <a:gd name="connsiteX7" fmla="*/ 358444 w 1463092"/>
                    <a:gd name="connsiteY7" fmla="*/ 65836 h 409651"/>
                    <a:gd name="connsiteX8" fmla="*/ 453542 w 1463092"/>
                    <a:gd name="connsiteY8" fmla="*/ 73152 h 409651"/>
                    <a:gd name="connsiteX9" fmla="*/ 497433 w 1463092"/>
                    <a:gd name="connsiteY9" fmla="*/ 87782 h 409651"/>
                    <a:gd name="connsiteX10" fmla="*/ 504748 w 1463092"/>
                    <a:gd name="connsiteY10" fmla="*/ 109728 h 409651"/>
                    <a:gd name="connsiteX11" fmla="*/ 526694 w 1463092"/>
                    <a:gd name="connsiteY11" fmla="*/ 117043 h 409651"/>
                    <a:gd name="connsiteX12" fmla="*/ 592531 w 1463092"/>
                    <a:gd name="connsiteY12" fmla="*/ 153619 h 409651"/>
                    <a:gd name="connsiteX13" fmla="*/ 621792 w 1463092"/>
                    <a:gd name="connsiteY13" fmla="*/ 190195 h 409651"/>
                    <a:gd name="connsiteX14" fmla="*/ 643737 w 1463092"/>
                    <a:gd name="connsiteY14" fmla="*/ 197510 h 409651"/>
                    <a:gd name="connsiteX15" fmla="*/ 658368 w 1463092"/>
                    <a:gd name="connsiteY15" fmla="*/ 212140 h 409651"/>
                    <a:gd name="connsiteX16" fmla="*/ 724204 w 1463092"/>
                    <a:gd name="connsiteY16" fmla="*/ 197510 h 409651"/>
                    <a:gd name="connsiteX17" fmla="*/ 746150 w 1463092"/>
                    <a:gd name="connsiteY17" fmla="*/ 204825 h 409651"/>
                    <a:gd name="connsiteX18" fmla="*/ 753465 w 1463092"/>
                    <a:gd name="connsiteY18" fmla="*/ 226771 h 409651"/>
                    <a:gd name="connsiteX19" fmla="*/ 782726 w 1463092"/>
                    <a:gd name="connsiteY19" fmla="*/ 270662 h 409651"/>
                    <a:gd name="connsiteX20" fmla="*/ 782726 w 1463092"/>
                    <a:gd name="connsiteY20" fmla="*/ 270662 h 409651"/>
                    <a:gd name="connsiteX21" fmla="*/ 833932 w 1463092"/>
                    <a:gd name="connsiteY21" fmla="*/ 299923 h 409651"/>
                    <a:gd name="connsiteX22" fmla="*/ 848563 w 1463092"/>
                    <a:gd name="connsiteY22" fmla="*/ 321868 h 409651"/>
                    <a:gd name="connsiteX23" fmla="*/ 877824 w 1463092"/>
                    <a:gd name="connsiteY23" fmla="*/ 329184 h 409651"/>
                    <a:gd name="connsiteX24" fmla="*/ 899769 w 1463092"/>
                    <a:gd name="connsiteY24" fmla="*/ 336499 h 409651"/>
                    <a:gd name="connsiteX25" fmla="*/ 943660 w 1463092"/>
                    <a:gd name="connsiteY25" fmla="*/ 358444 h 409651"/>
                    <a:gd name="connsiteX26" fmla="*/ 1009497 w 1463092"/>
                    <a:gd name="connsiteY26" fmla="*/ 336499 h 409651"/>
                    <a:gd name="connsiteX27" fmla="*/ 1053388 w 1463092"/>
                    <a:gd name="connsiteY27" fmla="*/ 321868 h 409651"/>
                    <a:gd name="connsiteX28" fmla="*/ 1089964 w 1463092"/>
                    <a:gd name="connsiteY28" fmla="*/ 329184 h 409651"/>
                    <a:gd name="connsiteX29" fmla="*/ 1111910 w 1463092"/>
                    <a:gd name="connsiteY29" fmla="*/ 336499 h 409651"/>
                    <a:gd name="connsiteX30" fmla="*/ 1155801 w 1463092"/>
                    <a:gd name="connsiteY30" fmla="*/ 329184 h 409651"/>
                    <a:gd name="connsiteX31" fmla="*/ 1170432 w 1463092"/>
                    <a:gd name="connsiteY31" fmla="*/ 307238 h 409651"/>
                    <a:gd name="connsiteX32" fmla="*/ 1214323 w 1463092"/>
                    <a:gd name="connsiteY32" fmla="*/ 285292 h 409651"/>
                    <a:gd name="connsiteX33" fmla="*/ 1309420 w 1463092"/>
                    <a:gd name="connsiteY33" fmla="*/ 292608 h 409651"/>
                    <a:gd name="connsiteX34" fmla="*/ 1353312 w 1463092"/>
                    <a:gd name="connsiteY34" fmla="*/ 307238 h 409651"/>
                    <a:gd name="connsiteX35" fmla="*/ 1397203 w 1463092"/>
                    <a:gd name="connsiteY35" fmla="*/ 336499 h 409651"/>
                    <a:gd name="connsiteX36" fmla="*/ 1441094 w 1463092"/>
                    <a:gd name="connsiteY36" fmla="*/ 365760 h 409651"/>
                    <a:gd name="connsiteX37" fmla="*/ 1448409 w 1463092"/>
                    <a:gd name="connsiteY37" fmla="*/ 387705 h 409651"/>
                    <a:gd name="connsiteX38" fmla="*/ 1463040 w 1463092"/>
                    <a:gd name="connsiteY38" fmla="*/ 409651 h 409651"/>
                    <a:gd name="connsiteX0" fmla="*/ 0 w 1404571"/>
                    <a:gd name="connsiteY0" fmla="*/ 0 h 402336"/>
                    <a:gd name="connsiteX1" fmla="*/ 43891 w 1404571"/>
                    <a:gd name="connsiteY1" fmla="*/ 14630 h 402336"/>
                    <a:gd name="connsiteX2" fmla="*/ 87783 w 1404571"/>
                    <a:gd name="connsiteY2" fmla="*/ 21945 h 402336"/>
                    <a:gd name="connsiteX3" fmla="*/ 226771 w 1404571"/>
                    <a:gd name="connsiteY3" fmla="*/ 36576 h 402336"/>
                    <a:gd name="connsiteX4" fmla="*/ 248717 w 1404571"/>
                    <a:gd name="connsiteY4" fmla="*/ 43891 h 402336"/>
                    <a:gd name="connsiteX5" fmla="*/ 277978 w 1404571"/>
                    <a:gd name="connsiteY5" fmla="*/ 51206 h 402336"/>
                    <a:gd name="connsiteX6" fmla="*/ 299923 w 1404571"/>
                    <a:gd name="connsiteY6" fmla="*/ 58521 h 402336"/>
                    <a:gd name="connsiteX7" fmla="*/ 395021 w 1404571"/>
                    <a:gd name="connsiteY7" fmla="*/ 65837 h 402336"/>
                    <a:gd name="connsiteX8" fmla="*/ 438912 w 1404571"/>
                    <a:gd name="connsiteY8" fmla="*/ 80467 h 402336"/>
                    <a:gd name="connsiteX9" fmla="*/ 446227 w 1404571"/>
                    <a:gd name="connsiteY9" fmla="*/ 102413 h 402336"/>
                    <a:gd name="connsiteX10" fmla="*/ 468173 w 1404571"/>
                    <a:gd name="connsiteY10" fmla="*/ 109728 h 402336"/>
                    <a:gd name="connsiteX11" fmla="*/ 534010 w 1404571"/>
                    <a:gd name="connsiteY11" fmla="*/ 146304 h 402336"/>
                    <a:gd name="connsiteX12" fmla="*/ 563271 w 1404571"/>
                    <a:gd name="connsiteY12" fmla="*/ 182880 h 402336"/>
                    <a:gd name="connsiteX13" fmla="*/ 585216 w 1404571"/>
                    <a:gd name="connsiteY13" fmla="*/ 190195 h 402336"/>
                    <a:gd name="connsiteX14" fmla="*/ 599847 w 1404571"/>
                    <a:gd name="connsiteY14" fmla="*/ 204825 h 402336"/>
                    <a:gd name="connsiteX15" fmla="*/ 665683 w 1404571"/>
                    <a:gd name="connsiteY15" fmla="*/ 190195 h 402336"/>
                    <a:gd name="connsiteX16" fmla="*/ 687629 w 1404571"/>
                    <a:gd name="connsiteY16" fmla="*/ 197510 h 402336"/>
                    <a:gd name="connsiteX17" fmla="*/ 694944 w 1404571"/>
                    <a:gd name="connsiteY17" fmla="*/ 219456 h 402336"/>
                    <a:gd name="connsiteX18" fmla="*/ 724205 w 1404571"/>
                    <a:gd name="connsiteY18" fmla="*/ 263347 h 402336"/>
                    <a:gd name="connsiteX19" fmla="*/ 724205 w 1404571"/>
                    <a:gd name="connsiteY19" fmla="*/ 263347 h 402336"/>
                    <a:gd name="connsiteX20" fmla="*/ 775411 w 1404571"/>
                    <a:gd name="connsiteY20" fmla="*/ 292608 h 402336"/>
                    <a:gd name="connsiteX21" fmla="*/ 790042 w 1404571"/>
                    <a:gd name="connsiteY21" fmla="*/ 314553 h 402336"/>
                    <a:gd name="connsiteX22" fmla="*/ 819303 w 1404571"/>
                    <a:gd name="connsiteY22" fmla="*/ 321869 h 402336"/>
                    <a:gd name="connsiteX23" fmla="*/ 841248 w 1404571"/>
                    <a:gd name="connsiteY23" fmla="*/ 329184 h 402336"/>
                    <a:gd name="connsiteX24" fmla="*/ 885139 w 1404571"/>
                    <a:gd name="connsiteY24" fmla="*/ 351129 h 402336"/>
                    <a:gd name="connsiteX25" fmla="*/ 950976 w 1404571"/>
                    <a:gd name="connsiteY25" fmla="*/ 329184 h 402336"/>
                    <a:gd name="connsiteX26" fmla="*/ 994867 w 1404571"/>
                    <a:gd name="connsiteY26" fmla="*/ 314553 h 402336"/>
                    <a:gd name="connsiteX27" fmla="*/ 1031443 w 1404571"/>
                    <a:gd name="connsiteY27" fmla="*/ 321869 h 402336"/>
                    <a:gd name="connsiteX28" fmla="*/ 1053389 w 1404571"/>
                    <a:gd name="connsiteY28" fmla="*/ 329184 h 402336"/>
                    <a:gd name="connsiteX29" fmla="*/ 1097280 w 1404571"/>
                    <a:gd name="connsiteY29" fmla="*/ 321869 h 402336"/>
                    <a:gd name="connsiteX30" fmla="*/ 1111911 w 1404571"/>
                    <a:gd name="connsiteY30" fmla="*/ 299923 h 402336"/>
                    <a:gd name="connsiteX31" fmla="*/ 1155802 w 1404571"/>
                    <a:gd name="connsiteY31" fmla="*/ 277977 h 402336"/>
                    <a:gd name="connsiteX32" fmla="*/ 1250899 w 1404571"/>
                    <a:gd name="connsiteY32" fmla="*/ 285293 h 402336"/>
                    <a:gd name="connsiteX33" fmla="*/ 1294791 w 1404571"/>
                    <a:gd name="connsiteY33" fmla="*/ 299923 h 402336"/>
                    <a:gd name="connsiteX34" fmla="*/ 1338682 w 1404571"/>
                    <a:gd name="connsiteY34" fmla="*/ 329184 h 402336"/>
                    <a:gd name="connsiteX35" fmla="*/ 1382573 w 1404571"/>
                    <a:gd name="connsiteY35" fmla="*/ 358445 h 402336"/>
                    <a:gd name="connsiteX36" fmla="*/ 1389888 w 1404571"/>
                    <a:gd name="connsiteY36" fmla="*/ 380390 h 402336"/>
                    <a:gd name="connsiteX37" fmla="*/ 1404519 w 1404571"/>
                    <a:gd name="connsiteY37" fmla="*/ 402336 h 402336"/>
                    <a:gd name="connsiteX0" fmla="*/ 0 w 1360680"/>
                    <a:gd name="connsiteY0" fmla="*/ 0 h 387706"/>
                    <a:gd name="connsiteX1" fmla="*/ 43892 w 1360680"/>
                    <a:gd name="connsiteY1" fmla="*/ 7315 h 387706"/>
                    <a:gd name="connsiteX2" fmla="*/ 182880 w 1360680"/>
                    <a:gd name="connsiteY2" fmla="*/ 21946 h 387706"/>
                    <a:gd name="connsiteX3" fmla="*/ 204826 w 1360680"/>
                    <a:gd name="connsiteY3" fmla="*/ 29261 h 387706"/>
                    <a:gd name="connsiteX4" fmla="*/ 234087 w 1360680"/>
                    <a:gd name="connsiteY4" fmla="*/ 36576 h 387706"/>
                    <a:gd name="connsiteX5" fmla="*/ 256032 w 1360680"/>
                    <a:gd name="connsiteY5" fmla="*/ 43891 h 387706"/>
                    <a:gd name="connsiteX6" fmla="*/ 351130 w 1360680"/>
                    <a:gd name="connsiteY6" fmla="*/ 51207 h 387706"/>
                    <a:gd name="connsiteX7" fmla="*/ 395021 w 1360680"/>
                    <a:gd name="connsiteY7" fmla="*/ 65837 h 387706"/>
                    <a:gd name="connsiteX8" fmla="*/ 402336 w 1360680"/>
                    <a:gd name="connsiteY8" fmla="*/ 87783 h 387706"/>
                    <a:gd name="connsiteX9" fmla="*/ 424282 w 1360680"/>
                    <a:gd name="connsiteY9" fmla="*/ 95098 h 387706"/>
                    <a:gd name="connsiteX10" fmla="*/ 490119 w 1360680"/>
                    <a:gd name="connsiteY10" fmla="*/ 131674 h 387706"/>
                    <a:gd name="connsiteX11" fmla="*/ 519380 w 1360680"/>
                    <a:gd name="connsiteY11" fmla="*/ 168250 h 387706"/>
                    <a:gd name="connsiteX12" fmla="*/ 541325 w 1360680"/>
                    <a:gd name="connsiteY12" fmla="*/ 175565 h 387706"/>
                    <a:gd name="connsiteX13" fmla="*/ 555956 w 1360680"/>
                    <a:gd name="connsiteY13" fmla="*/ 190195 h 387706"/>
                    <a:gd name="connsiteX14" fmla="*/ 621792 w 1360680"/>
                    <a:gd name="connsiteY14" fmla="*/ 175565 h 387706"/>
                    <a:gd name="connsiteX15" fmla="*/ 643738 w 1360680"/>
                    <a:gd name="connsiteY15" fmla="*/ 182880 h 387706"/>
                    <a:gd name="connsiteX16" fmla="*/ 651053 w 1360680"/>
                    <a:gd name="connsiteY16" fmla="*/ 204826 h 387706"/>
                    <a:gd name="connsiteX17" fmla="*/ 680314 w 1360680"/>
                    <a:gd name="connsiteY17" fmla="*/ 248717 h 387706"/>
                    <a:gd name="connsiteX18" fmla="*/ 680314 w 1360680"/>
                    <a:gd name="connsiteY18" fmla="*/ 248717 h 387706"/>
                    <a:gd name="connsiteX19" fmla="*/ 731520 w 1360680"/>
                    <a:gd name="connsiteY19" fmla="*/ 277978 h 387706"/>
                    <a:gd name="connsiteX20" fmla="*/ 746151 w 1360680"/>
                    <a:gd name="connsiteY20" fmla="*/ 299923 h 387706"/>
                    <a:gd name="connsiteX21" fmla="*/ 775412 w 1360680"/>
                    <a:gd name="connsiteY21" fmla="*/ 307239 h 387706"/>
                    <a:gd name="connsiteX22" fmla="*/ 797357 w 1360680"/>
                    <a:gd name="connsiteY22" fmla="*/ 314554 h 387706"/>
                    <a:gd name="connsiteX23" fmla="*/ 841248 w 1360680"/>
                    <a:gd name="connsiteY23" fmla="*/ 336499 h 387706"/>
                    <a:gd name="connsiteX24" fmla="*/ 907085 w 1360680"/>
                    <a:gd name="connsiteY24" fmla="*/ 314554 h 387706"/>
                    <a:gd name="connsiteX25" fmla="*/ 950976 w 1360680"/>
                    <a:gd name="connsiteY25" fmla="*/ 299923 h 387706"/>
                    <a:gd name="connsiteX26" fmla="*/ 987552 w 1360680"/>
                    <a:gd name="connsiteY26" fmla="*/ 307239 h 387706"/>
                    <a:gd name="connsiteX27" fmla="*/ 1009498 w 1360680"/>
                    <a:gd name="connsiteY27" fmla="*/ 314554 h 387706"/>
                    <a:gd name="connsiteX28" fmla="*/ 1053389 w 1360680"/>
                    <a:gd name="connsiteY28" fmla="*/ 307239 h 387706"/>
                    <a:gd name="connsiteX29" fmla="*/ 1068020 w 1360680"/>
                    <a:gd name="connsiteY29" fmla="*/ 285293 h 387706"/>
                    <a:gd name="connsiteX30" fmla="*/ 1111911 w 1360680"/>
                    <a:gd name="connsiteY30" fmla="*/ 263347 h 387706"/>
                    <a:gd name="connsiteX31" fmla="*/ 1207008 w 1360680"/>
                    <a:gd name="connsiteY31" fmla="*/ 270663 h 387706"/>
                    <a:gd name="connsiteX32" fmla="*/ 1250900 w 1360680"/>
                    <a:gd name="connsiteY32" fmla="*/ 285293 h 387706"/>
                    <a:gd name="connsiteX33" fmla="*/ 1294791 w 1360680"/>
                    <a:gd name="connsiteY33" fmla="*/ 314554 h 387706"/>
                    <a:gd name="connsiteX34" fmla="*/ 1338682 w 1360680"/>
                    <a:gd name="connsiteY34" fmla="*/ 343815 h 387706"/>
                    <a:gd name="connsiteX35" fmla="*/ 1345997 w 1360680"/>
                    <a:gd name="connsiteY35" fmla="*/ 365760 h 387706"/>
                    <a:gd name="connsiteX36" fmla="*/ 1360628 w 1360680"/>
                    <a:gd name="connsiteY36" fmla="*/ 387706 h 387706"/>
                    <a:gd name="connsiteX0" fmla="*/ 0 w 1316788"/>
                    <a:gd name="connsiteY0" fmla="*/ 0 h 380391"/>
                    <a:gd name="connsiteX1" fmla="*/ 138988 w 1316788"/>
                    <a:gd name="connsiteY1" fmla="*/ 14631 h 380391"/>
                    <a:gd name="connsiteX2" fmla="*/ 160934 w 1316788"/>
                    <a:gd name="connsiteY2" fmla="*/ 21946 h 380391"/>
                    <a:gd name="connsiteX3" fmla="*/ 190195 w 1316788"/>
                    <a:gd name="connsiteY3" fmla="*/ 29261 h 380391"/>
                    <a:gd name="connsiteX4" fmla="*/ 212140 w 1316788"/>
                    <a:gd name="connsiteY4" fmla="*/ 36576 h 380391"/>
                    <a:gd name="connsiteX5" fmla="*/ 307238 w 1316788"/>
                    <a:gd name="connsiteY5" fmla="*/ 43892 h 380391"/>
                    <a:gd name="connsiteX6" fmla="*/ 351129 w 1316788"/>
                    <a:gd name="connsiteY6" fmla="*/ 58522 h 380391"/>
                    <a:gd name="connsiteX7" fmla="*/ 358444 w 1316788"/>
                    <a:gd name="connsiteY7" fmla="*/ 80468 h 380391"/>
                    <a:gd name="connsiteX8" fmla="*/ 380390 w 1316788"/>
                    <a:gd name="connsiteY8" fmla="*/ 87783 h 380391"/>
                    <a:gd name="connsiteX9" fmla="*/ 446227 w 1316788"/>
                    <a:gd name="connsiteY9" fmla="*/ 124359 h 380391"/>
                    <a:gd name="connsiteX10" fmla="*/ 475488 w 1316788"/>
                    <a:gd name="connsiteY10" fmla="*/ 160935 h 380391"/>
                    <a:gd name="connsiteX11" fmla="*/ 497433 w 1316788"/>
                    <a:gd name="connsiteY11" fmla="*/ 168250 h 380391"/>
                    <a:gd name="connsiteX12" fmla="*/ 512064 w 1316788"/>
                    <a:gd name="connsiteY12" fmla="*/ 182880 h 380391"/>
                    <a:gd name="connsiteX13" fmla="*/ 577900 w 1316788"/>
                    <a:gd name="connsiteY13" fmla="*/ 168250 h 380391"/>
                    <a:gd name="connsiteX14" fmla="*/ 599846 w 1316788"/>
                    <a:gd name="connsiteY14" fmla="*/ 175565 h 380391"/>
                    <a:gd name="connsiteX15" fmla="*/ 607161 w 1316788"/>
                    <a:gd name="connsiteY15" fmla="*/ 197511 h 380391"/>
                    <a:gd name="connsiteX16" fmla="*/ 636422 w 1316788"/>
                    <a:gd name="connsiteY16" fmla="*/ 241402 h 380391"/>
                    <a:gd name="connsiteX17" fmla="*/ 636422 w 1316788"/>
                    <a:gd name="connsiteY17" fmla="*/ 241402 h 380391"/>
                    <a:gd name="connsiteX18" fmla="*/ 687628 w 1316788"/>
                    <a:gd name="connsiteY18" fmla="*/ 270663 h 380391"/>
                    <a:gd name="connsiteX19" fmla="*/ 702259 w 1316788"/>
                    <a:gd name="connsiteY19" fmla="*/ 292608 h 380391"/>
                    <a:gd name="connsiteX20" fmla="*/ 731520 w 1316788"/>
                    <a:gd name="connsiteY20" fmla="*/ 299924 h 380391"/>
                    <a:gd name="connsiteX21" fmla="*/ 753465 w 1316788"/>
                    <a:gd name="connsiteY21" fmla="*/ 307239 h 380391"/>
                    <a:gd name="connsiteX22" fmla="*/ 797356 w 1316788"/>
                    <a:gd name="connsiteY22" fmla="*/ 329184 h 380391"/>
                    <a:gd name="connsiteX23" fmla="*/ 863193 w 1316788"/>
                    <a:gd name="connsiteY23" fmla="*/ 307239 h 380391"/>
                    <a:gd name="connsiteX24" fmla="*/ 907084 w 1316788"/>
                    <a:gd name="connsiteY24" fmla="*/ 292608 h 380391"/>
                    <a:gd name="connsiteX25" fmla="*/ 943660 w 1316788"/>
                    <a:gd name="connsiteY25" fmla="*/ 299924 h 380391"/>
                    <a:gd name="connsiteX26" fmla="*/ 965606 w 1316788"/>
                    <a:gd name="connsiteY26" fmla="*/ 307239 h 380391"/>
                    <a:gd name="connsiteX27" fmla="*/ 1009497 w 1316788"/>
                    <a:gd name="connsiteY27" fmla="*/ 299924 h 380391"/>
                    <a:gd name="connsiteX28" fmla="*/ 1024128 w 1316788"/>
                    <a:gd name="connsiteY28" fmla="*/ 277978 h 380391"/>
                    <a:gd name="connsiteX29" fmla="*/ 1068019 w 1316788"/>
                    <a:gd name="connsiteY29" fmla="*/ 256032 h 380391"/>
                    <a:gd name="connsiteX30" fmla="*/ 1163116 w 1316788"/>
                    <a:gd name="connsiteY30" fmla="*/ 263348 h 380391"/>
                    <a:gd name="connsiteX31" fmla="*/ 1207008 w 1316788"/>
                    <a:gd name="connsiteY31" fmla="*/ 277978 h 380391"/>
                    <a:gd name="connsiteX32" fmla="*/ 1250899 w 1316788"/>
                    <a:gd name="connsiteY32" fmla="*/ 307239 h 380391"/>
                    <a:gd name="connsiteX33" fmla="*/ 1294790 w 1316788"/>
                    <a:gd name="connsiteY33" fmla="*/ 336500 h 380391"/>
                    <a:gd name="connsiteX34" fmla="*/ 1302105 w 1316788"/>
                    <a:gd name="connsiteY34" fmla="*/ 358445 h 380391"/>
                    <a:gd name="connsiteX35" fmla="*/ 1316736 w 1316788"/>
                    <a:gd name="connsiteY35" fmla="*/ 380391 h 380391"/>
                    <a:gd name="connsiteX0" fmla="*/ 0 w 1177800"/>
                    <a:gd name="connsiteY0" fmla="*/ 0 h 365760"/>
                    <a:gd name="connsiteX1" fmla="*/ 21946 w 1177800"/>
                    <a:gd name="connsiteY1" fmla="*/ 7315 h 365760"/>
                    <a:gd name="connsiteX2" fmla="*/ 51207 w 1177800"/>
                    <a:gd name="connsiteY2" fmla="*/ 14630 h 365760"/>
                    <a:gd name="connsiteX3" fmla="*/ 73152 w 1177800"/>
                    <a:gd name="connsiteY3" fmla="*/ 21945 h 365760"/>
                    <a:gd name="connsiteX4" fmla="*/ 168250 w 1177800"/>
                    <a:gd name="connsiteY4" fmla="*/ 29261 h 365760"/>
                    <a:gd name="connsiteX5" fmla="*/ 212141 w 1177800"/>
                    <a:gd name="connsiteY5" fmla="*/ 43891 h 365760"/>
                    <a:gd name="connsiteX6" fmla="*/ 219456 w 1177800"/>
                    <a:gd name="connsiteY6" fmla="*/ 65837 h 365760"/>
                    <a:gd name="connsiteX7" fmla="*/ 241402 w 1177800"/>
                    <a:gd name="connsiteY7" fmla="*/ 73152 h 365760"/>
                    <a:gd name="connsiteX8" fmla="*/ 307239 w 1177800"/>
                    <a:gd name="connsiteY8" fmla="*/ 109728 h 365760"/>
                    <a:gd name="connsiteX9" fmla="*/ 336500 w 1177800"/>
                    <a:gd name="connsiteY9" fmla="*/ 146304 h 365760"/>
                    <a:gd name="connsiteX10" fmla="*/ 358445 w 1177800"/>
                    <a:gd name="connsiteY10" fmla="*/ 153619 h 365760"/>
                    <a:gd name="connsiteX11" fmla="*/ 373076 w 1177800"/>
                    <a:gd name="connsiteY11" fmla="*/ 168249 h 365760"/>
                    <a:gd name="connsiteX12" fmla="*/ 438912 w 1177800"/>
                    <a:gd name="connsiteY12" fmla="*/ 153619 h 365760"/>
                    <a:gd name="connsiteX13" fmla="*/ 460858 w 1177800"/>
                    <a:gd name="connsiteY13" fmla="*/ 160934 h 365760"/>
                    <a:gd name="connsiteX14" fmla="*/ 468173 w 1177800"/>
                    <a:gd name="connsiteY14" fmla="*/ 182880 h 365760"/>
                    <a:gd name="connsiteX15" fmla="*/ 497434 w 1177800"/>
                    <a:gd name="connsiteY15" fmla="*/ 226771 h 365760"/>
                    <a:gd name="connsiteX16" fmla="*/ 497434 w 1177800"/>
                    <a:gd name="connsiteY16" fmla="*/ 226771 h 365760"/>
                    <a:gd name="connsiteX17" fmla="*/ 548640 w 1177800"/>
                    <a:gd name="connsiteY17" fmla="*/ 256032 h 365760"/>
                    <a:gd name="connsiteX18" fmla="*/ 563271 w 1177800"/>
                    <a:gd name="connsiteY18" fmla="*/ 277977 h 365760"/>
                    <a:gd name="connsiteX19" fmla="*/ 592532 w 1177800"/>
                    <a:gd name="connsiteY19" fmla="*/ 285293 h 365760"/>
                    <a:gd name="connsiteX20" fmla="*/ 614477 w 1177800"/>
                    <a:gd name="connsiteY20" fmla="*/ 292608 h 365760"/>
                    <a:gd name="connsiteX21" fmla="*/ 658368 w 1177800"/>
                    <a:gd name="connsiteY21" fmla="*/ 314553 h 365760"/>
                    <a:gd name="connsiteX22" fmla="*/ 724205 w 1177800"/>
                    <a:gd name="connsiteY22" fmla="*/ 292608 h 365760"/>
                    <a:gd name="connsiteX23" fmla="*/ 768096 w 1177800"/>
                    <a:gd name="connsiteY23" fmla="*/ 277977 h 365760"/>
                    <a:gd name="connsiteX24" fmla="*/ 804672 w 1177800"/>
                    <a:gd name="connsiteY24" fmla="*/ 285293 h 365760"/>
                    <a:gd name="connsiteX25" fmla="*/ 826618 w 1177800"/>
                    <a:gd name="connsiteY25" fmla="*/ 292608 h 365760"/>
                    <a:gd name="connsiteX26" fmla="*/ 870509 w 1177800"/>
                    <a:gd name="connsiteY26" fmla="*/ 285293 h 365760"/>
                    <a:gd name="connsiteX27" fmla="*/ 885140 w 1177800"/>
                    <a:gd name="connsiteY27" fmla="*/ 263347 h 365760"/>
                    <a:gd name="connsiteX28" fmla="*/ 929031 w 1177800"/>
                    <a:gd name="connsiteY28" fmla="*/ 241401 h 365760"/>
                    <a:gd name="connsiteX29" fmla="*/ 1024128 w 1177800"/>
                    <a:gd name="connsiteY29" fmla="*/ 248717 h 365760"/>
                    <a:gd name="connsiteX30" fmla="*/ 1068020 w 1177800"/>
                    <a:gd name="connsiteY30" fmla="*/ 263347 h 365760"/>
                    <a:gd name="connsiteX31" fmla="*/ 1111911 w 1177800"/>
                    <a:gd name="connsiteY31" fmla="*/ 292608 h 365760"/>
                    <a:gd name="connsiteX32" fmla="*/ 1155802 w 1177800"/>
                    <a:gd name="connsiteY32" fmla="*/ 321869 h 365760"/>
                    <a:gd name="connsiteX33" fmla="*/ 1163117 w 1177800"/>
                    <a:gd name="connsiteY33" fmla="*/ 343814 h 365760"/>
                    <a:gd name="connsiteX34" fmla="*/ 1177748 w 1177800"/>
                    <a:gd name="connsiteY34" fmla="*/ 365760 h 365760"/>
                    <a:gd name="connsiteX0" fmla="*/ 0 w 1155854"/>
                    <a:gd name="connsiteY0" fmla="*/ 0 h 358445"/>
                    <a:gd name="connsiteX1" fmla="*/ 29261 w 1155854"/>
                    <a:gd name="connsiteY1" fmla="*/ 7315 h 358445"/>
                    <a:gd name="connsiteX2" fmla="*/ 51206 w 1155854"/>
                    <a:gd name="connsiteY2" fmla="*/ 14630 h 358445"/>
                    <a:gd name="connsiteX3" fmla="*/ 146304 w 1155854"/>
                    <a:gd name="connsiteY3" fmla="*/ 21946 h 358445"/>
                    <a:gd name="connsiteX4" fmla="*/ 190195 w 1155854"/>
                    <a:gd name="connsiteY4" fmla="*/ 36576 h 358445"/>
                    <a:gd name="connsiteX5" fmla="*/ 197510 w 1155854"/>
                    <a:gd name="connsiteY5" fmla="*/ 58522 h 358445"/>
                    <a:gd name="connsiteX6" fmla="*/ 219456 w 1155854"/>
                    <a:gd name="connsiteY6" fmla="*/ 65837 h 358445"/>
                    <a:gd name="connsiteX7" fmla="*/ 285293 w 1155854"/>
                    <a:gd name="connsiteY7" fmla="*/ 102413 h 358445"/>
                    <a:gd name="connsiteX8" fmla="*/ 314554 w 1155854"/>
                    <a:gd name="connsiteY8" fmla="*/ 138989 h 358445"/>
                    <a:gd name="connsiteX9" fmla="*/ 336499 w 1155854"/>
                    <a:gd name="connsiteY9" fmla="*/ 146304 h 358445"/>
                    <a:gd name="connsiteX10" fmla="*/ 351130 w 1155854"/>
                    <a:gd name="connsiteY10" fmla="*/ 160934 h 358445"/>
                    <a:gd name="connsiteX11" fmla="*/ 416966 w 1155854"/>
                    <a:gd name="connsiteY11" fmla="*/ 146304 h 358445"/>
                    <a:gd name="connsiteX12" fmla="*/ 438912 w 1155854"/>
                    <a:gd name="connsiteY12" fmla="*/ 153619 h 358445"/>
                    <a:gd name="connsiteX13" fmla="*/ 446227 w 1155854"/>
                    <a:gd name="connsiteY13" fmla="*/ 175565 h 358445"/>
                    <a:gd name="connsiteX14" fmla="*/ 475488 w 1155854"/>
                    <a:gd name="connsiteY14" fmla="*/ 219456 h 358445"/>
                    <a:gd name="connsiteX15" fmla="*/ 475488 w 1155854"/>
                    <a:gd name="connsiteY15" fmla="*/ 219456 h 358445"/>
                    <a:gd name="connsiteX16" fmla="*/ 526694 w 1155854"/>
                    <a:gd name="connsiteY16" fmla="*/ 248717 h 358445"/>
                    <a:gd name="connsiteX17" fmla="*/ 541325 w 1155854"/>
                    <a:gd name="connsiteY17" fmla="*/ 270662 h 358445"/>
                    <a:gd name="connsiteX18" fmla="*/ 570586 w 1155854"/>
                    <a:gd name="connsiteY18" fmla="*/ 277978 h 358445"/>
                    <a:gd name="connsiteX19" fmla="*/ 592531 w 1155854"/>
                    <a:gd name="connsiteY19" fmla="*/ 285293 h 358445"/>
                    <a:gd name="connsiteX20" fmla="*/ 636422 w 1155854"/>
                    <a:gd name="connsiteY20" fmla="*/ 307238 h 358445"/>
                    <a:gd name="connsiteX21" fmla="*/ 702259 w 1155854"/>
                    <a:gd name="connsiteY21" fmla="*/ 285293 h 358445"/>
                    <a:gd name="connsiteX22" fmla="*/ 746150 w 1155854"/>
                    <a:gd name="connsiteY22" fmla="*/ 270662 h 358445"/>
                    <a:gd name="connsiteX23" fmla="*/ 782726 w 1155854"/>
                    <a:gd name="connsiteY23" fmla="*/ 277978 h 358445"/>
                    <a:gd name="connsiteX24" fmla="*/ 804672 w 1155854"/>
                    <a:gd name="connsiteY24" fmla="*/ 285293 h 358445"/>
                    <a:gd name="connsiteX25" fmla="*/ 848563 w 1155854"/>
                    <a:gd name="connsiteY25" fmla="*/ 277978 h 358445"/>
                    <a:gd name="connsiteX26" fmla="*/ 863194 w 1155854"/>
                    <a:gd name="connsiteY26" fmla="*/ 256032 h 358445"/>
                    <a:gd name="connsiteX27" fmla="*/ 907085 w 1155854"/>
                    <a:gd name="connsiteY27" fmla="*/ 234086 h 358445"/>
                    <a:gd name="connsiteX28" fmla="*/ 1002182 w 1155854"/>
                    <a:gd name="connsiteY28" fmla="*/ 241402 h 358445"/>
                    <a:gd name="connsiteX29" fmla="*/ 1046074 w 1155854"/>
                    <a:gd name="connsiteY29" fmla="*/ 256032 h 358445"/>
                    <a:gd name="connsiteX30" fmla="*/ 1089965 w 1155854"/>
                    <a:gd name="connsiteY30" fmla="*/ 285293 h 358445"/>
                    <a:gd name="connsiteX31" fmla="*/ 1133856 w 1155854"/>
                    <a:gd name="connsiteY31" fmla="*/ 314554 h 358445"/>
                    <a:gd name="connsiteX32" fmla="*/ 1141171 w 1155854"/>
                    <a:gd name="connsiteY32" fmla="*/ 336499 h 358445"/>
                    <a:gd name="connsiteX33" fmla="*/ 1155802 w 1155854"/>
                    <a:gd name="connsiteY33" fmla="*/ 358445 h 358445"/>
                    <a:gd name="connsiteX0" fmla="*/ 0 w 1126593"/>
                    <a:gd name="connsiteY0" fmla="*/ 0 h 351130"/>
                    <a:gd name="connsiteX1" fmla="*/ 21945 w 1126593"/>
                    <a:gd name="connsiteY1" fmla="*/ 7315 h 351130"/>
                    <a:gd name="connsiteX2" fmla="*/ 117043 w 1126593"/>
                    <a:gd name="connsiteY2" fmla="*/ 14631 h 351130"/>
                    <a:gd name="connsiteX3" fmla="*/ 160934 w 1126593"/>
                    <a:gd name="connsiteY3" fmla="*/ 29261 h 351130"/>
                    <a:gd name="connsiteX4" fmla="*/ 168249 w 1126593"/>
                    <a:gd name="connsiteY4" fmla="*/ 51207 h 351130"/>
                    <a:gd name="connsiteX5" fmla="*/ 190195 w 1126593"/>
                    <a:gd name="connsiteY5" fmla="*/ 58522 h 351130"/>
                    <a:gd name="connsiteX6" fmla="*/ 256032 w 1126593"/>
                    <a:gd name="connsiteY6" fmla="*/ 95098 h 351130"/>
                    <a:gd name="connsiteX7" fmla="*/ 285293 w 1126593"/>
                    <a:gd name="connsiteY7" fmla="*/ 131674 h 351130"/>
                    <a:gd name="connsiteX8" fmla="*/ 307238 w 1126593"/>
                    <a:gd name="connsiteY8" fmla="*/ 138989 h 351130"/>
                    <a:gd name="connsiteX9" fmla="*/ 321869 w 1126593"/>
                    <a:gd name="connsiteY9" fmla="*/ 153619 h 351130"/>
                    <a:gd name="connsiteX10" fmla="*/ 387705 w 1126593"/>
                    <a:gd name="connsiteY10" fmla="*/ 138989 h 351130"/>
                    <a:gd name="connsiteX11" fmla="*/ 409651 w 1126593"/>
                    <a:gd name="connsiteY11" fmla="*/ 146304 h 351130"/>
                    <a:gd name="connsiteX12" fmla="*/ 416966 w 1126593"/>
                    <a:gd name="connsiteY12" fmla="*/ 168250 h 351130"/>
                    <a:gd name="connsiteX13" fmla="*/ 446227 w 1126593"/>
                    <a:gd name="connsiteY13" fmla="*/ 212141 h 351130"/>
                    <a:gd name="connsiteX14" fmla="*/ 446227 w 1126593"/>
                    <a:gd name="connsiteY14" fmla="*/ 212141 h 351130"/>
                    <a:gd name="connsiteX15" fmla="*/ 497433 w 1126593"/>
                    <a:gd name="connsiteY15" fmla="*/ 241402 h 351130"/>
                    <a:gd name="connsiteX16" fmla="*/ 512064 w 1126593"/>
                    <a:gd name="connsiteY16" fmla="*/ 263347 h 351130"/>
                    <a:gd name="connsiteX17" fmla="*/ 541325 w 1126593"/>
                    <a:gd name="connsiteY17" fmla="*/ 270663 h 351130"/>
                    <a:gd name="connsiteX18" fmla="*/ 563270 w 1126593"/>
                    <a:gd name="connsiteY18" fmla="*/ 277978 h 351130"/>
                    <a:gd name="connsiteX19" fmla="*/ 607161 w 1126593"/>
                    <a:gd name="connsiteY19" fmla="*/ 299923 h 351130"/>
                    <a:gd name="connsiteX20" fmla="*/ 672998 w 1126593"/>
                    <a:gd name="connsiteY20" fmla="*/ 277978 h 351130"/>
                    <a:gd name="connsiteX21" fmla="*/ 716889 w 1126593"/>
                    <a:gd name="connsiteY21" fmla="*/ 263347 h 351130"/>
                    <a:gd name="connsiteX22" fmla="*/ 753465 w 1126593"/>
                    <a:gd name="connsiteY22" fmla="*/ 270663 h 351130"/>
                    <a:gd name="connsiteX23" fmla="*/ 775411 w 1126593"/>
                    <a:gd name="connsiteY23" fmla="*/ 277978 h 351130"/>
                    <a:gd name="connsiteX24" fmla="*/ 819302 w 1126593"/>
                    <a:gd name="connsiteY24" fmla="*/ 270663 h 351130"/>
                    <a:gd name="connsiteX25" fmla="*/ 833933 w 1126593"/>
                    <a:gd name="connsiteY25" fmla="*/ 248717 h 351130"/>
                    <a:gd name="connsiteX26" fmla="*/ 877824 w 1126593"/>
                    <a:gd name="connsiteY26" fmla="*/ 226771 h 351130"/>
                    <a:gd name="connsiteX27" fmla="*/ 972921 w 1126593"/>
                    <a:gd name="connsiteY27" fmla="*/ 234087 h 351130"/>
                    <a:gd name="connsiteX28" fmla="*/ 1016813 w 1126593"/>
                    <a:gd name="connsiteY28" fmla="*/ 248717 h 351130"/>
                    <a:gd name="connsiteX29" fmla="*/ 1060704 w 1126593"/>
                    <a:gd name="connsiteY29" fmla="*/ 277978 h 351130"/>
                    <a:gd name="connsiteX30" fmla="*/ 1104595 w 1126593"/>
                    <a:gd name="connsiteY30" fmla="*/ 307239 h 351130"/>
                    <a:gd name="connsiteX31" fmla="*/ 1111910 w 1126593"/>
                    <a:gd name="connsiteY31" fmla="*/ 329184 h 351130"/>
                    <a:gd name="connsiteX32" fmla="*/ 1126541 w 1126593"/>
                    <a:gd name="connsiteY32" fmla="*/ 351130 h 351130"/>
                    <a:gd name="connsiteX0" fmla="*/ 0 w 1104648"/>
                    <a:gd name="connsiteY0" fmla="*/ 0 h 343815"/>
                    <a:gd name="connsiteX1" fmla="*/ 95098 w 1104648"/>
                    <a:gd name="connsiteY1" fmla="*/ 7316 h 343815"/>
                    <a:gd name="connsiteX2" fmla="*/ 138989 w 1104648"/>
                    <a:gd name="connsiteY2" fmla="*/ 21946 h 343815"/>
                    <a:gd name="connsiteX3" fmla="*/ 146304 w 1104648"/>
                    <a:gd name="connsiteY3" fmla="*/ 43892 h 343815"/>
                    <a:gd name="connsiteX4" fmla="*/ 168250 w 1104648"/>
                    <a:gd name="connsiteY4" fmla="*/ 51207 h 343815"/>
                    <a:gd name="connsiteX5" fmla="*/ 234087 w 1104648"/>
                    <a:gd name="connsiteY5" fmla="*/ 87783 h 343815"/>
                    <a:gd name="connsiteX6" fmla="*/ 263348 w 1104648"/>
                    <a:gd name="connsiteY6" fmla="*/ 124359 h 343815"/>
                    <a:gd name="connsiteX7" fmla="*/ 285293 w 1104648"/>
                    <a:gd name="connsiteY7" fmla="*/ 131674 h 343815"/>
                    <a:gd name="connsiteX8" fmla="*/ 299924 w 1104648"/>
                    <a:gd name="connsiteY8" fmla="*/ 146304 h 343815"/>
                    <a:gd name="connsiteX9" fmla="*/ 365760 w 1104648"/>
                    <a:gd name="connsiteY9" fmla="*/ 131674 h 343815"/>
                    <a:gd name="connsiteX10" fmla="*/ 387706 w 1104648"/>
                    <a:gd name="connsiteY10" fmla="*/ 138989 h 343815"/>
                    <a:gd name="connsiteX11" fmla="*/ 395021 w 1104648"/>
                    <a:gd name="connsiteY11" fmla="*/ 160935 h 343815"/>
                    <a:gd name="connsiteX12" fmla="*/ 424282 w 1104648"/>
                    <a:gd name="connsiteY12" fmla="*/ 204826 h 343815"/>
                    <a:gd name="connsiteX13" fmla="*/ 424282 w 1104648"/>
                    <a:gd name="connsiteY13" fmla="*/ 204826 h 343815"/>
                    <a:gd name="connsiteX14" fmla="*/ 475488 w 1104648"/>
                    <a:gd name="connsiteY14" fmla="*/ 234087 h 343815"/>
                    <a:gd name="connsiteX15" fmla="*/ 490119 w 1104648"/>
                    <a:gd name="connsiteY15" fmla="*/ 256032 h 343815"/>
                    <a:gd name="connsiteX16" fmla="*/ 519380 w 1104648"/>
                    <a:gd name="connsiteY16" fmla="*/ 263348 h 343815"/>
                    <a:gd name="connsiteX17" fmla="*/ 541325 w 1104648"/>
                    <a:gd name="connsiteY17" fmla="*/ 270663 h 343815"/>
                    <a:gd name="connsiteX18" fmla="*/ 585216 w 1104648"/>
                    <a:gd name="connsiteY18" fmla="*/ 292608 h 343815"/>
                    <a:gd name="connsiteX19" fmla="*/ 651053 w 1104648"/>
                    <a:gd name="connsiteY19" fmla="*/ 270663 h 343815"/>
                    <a:gd name="connsiteX20" fmla="*/ 694944 w 1104648"/>
                    <a:gd name="connsiteY20" fmla="*/ 256032 h 343815"/>
                    <a:gd name="connsiteX21" fmla="*/ 731520 w 1104648"/>
                    <a:gd name="connsiteY21" fmla="*/ 263348 h 343815"/>
                    <a:gd name="connsiteX22" fmla="*/ 753466 w 1104648"/>
                    <a:gd name="connsiteY22" fmla="*/ 270663 h 343815"/>
                    <a:gd name="connsiteX23" fmla="*/ 797357 w 1104648"/>
                    <a:gd name="connsiteY23" fmla="*/ 263348 h 343815"/>
                    <a:gd name="connsiteX24" fmla="*/ 811988 w 1104648"/>
                    <a:gd name="connsiteY24" fmla="*/ 241402 h 343815"/>
                    <a:gd name="connsiteX25" fmla="*/ 855879 w 1104648"/>
                    <a:gd name="connsiteY25" fmla="*/ 219456 h 343815"/>
                    <a:gd name="connsiteX26" fmla="*/ 950976 w 1104648"/>
                    <a:gd name="connsiteY26" fmla="*/ 226772 h 343815"/>
                    <a:gd name="connsiteX27" fmla="*/ 994868 w 1104648"/>
                    <a:gd name="connsiteY27" fmla="*/ 241402 h 343815"/>
                    <a:gd name="connsiteX28" fmla="*/ 1038759 w 1104648"/>
                    <a:gd name="connsiteY28" fmla="*/ 270663 h 343815"/>
                    <a:gd name="connsiteX29" fmla="*/ 1082650 w 1104648"/>
                    <a:gd name="connsiteY29" fmla="*/ 299924 h 343815"/>
                    <a:gd name="connsiteX30" fmla="*/ 1089965 w 1104648"/>
                    <a:gd name="connsiteY30" fmla="*/ 321869 h 343815"/>
                    <a:gd name="connsiteX31" fmla="*/ 1104596 w 1104648"/>
                    <a:gd name="connsiteY31" fmla="*/ 343815 h 343815"/>
                    <a:gd name="connsiteX0" fmla="*/ 0 w 1009550"/>
                    <a:gd name="connsiteY0" fmla="*/ 0 h 336499"/>
                    <a:gd name="connsiteX1" fmla="*/ 43891 w 1009550"/>
                    <a:gd name="connsiteY1" fmla="*/ 14630 h 336499"/>
                    <a:gd name="connsiteX2" fmla="*/ 51206 w 1009550"/>
                    <a:gd name="connsiteY2" fmla="*/ 36576 h 336499"/>
                    <a:gd name="connsiteX3" fmla="*/ 73152 w 1009550"/>
                    <a:gd name="connsiteY3" fmla="*/ 43891 h 336499"/>
                    <a:gd name="connsiteX4" fmla="*/ 138989 w 1009550"/>
                    <a:gd name="connsiteY4" fmla="*/ 80467 h 336499"/>
                    <a:gd name="connsiteX5" fmla="*/ 168250 w 1009550"/>
                    <a:gd name="connsiteY5" fmla="*/ 117043 h 336499"/>
                    <a:gd name="connsiteX6" fmla="*/ 190195 w 1009550"/>
                    <a:gd name="connsiteY6" fmla="*/ 124358 h 336499"/>
                    <a:gd name="connsiteX7" fmla="*/ 204826 w 1009550"/>
                    <a:gd name="connsiteY7" fmla="*/ 138988 h 336499"/>
                    <a:gd name="connsiteX8" fmla="*/ 270662 w 1009550"/>
                    <a:gd name="connsiteY8" fmla="*/ 124358 h 336499"/>
                    <a:gd name="connsiteX9" fmla="*/ 292608 w 1009550"/>
                    <a:gd name="connsiteY9" fmla="*/ 131673 h 336499"/>
                    <a:gd name="connsiteX10" fmla="*/ 299923 w 1009550"/>
                    <a:gd name="connsiteY10" fmla="*/ 153619 h 336499"/>
                    <a:gd name="connsiteX11" fmla="*/ 329184 w 1009550"/>
                    <a:gd name="connsiteY11" fmla="*/ 197510 h 336499"/>
                    <a:gd name="connsiteX12" fmla="*/ 329184 w 1009550"/>
                    <a:gd name="connsiteY12" fmla="*/ 197510 h 336499"/>
                    <a:gd name="connsiteX13" fmla="*/ 380390 w 1009550"/>
                    <a:gd name="connsiteY13" fmla="*/ 226771 h 336499"/>
                    <a:gd name="connsiteX14" fmla="*/ 395021 w 1009550"/>
                    <a:gd name="connsiteY14" fmla="*/ 248716 h 336499"/>
                    <a:gd name="connsiteX15" fmla="*/ 424282 w 1009550"/>
                    <a:gd name="connsiteY15" fmla="*/ 256032 h 336499"/>
                    <a:gd name="connsiteX16" fmla="*/ 446227 w 1009550"/>
                    <a:gd name="connsiteY16" fmla="*/ 263347 h 336499"/>
                    <a:gd name="connsiteX17" fmla="*/ 490118 w 1009550"/>
                    <a:gd name="connsiteY17" fmla="*/ 285292 h 336499"/>
                    <a:gd name="connsiteX18" fmla="*/ 555955 w 1009550"/>
                    <a:gd name="connsiteY18" fmla="*/ 263347 h 336499"/>
                    <a:gd name="connsiteX19" fmla="*/ 599846 w 1009550"/>
                    <a:gd name="connsiteY19" fmla="*/ 248716 h 336499"/>
                    <a:gd name="connsiteX20" fmla="*/ 636422 w 1009550"/>
                    <a:gd name="connsiteY20" fmla="*/ 256032 h 336499"/>
                    <a:gd name="connsiteX21" fmla="*/ 658368 w 1009550"/>
                    <a:gd name="connsiteY21" fmla="*/ 263347 h 336499"/>
                    <a:gd name="connsiteX22" fmla="*/ 702259 w 1009550"/>
                    <a:gd name="connsiteY22" fmla="*/ 256032 h 336499"/>
                    <a:gd name="connsiteX23" fmla="*/ 716890 w 1009550"/>
                    <a:gd name="connsiteY23" fmla="*/ 234086 h 336499"/>
                    <a:gd name="connsiteX24" fmla="*/ 760781 w 1009550"/>
                    <a:gd name="connsiteY24" fmla="*/ 212140 h 336499"/>
                    <a:gd name="connsiteX25" fmla="*/ 855878 w 1009550"/>
                    <a:gd name="connsiteY25" fmla="*/ 219456 h 336499"/>
                    <a:gd name="connsiteX26" fmla="*/ 899770 w 1009550"/>
                    <a:gd name="connsiteY26" fmla="*/ 234086 h 336499"/>
                    <a:gd name="connsiteX27" fmla="*/ 943661 w 1009550"/>
                    <a:gd name="connsiteY27" fmla="*/ 263347 h 336499"/>
                    <a:gd name="connsiteX28" fmla="*/ 987552 w 1009550"/>
                    <a:gd name="connsiteY28" fmla="*/ 292608 h 336499"/>
                    <a:gd name="connsiteX29" fmla="*/ 994867 w 1009550"/>
                    <a:gd name="connsiteY29" fmla="*/ 314553 h 336499"/>
                    <a:gd name="connsiteX30" fmla="*/ 1009498 w 1009550"/>
                    <a:gd name="connsiteY30" fmla="*/ 336499 h 336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1009550" h="336499">
                      <a:moveTo>
                        <a:pt x="0" y="0"/>
                      </a:moveTo>
                      <a:cubicBezTo>
                        <a:pt x="14630" y="4877"/>
                        <a:pt x="39014" y="0"/>
                        <a:pt x="43891" y="14630"/>
                      </a:cubicBezTo>
                      <a:cubicBezTo>
                        <a:pt x="46329" y="21945"/>
                        <a:pt x="45753" y="31123"/>
                        <a:pt x="51206" y="36576"/>
                      </a:cubicBezTo>
                      <a:cubicBezTo>
                        <a:pt x="56659" y="42029"/>
                        <a:pt x="66411" y="40146"/>
                        <a:pt x="73152" y="43891"/>
                      </a:cubicBezTo>
                      <a:cubicBezTo>
                        <a:pt x="148613" y="85814"/>
                        <a:pt x="89331" y="63915"/>
                        <a:pt x="138989" y="80467"/>
                      </a:cubicBezTo>
                      <a:cubicBezTo>
                        <a:pt x="145634" y="90435"/>
                        <a:pt x="156668" y="110094"/>
                        <a:pt x="168250" y="117043"/>
                      </a:cubicBezTo>
                      <a:cubicBezTo>
                        <a:pt x="174862" y="121010"/>
                        <a:pt x="182880" y="121920"/>
                        <a:pt x="190195" y="124358"/>
                      </a:cubicBezTo>
                      <a:cubicBezTo>
                        <a:pt x="195072" y="129235"/>
                        <a:pt x="197982" y="138133"/>
                        <a:pt x="204826" y="138988"/>
                      </a:cubicBezTo>
                      <a:cubicBezTo>
                        <a:pt x="223553" y="141329"/>
                        <a:pt x="251682" y="130685"/>
                        <a:pt x="270662" y="124358"/>
                      </a:cubicBezTo>
                      <a:cubicBezTo>
                        <a:pt x="277977" y="126796"/>
                        <a:pt x="287155" y="126220"/>
                        <a:pt x="292608" y="131673"/>
                      </a:cubicBezTo>
                      <a:cubicBezTo>
                        <a:pt x="298061" y="137126"/>
                        <a:pt x="296178" y="146878"/>
                        <a:pt x="299923" y="153619"/>
                      </a:cubicBezTo>
                      <a:cubicBezTo>
                        <a:pt x="308462" y="168990"/>
                        <a:pt x="319430" y="182880"/>
                        <a:pt x="329184" y="197510"/>
                      </a:cubicBezTo>
                      <a:lnTo>
                        <a:pt x="329184" y="197510"/>
                      </a:lnTo>
                      <a:cubicBezTo>
                        <a:pt x="360203" y="218189"/>
                        <a:pt x="343266" y="208208"/>
                        <a:pt x="380390" y="226771"/>
                      </a:cubicBezTo>
                      <a:cubicBezTo>
                        <a:pt x="385267" y="234086"/>
                        <a:pt x="387706" y="243839"/>
                        <a:pt x="395021" y="248716"/>
                      </a:cubicBezTo>
                      <a:cubicBezTo>
                        <a:pt x="403386" y="254293"/>
                        <a:pt x="414615" y="253270"/>
                        <a:pt x="424282" y="256032"/>
                      </a:cubicBezTo>
                      <a:cubicBezTo>
                        <a:pt x="431696" y="258150"/>
                        <a:pt x="439330" y="259899"/>
                        <a:pt x="446227" y="263347"/>
                      </a:cubicBezTo>
                      <a:cubicBezTo>
                        <a:pt x="502949" y="291707"/>
                        <a:pt x="434959" y="266906"/>
                        <a:pt x="490118" y="285292"/>
                      </a:cubicBezTo>
                      <a:cubicBezTo>
                        <a:pt x="588954" y="268820"/>
                        <a:pt x="494242" y="290775"/>
                        <a:pt x="555955" y="263347"/>
                      </a:cubicBezTo>
                      <a:cubicBezTo>
                        <a:pt x="570048" y="257084"/>
                        <a:pt x="599846" y="248716"/>
                        <a:pt x="599846" y="248716"/>
                      </a:cubicBezTo>
                      <a:cubicBezTo>
                        <a:pt x="612038" y="251155"/>
                        <a:pt x="624360" y="253016"/>
                        <a:pt x="636422" y="256032"/>
                      </a:cubicBezTo>
                      <a:cubicBezTo>
                        <a:pt x="643903" y="257902"/>
                        <a:pt x="650657" y="263347"/>
                        <a:pt x="658368" y="263347"/>
                      </a:cubicBezTo>
                      <a:cubicBezTo>
                        <a:pt x="673200" y="263347"/>
                        <a:pt x="687629" y="258470"/>
                        <a:pt x="702259" y="256032"/>
                      </a:cubicBezTo>
                      <a:cubicBezTo>
                        <a:pt x="707136" y="248717"/>
                        <a:pt x="710673" y="240303"/>
                        <a:pt x="716890" y="234086"/>
                      </a:cubicBezTo>
                      <a:cubicBezTo>
                        <a:pt x="731070" y="219906"/>
                        <a:pt x="742933" y="218090"/>
                        <a:pt x="760781" y="212140"/>
                      </a:cubicBezTo>
                      <a:cubicBezTo>
                        <a:pt x="792480" y="214579"/>
                        <a:pt x="824474" y="214497"/>
                        <a:pt x="855878" y="219456"/>
                      </a:cubicBezTo>
                      <a:cubicBezTo>
                        <a:pt x="871111" y="221861"/>
                        <a:pt x="899770" y="234086"/>
                        <a:pt x="899770" y="234086"/>
                      </a:cubicBezTo>
                      <a:cubicBezTo>
                        <a:pt x="948472" y="282790"/>
                        <a:pt x="896021" y="236881"/>
                        <a:pt x="943661" y="263347"/>
                      </a:cubicBezTo>
                      <a:cubicBezTo>
                        <a:pt x="959032" y="271886"/>
                        <a:pt x="987552" y="292608"/>
                        <a:pt x="987552" y="292608"/>
                      </a:cubicBezTo>
                      <a:cubicBezTo>
                        <a:pt x="989990" y="299923"/>
                        <a:pt x="990900" y="307941"/>
                        <a:pt x="994867" y="314553"/>
                      </a:cubicBezTo>
                      <a:cubicBezTo>
                        <a:pt x="1011222" y="341811"/>
                        <a:pt x="1009498" y="318432"/>
                        <a:pt x="1009498" y="336499"/>
                      </a:cubicBezTo>
                    </a:path>
                  </a:pathLst>
                </a:custGeom>
                <a:ln w="38100" cmpd="sng">
                  <a:solidFill>
                    <a:srgbClr val="0000FF"/>
                  </a:solidFill>
                  <a:prstDash val="sysDot"/>
                  <a:round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</p:grpSp>
          <p:sp>
            <p:nvSpPr>
              <p:cNvPr id="488" name="CaixaDeTexto 5"/>
              <p:cNvSpPr txBox="1"/>
              <p:nvPr/>
            </p:nvSpPr>
            <p:spPr>
              <a:xfrm>
                <a:off x="7314677" y="5378755"/>
                <a:ext cx="807082" cy="245259"/>
              </a:xfrm>
              <a:prstGeom prst="rect">
                <a:avLst/>
              </a:prstGeom>
              <a:noFill/>
              <a:ln w="38100" cmpd="sng"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fontAlgn="base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1100" dirty="0">
                    <a:solidFill>
                      <a:srgbClr val="0000FF"/>
                    </a:solidFill>
                    <a:latin typeface="Arial" pitchFamily="34" charset="0"/>
                    <a:cs typeface="Arial" pitchFamily="34" charset="0"/>
                  </a:rPr>
                  <a:t>Malha - PAC </a:t>
                </a:r>
              </a:p>
            </p:txBody>
          </p:sp>
        </p:grpSp>
        <p:sp>
          <p:nvSpPr>
            <p:cNvPr id="485" name="Forma livre 2"/>
            <p:cNvSpPr/>
            <p:nvPr/>
          </p:nvSpPr>
          <p:spPr>
            <a:xfrm>
              <a:off x="4307427" y="2004365"/>
              <a:ext cx="212179" cy="811987"/>
            </a:xfrm>
            <a:custGeom>
              <a:avLst/>
              <a:gdLst>
                <a:gd name="connsiteX0" fmla="*/ 204864 w 212179"/>
                <a:gd name="connsiteY0" fmla="*/ 0 h 811987"/>
                <a:gd name="connsiteX1" fmla="*/ 212179 w 212179"/>
                <a:gd name="connsiteY1" fmla="*/ 36576 h 811987"/>
                <a:gd name="connsiteX2" fmla="*/ 197549 w 212179"/>
                <a:gd name="connsiteY2" fmla="*/ 95097 h 811987"/>
                <a:gd name="connsiteX3" fmla="*/ 204864 w 212179"/>
                <a:gd name="connsiteY3" fmla="*/ 168249 h 811987"/>
                <a:gd name="connsiteX4" fmla="*/ 212179 w 212179"/>
                <a:gd name="connsiteY4" fmla="*/ 190195 h 811987"/>
                <a:gd name="connsiteX5" fmla="*/ 197549 w 212179"/>
                <a:gd name="connsiteY5" fmla="*/ 256032 h 811987"/>
                <a:gd name="connsiteX6" fmla="*/ 175603 w 212179"/>
                <a:gd name="connsiteY6" fmla="*/ 270662 h 811987"/>
                <a:gd name="connsiteX7" fmla="*/ 168288 w 212179"/>
                <a:gd name="connsiteY7" fmla="*/ 292608 h 811987"/>
                <a:gd name="connsiteX8" fmla="*/ 146343 w 212179"/>
                <a:gd name="connsiteY8" fmla="*/ 307238 h 811987"/>
                <a:gd name="connsiteX9" fmla="*/ 131712 w 212179"/>
                <a:gd name="connsiteY9" fmla="*/ 321869 h 811987"/>
                <a:gd name="connsiteX10" fmla="*/ 102451 w 212179"/>
                <a:gd name="connsiteY10" fmla="*/ 358445 h 811987"/>
                <a:gd name="connsiteX11" fmla="*/ 65875 w 212179"/>
                <a:gd name="connsiteY11" fmla="*/ 468173 h 811987"/>
                <a:gd name="connsiteX12" fmla="*/ 58560 w 212179"/>
                <a:gd name="connsiteY12" fmla="*/ 490118 h 811987"/>
                <a:gd name="connsiteX13" fmla="*/ 51245 w 212179"/>
                <a:gd name="connsiteY13" fmla="*/ 512064 h 811987"/>
                <a:gd name="connsiteX14" fmla="*/ 43930 w 212179"/>
                <a:gd name="connsiteY14" fmla="*/ 563270 h 811987"/>
                <a:gd name="connsiteX15" fmla="*/ 36615 w 212179"/>
                <a:gd name="connsiteY15" fmla="*/ 607161 h 811987"/>
                <a:gd name="connsiteX16" fmla="*/ 21984 w 212179"/>
                <a:gd name="connsiteY16" fmla="*/ 716889 h 811987"/>
                <a:gd name="connsiteX17" fmla="*/ 14669 w 212179"/>
                <a:gd name="connsiteY17" fmla="*/ 753465 h 811987"/>
                <a:gd name="connsiteX18" fmla="*/ 39 w 212179"/>
                <a:gd name="connsiteY18" fmla="*/ 811987 h 811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12179" h="811987">
                  <a:moveTo>
                    <a:pt x="204864" y="0"/>
                  </a:moveTo>
                  <a:cubicBezTo>
                    <a:pt x="207302" y="12192"/>
                    <a:pt x="212179" y="24143"/>
                    <a:pt x="212179" y="36576"/>
                  </a:cubicBezTo>
                  <a:cubicBezTo>
                    <a:pt x="212179" y="54232"/>
                    <a:pt x="203322" y="77779"/>
                    <a:pt x="197549" y="95097"/>
                  </a:cubicBezTo>
                  <a:cubicBezTo>
                    <a:pt x="199987" y="119481"/>
                    <a:pt x="201138" y="144028"/>
                    <a:pt x="204864" y="168249"/>
                  </a:cubicBezTo>
                  <a:cubicBezTo>
                    <a:pt x="206036" y="175870"/>
                    <a:pt x="212179" y="182484"/>
                    <a:pt x="212179" y="190195"/>
                  </a:cubicBezTo>
                  <a:cubicBezTo>
                    <a:pt x="212179" y="190550"/>
                    <a:pt x="205092" y="246603"/>
                    <a:pt x="197549" y="256032"/>
                  </a:cubicBezTo>
                  <a:cubicBezTo>
                    <a:pt x="192057" y="262897"/>
                    <a:pt x="182918" y="265785"/>
                    <a:pt x="175603" y="270662"/>
                  </a:cubicBezTo>
                  <a:cubicBezTo>
                    <a:pt x="173165" y="277977"/>
                    <a:pt x="173105" y="286587"/>
                    <a:pt x="168288" y="292608"/>
                  </a:cubicBezTo>
                  <a:cubicBezTo>
                    <a:pt x="162796" y="299473"/>
                    <a:pt x="153208" y="301746"/>
                    <a:pt x="146343" y="307238"/>
                  </a:cubicBezTo>
                  <a:cubicBezTo>
                    <a:pt x="140957" y="311547"/>
                    <a:pt x="136021" y="316483"/>
                    <a:pt x="131712" y="321869"/>
                  </a:cubicBezTo>
                  <a:cubicBezTo>
                    <a:pt x="94799" y="368010"/>
                    <a:pt x="137778" y="323118"/>
                    <a:pt x="102451" y="358445"/>
                  </a:cubicBezTo>
                  <a:lnTo>
                    <a:pt x="65875" y="468173"/>
                  </a:lnTo>
                  <a:lnTo>
                    <a:pt x="58560" y="490118"/>
                  </a:lnTo>
                  <a:lnTo>
                    <a:pt x="51245" y="512064"/>
                  </a:lnTo>
                  <a:cubicBezTo>
                    <a:pt x="48807" y="529133"/>
                    <a:pt x="46552" y="546229"/>
                    <a:pt x="43930" y="563270"/>
                  </a:cubicBezTo>
                  <a:cubicBezTo>
                    <a:pt x="41675" y="577930"/>
                    <a:pt x="38713" y="592478"/>
                    <a:pt x="36615" y="607161"/>
                  </a:cubicBezTo>
                  <a:cubicBezTo>
                    <a:pt x="29222" y="658911"/>
                    <a:pt x="30271" y="667166"/>
                    <a:pt x="21984" y="716889"/>
                  </a:cubicBezTo>
                  <a:cubicBezTo>
                    <a:pt x="19940" y="729153"/>
                    <a:pt x="17940" y="741470"/>
                    <a:pt x="14669" y="753465"/>
                  </a:cubicBezTo>
                  <a:cubicBezTo>
                    <a:pt x="-1503" y="812765"/>
                    <a:pt x="39" y="778526"/>
                    <a:pt x="39" y="811987"/>
                  </a:cubicBezTo>
                </a:path>
              </a:pathLst>
            </a:custGeom>
            <a:ln w="38100" cmpd="sng">
              <a:solidFill>
                <a:srgbClr val="0000FF"/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pt-BR"/>
            </a:p>
          </p:txBody>
        </p:sp>
      </p:grpSp>
      <p:grpSp>
        <p:nvGrpSpPr>
          <p:cNvPr id="430" name="Grupo 10"/>
          <p:cNvGrpSpPr/>
          <p:nvPr/>
        </p:nvGrpSpPr>
        <p:grpSpPr>
          <a:xfrm>
            <a:off x="1805734" y="1562101"/>
            <a:ext cx="6301818" cy="4837113"/>
            <a:chOff x="1805734" y="1562100"/>
            <a:chExt cx="6301818" cy="4837113"/>
          </a:xfrm>
        </p:grpSpPr>
        <p:grpSp>
          <p:nvGrpSpPr>
            <p:cNvPr id="431" name="Grupo 125"/>
            <p:cNvGrpSpPr/>
            <p:nvPr/>
          </p:nvGrpSpPr>
          <p:grpSpPr>
            <a:xfrm>
              <a:off x="1805734" y="1562100"/>
              <a:ext cx="3366341" cy="4837113"/>
              <a:chOff x="1805734" y="1562100"/>
              <a:chExt cx="3366341" cy="4837113"/>
            </a:xfrm>
          </p:grpSpPr>
          <p:sp>
            <p:nvSpPr>
              <p:cNvPr id="434" name="Forma livre 454"/>
              <p:cNvSpPr/>
              <p:nvPr/>
            </p:nvSpPr>
            <p:spPr bwMode="auto">
              <a:xfrm>
                <a:off x="3670300" y="5305426"/>
                <a:ext cx="678813" cy="328092"/>
              </a:xfrm>
              <a:custGeom>
                <a:avLst/>
                <a:gdLst>
                  <a:gd name="connsiteX0" fmla="*/ 672860 w 672860"/>
                  <a:gd name="connsiteY0" fmla="*/ 0 h 232913"/>
                  <a:gd name="connsiteX1" fmla="*/ 655607 w 672860"/>
                  <a:gd name="connsiteY1" fmla="*/ 43132 h 232913"/>
                  <a:gd name="connsiteX2" fmla="*/ 638354 w 672860"/>
                  <a:gd name="connsiteY2" fmla="*/ 94891 h 232913"/>
                  <a:gd name="connsiteX3" fmla="*/ 629728 w 672860"/>
                  <a:gd name="connsiteY3" fmla="*/ 120770 h 232913"/>
                  <a:gd name="connsiteX4" fmla="*/ 603849 w 672860"/>
                  <a:gd name="connsiteY4" fmla="*/ 181155 h 232913"/>
                  <a:gd name="connsiteX5" fmla="*/ 577969 w 672860"/>
                  <a:gd name="connsiteY5" fmla="*/ 207034 h 232913"/>
                  <a:gd name="connsiteX6" fmla="*/ 439947 w 672860"/>
                  <a:gd name="connsiteY6" fmla="*/ 215661 h 232913"/>
                  <a:gd name="connsiteX7" fmla="*/ 284671 w 672860"/>
                  <a:gd name="connsiteY7" fmla="*/ 232913 h 232913"/>
                  <a:gd name="connsiteX8" fmla="*/ 0 w 672860"/>
                  <a:gd name="connsiteY8" fmla="*/ 224287 h 232913"/>
                  <a:gd name="connsiteX0" fmla="*/ 672860 w 678571"/>
                  <a:gd name="connsiteY0" fmla="*/ 0 h 329703"/>
                  <a:gd name="connsiteX1" fmla="*/ 655607 w 678571"/>
                  <a:gd name="connsiteY1" fmla="*/ 43132 h 329703"/>
                  <a:gd name="connsiteX2" fmla="*/ 638354 w 678571"/>
                  <a:gd name="connsiteY2" fmla="*/ 94891 h 329703"/>
                  <a:gd name="connsiteX3" fmla="*/ 629728 w 678571"/>
                  <a:gd name="connsiteY3" fmla="*/ 120770 h 329703"/>
                  <a:gd name="connsiteX4" fmla="*/ 603849 w 678571"/>
                  <a:gd name="connsiteY4" fmla="*/ 181155 h 329703"/>
                  <a:gd name="connsiteX5" fmla="*/ 677324 w 678571"/>
                  <a:gd name="connsiteY5" fmla="*/ 329108 h 329703"/>
                  <a:gd name="connsiteX6" fmla="*/ 439947 w 678571"/>
                  <a:gd name="connsiteY6" fmla="*/ 215661 h 329703"/>
                  <a:gd name="connsiteX7" fmla="*/ 284671 w 678571"/>
                  <a:gd name="connsiteY7" fmla="*/ 232913 h 329703"/>
                  <a:gd name="connsiteX8" fmla="*/ 0 w 678571"/>
                  <a:gd name="connsiteY8" fmla="*/ 224287 h 329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8571" h="329703">
                    <a:moveTo>
                      <a:pt x="672860" y="0"/>
                    </a:moveTo>
                    <a:cubicBezTo>
                      <a:pt x="667109" y="14377"/>
                      <a:pt x="660899" y="28579"/>
                      <a:pt x="655607" y="43132"/>
                    </a:cubicBezTo>
                    <a:cubicBezTo>
                      <a:pt x="649392" y="60223"/>
                      <a:pt x="644105" y="77638"/>
                      <a:pt x="638354" y="94891"/>
                    </a:cubicBezTo>
                    <a:cubicBezTo>
                      <a:pt x="635479" y="103517"/>
                      <a:pt x="631933" y="111949"/>
                      <a:pt x="629728" y="120770"/>
                    </a:cubicBezTo>
                    <a:cubicBezTo>
                      <a:pt x="621507" y="153653"/>
                      <a:pt x="595916" y="146432"/>
                      <a:pt x="603849" y="181155"/>
                    </a:cubicBezTo>
                    <a:cubicBezTo>
                      <a:pt x="611782" y="215878"/>
                      <a:pt x="689262" y="326595"/>
                      <a:pt x="677324" y="329108"/>
                    </a:cubicBezTo>
                    <a:cubicBezTo>
                      <a:pt x="632216" y="338605"/>
                      <a:pt x="505389" y="231693"/>
                      <a:pt x="439947" y="215661"/>
                    </a:cubicBezTo>
                    <a:cubicBezTo>
                      <a:pt x="374505" y="199629"/>
                      <a:pt x="340260" y="225965"/>
                      <a:pt x="284671" y="232913"/>
                    </a:cubicBezTo>
                    <a:cubicBezTo>
                      <a:pt x="97861" y="221238"/>
                      <a:pt x="192746" y="224287"/>
                      <a:pt x="0" y="224287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35" name="Forma livre 455"/>
              <p:cNvSpPr/>
              <p:nvPr/>
            </p:nvSpPr>
            <p:spPr bwMode="auto">
              <a:xfrm>
                <a:off x="3537884" y="4640539"/>
                <a:ext cx="365779" cy="1225274"/>
              </a:xfrm>
              <a:custGeom>
                <a:avLst/>
                <a:gdLst>
                  <a:gd name="connsiteX0" fmla="*/ 8626 w 353683"/>
                  <a:gd name="connsiteY0" fmla="*/ 0 h 672910"/>
                  <a:gd name="connsiteX1" fmla="*/ 0 w 353683"/>
                  <a:gd name="connsiteY1" fmla="*/ 51758 h 672910"/>
                  <a:gd name="connsiteX2" fmla="*/ 8626 w 353683"/>
                  <a:gd name="connsiteY2" fmla="*/ 129396 h 672910"/>
                  <a:gd name="connsiteX3" fmla="*/ 17253 w 353683"/>
                  <a:gd name="connsiteY3" fmla="*/ 155275 h 672910"/>
                  <a:gd name="connsiteX4" fmla="*/ 43132 w 353683"/>
                  <a:gd name="connsiteY4" fmla="*/ 172528 h 672910"/>
                  <a:gd name="connsiteX5" fmla="*/ 94890 w 353683"/>
                  <a:gd name="connsiteY5" fmla="*/ 224287 h 672910"/>
                  <a:gd name="connsiteX6" fmla="*/ 112143 w 353683"/>
                  <a:gd name="connsiteY6" fmla="*/ 250166 h 672910"/>
                  <a:gd name="connsiteX7" fmla="*/ 146649 w 353683"/>
                  <a:gd name="connsiteY7" fmla="*/ 327804 h 672910"/>
                  <a:gd name="connsiteX8" fmla="*/ 155275 w 353683"/>
                  <a:gd name="connsiteY8" fmla="*/ 353683 h 672910"/>
                  <a:gd name="connsiteX9" fmla="*/ 172528 w 353683"/>
                  <a:gd name="connsiteY9" fmla="*/ 379562 h 672910"/>
                  <a:gd name="connsiteX10" fmla="*/ 181154 w 353683"/>
                  <a:gd name="connsiteY10" fmla="*/ 414068 h 672910"/>
                  <a:gd name="connsiteX11" fmla="*/ 215660 w 353683"/>
                  <a:gd name="connsiteY11" fmla="*/ 465826 h 672910"/>
                  <a:gd name="connsiteX12" fmla="*/ 232913 w 353683"/>
                  <a:gd name="connsiteY12" fmla="*/ 491706 h 672910"/>
                  <a:gd name="connsiteX13" fmla="*/ 250166 w 353683"/>
                  <a:gd name="connsiteY13" fmla="*/ 517585 h 672910"/>
                  <a:gd name="connsiteX14" fmla="*/ 293298 w 353683"/>
                  <a:gd name="connsiteY14" fmla="*/ 569343 h 672910"/>
                  <a:gd name="connsiteX15" fmla="*/ 319177 w 353683"/>
                  <a:gd name="connsiteY15" fmla="*/ 621102 h 672910"/>
                  <a:gd name="connsiteX16" fmla="*/ 327804 w 353683"/>
                  <a:gd name="connsiteY16" fmla="*/ 646981 h 672910"/>
                  <a:gd name="connsiteX17" fmla="*/ 353683 w 353683"/>
                  <a:gd name="connsiteY17" fmla="*/ 672860 h 672910"/>
                  <a:gd name="connsiteX0" fmla="*/ 315536 w 373730"/>
                  <a:gd name="connsiteY0" fmla="*/ 0 h 1224928"/>
                  <a:gd name="connsiteX1" fmla="*/ 20047 w 373730"/>
                  <a:gd name="connsiteY1" fmla="*/ 603776 h 1224928"/>
                  <a:gd name="connsiteX2" fmla="*/ 28673 w 373730"/>
                  <a:gd name="connsiteY2" fmla="*/ 681414 h 1224928"/>
                  <a:gd name="connsiteX3" fmla="*/ 37300 w 373730"/>
                  <a:gd name="connsiteY3" fmla="*/ 707293 h 1224928"/>
                  <a:gd name="connsiteX4" fmla="*/ 63179 w 373730"/>
                  <a:gd name="connsiteY4" fmla="*/ 724546 h 1224928"/>
                  <a:gd name="connsiteX5" fmla="*/ 114937 w 373730"/>
                  <a:gd name="connsiteY5" fmla="*/ 776305 h 1224928"/>
                  <a:gd name="connsiteX6" fmla="*/ 132190 w 373730"/>
                  <a:gd name="connsiteY6" fmla="*/ 802184 h 1224928"/>
                  <a:gd name="connsiteX7" fmla="*/ 166696 w 373730"/>
                  <a:gd name="connsiteY7" fmla="*/ 879822 h 1224928"/>
                  <a:gd name="connsiteX8" fmla="*/ 175322 w 373730"/>
                  <a:gd name="connsiteY8" fmla="*/ 905701 h 1224928"/>
                  <a:gd name="connsiteX9" fmla="*/ 192575 w 373730"/>
                  <a:gd name="connsiteY9" fmla="*/ 931580 h 1224928"/>
                  <a:gd name="connsiteX10" fmla="*/ 201201 w 373730"/>
                  <a:gd name="connsiteY10" fmla="*/ 966086 h 1224928"/>
                  <a:gd name="connsiteX11" fmla="*/ 235707 w 373730"/>
                  <a:gd name="connsiteY11" fmla="*/ 1017844 h 1224928"/>
                  <a:gd name="connsiteX12" fmla="*/ 252960 w 373730"/>
                  <a:gd name="connsiteY12" fmla="*/ 1043724 h 1224928"/>
                  <a:gd name="connsiteX13" fmla="*/ 270213 w 373730"/>
                  <a:gd name="connsiteY13" fmla="*/ 1069603 h 1224928"/>
                  <a:gd name="connsiteX14" fmla="*/ 313345 w 373730"/>
                  <a:gd name="connsiteY14" fmla="*/ 1121361 h 1224928"/>
                  <a:gd name="connsiteX15" fmla="*/ 339224 w 373730"/>
                  <a:gd name="connsiteY15" fmla="*/ 1173120 h 1224928"/>
                  <a:gd name="connsiteX16" fmla="*/ 347851 w 373730"/>
                  <a:gd name="connsiteY16" fmla="*/ 1198999 h 1224928"/>
                  <a:gd name="connsiteX17" fmla="*/ 373730 w 373730"/>
                  <a:gd name="connsiteY17" fmla="*/ 1224878 h 1224928"/>
                  <a:gd name="connsiteX0" fmla="*/ 307244 w 365438"/>
                  <a:gd name="connsiteY0" fmla="*/ 0 h 1224928"/>
                  <a:gd name="connsiteX1" fmla="*/ 194631 w 365438"/>
                  <a:gd name="connsiteY1" fmla="*/ 306852 h 1224928"/>
                  <a:gd name="connsiteX2" fmla="*/ 11755 w 365438"/>
                  <a:gd name="connsiteY2" fmla="*/ 603776 h 1224928"/>
                  <a:gd name="connsiteX3" fmla="*/ 20381 w 365438"/>
                  <a:gd name="connsiteY3" fmla="*/ 681414 h 1224928"/>
                  <a:gd name="connsiteX4" fmla="*/ 29008 w 365438"/>
                  <a:gd name="connsiteY4" fmla="*/ 707293 h 1224928"/>
                  <a:gd name="connsiteX5" fmla="*/ 54887 w 365438"/>
                  <a:gd name="connsiteY5" fmla="*/ 724546 h 1224928"/>
                  <a:gd name="connsiteX6" fmla="*/ 106645 w 365438"/>
                  <a:gd name="connsiteY6" fmla="*/ 776305 h 1224928"/>
                  <a:gd name="connsiteX7" fmla="*/ 123898 w 365438"/>
                  <a:gd name="connsiteY7" fmla="*/ 802184 h 1224928"/>
                  <a:gd name="connsiteX8" fmla="*/ 158404 w 365438"/>
                  <a:gd name="connsiteY8" fmla="*/ 879822 h 1224928"/>
                  <a:gd name="connsiteX9" fmla="*/ 167030 w 365438"/>
                  <a:gd name="connsiteY9" fmla="*/ 905701 h 1224928"/>
                  <a:gd name="connsiteX10" fmla="*/ 184283 w 365438"/>
                  <a:gd name="connsiteY10" fmla="*/ 931580 h 1224928"/>
                  <a:gd name="connsiteX11" fmla="*/ 192909 w 365438"/>
                  <a:gd name="connsiteY11" fmla="*/ 966086 h 1224928"/>
                  <a:gd name="connsiteX12" fmla="*/ 227415 w 365438"/>
                  <a:gd name="connsiteY12" fmla="*/ 1017844 h 1224928"/>
                  <a:gd name="connsiteX13" fmla="*/ 244668 w 365438"/>
                  <a:gd name="connsiteY13" fmla="*/ 1043724 h 1224928"/>
                  <a:gd name="connsiteX14" fmla="*/ 261921 w 365438"/>
                  <a:gd name="connsiteY14" fmla="*/ 1069603 h 1224928"/>
                  <a:gd name="connsiteX15" fmla="*/ 305053 w 365438"/>
                  <a:gd name="connsiteY15" fmla="*/ 1121361 h 1224928"/>
                  <a:gd name="connsiteX16" fmla="*/ 330932 w 365438"/>
                  <a:gd name="connsiteY16" fmla="*/ 1173120 h 1224928"/>
                  <a:gd name="connsiteX17" fmla="*/ 339559 w 365438"/>
                  <a:gd name="connsiteY17" fmla="*/ 1198999 h 1224928"/>
                  <a:gd name="connsiteX18" fmla="*/ 365438 w 365438"/>
                  <a:gd name="connsiteY18" fmla="*/ 1224878 h 12249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65438" h="1224928">
                    <a:moveTo>
                      <a:pt x="307244" y="0"/>
                    </a:moveTo>
                    <a:cubicBezTo>
                      <a:pt x="260892" y="91623"/>
                      <a:pt x="243879" y="206223"/>
                      <a:pt x="194631" y="306852"/>
                    </a:cubicBezTo>
                    <a:cubicBezTo>
                      <a:pt x="145383" y="407481"/>
                      <a:pt x="40797" y="541349"/>
                      <a:pt x="11755" y="603776"/>
                    </a:cubicBezTo>
                    <a:cubicBezTo>
                      <a:pt x="-17287" y="666203"/>
                      <a:pt x="16100" y="655730"/>
                      <a:pt x="20381" y="681414"/>
                    </a:cubicBezTo>
                    <a:cubicBezTo>
                      <a:pt x="21876" y="690383"/>
                      <a:pt x="23328" y="700193"/>
                      <a:pt x="29008" y="707293"/>
                    </a:cubicBezTo>
                    <a:cubicBezTo>
                      <a:pt x="35485" y="715389"/>
                      <a:pt x="47138" y="717658"/>
                      <a:pt x="54887" y="724546"/>
                    </a:cubicBezTo>
                    <a:cubicBezTo>
                      <a:pt x="73123" y="740756"/>
                      <a:pt x="93111" y="756004"/>
                      <a:pt x="106645" y="776305"/>
                    </a:cubicBezTo>
                    <a:cubicBezTo>
                      <a:pt x="112396" y="784931"/>
                      <a:pt x="119687" y="792710"/>
                      <a:pt x="123898" y="802184"/>
                    </a:cubicBezTo>
                    <a:cubicBezTo>
                      <a:pt x="164963" y="894578"/>
                      <a:pt x="119357" y="821251"/>
                      <a:pt x="158404" y="879822"/>
                    </a:cubicBezTo>
                    <a:cubicBezTo>
                      <a:pt x="161279" y="888448"/>
                      <a:pt x="162964" y="897568"/>
                      <a:pt x="167030" y="905701"/>
                    </a:cubicBezTo>
                    <a:cubicBezTo>
                      <a:pt x="171667" y="914974"/>
                      <a:pt x="180199" y="922051"/>
                      <a:pt x="184283" y="931580"/>
                    </a:cubicBezTo>
                    <a:cubicBezTo>
                      <a:pt x="188953" y="942477"/>
                      <a:pt x="187607" y="955482"/>
                      <a:pt x="192909" y="966086"/>
                    </a:cubicBezTo>
                    <a:cubicBezTo>
                      <a:pt x="202182" y="984632"/>
                      <a:pt x="215913" y="1000591"/>
                      <a:pt x="227415" y="1017844"/>
                    </a:cubicBezTo>
                    <a:lnTo>
                      <a:pt x="244668" y="1043724"/>
                    </a:lnTo>
                    <a:cubicBezTo>
                      <a:pt x="250419" y="1052350"/>
                      <a:pt x="254590" y="1062272"/>
                      <a:pt x="261921" y="1069603"/>
                    </a:cubicBezTo>
                    <a:cubicBezTo>
                      <a:pt x="295131" y="1102813"/>
                      <a:pt x="281033" y="1085331"/>
                      <a:pt x="305053" y="1121361"/>
                    </a:cubicBezTo>
                    <a:cubicBezTo>
                      <a:pt x="326731" y="1186402"/>
                      <a:pt x="297491" y="1106240"/>
                      <a:pt x="330932" y="1173120"/>
                    </a:cubicBezTo>
                    <a:cubicBezTo>
                      <a:pt x="334999" y="1181253"/>
                      <a:pt x="335492" y="1190866"/>
                      <a:pt x="339559" y="1198999"/>
                    </a:cubicBezTo>
                    <a:cubicBezTo>
                      <a:pt x="353695" y="1227271"/>
                      <a:pt x="347750" y="1224878"/>
                      <a:pt x="365438" y="1224878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36" name="Forma livre 456"/>
              <p:cNvSpPr/>
              <p:nvPr/>
            </p:nvSpPr>
            <p:spPr bwMode="auto">
              <a:xfrm>
                <a:off x="2971800" y="5969000"/>
                <a:ext cx="914400" cy="120650"/>
              </a:xfrm>
              <a:custGeom>
                <a:avLst/>
                <a:gdLst>
                  <a:gd name="connsiteX0" fmla="*/ 0 w 914400"/>
                  <a:gd name="connsiteY0" fmla="*/ 0 h 120770"/>
                  <a:gd name="connsiteX1" fmla="*/ 43132 w 914400"/>
                  <a:gd name="connsiteY1" fmla="*/ 8627 h 120770"/>
                  <a:gd name="connsiteX2" fmla="*/ 94891 w 914400"/>
                  <a:gd name="connsiteY2" fmla="*/ 43132 h 120770"/>
                  <a:gd name="connsiteX3" fmla="*/ 120770 w 914400"/>
                  <a:gd name="connsiteY3" fmla="*/ 60385 h 120770"/>
                  <a:gd name="connsiteX4" fmla="*/ 301924 w 914400"/>
                  <a:gd name="connsiteY4" fmla="*/ 86264 h 120770"/>
                  <a:gd name="connsiteX5" fmla="*/ 362309 w 914400"/>
                  <a:gd name="connsiteY5" fmla="*/ 103517 h 120770"/>
                  <a:gd name="connsiteX6" fmla="*/ 388189 w 914400"/>
                  <a:gd name="connsiteY6" fmla="*/ 112144 h 120770"/>
                  <a:gd name="connsiteX7" fmla="*/ 439947 w 914400"/>
                  <a:gd name="connsiteY7" fmla="*/ 120770 h 120770"/>
                  <a:gd name="connsiteX8" fmla="*/ 586596 w 914400"/>
                  <a:gd name="connsiteY8" fmla="*/ 112144 h 120770"/>
                  <a:gd name="connsiteX9" fmla="*/ 638355 w 914400"/>
                  <a:gd name="connsiteY9" fmla="*/ 94891 h 120770"/>
                  <a:gd name="connsiteX10" fmla="*/ 690113 w 914400"/>
                  <a:gd name="connsiteY10" fmla="*/ 69012 h 120770"/>
                  <a:gd name="connsiteX11" fmla="*/ 715992 w 914400"/>
                  <a:gd name="connsiteY11" fmla="*/ 51759 h 120770"/>
                  <a:gd name="connsiteX12" fmla="*/ 914400 w 914400"/>
                  <a:gd name="connsiteY12" fmla="*/ 43132 h 1207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14400" h="120770">
                    <a:moveTo>
                      <a:pt x="0" y="0"/>
                    </a:moveTo>
                    <a:cubicBezTo>
                      <a:pt x="14377" y="2876"/>
                      <a:pt x="29784" y="2560"/>
                      <a:pt x="43132" y="8627"/>
                    </a:cubicBezTo>
                    <a:cubicBezTo>
                      <a:pt x="62009" y="17207"/>
                      <a:pt x="77638" y="31630"/>
                      <a:pt x="94891" y="43132"/>
                    </a:cubicBezTo>
                    <a:cubicBezTo>
                      <a:pt x="103517" y="48883"/>
                      <a:pt x="110934" y="57106"/>
                      <a:pt x="120770" y="60385"/>
                    </a:cubicBezTo>
                    <a:cubicBezTo>
                      <a:pt x="213537" y="91308"/>
                      <a:pt x="154382" y="76428"/>
                      <a:pt x="301924" y="86264"/>
                    </a:cubicBezTo>
                    <a:cubicBezTo>
                      <a:pt x="363976" y="106949"/>
                      <a:pt x="286485" y="81853"/>
                      <a:pt x="362309" y="103517"/>
                    </a:cubicBezTo>
                    <a:cubicBezTo>
                      <a:pt x="371052" y="106015"/>
                      <a:pt x="379312" y="110171"/>
                      <a:pt x="388189" y="112144"/>
                    </a:cubicBezTo>
                    <a:cubicBezTo>
                      <a:pt x="405263" y="115938"/>
                      <a:pt x="422694" y="117895"/>
                      <a:pt x="439947" y="120770"/>
                    </a:cubicBezTo>
                    <a:cubicBezTo>
                      <a:pt x="488830" y="117895"/>
                      <a:pt x="538040" y="118477"/>
                      <a:pt x="586596" y="112144"/>
                    </a:cubicBezTo>
                    <a:cubicBezTo>
                      <a:pt x="604630" y="109792"/>
                      <a:pt x="638355" y="94891"/>
                      <a:pt x="638355" y="94891"/>
                    </a:cubicBezTo>
                    <a:cubicBezTo>
                      <a:pt x="712521" y="45446"/>
                      <a:pt x="618684" y="104727"/>
                      <a:pt x="690113" y="69012"/>
                    </a:cubicBezTo>
                    <a:cubicBezTo>
                      <a:pt x="699386" y="64375"/>
                      <a:pt x="706285" y="55399"/>
                      <a:pt x="715992" y="51759"/>
                    </a:cubicBezTo>
                    <a:cubicBezTo>
                      <a:pt x="766066" y="32981"/>
                      <a:pt x="899120" y="43132"/>
                      <a:pt x="914400" y="43132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37" name="Forma livre 457"/>
              <p:cNvSpPr/>
              <p:nvPr/>
            </p:nvSpPr>
            <p:spPr bwMode="auto">
              <a:xfrm>
                <a:off x="3333141" y="5632450"/>
                <a:ext cx="478448" cy="766763"/>
              </a:xfrm>
              <a:custGeom>
                <a:avLst/>
                <a:gdLst>
                  <a:gd name="connsiteX0" fmla="*/ 0 w 724619"/>
                  <a:gd name="connsiteY0" fmla="*/ 353683 h 353683"/>
                  <a:gd name="connsiteX1" fmla="*/ 120770 w 724619"/>
                  <a:gd name="connsiteY1" fmla="*/ 345057 h 353683"/>
                  <a:gd name="connsiteX2" fmla="*/ 172528 w 724619"/>
                  <a:gd name="connsiteY2" fmla="*/ 327804 h 353683"/>
                  <a:gd name="connsiteX3" fmla="*/ 207034 w 724619"/>
                  <a:gd name="connsiteY3" fmla="*/ 301925 h 353683"/>
                  <a:gd name="connsiteX4" fmla="*/ 232913 w 724619"/>
                  <a:gd name="connsiteY4" fmla="*/ 284672 h 353683"/>
                  <a:gd name="connsiteX5" fmla="*/ 250166 w 724619"/>
                  <a:gd name="connsiteY5" fmla="*/ 258793 h 353683"/>
                  <a:gd name="connsiteX6" fmla="*/ 301925 w 724619"/>
                  <a:gd name="connsiteY6" fmla="*/ 241540 h 353683"/>
                  <a:gd name="connsiteX7" fmla="*/ 353683 w 724619"/>
                  <a:gd name="connsiteY7" fmla="*/ 215660 h 353683"/>
                  <a:gd name="connsiteX8" fmla="*/ 379562 w 724619"/>
                  <a:gd name="connsiteY8" fmla="*/ 198408 h 353683"/>
                  <a:gd name="connsiteX9" fmla="*/ 431321 w 724619"/>
                  <a:gd name="connsiteY9" fmla="*/ 181155 h 353683"/>
                  <a:gd name="connsiteX10" fmla="*/ 465827 w 724619"/>
                  <a:gd name="connsiteY10" fmla="*/ 163902 h 353683"/>
                  <a:gd name="connsiteX11" fmla="*/ 491706 w 724619"/>
                  <a:gd name="connsiteY11" fmla="*/ 146649 h 353683"/>
                  <a:gd name="connsiteX12" fmla="*/ 569344 w 724619"/>
                  <a:gd name="connsiteY12" fmla="*/ 120770 h 353683"/>
                  <a:gd name="connsiteX13" fmla="*/ 595223 w 724619"/>
                  <a:gd name="connsiteY13" fmla="*/ 112143 h 353683"/>
                  <a:gd name="connsiteX14" fmla="*/ 646981 w 724619"/>
                  <a:gd name="connsiteY14" fmla="*/ 77638 h 353683"/>
                  <a:gd name="connsiteX15" fmla="*/ 672861 w 724619"/>
                  <a:gd name="connsiteY15" fmla="*/ 60385 h 353683"/>
                  <a:gd name="connsiteX16" fmla="*/ 698740 w 724619"/>
                  <a:gd name="connsiteY16" fmla="*/ 51759 h 353683"/>
                  <a:gd name="connsiteX17" fmla="*/ 707366 w 724619"/>
                  <a:gd name="connsiteY17" fmla="*/ 25879 h 353683"/>
                  <a:gd name="connsiteX18" fmla="*/ 724619 w 724619"/>
                  <a:gd name="connsiteY18" fmla="*/ 0 h 353683"/>
                  <a:gd name="connsiteX0" fmla="*/ 729828 w 731685"/>
                  <a:gd name="connsiteY0" fmla="*/ 766048 h 766048"/>
                  <a:gd name="connsiteX1" fmla="*/ 36991 w 731685"/>
                  <a:gd name="connsiteY1" fmla="*/ 345057 h 766048"/>
                  <a:gd name="connsiteX2" fmla="*/ 88749 w 731685"/>
                  <a:gd name="connsiteY2" fmla="*/ 327804 h 766048"/>
                  <a:gd name="connsiteX3" fmla="*/ 123255 w 731685"/>
                  <a:gd name="connsiteY3" fmla="*/ 301925 h 766048"/>
                  <a:gd name="connsiteX4" fmla="*/ 149134 w 731685"/>
                  <a:gd name="connsiteY4" fmla="*/ 284672 h 766048"/>
                  <a:gd name="connsiteX5" fmla="*/ 166387 w 731685"/>
                  <a:gd name="connsiteY5" fmla="*/ 258793 h 766048"/>
                  <a:gd name="connsiteX6" fmla="*/ 218146 w 731685"/>
                  <a:gd name="connsiteY6" fmla="*/ 241540 h 766048"/>
                  <a:gd name="connsiteX7" fmla="*/ 269904 w 731685"/>
                  <a:gd name="connsiteY7" fmla="*/ 215660 h 766048"/>
                  <a:gd name="connsiteX8" fmla="*/ 295783 w 731685"/>
                  <a:gd name="connsiteY8" fmla="*/ 198408 h 766048"/>
                  <a:gd name="connsiteX9" fmla="*/ 347542 w 731685"/>
                  <a:gd name="connsiteY9" fmla="*/ 181155 h 766048"/>
                  <a:gd name="connsiteX10" fmla="*/ 382048 w 731685"/>
                  <a:gd name="connsiteY10" fmla="*/ 163902 h 766048"/>
                  <a:gd name="connsiteX11" fmla="*/ 407927 w 731685"/>
                  <a:gd name="connsiteY11" fmla="*/ 146649 h 766048"/>
                  <a:gd name="connsiteX12" fmla="*/ 485565 w 731685"/>
                  <a:gd name="connsiteY12" fmla="*/ 120770 h 766048"/>
                  <a:gd name="connsiteX13" fmla="*/ 511444 w 731685"/>
                  <a:gd name="connsiteY13" fmla="*/ 112143 h 766048"/>
                  <a:gd name="connsiteX14" fmla="*/ 563202 w 731685"/>
                  <a:gd name="connsiteY14" fmla="*/ 77638 h 766048"/>
                  <a:gd name="connsiteX15" fmla="*/ 589082 w 731685"/>
                  <a:gd name="connsiteY15" fmla="*/ 60385 h 766048"/>
                  <a:gd name="connsiteX16" fmla="*/ 614961 w 731685"/>
                  <a:gd name="connsiteY16" fmla="*/ 51759 h 766048"/>
                  <a:gd name="connsiteX17" fmla="*/ 623587 w 731685"/>
                  <a:gd name="connsiteY17" fmla="*/ 25879 h 766048"/>
                  <a:gd name="connsiteX18" fmla="*/ 640840 w 731685"/>
                  <a:gd name="connsiteY18" fmla="*/ 0 h 766048"/>
                  <a:gd name="connsiteX0" fmla="*/ 680496 w 680496"/>
                  <a:gd name="connsiteY0" fmla="*/ 766048 h 766048"/>
                  <a:gd name="connsiteX1" fmla="*/ 39417 w 680496"/>
                  <a:gd name="connsiteY1" fmla="*/ 327804 h 766048"/>
                  <a:gd name="connsiteX2" fmla="*/ 73923 w 680496"/>
                  <a:gd name="connsiteY2" fmla="*/ 301925 h 766048"/>
                  <a:gd name="connsiteX3" fmla="*/ 99802 w 680496"/>
                  <a:gd name="connsiteY3" fmla="*/ 284672 h 766048"/>
                  <a:gd name="connsiteX4" fmla="*/ 117055 w 680496"/>
                  <a:gd name="connsiteY4" fmla="*/ 258793 h 766048"/>
                  <a:gd name="connsiteX5" fmla="*/ 168814 w 680496"/>
                  <a:gd name="connsiteY5" fmla="*/ 241540 h 766048"/>
                  <a:gd name="connsiteX6" fmla="*/ 220572 w 680496"/>
                  <a:gd name="connsiteY6" fmla="*/ 215660 h 766048"/>
                  <a:gd name="connsiteX7" fmla="*/ 246451 w 680496"/>
                  <a:gd name="connsiteY7" fmla="*/ 198408 h 766048"/>
                  <a:gd name="connsiteX8" fmla="*/ 298210 w 680496"/>
                  <a:gd name="connsiteY8" fmla="*/ 181155 h 766048"/>
                  <a:gd name="connsiteX9" fmla="*/ 332716 w 680496"/>
                  <a:gd name="connsiteY9" fmla="*/ 163902 h 766048"/>
                  <a:gd name="connsiteX10" fmla="*/ 358595 w 680496"/>
                  <a:gd name="connsiteY10" fmla="*/ 146649 h 766048"/>
                  <a:gd name="connsiteX11" fmla="*/ 436233 w 680496"/>
                  <a:gd name="connsiteY11" fmla="*/ 120770 h 766048"/>
                  <a:gd name="connsiteX12" fmla="*/ 462112 w 680496"/>
                  <a:gd name="connsiteY12" fmla="*/ 112143 h 766048"/>
                  <a:gd name="connsiteX13" fmla="*/ 513870 w 680496"/>
                  <a:gd name="connsiteY13" fmla="*/ 77638 h 766048"/>
                  <a:gd name="connsiteX14" fmla="*/ 539750 w 680496"/>
                  <a:gd name="connsiteY14" fmla="*/ 60385 h 766048"/>
                  <a:gd name="connsiteX15" fmla="*/ 565629 w 680496"/>
                  <a:gd name="connsiteY15" fmla="*/ 51759 h 766048"/>
                  <a:gd name="connsiteX16" fmla="*/ 574255 w 680496"/>
                  <a:gd name="connsiteY16" fmla="*/ 25879 h 766048"/>
                  <a:gd name="connsiteX17" fmla="*/ 591508 w 680496"/>
                  <a:gd name="connsiteY17" fmla="*/ 0 h 766048"/>
                  <a:gd name="connsiteX0" fmla="*/ 645068 w 645068"/>
                  <a:gd name="connsiteY0" fmla="*/ 766048 h 766048"/>
                  <a:gd name="connsiteX1" fmla="*/ 38495 w 645068"/>
                  <a:gd name="connsiteY1" fmla="*/ 301925 h 766048"/>
                  <a:gd name="connsiteX2" fmla="*/ 64374 w 645068"/>
                  <a:gd name="connsiteY2" fmla="*/ 284672 h 766048"/>
                  <a:gd name="connsiteX3" fmla="*/ 81627 w 645068"/>
                  <a:gd name="connsiteY3" fmla="*/ 258793 h 766048"/>
                  <a:gd name="connsiteX4" fmla="*/ 133386 w 645068"/>
                  <a:gd name="connsiteY4" fmla="*/ 241540 h 766048"/>
                  <a:gd name="connsiteX5" fmla="*/ 185144 w 645068"/>
                  <a:gd name="connsiteY5" fmla="*/ 215660 h 766048"/>
                  <a:gd name="connsiteX6" fmla="*/ 211023 w 645068"/>
                  <a:gd name="connsiteY6" fmla="*/ 198408 h 766048"/>
                  <a:gd name="connsiteX7" fmla="*/ 262782 w 645068"/>
                  <a:gd name="connsiteY7" fmla="*/ 181155 h 766048"/>
                  <a:gd name="connsiteX8" fmla="*/ 297288 w 645068"/>
                  <a:gd name="connsiteY8" fmla="*/ 163902 h 766048"/>
                  <a:gd name="connsiteX9" fmla="*/ 323167 w 645068"/>
                  <a:gd name="connsiteY9" fmla="*/ 146649 h 766048"/>
                  <a:gd name="connsiteX10" fmla="*/ 400805 w 645068"/>
                  <a:gd name="connsiteY10" fmla="*/ 120770 h 766048"/>
                  <a:gd name="connsiteX11" fmla="*/ 426684 w 645068"/>
                  <a:gd name="connsiteY11" fmla="*/ 112143 h 766048"/>
                  <a:gd name="connsiteX12" fmla="*/ 478442 w 645068"/>
                  <a:gd name="connsiteY12" fmla="*/ 77638 h 766048"/>
                  <a:gd name="connsiteX13" fmla="*/ 504322 w 645068"/>
                  <a:gd name="connsiteY13" fmla="*/ 60385 h 766048"/>
                  <a:gd name="connsiteX14" fmla="*/ 530201 w 645068"/>
                  <a:gd name="connsiteY14" fmla="*/ 51759 h 766048"/>
                  <a:gd name="connsiteX15" fmla="*/ 538827 w 645068"/>
                  <a:gd name="connsiteY15" fmla="*/ 25879 h 766048"/>
                  <a:gd name="connsiteX16" fmla="*/ 556080 w 645068"/>
                  <a:gd name="connsiteY16" fmla="*/ 0 h 766048"/>
                  <a:gd name="connsiteX0" fmla="*/ 580694 w 580694"/>
                  <a:gd name="connsiteY0" fmla="*/ 766048 h 766048"/>
                  <a:gd name="connsiteX1" fmla="*/ 0 w 580694"/>
                  <a:gd name="connsiteY1" fmla="*/ 284672 h 766048"/>
                  <a:gd name="connsiteX2" fmla="*/ 17253 w 580694"/>
                  <a:gd name="connsiteY2" fmla="*/ 258793 h 766048"/>
                  <a:gd name="connsiteX3" fmla="*/ 69012 w 580694"/>
                  <a:gd name="connsiteY3" fmla="*/ 241540 h 766048"/>
                  <a:gd name="connsiteX4" fmla="*/ 120770 w 580694"/>
                  <a:gd name="connsiteY4" fmla="*/ 215660 h 766048"/>
                  <a:gd name="connsiteX5" fmla="*/ 146649 w 580694"/>
                  <a:gd name="connsiteY5" fmla="*/ 198408 h 766048"/>
                  <a:gd name="connsiteX6" fmla="*/ 198408 w 580694"/>
                  <a:gd name="connsiteY6" fmla="*/ 181155 h 766048"/>
                  <a:gd name="connsiteX7" fmla="*/ 232914 w 580694"/>
                  <a:gd name="connsiteY7" fmla="*/ 163902 h 766048"/>
                  <a:gd name="connsiteX8" fmla="*/ 258793 w 580694"/>
                  <a:gd name="connsiteY8" fmla="*/ 146649 h 766048"/>
                  <a:gd name="connsiteX9" fmla="*/ 336431 w 580694"/>
                  <a:gd name="connsiteY9" fmla="*/ 120770 h 766048"/>
                  <a:gd name="connsiteX10" fmla="*/ 362310 w 580694"/>
                  <a:gd name="connsiteY10" fmla="*/ 112143 h 766048"/>
                  <a:gd name="connsiteX11" fmla="*/ 414068 w 580694"/>
                  <a:gd name="connsiteY11" fmla="*/ 77638 h 766048"/>
                  <a:gd name="connsiteX12" fmla="*/ 439948 w 580694"/>
                  <a:gd name="connsiteY12" fmla="*/ 60385 h 766048"/>
                  <a:gd name="connsiteX13" fmla="*/ 465827 w 580694"/>
                  <a:gd name="connsiteY13" fmla="*/ 51759 h 766048"/>
                  <a:gd name="connsiteX14" fmla="*/ 474453 w 580694"/>
                  <a:gd name="connsiteY14" fmla="*/ 25879 h 766048"/>
                  <a:gd name="connsiteX15" fmla="*/ 491706 w 580694"/>
                  <a:gd name="connsiteY15" fmla="*/ 0 h 766048"/>
                  <a:gd name="connsiteX0" fmla="*/ 591396 w 591396"/>
                  <a:gd name="connsiteY0" fmla="*/ 766048 h 766048"/>
                  <a:gd name="connsiteX1" fmla="*/ 27955 w 591396"/>
                  <a:gd name="connsiteY1" fmla="*/ 258793 h 766048"/>
                  <a:gd name="connsiteX2" fmla="*/ 79714 w 591396"/>
                  <a:gd name="connsiteY2" fmla="*/ 241540 h 766048"/>
                  <a:gd name="connsiteX3" fmla="*/ 131472 w 591396"/>
                  <a:gd name="connsiteY3" fmla="*/ 215660 h 766048"/>
                  <a:gd name="connsiteX4" fmla="*/ 157351 w 591396"/>
                  <a:gd name="connsiteY4" fmla="*/ 198408 h 766048"/>
                  <a:gd name="connsiteX5" fmla="*/ 209110 w 591396"/>
                  <a:gd name="connsiteY5" fmla="*/ 181155 h 766048"/>
                  <a:gd name="connsiteX6" fmla="*/ 243616 w 591396"/>
                  <a:gd name="connsiteY6" fmla="*/ 163902 h 766048"/>
                  <a:gd name="connsiteX7" fmla="*/ 269495 w 591396"/>
                  <a:gd name="connsiteY7" fmla="*/ 146649 h 766048"/>
                  <a:gd name="connsiteX8" fmla="*/ 347133 w 591396"/>
                  <a:gd name="connsiteY8" fmla="*/ 120770 h 766048"/>
                  <a:gd name="connsiteX9" fmla="*/ 373012 w 591396"/>
                  <a:gd name="connsiteY9" fmla="*/ 112143 h 766048"/>
                  <a:gd name="connsiteX10" fmla="*/ 424770 w 591396"/>
                  <a:gd name="connsiteY10" fmla="*/ 77638 h 766048"/>
                  <a:gd name="connsiteX11" fmla="*/ 450650 w 591396"/>
                  <a:gd name="connsiteY11" fmla="*/ 60385 h 766048"/>
                  <a:gd name="connsiteX12" fmla="*/ 476529 w 591396"/>
                  <a:gd name="connsiteY12" fmla="*/ 51759 h 766048"/>
                  <a:gd name="connsiteX13" fmla="*/ 485155 w 591396"/>
                  <a:gd name="connsiteY13" fmla="*/ 25879 h 766048"/>
                  <a:gd name="connsiteX14" fmla="*/ 502408 w 591396"/>
                  <a:gd name="connsiteY14" fmla="*/ 0 h 766048"/>
                  <a:gd name="connsiteX0" fmla="*/ 548209 w 548209"/>
                  <a:gd name="connsiteY0" fmla="*/ 766048 h 766048"/>
                  <a:gd name="connsiteX1" fmla="*/ 36527 w 548209"/>
                  <a:gd name="connsiteY1" fmla="*/ 241540 h 766048"/>
                  <a:gd name="connsiteX2" fmla="*/ 88285 w 548209"/>
                  <a:gd name="connsiteY2" fmla="*/ 215660 h 766048"/>
                  <a:gd name="connsiteX3" fmla="*/ 114164 w 548209"/>
                  <a:gd name="connsiteY3" fmla="*/ 198408 h 766048"/>
                  <a:gd name="connsiteX4" fmla="*/ 165923 w 548209"/>
                  <a:gd name="connsiteY4" fmla="*/ 181155 h 766048"/>
                  <a:gd name="connsiteX5" fmla="*/ 200429 w 548209"/>
                  <a:gd name="connsiteY5" fmla="*/ 163902 h 766048"/>
                  <a:gd name="connsiteX6" fmla="*/ 226308 w 548209"/>
                  <a:gd name="connsiteY6" fmla="*/ 146649 h 766048"/>
                  <a:gd name="connsiteX7" fmla="*/ 303946 w 548209"/>
                  <a:gd name="connsiteY7" fmla="*/ 120770 h 766048"/>
                  <a:gd name="connsiteX8" fmla="*/ 329825 w 548209"/>
                  <a:gd name="connsiteY8" fmla="*/ 112143 h 766048"/>
                  <a:gd name="connsiteX9" fmla="*/ 381583 w 548209"/>
                  <a:gd name="connsiteY9" fmla="*/ 77638 h 766048"/>
                  <a:gd name="connsiteX10" fmla="*/ 407463 w 548209"/>
                  <a:gd name="connsiteY10" fmla="*/ 60385 h 766048"/>
                  <a:gd name="connsiteX11" fmla="*/ 433342 w 548209"/>
                  <a:gd name="connsiteY11" fmla="*/ 51759 h 766048"/>
                  <a:gd name="connsiteX12" fmla="*/ 441968 w 548209"/>
                  <a:gd name="connsiteY12" fmla="*/ 25879 h 766048"/>
                  <a:gd name="connsiteX13" fmla="*/ 459221 w 548209"/>
                  <a:gd name="connsiteY13" fmla="*/ 0 h 766048"/>
                  <a:gd name="connsiteX0" fmla="*/ 488087 w 488087"/>
                  <a:gd name="connsiteY0" fmla="*/ 766048 h 766048"/>
                  <a:gd name="connsiteX1" fmla="*/ 28163 w 488087"/>
                  <a:gd name="connsiteY1" fmla="*/ 215660 h 766048"/>
                  <a:gd name="connsiteX2" fmla="*/ 54042 w 488087"/>
                  <a:gd name="connsiteY2" fmla="*/ 198408 h 766048"/>
                  <a:gd name="connsiteX3" fmla="*/ 105801 w 488087"/>
                  <a:gd name="connsiteY3" fmla="*/ 181155 h 766048"/>
                  <a:gd name="connsiteX4" fmla="*/ 140307 w 488087"/>
                  <a:gd name="connsiteY4" fmla="*/ 163902 h 766048"/>
                  <a:gd name="connsiteX5" fmla="*/ 166186 w 488087"/>
                  <a:gd name="connsiteY5" fmla="*/ 146649 h 766048"/>
                  <a:gd name="connsiteX6" fmla="*/ 243824 w 488087"/>
                  <a:gd name="connsiteY6" fmla="*/ 120770 h 766048"/>
                  <a:gd name="connsiteX7" fmla="*/ 269703 w 488087"/>
                  <a:gd name="connsiteY7" fmla="*/ 112143 h 766048"/>
                  <a:gd name="connsiteX8" fmla="*/ 321461 w 488087"/>
                  <a:gd name="connsiteY8" fmla="*/ 77638 h 766048"/>
                  <a:gd name="connsiteX9" fmla="*/ 347341 w 488087"/>
                  <a:gd name="connsiteY9" fmla="*/ 60385 h 766048"/>
                  <a:gd name="connsiteX10" fmla="*/ 373220 w 488087"/>
                  <a:gd name="connsiteY10" fmla="*/ 51759 h 766048"/>
                  <a:gd name="connsiteX11" fmla="*/ 381846 w 488087"/>
                  <a:gd name="connsiteY11" fmla="*/ 25879 h 766048"/>
                  <a:gd name="connsiteX12" fmla="*/ 399099 w 488087"/>
                  <a:gd name="connsiteY12" fmla="*/ 0 h 766048"/>
                  <a:gd name="connsiteX0" fmla="*/ 483505 w 483505"/>
                  <a:gd name="connsiteY0" fmla="*/ 766048 h 766048"/>
                  <a:gd name="connsiteX1" fmla="*/ 29937 w 483505"/>
                  <a:gd name="connsiteY1" fmla="*/ 393294 h 766048"/>
                  <a:gd name="connsiteX2" fmla="*/ 49460 w 483505"/>
                  <a:gd name="connsiteY2" fmla="*/ 198408 h 766048"/>
                  <a:gd name="connsiteX3" fmla="*/ 101219 w 483505"/>
                  <a:gd name="connsiteY3" fmla="*/ 181155 h 766048"/>
                  <a:gd name="connsiteX4" fmla="*/ 135725 w 483505"/>
                  <a:gd name="connsiteY4" fmla="*/ 163902 h 766048"/>
                  <a:gd name="connsiteX5" fmla="*/ 161604 w 483505"/>
                  <a:gd name="connsiteY5" fmla="*/ 146649 h 766048"/>
                  <a:gd name="connsiteX6" fmla="*/ 239242 w 483505"/>
                  <a:gd name="connsiteY6" fmla="*/ 120770 h 766048"/>
                  <a:gd name="connsiteX7" fmla="*/ 265121 w 483505"/>
                  <a:gd name="connsiteY7" fmla="*/ 112143 h 766048"/>
                  <a:gd name="connsiteX8" fmla="*/ 316879 w 483505"/>
                  <a:gd name="connsiteY8" fmla="*/ 77638 h 766048"/>
                  <a:gd name="connsiteX9" fmla="*/ 342759 w 483505"/>
                  <a:gd name="connsiteY9" fmla="*/ 60385 h 766048"/>
                  <a:gd name="connsiteX10" fmla="*/ 368638 w 483505"/>
                  <a:gd name="connsiteY10" fmla="*/ 51759 h 766048"/>
                  <a:gd name="connsiteX11" fmla="*/ 377264 w 483505"/>
                  <a:gd name="connsiteY11" fmla="*/ 25879 h 766048"/>
                  <a:gd name="connsiteX12" fmla="*/ 394517 w 483505"/>
                  <a:gd name="connsiteY12" fmla="*/ 0 h 766048"/>
                  <a:gd name="connsiteX0" fmla="*/ 464704 w 464704"/>
                  <a:gd name="connsiteY0" fmla="*/ 766048 h 766048"/>
                  <a:gd name="connsiteX1" fmla="*/ 11136 w 464704"/>
                  <a:gd name="connsiteY1" fmla="*/ 393294 h 766048"/>
                  <a:gd name="connsiteX2" fmla="*/ 30659 w 464704"/>
                  <a:gd name="connsiteY2" fmla="*/ 198408 h 766048"/>
                  <a:gd name="connsiteX3" fmla="*/ 82418 w 464704"/>
                  <a:gd name="connsiteY3" fmla="*/ 181155 h 766048"/>
                  <a:gd name="connsiteX4" fmla="*/ 116924 w 464704"/>
                  <a:gd name="connsiteY4" fmla="*/ 163902 h 766048"/>
                  <a:gd name="connsiteX5" fmla="*/ 142803 w 464704"/>
                  <a:gd name="connsiteY5" fmla="*/ 146649 h 766048"/>
                  <a:gd name="connsiteX6" fmla="*/ 220441 w 464704"/>
                  <a:gd name="connsiteY6" fmla="*/ 120770 h 766048"/>
                  <a:gd name="connsiteX7" fmla="*/ 246320 w 464704"/>
                  <a:gd name="connsiteY7" fmla="*/ 112143 h 766048"/>
                  <a:gd name="connsiteX8" fmla="*/ 298078 w 464704"/>
                  <a:gd name="connsiteY8" fmla="*/ 77638 h 766048"/>
                  <a:gd name="connsiteX9" fmla="*/ 323958 w 464704"/>
                  <a:gd name="connsiteY9" fmla="*/ 60385 h 766048"/>
                  <a:gd name="connsiteX10" fmla="*/ 349837 w 464704"/>
                  <a:gd name="connsiteY10" fmla="*/ 51759 h 766048"/>
                  <a:gd name="connsiteX11" fmla="*/ 358463 w 464704"/>
                  <a:gd name="connsiteY11" fmla="*/ 25879 h 766048"/>
                  <a:gd name="connsiteX12" fmla="*/ 375716 w 464704"/>
                  <a:gd name="connsiteY12" fmla="*/ 0 h 766048"/>
                  <a:gd name="connsiteX0" fmla="*/ 476717 w 476717"/>
                  <a:gd name="connsiteY0" fmla="*/ 766048 h 766048"/>
                  <a:gd name="connsiteX1" fmla="*/ 23149 w 476717"/>
                  <a:gd name="connsiteY1" fmla="*/ 393294 h 766048"/>
                  <a:gd name="connsiteX2" fmla="*/ 42672 w 476717"/>
                  <a:gd name="connsiteY2" fmla="*/ 198408 h 766048"/>
                  <a:gd name="connsiteX3" fmla="*/ 94431 w 476717"/>
                  <a:gd name="connsiteY3" fmla="*/ 181155 h 766048"/>
                  <a:gd name="connsiteX4" fmla="*/ 128937 w 476717"/>
                  <a:gd name="connsiteY4" fmla="*/ 163902 h 766048"/>
                  <a:gd name="connsiteX5" fmla="*/ 154816 w 476717"/>
                  <a:gd name="connsiteY5" fmla="*/ 146649 h 766048"/>
                  <a:gd name="connsiteX6" fmla="*/ 232454 w 476717"/>
                  <a:gd name="connsiteY6" fmla="*/ 120770 h 766048"/>
                  <a:gd name="connsiteX7" fmla="*/ 258333 w 476717"/>
                  <a:gd name="connsiteY7" fmla="*/ 112143 h 766048"/>
                  <a:gd name="connsiteX8" fmla="*/ 310091 w 476717"/>
                  <a:gd name="connsiteY8" fmla="*/ 77638 h 766048"/>
                  <a:gd name="connsiteX9" fmla="*/ 335971 w 476717"/>
                  <a:gd name="connsiteY9" fmla="*/ 60385 h 766048"/>
                  <a:gd name="connsiteX10" fmla="*/ 361850 w 476717"/>
                  <a:gd name="connsiteY10" fmla="*/ 51759 h 766048"/>
                  <a:gd name="connsiteX11" fmla="*/ 370476 w 476717"/>
                  <a:gd name="connsiteY11" fmla="*/ 25879 h 766048"/>
                  <a:gd name="connsiteX12" fmla="*/ 387729 w 476717"/>
                  <a:gd name="connsiteY12" fmla="*/ 0 h 766048"/>
                  <a:gd name="connsiteX0" fmla="*/ 472352 w 472352"/>
                  <a:gd name="connsiteY0" fmla="*/ 766048 h 766048"/>
                  <a:gd name="connsiteX1" fmla="*/ 18784 w 472352"/>
                  <a:gd name="connsiteY1" fmla="*/ 393294 h 766048"/>
                  <a:gd name="connsiteX2" fmla="*/ 90066 w 472352"/>
                  <a:gd name="connsiteY2" fmla="*/ 181155 h 766048"/>
                  <a:gd name="connsiteX3" fmla="*/ 124572 w 472352"/>
                  <a:gd name="connsiteY3" fmla="*/ 163902 h 766048"/>
                  <a:gd name="connsiteX4" fmla="*/ 150451 w 472352"/>
                  <a:gd name="connsiteY4" fmla="*/ 146649 h 766048"/>
                  <a:gd name="connsiteX5" fmla="*/ 228089 w 472352"/>
                  <a:gd name="connsiteY5" fmla="*/ 120770 h 766048"/>
                  <a:gd name="connsiteX6" fmla="*/ 253968 w 472352"/>
                  <a:gd name="connsiteY6" fmla="*/ 112143 h 766048"/>
                  <a:gd name="connsiteX7" fmla="*/ 305726 w 472352"/>
                  <a:gd name="connsiteY7" fmla="*/ 77638 h 766048"/>
                  <a:gd name="connsiteX8" fmla="*/ 331606 w 472352"/>
                  <a:gd name="connsiteY8" fmla="*/ 60385 h 766048"/>
                  <a:gd name="connsiteX9" fmla="*/ 357485 w 472352"/>
                  <a:gd name="connsiteY9" fmla="*/ 51759 h 766048"/>
                  <a:gd name="connsiteX10" fmla="*/ 366111 w 472352"/>
                  <a:gd name="connsiteY10" fmla="*/ 25879 h 766048"/>
                  <a:gd name="connsiteX11" fmla="*/ 383364 w 472352"/>
                  <a:gd name="connsiteY11" fmla="*/ 0 h 766048"/>
                  <a:gd name="connsiteX0" fmla="*/ 467383 w 467383"/>
                  <a:gd name="connsiteY0" fmla="*/ 766048 h 766048"/>
                  <a:gd name="connsiteX1" fmla="*/ 13815 w 467383"/>
                  <a:gd name="connsiteY1" fmla="*/ 393294 h 766048"/>
                  <a:gd name="connsiteX2" fmla="*/ 119603 w 467383"/>
                  <a:gd name="connsiteY2" fmla="*/ 163902 h 766048"/>
                  <a:gd name="connsiteX3" fmla="*/ 145482 w 467383"/>
                  <a:gd name="connsiteY3" fmla="*/ 146649 h 766048"/>
                  <a:gd name="connsiteX4" fmla="*/ 223120 w 467383"/>
                  <a:gd name="connsiteY4" fmla="*/ 120770 h 766048"/>
                  <a:gd name="connsiteX5" fmla="*/ 248999 w 467383"/>
                  <a:gd name="connsiteY5" fmla="*/ 112143 h 766048"/>
                  <a:gd name="connsiteX6" fmla="*/ 300757 w 467383"/>
                  <a:gd name="connsiteY6" fmla="*/ 77638 h 766048"/>
                  <a:gd name="connsiteX7" fmla="*/ 326637 w 467383"/>
                  <a:gd name="connsiteY7" fmla="*/ 60385 h 766048"/>
                  <a:gd name="connsiteX8" fmla="*/ 352516 w 467383"/>
                  <a:gd name="connsiteY8" fmla="*/ 51759 h 766048"/>
                  <a:gd name="connsiteX9" fmla="*/ 361142 w 467383"/>
                  <a:gd name="connsiteY9" fmla="*/ 25879 h 766048"/>
                  <a:gd name="connsiteX10" fmla="*/ 378395 w 467383"/>
                  <a:gd name="connsiteY10" fmla="*/ 0 h 766048"/>
                  <a:gd name="connsiteX0" fmla="*/ 467309 w 467309"/>
                  <a:gd name="connsiteY0" fmla="*/ 766048 h 766048"/>
                  <a:gd name="connsiteX1" fmla="*/ 13741 w 467309"/>
                  <a:gd name="connsiteY1" fmla="*/ 393294 h 766048"/>
                  <a:gd name="connsiteX2" fmla="*/ 119529 w 467309"/>
                  <a:gd name="connsiteY2" fmla="*/ 163902 h 766048"/>
                  <a:gd name="connsiteX3" fmla="*/ 139052 w 467309"/>
                  <a:gd name="connsiteY3" fmla="*/ 273531 h 766048"/>
                  <a:gd name="connsiteX4" fmla="*/ 223046 w 467309"/>
                  <a:gd name="connsiteY4" fmla="*/ 120770 h 766048"/>
                  <a:gd name="connsiteX5" fmla="*/ 248925 w 467309"/>
                  <a:gd name="connsiteY5" fmla="*/ 112143 h 766048"/>
                  <a:gd name="connsiteX6" fmla="*/ 300683 w 467309"/>
                  <a:gd name="connsiteY6" fmla="*/ 77638 h 766048"/>
                  <a:gd name="connsiteX7" fmla="*/ 326563 w 467309"/>
                  <a:gd name="connsiteY7" fmla="*/ 60385 h 766048"/>
                  <a:gd name="connsiteX8" fmla="*/ 352442 w 467309"/>
                  <a:gd name="connsiteY8" fmla="*/ 51759 h 766048"/>
                  <a:gd name="connsiteX9" fmla="*/ 361068 w 467309"/>
                  <a:gd name="connsiteY9" fmla="*/ 25879 h 766048"/>
                  <a:gd name="connsiteX10" fmla="*/ 378321 w 467309"/>
                  <a:gd name="connsiteY10" fmla="*/ 0 h 766048"/>
                  <a:gd name="connsiteX0" fmla="*/ 478923 w 478923"/>
                  <a:gd name="connsiteY0" fmla="*/ 766048 h 766048"/>
                  <a:gd name="connsiteX1" fmla="*/ 25355 w 478923"/>
                  <a:gd name="connsiteY1" fmla="*/ 393294 h 766048"/>
                  <a:gd name="connsiteX2" fmla="*/ 67580 w 478923"/>
                  <a:gd name="connsiteY2" fmla="*/ 316160 h 766048"/>
                  <a:gd name="connsiteX3" fmla="*/ 150666 w 478923"/>
                  <a:gd name="connsiteY3" fmla="*/ 273531 h 766048"/>
                  <a:gd name="connsiteX4" fmla="*/ 234660 w 478923"/>
                  <a:gd name="connsiteY4" fmla="*/ 120770 h 766048"/>
                  <a:gd name="connsiteX5" fmla="*/ 260539 w 478923"/>
                  <a:gd name="connsiteY5" fmla="*/ 112143 h 766048"/>
                  <a:gd name="connsiteX6" fmla="*/ 312297 w 478923"/>
                  <a:gd name="connsiteY6" fmla="*/ 77638 h 766048"/>
                  <a:gd name="connsiteX7" fmla="*/ 338177 w 478923"/>
                  <a:gd name="connsiteY7" fmla="*/ 60385 h 766048"/>
                  <a:gd name="connsiteX8" fmla="*/ 364056 w 478923"/>
                  <a:gd name="connsiteY8" fmla="*/ 51759 h 766048"/>
                  <a:gd name="connsiteX9" fmla="*/ 372682 w 478923"/>
                  <a:gd name="connsiteY9" fmla="*/ 25879 h 766048"/>
                  <a:gd name="connsiteX10" fmla="*/ 389935 w 478923"/>
                  <a:gd name="connsiteY10" fmla="*/ 0 h 766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8923" h="766048">
                    <a:moveTo>
                      <a:pt x="478923" y="766048"/>
                    </a:moveTo>
                    <a:cubicBezTo>
                      <a:pt x="383106" y="651384"/>
                      <a:pt x="93912" y="468275"/>
                      <a:pt x="25355" y="393294"/>
                    </a:cubicBezTo>
                    <a:cubicBezTo>
                      <a:pt x="-43202" y="318313"/>
                      <a:pt x="46695" y="336121"/>
                      <a:pt x="67580" y="316160"/>
                    </a:cubicBezTo>
                    <a:cubicBezTo>
                      <a:pt x="88465" y="296199"/>
                      <a:pt x="122819" y="306096"/>
                      <a:pt x="150666" y="273531"/>
                    </a:cubicBezTo>
                    <a:cubicBezTo>
                      <a:pt x="178513" y="240966"/>
                      <a:pt x="216348" y="147668"/>
                      <a:pt x="234660" y="120770"/>
                    </a:cubicBezTo>
                    <a:cubicBezTo>
                      <a:pt x="252972" y="93872"/>
                      <a:pt x="252973" y="117187"/>
                      <a:pt x="260539" y="112143"/>
                    </a:cubicBezTo>
                    <a:lnTo>
                      <a:pt x="312297" y="77638"/>
                    </a:lnTo>
                    <a:cubicBezTo>
                      <a:pt x="320924" y="71887"/>
                      <a:pt x="328341" y="63664"/>
                      <a:pt x="338177" y="60385"/>
                    </a:cubicBezTo>
                    <a:lnTo>
                      <a:pt x="364056" y="51759"/>
                    </a:lnTo>
                    <a:cubicBezTo>
                      <a:pt x="366931" y="43132"/>
                      <a:pt x="368615" y="34012"/>
                      <a:pt x="372682" y="25879"/>
                    </a:cubicBezTo>
                    <a:cubicBezTo>
                      <a:pt x="377318" y="16606"/>
                      <a:pt x="389935" y="0"/>
                      <a:pt x="389935" y="0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38" name="Forma livre 458"/>
              <p:cNvSpPr/>
              <p:nvPr/>
            </p:nvSpPr>
            <p:spPr bwMode="auto">
              <a:xfrm>
                <a:off x="3032125" y="1562100"/>
                <a:ext cx="371475" cy="2293938"/>
              </a:xfrm>
              <a:custGeom>
                <a:avLst/>
                <a:gdLst>
                  <a:gd name="connsiteX0" fmla="*/ 310551 w 370936"/>
                  <a:gd name="connsiteY0" fmla="*/ 0 h 2294627"/>
                  <a:gd name="connsiteX1" fmla="*/ 293298 w 370936"/>
                  <a:gd name="connsiteY1" fmla="*/ 43132 h 2294627"/>
                  <a:gd name="connsiteX2" fmla="*/ 258792 w 370936"/>
                  <a:gd name="connsiteY2" fmla="*/ 94891 h 2294627"/>
                  <a:gd name="connsiteX3" fmla="*/ 241539 w 370936"/>
                  <a:gd name="connsiteY3" fmla="*/ 120770 h 2294627"/>
                  <a:gd name="connsiteX4" fmla="*/ 224287 w 370936"/>
                  <a:gd name="connsiteY4" fmla="*/ 146649 h 2294627"/>
                  <a:gd name="connsiteX5" fmla="*/ 198407 w 370936"/>
                  <a:gd name="connsiteY5" fmla="*/ 172528 h 2294627"/>
                  <a:gd name="connsiteX6" fmla="*/ 181155 w 370936"/>
                  <a:gd name="connsiteY6" fmla="*/ 224287 h 2294627"/>
                  <a:gd name="connsiteX7" fmla="*/ 163902 w 370936"/>
                  <a:gd name="connsiteY7" fmla="*/ 250166 h 2294627"/>
                  <a:gd name="connsiteX8" fmla="*/ 146649 w 370936"/>
                  <a:gd name="connsiteY8" fmla="*/ 301925 h 2294627"/>
                  <a:gd name="connsiteX9" fmla="*/ 138022 w 370936"/>
                  <a:gd name="connsiteY9" fmla="*/ 327804 h 2294627"/>
                  <a:gd name="connsiteX10" fmla="*/ 129396 w 370936"/>
                  <a:gd name="connsiteY10" fmla="*/ 379562 h 2294627"/>
                  <a:gd name="connsiteX11" fmla="*/ 112143 w 370936"/>
                  <a:gd name="connsiteY11" fmla="*/ 431321 h 2294627"/>
                  <a:gd name="connsiteX12" fmla="*/ 103517 w 370936"/>
                  <a:gd name="connsiteY12" fmla="*/ 457200 h 2294627"/>
                  <a:gd name="connsiteX13" fmla="*/ 94890 w 370936"/>
                  <a:gd name="connsiteY13" fmla="*/ 483079 h 2294627"/>
                  <a:gd name="connsiteX14" fmla="*/ 86264 w 370936"/>
                  <a:gd name="connsiteY14" fmla="*/ 508959 h 2294627"/>
                  <a:gd name="connsiteX15" fmla="*/ 77638 w 370936"/>
                  <a:gd name="connsiteY15" fmla="*/ 707366 h 2294627"/>
                  <a:gd name="connsiteX16" fmla="*/ 69011 w 370936"/>
                  <a:gd name="connsiteY16" fmla="*/ 733245 h 2294627"/>
                  <a:gd name="connsiteX17" fmla="*/ 60385 w 370936"/>
                  <a:gd name="connsiteY17" fmla="*/ 776377 h 2294627"/>
                  <a:gd name="connsiteX18" fmla="*/ 51758 w 370936"/>
                  <a:gd name="connsiteY18" fmla="*/ 1095555 h 2294627"/>
                  <a:gd name="connsiteX19" fmla="*/ 25879 w 370936"/>
                  <a:gd name="connsiteY19" fmla="*/ 1199072 h 2294627"/>
                  <a:gd name="connsiteX20" fmla="*/ 17253 w 370936"/>
                  <a:gd name="connsiteY20" fmla="*/ 1224951 h 2294627"/>
                  <a:gd name="connsiteX21" fmla="*/ 8626 w 370936"/>
                  <a:gd name="connsiteY21" fmla="*/ 1250830 h 2294627"/>
                  <a:gd name="connsiteX22" fmla="*/ 0 w 370936"/>
                  <a:gd name="connsiteY22" fmla="*/ 1276710 h 2294627"/>
                  <a:gd name="connsiteX23" fmla="*/ 25879 w 370936"/>
                  <a:gd name="connsiteY23" fmla="*/ 1449238 h 2294627"/>
                  <a:gd name="connsiteX24" fmla="*/ 43132 w 370936"/>
                  <a:gd name="connsiteY24" fmla="*/ 1475117 h 2294627"/>
                  <a:gd name="connsiteX25" fmla="*/ 69011 w 370936"/>
                  <a:gd name="connsiteY25" fmla="*/ 1561381 h 2294627"/>
                  <a:gd name="connsiteX26" fmla="*/ 86264 w 370936"/>
                  <a:gd name="connsiteY26" fmla="*/ 1613140 h 2294627"/>
                  <a:gd name="connsiteX27" fmla="*/ 94890 w 370936"/>
                  <a:gd name="connsiteY27" fmla="*/ 1647645 h 2294627"/>
                  <a:gd name="connsiteX28" fmla="*/ 112143 w 370936"/>
                  <a:gd name="connsiteY28" fmla="*/ 1699404 h 2294627"/>
                  <a:gd name="connsiteX29" fmla="*/ 120770 w 370936"/>
                  <a:gd name="connsiteY29" fmla="*/ 1725283 h 2294627"/>
                  <a:gd name="connsiteX30" fmla="*/ 138022 w 370936"/>
                  <a:gd name="connsiteY30" fmla="*/ 1811547 h 2294627"/>
                  <a:gd name="connsiteX31" fmla="*/ 155275 w 370936"/>
                  <a:gd name="connsiteY31" fmla="*/ 1837427 h 2294627"/>
                  <a:gd name="connsiteX32" fmla="*/ 172528 w 370936"/>
                  <a:gd name="connsiteY32" fmla="*/ 1897811 h 2294627"/>
                  <a:gd name="connsiteX33" fmla="*/ 189781 w 370936"/>
                  <a:gd name="connsiteY33" fmla="*/ 1923691 h 2294627"/>
                  <a:gd name="connsiteX34" fmla="*/ 215660 w 370936"/>
                  <a:gd name="connsiteY34" fmla="*/ 2001328 h 2294627"/>
                  <a:gd name="connsiteX35" fmla="*/ 224287 w 370936"/>
                  <a:gd name="connsiteY35" fmla="*/ 2027208 h 2294627"/>
                  <a:gd name="connsiteX36" fmla="*/ 241539 w 370936"/>
                  <a:gd name="connsiteY36" fmla="*/ 2053087 h 2294627"/>
                  <a:gd name="connsiteX37" fmla="*/ 250166 w 370936"/>
                  <a:gd name="connsiteY37" fmla="*/ 2078966 h 2294627"/>
                  <a:gd name="connsiteX38" fmla="*/ 276045 w 370936"/>
                  <a:gd name="connsiteY38" fmla="*/ 2104845 h 2294627"/>
                  <a:gd name="connsiteX39" fmla="*/ 293298 w 370936"/>
                  <a:gd name="connsiteY39" fmla="*/ 2130725 h 2294627"/>
                  <a:gd name="connsiteX40" fmla="*/ 301924 w 370936"/>
                  <a:gd name="connsiteY40" fmla="*/ 2165230 h 2294627"/>
                  <a:gd name="connsiteX41" fmla="*/ 327804 w 370936"/>
                  <a:gd name="connsiteY41" fmla="*/ 2251494 h 2294627"/>
                  <a:gd name="connsiteX42" fmla="*/ 370936 w 370936"/>
                  <a:gd name="connsiteY42" fmla="*/ 2294627 h 2294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70936" h="2294627">
                    <a:moveTo>
                      <a:pt x="310551" y="0"/>
                    </a:moveTo>
                    <a:cubicBezTo>
                      <a:pt x="304800" y="14377"/>
                      <a:pt x="300713" y="29538"/>
                      <a:pt x="293298" y="43132"/>
                    </a:cubicBezTo>
                    <a:cubicBezTo>
                      <a:pt x="283369" y="61336"/>
                      <a:pt x="270294" y="77638"/>
                      <a:pt x="258792" y="94891"/>
                    </a:cubicBezTo>
                    <a:lnTo>
                      <a:pt x="241539" y="120770"/>
                    </a:lnTo>
                    <a:cubicBezTo>
                      <a:pt x="235788" y="129396"/>
                      <a:pt x="231618" y="139318"/>
                      <a:pt x="224287" y="146649"/>
                    </a:cubicBezTo>
                    <a:lnTo>
                      <a:pt x="198407" y="172528"/>
                    </a:lnTo>
                    <a:cubicBezTo>
                      <a:pt x="192656" y="189781"/>
                      <a:pt x="191243" y="209155"/>
                      <a:pt x="181155" y="224287"/>
                    </a:cubicBezTo>
                    <a:cubicBezTo>
                      <a:pt x="175404" y="232913"/>
                      <a:pt x="168113" y="240692"/>
                      <a:pt x="163902" y="250166"/>
                    </a:cubicBezTo>
                    <a:cubicBezTo>
                      <a:pt x="156516" y="266785"/>
                      <a:pt x="152400" y="284672"/>
                      <a:pt x="146649" y="301925"/>
                    </a:cubicBezTo>
                    <a:lnTo>
                      <a:pt x="138022" y="327804"/>
                    </a:lnTo>
                    <a:cubicBezTo>
                      <a:pt x="135147" y="345057"/>
                      <a:pt x="133638" y="362594"/>
                      <a:pt x="129396" y="379562"/>
                    </a:cubicBezTo>
                    <a:cubicBezTo>
                      <a:pt x="124985" y="397205"/>
                      <a:pt x="117894" y="414068"/>
                      <a:pt x="112143" y="431321"/>
                    </a:cubicBezTo>
                    <a:lnTo>
                      <a:pt x="103517" y="457200"/>
                    </a:lnTo>
                    <a:lnTo>
                      <a:pt x="94890" y="483079"/>
                    </a:lnTo>
                    <a:lnTo>
                      <a:pt x="86264" y="508959"/>
                    </a:lnTo>
                    <a:cubicBezTo>
                      <a:pt x="83389" y="575095"/>
                      <a:pt x="82715" y="641363"/>
                      <a:pt x="77638" y="707366"/>
                    </a:cubicBezTo>
                    <a:cubicBezTo>
                      <a:pt x="76941" y="716432"/>
                      <a:pt x="71216" y="724423"/>
                      <a:pt x="69011" y="733245"/>
                    </a:cubicBezTo>
                    <a:cubicBezTo>
                      <a:pt x="65455" y="747469"/>
                      <a:pt x="63260" y="762000"/>
                      <a:pt x="60385" y="776377"/>
                    </a:cubicBezTo>
                    <a:cubicBezTo>
                      <a:pt x="57509" y="882770"/>
                      <a:pt x="56703" y="989238"/>
                      <a:pt x="51758" y="1095555"/>
                    </a:cubicBezTo>
                    <a:cubicBezTo>
                      <a:pt x="49874" y="1136057"/>
                      <a:pt x="38544" y="1161076"/>
                      <a:pt x="25879" y="1199072"/>
                    </a:cubicBezTo>
                    <a:lnTo>
                      <a:pt x="17253" y="1224951"/>
                    </a:lnTo>
                    <a:lnTo>
                      <a:pt x="8626" y="1250830"/>
                    </a:lnTo>
                    <a:lnTo>
                      <a:pt x="0" y="1276710"/>
                    </a:lnTo>
                    <a:cubicBezTo>
                      <a:pt x="1929" y="1303712"/>
                      <a:pt x="-535" y="1409618"/>
                      <a:pt x="25879" y="1449238"/>
                    </a:cubicBezTo>
                    <a:lnTo>
                      <a:pt x="43132" y="1475117"/>
                    </a:lnTo>
                    <a:cubicBezTo>
                      <a:pt x="56168" y="1527265"/>
                      <a:pt x="48009" y="1498377"/>
                      <a:pt x="69011" y="1561381"/>
                    </a:cubicBezTo>
                    <a:cubicBezTo>
                      <a:pt x="69014" y="1561391"/>
                      <a:pt x="86261" y="1613129"/>
                      <a:pt x="86264" y="1613140"/>
                    </a:cubicBezTo>
                    <a:cubicBezTo>
                      <a:pt x="89139" y="1624642"/>
                      <a:pt x="91483" y="1636289"/>
                      <a:pt x="94890" y="1647645"/>
                    </a:cubicBezTo>
                    <a:cubicBezTo>
                      <a:pt x="100116" y="1665064"/>
                      <a:pt x="106392" y="1682151"/>
                      <a:pt x="112143" y="1699404"/>
                    </a:cubicBezTo>
                    <a:lnTo>
                      <a:pt x="120770" y="1725283"/>
                    </a:lnTo>
                    <a:cubicBezTo>
                      <a:pt x="123949" y="1747535"/>
                      <a:pt x="125978" y="1787458"/>
                      <a:pt x="138022" y="1811547"/>
                    </a:cubicBezTo>
                    <a:cubicBezTo>
                      <a:pt x="142659" y="1820820"/>
                      <a:pt x="150638" y="1828154"/>
                      <a:pt x="155275" y="1837427"/>
                    </a:cubicBezTo>
                    <a:cubicBezTo>
                      <a:pt x="172068" y="1871012"/>
                      <a:pt x="155938" y="1859101"/>
                      <a:pt x="172528" y="1897811"/>
                    </a:cubicBezTo>
                    <a:cubicBezTo>
                      <a:pt x="176612" y="1907341"/>
                      <a:pt x="184030" y="1915064"/>
                      <a:pt x="189781" y="1923691"/>
                    </a:cubicBezTo>
                    <a:lnTo>
                      <a:pt x="215660" y="2001328"/>
                    </a:lnTo>
                    <a:cubicBezTo>
                      <a:pt x="218536" y="2009955"/>
                      <a:pt x="219243" y="2019642"/>
                      <a:pt x="224287" y="2027208"/>
                    </a:cubicBezTo>
                    <a:cubicBezTo>
                      <a:pt x="230038" y="2035834"/>
                      <a:pt x="236903" y="2043814"/>
                      <a:pt x="241539" y="2053087"/>
                    </a:cubicBezTo>
                    <a:cubicBezTo>
                      <a:pt x="245606" y="2061220"/>
                      <a:pt x="245122" y="2071400"/>
                      <a:pt x="250166" y="2078966"/>
                    </a:cubicBezTo>
                    <a:cubicBezTo>
                      <a:pt x="256933" y="2089117"/>
                      <a:pt x="268235" y="2095473"/>
                      <a:pt x="276045" y="2104845"/>
                    </a:cubicBezTo>
                    <a:cubicBezTo>
                      <a:pt x="282682" y="2112810"/>
                      <a:pt x="287547" y="2122098"/>
                      <a:pt x="293298" y="2130725"/>
                    </a:cubicBezTo>
                    <a:cubicBezTo>
                      <a:pt x="296173" y="2142227"/>
                      <a:pt x="299599" y="2153605"/>
                      <a:pt x="301924" y="2165230"/>
                    </a:cubicBezTo>
                    <a:cubicBezTo>
                      <a:pt x="309964" y="2205430"/>
                      <a:pt x="304714" y="2219169"/>
                      <a:pt x="327804" y="2251494"/>
                    </a:cubicBezTo>
                    <a:cubicBezTo>
                      <a:pt x="327807" y="2251498"/>
                      <a:pt x="366141" y="2289832"/>
                      <a:pt x="370936" y="2294627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39" name="Forma livre 459"/>
              <p:cNvSpPr/>
              <p:nvPr/>
            </p:nvSpPr>
            <p:spPr bwMode="auto">
              <a:xfrm>
                <a:off x="1805734" y="2654697"/>
                <a:ext cx="1347041" cy="631428"/>
              </a:xfrm>
              <a:custGeom>
                <a:avLst/>
                <a:gdLst>
                  <a:gd name="connsiteX0" fmla="*/ 0 w 1259457"/>
                  <a:gd name="connsiteY0" fmla="*/ 0 h 664234"/>
                  <a:gd name="connsiteX1" fmla="*/ 43132 w 1259457"/>
                  <a:gd name="connsiteY1" fmla="*/ 17253 h 664234"/>
                  <a:gd name="connsiteX2" fmla="*/ 94891 w 1259457"/>
                  <a:gd name="connsiteY2" fmla="*/ 94891 h 664234"/>
                  <a:gd name="connsiteX3" fmla="*/ 172528 w 1259457"/>
                  <a:gd name="connsiteY3" fmla="*/ 163902 h 664234"/>
                  <a:gd name="connsiteX4" fmla="*/ 215660 w 1259457"/>
                  <a:gd name="connsiteY4" fmla="*/ 215661 h 664234"/>
                  <a:gd name="connsiteX5" fmla="*/ 241540 w 1259457"/>
                  <a:gd name="connsiteY5" fmla="*/ 224287 h 664234"/>
                  <a:gd name="connsiteX6" fmla="*/ 267419 w 1259457"/>
                  <a:gd name="connsiteY6" fmla="*/ 241540 h 664234"/>
                  <a:gd name="connsiteX7" fmla="*/ 293298 w 1259457"/>
                  <a:gd name="connsiteY7" fmla="*/ 301925 h 664234"/>
                  <a:gd name="connsiteX8" fmla="*/ 319177 w 1259457"/>
                  <a:gd name="connsiteY8" fmla="*/ 319178 h 664234"/>
                  <a:gd name="connsiteX9" fmla="*/ 388189 w 1259457"/>
                  <a:gd name="connsiteY9" fmla="*/ 379562 h 664234"/>
                  <a:gd name="connsiteX10" fmla="*/ 439947 w 1259457"/>
                  <a:gd name="connsiteY10" fmla="*/ 396815 h 664234"/>
                  <a:gd name="connsiteX11" fmla="*/ 491706 w 1259457"/>
                  <a:gd name="connsiteY11" fmla="*/ 431321 h 664234"/>
                  <a:gd name="connsiteX12" fmla="*/ 586596 w 1259457"/>
                  <a:gd name="connsiteY12" fmla="*/ 457200 h 664234"/>
                  <a:gd name="connsiteX13" fmla="*/ 612476 w 1259457"/>
                  <a:gd name="connsiteY13" fmla="*/ 465827 h 664234"/>
                  <a:gd name="connsiteX14" fmla="*/ 793630 w 1259457"/>
                  <a:gd name="connsiteY14" fmla="*/ 491706 h 664234"/>
                  <a:gd name="connsiteX15" fmla="*/ 862642 w 1259457"/>
                  <a:gd name="connsiteY15" fmla="*/ 508959 h 664234"/>
                  <a:gd name="connsiteX16" fmla="*/ 905774 w 1259457"/>
                  <a:gd name="connsiteY16" fmla="*/ 517585 h 664234"/>
                  <a:gd name="connsiteX17" fmla="*/ 931653 w 1259457"/>
                  <a:gd name="connsiteY17" fmla="*/ 526212 h 664234"/>
                  <a:gd name="connsiteX18" fmla="*/ 1000664 w 1259457"/>
                  <a:gd name="connsiteY18" fmla="*/ 543464 h 664234"/>
                  <a:gd name="connsiteX19" fmla="*/ 1052423 w 1259457"/>
                  <a:gd name="connsiteY19" fmla="*/ 560717 h 664234"/>
                  <a:gd name="connsiteX20" fmla="*/ 1078302 w 1259457"/>
                  <a:gd name="connsiteY20" fmla="*/ 577970 h 664234"/>
                  <a:gd name="connsiteX21" fmla="*/ 1104181 w 1259457"/>
                  <a:gd name="connsiteY21" fmla="*/ 586596 h 664234"/>
                  <a:gd name="connsiteX22" fmla="*/ 1181819 w 1259457"/>
                  <a:gd name="connsiteY22" fmla="*/ 629728 h 664234"/>
                  <a:gd name="connsiteX23" fmla="*/ 1207698 w 1259457"/>
                  <a:gd name="connsiteY23" fmla="*/ 646981 h 664234"/>
                  <a:gd name="connsiteX24" fmla="*/ 1259457 w 1259457"/>
                  <a:gd name="connsiteY24" fmla="*/ 664234 h 664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259457" h="664234">
                    <a:moveTo>
                      <a:pt x="0" y="0"/>
                    </a:moveTo>
                    <a:cubicBezTo>
                      <a:pt x="14377" y="5751"/>
                      <a:pt x="31558" y="6965"/>
                      <a:pt x="43132" y="17253"/>
                    </a:cubicBezTo>
                    <a:cubicBezTo>
                      <a:pt x="120765" y="86260"/>
                      <a:pt x="47448" y="47448"/>
                      <a:pt x="94891" y="94891"/>
                    </a:cubicBezTo>
                    <a:cubicBezTo>
                      <a:pt x="153980" y="153980"/>
                      <a:pt x="126348" y="133115"/>
                      <a:pt x="172528" y="163902"/>
                    </a:cubicBezTo>
                    <a:cubicBezTo>
                      <a:pt x="185258" y="182996"/>
                      <a:pt x="195736" y="202378"/>
                      <a:pt x="215660" y="215661"/>
                    </a:cubicBezTo>
                    <a:cubicBezTo>
                      <a:pt x="223226" y="220705"/>
                      <a:pt x="232913" y="221412"/>
                      <a:pt x="241540" y="224287"/>
                    </a:cubicBezTo>
                    <a:cubicBezTo>
                      <a:pt x="250166" y="230038"/>
                      <a:pt x="261668" y="232914"/>
                      <a:pt x="267419" y="241540"/>
                    </a:cubicBezTo>
                    <a:cubicBezTo>
                      <a:pt x="307016" y="300936"/>
                      <a:pt x="244583" y="253209"/>
                      <a:pt x="293298" y="301925"/>
                    </a:cubicBezTo>
                    <a:cubicBezTo>
                      <a:pt x="300629" y="309256"/>
                      <a:pt x="310551" y="313427"/>
                      <a:pt x="319177" y="319178"/>
                    </a:cubicBezTo>
                    <a:cubicBezTo>
                      <a:pt x="339306" y="349371"/>
                      <a:pt x="345056" y="365184"/>
                      <a:pt x="388189" y="379562"/>
                    </a:cubicBezTo>
                    <a:lnTo>
                      <a:pt x="439947" y="396815"/>
                    </a:lnTo>
                    <a:cubicBezTo>
                      <a:pt x="457200" y="408317"/>
                      <a:pt x="472035" y="424764"/>
                      <a:pt x="491706" y="431321"/>
                    </a:cubicBezTo>
                    <a:cubicBezTo>
                      <a:pt x="602749" y="468336"/>
                      <a:pt x="489048" y="432813"/>
                      <a:pt x="586596" y="457200"/>
                    </a:cubicBezTo>
                    <a:cubicBezTo>
                      <a:pt x="595418" y="459405"/>
                      <a:pt x="603559" y="464044"/>
                      <a:pt x="612476" y="465827"/>
                    </a:cubicBezTo>
                    <a:cubicBezTo>
                      <a:pt x="693213" y="481974"/>
                      <a:pt x="717299" y="483224"/>
                      <a:pt x="793630" y="491706"/>
                    </a:cubicBezTo>
                    <a:cubicBezTo>
                      <a:pt x="816634" y="497457"/>
                      <a:pt x="839390" y="504309"/>
                      <a:pt x="862642" y="508959"/>
                    </a:cubicBezTo>
                    <a:cubicBezTo>
                      <a:pt x="877019" y="511834"/>
                      <a:pt x="891550" y="514029"/>
                      <a:pt x="905774" y="517585"/>
                    </a:cubicBezTo>
                    <a:cubicBezTo>
                      <a:pt x="914596" y="519790"/>
                      <a:pt x="922880" y="523819"/>
                      <a:pt x="931653" y="526212"/>
                    </a:cubicBezTo>
                    <a:cubicBezTo>
                      <a:pt x="954529" y="532451"/>
                      <a:pt x="978169" y="535966"/>
                      <a:pt x="1000664" y="543464"/>
                    </a:cubicBezTo>
                    <a:lnTo>
                      <a:pt x="1052423" y="560717"/>
                    </a:lnTo>
                    <a:cubicBezTo>
                      <a:pt x="1061049" y="566468"/>
                      <a:pt x="1069029" y="573333"/>
                      <a:pt x="1078302" y="577970"/>
                    </a:cubicBezTo>
                    <a:cubicBezTo>
                      <a:pt x="1086435" y="582036"/>
                      <a:pt x="1096232" y="582180"/>
                      <a:pt x="1104181" y="586596"/>
                    </a:cubicBezTo>
                    <a:cubicBezTo>
                      <a:pt x="1193168" y="636033"/>
                      <a:pt x="1123261" y="610209"/>
                      <a:pt x="1181819" y="629728"/>
                    </a:cubicBezTo>
                    <a:cubicBezTo>
                      <a:pt x="1190445" y="635479"/>
                      <a:pt x="1198224" y="642770"/>
                      <a:pt x="1207698" y="646981"/>
                    </a:cubicBezTo>
                    <a:cubicBezTo>
                      <a:pt x="1224317" y="654367"/>
                      <a:pt x="1259457" y="664234"/>
                      <a:pt x="1259457" y="664234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40" name="Forma livre 461"/>
              <p:cNvSpPr/>
              <p:nvPr/>
            </p:nvSpPr>
            <p:spPr bwMode="auto">
              <a:xfrm>
                <a:off x="4456113" y="2355850"/>
                <a:ext cx="715962" cy="128588"/>
              </a:xfrm>
              <a:custGeom>
                <a:avLst/>
                <a:gdLst>
                  <a:gd name="connsiteX0" fmla="*/ 715993 w 715993"/>
                  <a:gd name="connsiteY0" fmla="*/ 94911 h 129417"/>
                  <a:gd name="connsiteX1" fmla="*/ 646981 w 715993"/>
                  <a:gd name="connsiteY1" fmla="*/ 129417 h 129417"/>
                  <a:gd name="connsiteX2" fmla="*/ 586597 w 715993"/>
                  <a:gd name="connsiteY2" fmla="*/ 112164 h 129417"/>
                  <a:gd name="connsiteX3" fmla="*/ 534838 w 715993"/>
                  <a:gd name="connsiteY3" fmla="*/ 77658 h 129417"/>
                  <a:gd name="connsiteX4" fmla="*/ 508959 w 715993"/>
                  <a:gd name="connsiteY4" fmla="*/ 60405 h 129417"/>
                  <a:gd name="connsiteX5" fmla="*/ 215661 w 715993"/>
                  <a:gd name="connsiteY5" fmla="*/ 43152 h 129417"/>
                  <a:gd name="connsiteX6" fmla="*/ 138023 w 715993"/>
                  <a:gd name="connsiteY6" fmla="*/ 17273 h 129417"/>
                  <a:gd name="connsiteX7" fmla="*/ 112144 w 715993"/>
                  <a:gd name="connsiteY7" fmla="*/ 8647 h 129417"/>
                  <a:gd name="connsiteX8" fmla="*/ 0 w 715993"/>
                  <a:gd name="connsiteY8" fmla="*/ 20 h 129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15993" h="129417">
                    <a:moveTo>
                      <a:pt x="715993" y="94911"/>
                    </a:moveTo>
                    <a:cubicBezTo>
                      <a:pt x="707869" y="99785"/>
                      <a:pt x="665552" y="129417"/>
                      <a:pt x="646981" y="129417"/>
                    </a:cubicBezTo>
                    <a:cubicBezTo>
                      <a:pt x="636153" y="129417"/>
                      <a:pt x="598798" y="116231"/>
                      <a:pt x="586597" y="112164"/>
                    </a:cubicBezTo>
                    <a:lnTo>
                      <a:pt x="534838" y="77658"/>
                    </a:lnTo>
                    <a:cubicBezTo>
                      <a:pt x="526212" y="71907"/>
                      <a:pt x="518795" y="63683"/>
                      <a:pt x="508959" y="60405"/>
                    </a:cubicBezTo>
                    <a:cubicBezTo>
                      <a:pt x="398470" y="23577"/>
                      <a:pt x="492168" y="52072"/>
                      <a:pt x="215661" y="43152"/>
                    </a:cubicBezTo>
                    <a:lnTo>
                      <a:pt x="138023" y="17273"/>
                    </a:lnTo>
                    <a:cubicBezTo>
                      <a:pt x="129397" y="14398"/>
                      <a:pt x="121192" y="9552"/>
                      <a:pt x="112144" y="8647"/>
                    </a:cubicBezTo>
                    <a:cubicBezTo>
                      <a:pt x="17296" y="-838"/>
                      <a:pt x="54778" y="20"/>
                      <a:pt x="0" y="20"/>
                    </a:cubicBezTo>
                  </a:path>
                </a:pathLst>
              </a:custGeom>
              <a:ln w="38100" cmpd="sng">
                <a:solidFill>
                  <a:srgbClr val="008000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sp>
            <p:nvSpPr>
              <p:cNvPr id="441" name="Forma livre 462"/>
              <p:cNvSpPr/>
              <p:nvPr/>
            </p:nvSpPr>
            <p:spPr bwMode="auto">
              <a:xfrm>
                <a:off x="4281488" y="3094038"/>
                <a:ext cx="600075" cy="87312"/>
              </a:xfrm>
              <a:custGeom>
                <a:avLst/>
                <a:gdLst>
                  <a:gd name="connsiteX0" fmla="*/ 0 w 1602081"/>
                  <a:gd name="connsiteY0" fmla="*/ 7315 h 409651"/>
                  <a:gd name="connsiteX1" fmla="*/ 36576 w 1602081"/>
                  <a:gd name="connsiteY1" fmla="*/ 14630 h 409651"/>
                  <a:gd name="connsiteX2" fmla="*/ 138989 w 1602081"/>
                  <a:gd name="connsiteY2" fmla="*/ 0 h 409651"/>
                  <a:gd name="connsiteX3" fmla="*/ 197510 w 1602081"/>
                  <a:gd name="connsiteY3" fmla="*/ 7315 h 409651"/>
                  <a:gd name="connsiteX4" fmla="*/ 241401 w 1602081"/>
                  <a:gd name="connsiteY4" fmla="*/ 21945 h 409651"/>
                  <a:gd name="connsiteX5" fmla="*/ 285293 w 1602081"/>
                  <a:gd name="connsiteY5" fmla="*/ 29260 h 409651"/>
                  <a:gd name="connsiteX6" fmla="*/ 424281 w 1602081"/>
                  <a:gd name="connsiteY6" fmla="*/ 43891 h 409651"/>
                  <a:gd name="connsiteX7" fmla="*/ 446227 w 1602081"/>
                  <a:gd name="connsiteY7" fmla="*/ 51206 h 409651"/>
                  <a:gd name="connsiteX8" fmla="*/ 475488 w 1602081"/>
                  <a:gd name="connsiteY8" fmla="*/ 58521 h 409651"/>
                  <a:gd name="connsiteX9" fmla="*/ 497433 w 1602081"/>
                  <a:gd name="connsiteY9" fmla="*/ 65836 h 409651"/>
                  <a:gd name="connsiteX10" fmla="*/ 592531 w 1602081"/>
                  <a:gd name="connsiteY10" fmla="*/ 73152 h 409651"/>
                  <a:gd name="connsiteX11" fmla="*/ 636422 w 1602081"/>
                  <a:gd name="connsiteY11" fmla="*/ 87782 h 409651"/>
                  <a:gd name="connsiteX12" fmla="*/ 643737 w 1602081"/>
                  <a:gd name="connsiteY12" fmla="*/ 109728 h 409651"/>
                  <a:gd name="connsiteX13" fmla="*/ 665683 w 1602081"/>
                  <a:gd name="connsiteY13" fmla="*/ 117043 h 409651"/>
                  <a:gd name="connsiteX14" fmla="*/ 731520 w 1602081"/>
                  <a:gd name="connsiteY14" fmla="*/ 153619 h 409651"/>
                  <a:gd name="connsiteX15" fmla="*/ 760781 w 1602081"/>
                  <a:gd name="connsiteY15" fmla="*/ 190195 h 409651"/>
                  <a:gd name="connsiteX16" fmla="*/ 782726 w 1602081"/>
                  <a:gd name="connsiteY16" fmla="*/ 197510 h 409651"/>
                  <a:gd name="connsiteX17" fmla="*/ 797357 w 1602081"/>
                  <a:gd name="connsiteY17" fmla="*/ 212140 h 409651"/>
                  <a:gd name="connsiteX18" fmla="*/ 863193 w 1602081"/>
                  <a:gd name="connsiteY18" fmla="*/ 197510 h 409651"/>
                  <a:gd name="connsiteX19" fmla="*/ 885139 w 1602081"/>
                  <a:gd name="connsiteY19" fmla="*/ 204825 h 409651"/>
                  <a:gd name="connsiteX20" fmla="*/ 892454 w 1602081"/>
                  <a:gd name="connsiteY20" fmla="*/ 226771 h 409651"/>
                  <a:gd name="connsiteX21" fmla="*/ 921715 w 1602081"/>
                  <a:gd name="connsiteY21" fmla="*/ 270662 h 409651"/>
                  <a:gd name="connsiteX22" fmla="*/ 921715 w 1602081"/>
                  <a:gd name="connsiteY22" fmla="*/ 270662 h 409651"/>
                  <a:gd name="connsiteX23" fmla="*/ 972921 w 1602081"/>
                  <a:gd name="connsiteY23" fmla="*/ 299923 h 409651"/>
                  <a:gd name="connsiteX24" fmla="*/ 987552 w 1602081"/>
                  <a:gd name="connsiteY24" fmla="*/ 321868 h 409651"/>
                  <a:gd name="connsiteX25" fmla="*/ 1016813 w 1602081"/>
                  <a:gd name="connsiteY25" fmla="*/ 329184 h 409651"/>
                  <a:gd name="connsiteX26" fmla="*/ 1038758 w 1602081"/>
                  <a:gd name="connsiteY26" fmla="*/ 336499 h 409651"/>
                  <a:gd name="connsiteX27" fmla="*/ 1082649 w 1602081"/>
                  <a:gd name="connsiteY27" fmla="*/ 358444 h 409651"/>
                  <a:gd name="connsiteX28" fmla="*/ 1148486 w 1602081"/>
                  <a:gd name="connsiteY28" fmla="*/ 336499 h 409651"/>
                  <a:gd name="connsiteX29" fmla="*/ 1192377 w 1602081"/>
                  <a:gd name="connsiteY29" fmla="*/ 321868 h 409651"/>
                  <a:gd name="connsiteX30" fmla="*/ 1228953 w 1602081"/>
                  <a:gd name="connsiteY30" fmla="*/ 329184 h 409651"/>
                  <a:gd name="connsiteX31" fmla="*/ 1250899 w 1602081"/>
                  <a:gd name="connsiteY31" fmla="*/ 336499 h 409651"/>
                  <a:gd name="connsiteX32" fmla="*/ 1294790 w 1602081"/>
                  <a:gd name="connsiteY32" fmla="*/ 329184 h 409651"/>
                  <a:gd name="connsiteX33" fmla="*/ 1309421 w 1602081"/>
                  <a:gd name="connsiteY33" fmla="*/ 307238 h 409651"/>
                  <a:gd name="connsiteX34" fmla="*/ 1353312 w 1602081"/>
                  <a:gd name="connsiteY34" fmla="*/ 285292 h 409651"/>
                  <a:gd name="connsiteX35" fmla="*/ 1448409 w 1602081"/>
                  <a:gd name="connsiteY35" fmla="*/ 292608 h 409651"/>
                  <a:gd name="connsiteX36" fmla="*/ 1492301 w 1602081"/>
                  <a:gd name="connsiteY36" fmla="*/ 307238 h 409651"/>
                  <a:gd name="connsiteX37" fmla="*/ 1536192 w 1602081"/>
                  <a:gd name="connsiteY37" fmla="*/ 336499 h 409651"/>
                  <a:gd name="connsiteX38" fmla="*/ 1580083 w 1602081"/>
                  <a:gd name="connsiteY38" fmla="*/ 365760 h 409651"/>
                  <a:gd name="connsiteX39" fmla="*/ 1587398 w 1602081"/>
                  <a:gd name="connsiteY39" fmla="*/ 387705 h 409651"/>
                  <a:gd name="connsiteX40" fmla="*/ 1602029 w 1602081"/>
                  <a:gd name="connsiteY40" fmla="*/ 409651 h 409651"/>
                  <a:gd name="connsiteX0" fmla="*/ 0 w 1587398"/>
                  <a:gd name="connsiteY0" fmla="*/ 7315 h 387705"/>
                  <a:gd name="connsiteX1" fmla="*/ 36576 w 1587398"/>
                  <a:gd name="connsiteY1" fmla="*/ 14630 h 387705"/>
                  <a:gd name="connsiteX2" fmla="*/ 138989 w 1587398"/>
                  <a:gd name="connsiteY2" fmla="*/ 0 h 387705"/>
                  <a:gd name="connsiteX3" fmla="*/ 197510 w 1587398"/>
                  <a:gd name="connsiteY3" fmla="*/ 7315 h 387705"/>
                  <a:gd name="connsiteX4" fmla="*/ 241401 w 1587398"/>
                  <a:gd name="connsiteY4" fmla="*/ 21945 h 387705"/>
                  <a:gd name="connsiteX5" fmla="*/ 285293 w 1587398"/>
                  <a:gd name="connsiteY5" fmla="*/ 29260 h 387705"/>
                  <a:gd name="connsiteX6" fmla="*/ 424281 w 1587398"/>
                  <a:gd name="connsiteY6" fmla="*/ 43891 h 387705"/>
                  <a:gd name="connsiteX7" fmla="*/ 446227 w 1587398"/>
                  <a:gd name="connsiteY7" fmla="*/ 51206 h 387705"/>
                  <a:gd name="connsiteX8" fmla="*/ 475488 w 1587398"/>
                  <a:gd name="connsiteY8" fmla="*/ 58521 h 387705"/>
                  <a:gd name="connsiteX9" fmla="*/ 497433 w 1587398"/>
                  <a:gd name="connsiteY9" fmla="*/ 65836 h 387705"/>
                  <a:gd name="connsiteX10" fmla="*/ 592531 w 1587398"/>
                  <a:gd name="connsiteY10" fmla="*/ 73152 h 387705"/>
                  <a:gd name="connsiteX11" fmla="*/ 636422 w 1587398"/>
                  <a:gd name="connsiteY11" fmla="*/ 87782 h 387705"/>
                  <a:gd name="connsiteX12" fmla="*/ 643737 w 1587398"/>
                  <a:gd name="connsiteY12" fmla="*/ 109728 h 387705"/>
                  <a:gd name="connsiteX13" fmla="*/ 665683 w 1587398"/>
                  <a:gd name="connsiteY13" fmla="*/ 117043 h 387705"/>
                  <a:gd name="connsiteX14" fmla="*/ 731520 w 1587398"/>
                  <a:gd name="connsiteY14" fmla="*/ 153619 h 387705"/>
                  <a:gd name="connsiteX15" fmla="*/ 760781 w 1587398"/>
                  <a:gd name="connsiteY15" fmla="*/ 190195 h 387705"/>
                  <a:gd name="connsiteX16" fmla="*/ 782726 w 1587398"/>
                  <a:gd name="connsiteY16" fmla="*/ 197510 h 387705"/>
                  <a:gd name="connsiteX17" fmla="*/ 797357 w 1587398"/>
                  <a:gd name="connsiteY17" fmla="*/ 212140 h 387705"/>
                  <a:gd name="connsiteX18" fmla="*/ 863193 w 1587398"/>
                  <a:gd name="connsiteY18" fmla="*/ 197510 h 387705"/>
                  <a:gd name="connsiteX19" fmla="*/ 885139 w 1587398"/>
                  <a:gd name="connsiteY19" fmla="*/ 204825 h 387705"/>
                  <a:gd name="connsiteX20" fmla="*/ 892454 w 1587398"/>
                  <a:gd name="connsiteY20" fmla="*/ 226771 h 387705"/>
                  <a:gd name="connsiteX21" fmla="*/ 921715 w 1587398"/>
                  <a:gd name="connsiteY21" fmla="*/ 270662 h 387705"/>
                  <a:gd name="connsiteX22" fmla="*/ 921715 w 1587398"/>
                  <a:gd name="connsiteY22" fmla="*/ 270662 h 387705"/>
                  <a:gd name="connsiteX23" fmla="*/ 972921 w 1587398"/>
                  <a:gd name="connsiteY23" fmla="*/ 299923 h 387705"/>
                  <a:gd name="connsiteX24" fmla="*/ 987552 w 1587398"/>
                  <a:gd name="connsiteY24" fmla="*/ 321868 h 387705"/>
                  <a:gd name="connsiteX25" fmla="*/ 1016813 w 1587398"/>
                  <a:gd name="connsiteY25" fmla="*/ 329184 h 387705"/>
                  <a:gd name="connsiteX26" fmla="*/ 1038758 w 1587398"/>
                  <a:gd name="connsiteY26" fmla="*/ 336499 h 387705"/>
                  <a:gd name="connsiteX27" fmla="*/ 1082649 w 1587398"/>
                  <a:gd name="connsiteY27" fmla="*/ 358444 h 387705"/>
                  <a:gd name="connsiteX28" fmla="*/ 1148486 w 1587398"/>
                  <a:gd name="connsiteY28" fmla="*/ 336499 h 387705"/>
                  <a:gd name="connsiteX29" fmla="*/ 1192377 w 1587398"/>
                  <a:gd name="connsiteY29" fmla="*/ 321868 h 387705"/>
                  <a:gd name="connsiteX30" fmla="*/ 1228953 w 1587398"/>
                  <a:gd name="connsiteY30" fmla="*/ 329184 h 387705"/>
                  <a:gd name="connsiteX31" fmla="*/ 1250899 w 1587398"/>
                  <a:gd name="connsiteY31" fmla="*/ 336499 h 387705"/>
                  <a:gd name="connsiteX32" fmla="*/ 1294790 w 1587398"/>
                  <a:gd name="connsiteY32" fmla="*/ 329184 h 387705"/>
                  <a:gd name="connsiteX33" fmla="*/ 1309421 w 1587398"/>
                  <a:gd name="connsiteY33" fmla="*/ 307238 h 387705"/>
                  <a:gd name="connsiteX34" fmla="*/ 1353312 w 1587398"/>
                  <a:gd name="connsiteY34" fmla="*/ 285292 h 387705"/>
                  <a:gd name="connsiteX35" fmla="*/ 1448409 w 1587398"/>
                  <a:gd name="connsiteY35" fmla="*/ 292608 h 387705"/>
                  <a:gd name="connsiteX36" fmla="*/ 1492301 w 1587398"/>
                  <a:gd name="connsiteY36" fmla="*/ 307238 h 387705"/>
                  <a:gd name="connsiteX37" fmla="*/ 1536192 w 1587398"/>
                  <a:gd name="connsiteY37" fmla="*/ 336499 h 387705"/>
                  <a:gd name="connsiteX38" fmla="*/ 1580083 w 1587398"/>
                  <a:gd name="connsiteY38" fmla="*/ 365760 h 387705"/>
                  <a:gd name="connsiteX39" fmla="*/ 1587398 w 1587398"/>
                  <a:gd name="connsiteY39" fmla="*/ 387705 h 387705"/>
                  <a:gd name="connsiteX0" fmla="*/ 0 w 1580083"/>
                  <a:gd name="connsiteY0" fmla="*/ 7315 h 365760"/>
                  <a:gd name="connsiteX1" fmla="*/ 36576 w 1580083"/>
                  <a:gd name="connsiteY1" fmla="*/ 14630 h 365760"/>
                  <a:gd name="connsiteX2" fmla="*/ 138989 w 1580083"/>
                  <a:gd name="connsiteY2" fmla="*/ 0 h 365760"/>
                  <a:gd name="connsiteX3" fmla="*/ 197510 w 1580083"/>
                  <a:gd name="connsiteY3" fmla="*/ 7315 h 365760"/>
                  <a:gd name="connsiteX4" fmla="*/ 241401 w 1580083"/>
                  <a:gd name="connsiteY4" fmla="*/ 21945 h 365760"/>
                  <a:gd name="connsiteX5" fmla="*/ 285293 w 1580083"/>
                  <a:gd name="connsiteY5" fmla="*/ 29260 h 365760"/>
                  <a:gd name="connsiteX6" fmla="*/ 424281 w 1580083"/>
                  <a:gd name="connsiteY6" fmla="*/ 43891 h 365760"/>
                  <a:gd name="connsiteX7" fmla="*/ 446227 w 1580083"/>
                  <a:gd name="connsiteY7" fmla="*/ 51206 h 365760"/>
                  <a:gd name="connsiteX8" fmla="*/ 475488 w 1580083"/>
                  <a:gd name="connsiteY8" fmla="*/ 58521 h 365760"/>
                  <a:gd name="connsiteX9" fmla="*/ 497433 w 1580083"/>
                  <a:gd name="connsiteY9" fmla="*/ 65836 h 365760"/>
                  <a:gd name="connsiteX10" fmla="*/ 592531 w 1580083"/>
                  <a:gd name="connsiteY10" fmla="*/ 73152 h 365760"/>
                  <a:gd name="connsiteX11" fmla="*/ 636422 w 1580083"/>
                  <a:gd name="connsiteY11" fmla="*/ 87782 h 365760"/>
                  <a:gd name="connsiteX12" fmla="*/ 643737 w 1580083"/>
                  <a:gd name="connsiteY12" fmla="*/ 109728 h 365760"/>
                  <a:gd name="connsiteX13" fmla="*/ 665683 w 1580083"/>
                  <a:gd name="connsiteY13" fmla="*/ 117043 h 365760"/>
                  <a:gd name="connsiteX14" fmla="*/ 731520 w 1580083"/>
                  <a:gd name="connsiteY14" fmla="*/ 153619 h 365760"/>
                  <a:gd name="connsiteX15" fmla="*/ 760781 w 1580083"/>
                  <a:gd name="connsiteY15" fmla="*/ 190195 h 365760"/>
                  <a:gd name="connsiteX16" fmla="*/ 782726 w 1580083"/>
                  <a:gd name="connsiteY16" fmla="*/ 197510 h 365760"/>
                  <a:gd name="connsiteX17" fmla="*/ 797357 w 1580083"/>
                  <a:gd name="connsiteY17" fmla="*/ 212140 h 365760"/>
                  <a:gd name="connsiteX18" fmla="*/ 863193 w 1580083"/>
                  <a:gd name="connsiteY18" fmla="*/ 197510 h 365760"/>
                  <a:gd name="connsiteX19" fmla="*/ 885139 w 1580083"/>
                  <a:gd name="connsiteY19" fmla="*/ 204825 h 365760"/>
                  <a:gd name="connsiteX20" fmla="*/ 892454 w 1580083"/>
                  <a:gd name="connsiteY20" fmla="*/ 226771 h 365760"/>
                  <a:gd name="connsiteX21" fmla="*/ 921715 w 1580083"/>
                  <a:gd name="connsiteY21" fmla="*/ 270662 h 365760"/>
                  <a:gd name="connsiteX22" fmla="*/ 921715 w 1580083"/>
                  <a:gd name="connsiteY22" fmla="*/ 270662 h 365760"/>
                  <a:gd name="connsiteX23" fmla="*/ 972921 w 1580083"/>
                  <a:gd name="connsiteY23" fmla="*/ 299923 h 365760"/>
                  <a:gd name="connsiteX24" fmla="*/ 987552 w 1580083"/>
                  <a:gd name="connsiteY24" fmla="*/ 321868 h 365760"/>
                  <a:gd name="connsiteX25" fmla="*/ 1016813 w 1580083"/>
                  <a:gd name="connsiteY25" fmla="*/ 329184 h 365760"/>
                  <a:gd name="connsiteX26" fmla="*/ 1038758 w 1580083"/>
                  <a:gd name="connsiteY26" fmla="*/ 336499 h 365760"/>
                  <a:gd name="connsiteX27" fmla="*/ 1082649 w 1580083"/>
                  <a:gd name="connsiteY27" fmla="*/ 358444 h 365760"/>
                  <a:gd name="connsiteX28" fmla="*/ 1148486 w 1580083"/>
                  <a:gd name="connsiteY28" fmla="*/ 336499 h 365760"/>
                  <a:gd name="connsiteX29" fmla="*/ 1192377 w 1580083"/>
                  <a:gd name="connsiteY29" fmla="*/ 321868 h 365760"/>
                  <a:gd name="connsiteX30" fmla="*/ 1228953 w 1580083"/>
                  <a:gd name="connsiteY30" fmla="*/ 329184 h 365760"/>
                  <a:gd name="connsiteX31" fmla="*/ 1250899 w 1580083"/>
                  <a:gd name="connsiteY31" fmla="*/ 336499 h 365760"/>
                  <a:gd name="connsiteX32" fmla="*/ 1294790 w 1580083"/>
                  <a:gd name="connsiteY32" fmla="*/ 329184 h 365760"/>
                  <a:gd name="connsiteX33" fmla="*/ 1309421 w 1580083"/>
                  <a:gd name="connsiteY33" fmla="*/ 307238 h 365760"/>
                  <a:gd name="connsiteX34" fmla="*/ 1353312 w 1580083"/>
                  <a:gd name="connsiteY34" fmla="*/ 285292 h 365760"/>
                  <a:gd name="connsiteX35" fmla="*/ 1448409 w 1580083"/>
                  <a:gd name="connsiteY35" fmla="*/ 292608 h 365760"/>
                  <a:gd name="connsiteX36" fmla="*/ 1492301 w 1580083"/>
                  <a:gd name="connsiteY36" fmla="*/ 307238 h 365760"/>
                  <a:gd name="connsiteX37" fmla="*/ 1536192 w 1580083"/>
                  <a:gd name="connsiteY37" fmla="*/ 336499 h 365760"/>
                  <a:gd name="connsiteX38" fmla="*/ 1580083 w 1580083"/>
                  <a:gd name="connsiteY38" fmla="*/ 365760 h 365760"/>
                  <a:gd name="connsiteX0" fmla="*/ 0 w 1536192"/>
                  <a:gd name="connsiteY0" fmla="*/ 7315 h 358444"/>
                  <a:gd name="connsiteX1" fmla="*/ 36576 w 1536192"/>
                  <a:gd name="connsiteY1" fmla="*/ 14630 h 358444"/>
                  <a:gd name="connsiteX2" fmla="*/ 138989 w 1536192"/>
                  <a:gd name="connsiteY2" fmla="*/ 0 h 358444"/>
                  <a:gd name="connsiteX3" fmla="*/ 197510 w 1536192"/>
                  <a:gd name="connsiteY3" fmla="*/ 7315 h 358444"/>
                  <a:gd name="connsiteX4" fmla="*/ 241401 w 1536192"/>
                  <a:gd name="connsiteY4" fmla="*/ 21945 h 358444"/>
                  <a:gd name="connsiteX5" fmla="*/ 285293 w 1536192"/>
                  <a:gd name="connsiteY5" fmla="*/ 29260 h 358444"/>
                  <a:gd name="connsiteX6" fmla="*/ 424281 w 1536192"/>
                  <a:gd name="connsiteY6" fmla="*/ 43891 h 358444"/>
                  <a:gd name="connsiteX7" fmla="*/ 446227 w 1536192"/>
                  <a:gd name="connsiteY7" fmla="*/ 51206 h 358444"/>
                  <a:gd name="connsiteX8" fmla="*/ 475488 w 1536192"/>
                  <a:gd name="connsiteY8" fmla="*/ 58521 h 358444"/>
                  <a:gd name="connsiteX9" fmla="*/ 497433 w 1536192"/>
                  <a:gd name="connsiteY9" fmla="*/ 65836 h 358444"/>
                  <a:gd name="connsiteX10" fmla="*/ 592531 w 1536192"/>
                  <a:gd name="connsiteY10" fmla="*/ 73152 h 358444"/>
                  <a:gd name="connsiteX11" fmla="*/ 636422 w 1536192"/>
                  <a:gd name="connsiteY11" fmla="*/ 87782 h 358444"/>
                  <a:gd name="connsiteX12" fmla="*/ 643737 w 1536192"/>
                  <a:gd name="connsiteY12" fmla="*/ 109728 h 358444"/>
                  <a:gd name="connsiteX13" fmla="*/ 665683 w 1536192"/>
                  <a:gd name="connsiteY13" fmla="*/ 117043 h 358444"/>
                  <a:gd name="connsiteX14" fmla="*/ 731520 w 1536192"/>
                  <a:gd name="connsiteY14" fmla="*/ 153619 h 358444"/>
                  <a:gd name="connsiteX15" fmla="*/ 760781 w 1536192"/>
                  <a:gd name="connsiteY15" fmla="*/ 190195 h 358444"/>
                  <a:gd name="connsiteX16" fmla="*/ 782726 w 1536192"/>
                  <a:gd name="connsiteY16" fmla="*/ 197510 h 358444"/>
                  <a:gd name="connsiteX17" fmla="*/ 797357 w 1536192"/>
                  <a:gd name="connsiteY17" fmla="*/ 212140 h 358444"/>
                  <a:gd name="connsiteX18" fmla="*/ 863193 w 1536192"/>
                  <a:gd name="connsiteY18" fmla="*/ 197510 h 358444"/>
                  <a:gd name="connsiteX19" fmla="*/ 885139 w 1536192"/>
                  <a:gd name="connsiteY19" fmla="*/ 204825 h 358444"/>
                  <a:gd name="connsiteX20" fmla="*/ 892454 w 1536192"/>
                  <a:gd name="connsiteY20" fmla="*/ 226771 h 358444"/>
                  <a:gd name="connsiteX21" fmla="*/ 921715 w 1536192"/>
                  <a:gd name="connsiteY21" fmla="*/ 270662 h 358444"/>
                  <a:gd name="connsiteX22" fmla="*/ 921715 w 1536192"/>
                  <a:gd name="connsiteY22" fmla="*/ 270662 h 358444"/>
                  <a:gd name="connsiteX23" fmla="*/ 972921 w 1536192"/>
                  <a:gd name="connsiteY23" fmla="*/ 299923 h 358444"/>
                  <a:gd name="connsiteX24" fmla="*/ 987552 w 1536192"/>
                  <a:gd name="connsiteY24" fmla="*/ 321868 h 358444"/>
                  <a:gd name="connsiteX25" fmla="*/ 1016813 w 1536192"/>
                  <a:gd name="connsiteY25" fmla="*/ 329184 h 358444"/>
                  <a:gd name="connsiteX26" fmla="*/ 1038758 w 1536192"/>
                  <a:gd name="connsiteY26" fmla="*/ 336499 h 358444"/>
                  <a:gd name="connsiteX27" fmla="*/ 1082649 w 1536192"/>
                  <a:gd name="connsiteY27" fmla="*/ 358444 h 358444"/>
                  <a:gd name="connsiteX28" fmla="*/ 1148486 w 1536192"/>
                  <a:gd name="connsiteY28" fmla="*/ 336499 h 358444"/>
                  <a:gd name="connsiteX29" fmla="*/ 1192377 w 1536192"/>
                  <a:gd name="connsiteY29" fmla="*/ 321868 h 358444"/>
                  <a:gd name="connsiteX30" fmla="*/ 1228953 w 1536192"/>
                  <a:gd name="connsiteY30" fmla="*/ 329184 h 358444"/>
                  <a:gd name="connsiteX31" fmla="*/ 1250899 w 1536192"/>
                  <a:gd name="connsiteY31" fmla="*/ 336499 h 358444"/>
                  <a:gd name="connsiteX32" fmla="*/ 1294790 w 1536192"/>
                  <a:gd name="connsiteY32" fmla="*/ 329184 h 358444"/>
                  <a:gd name="connsiteX33" fmla="*/ 1309421 w 1536192"/>
                  <a:gd name="connsiteY33" fmla="*/ 307238 h 358444"/>
                  <a:gd name="connsiteX34" fmla="*/ 1353312 w 1536192"/>
                  <a:gd name="connsiteY34" fmla="*/ 285292 h 358444"/>
                  <a:gd name="connsiteX35" fmla="*/ 1448409 w 1536192"/>
                  <a:gd name="connsiteY35" fmla="*/ 292608 h 358444"/>
                  <a:gd name="connsiteX36" fmla="*/ 1492301 w 1536192"/>
                  <a:gd name="connsiteY36" fmla="*/ 307238 h 358444"/>
                  <a:gd name="connsiteX37" fmla="*/ 1536192 w 1536192"/>
                  <a:gd name="connsiteY37" fmla="*/ 336499 h 358444"/>
                  <a:gd name="connsiteX0" fmla="*/ 0 w 1492301"/>
                  <a:gd name="connsiteY0" fmla="*/ 7315 h 358444"/>
                  <a:gd name="connsiteX1" fmla="*/ 36576 w 1492301"/>
                  <a:gd name="connsiteY1" fmla="*/ 14630 h 358444"/>
                  <a:gd name="connsiteX2" fmla="*/ 138989 w 1492301"/>
                  <a:gd name="connsiteY2" fmla="*/ 0 h 358444"/>
                  <a:gd name="connsiteX3" fmla="*/ 197510 w 1492301"/>
                  <a:gd name="connsiteY3" fmla="*/ 7315 h 358444"/>
                  <a:gd name="connsiteX4" fmla="*/ 241401 w 1492301"/>
                  <a:gd name="connsiteY4" fmla="*/ 21945 h 358444"/>
                  <a:gd name="connsiteX5" fmla="*/ 285293 w 1492301"/>
                  <a:gd name="connsiteY5" fmla="*/ 29260 h 358444"/>
                  <a:gd name="connsiteX6" fmla="*/ 424281 w 1492301"/>
                  <a:gd name="connsiteY6" fmla="*/ 43891 h 358444"/>
                  <a:gd name="connsiteX7" fmla="*/ 446227 w 1492301"/>
                  <a:gd name="connsiteY7" fmla="*/ 51206 h 358444"/>
                  <a:gd name="connsiteX8" fmla="*/ 475488 w 1492301"/>
                  <a:gd name="connsiteY8" fmla="*/ 58521 h 358444"/>
                  <a:gd name="connsiteX9" fmla="*/ 497433 w 1492301"/>
                  <a:gd name="connsiteY9" fmla="*/ 65836 h 358444"/>
                  <a:gd name="connsiteX10" fmla="*/ 592531 w 1492301"/>
                  <a:gd name="connsiteY10" fmla="*/ 73152 h 358444"/>
                  <a:gd name="connsiteX11" fmla="*/ 636422 w 1492301"/>
                  <a:gd name="connsiteY11" fmla="*/ 87782 h 358444"/>
                  <a:gd name="connsiteX12" fmla="*/ 643737 w 1492301"/>
                  <a:gd name="connsiteY12" fmla="*/ 109728 h 358444"/>
                  <a:gd name="connsiteX13" fmla="*/ 665683 w 1492301"/>
                  <a:gd name="connsiteY13" fmla="*/ 117043 h 358444"/>
                  <a:gd name="connsiteX14" fmla="*/ 731520 w 1492301"/>
                  <a:gd name="connsiteY14" fmla="*/ 153619 h 358444"/>
                  <a:gd name="connsiteX15" fmla="*/ 760781 w 1492301"/>
                  <a:gd name="connsiteY15" fmla="*/ 190195 h 358444"/>
                  <a:gd name="connsiteX16" fmla="*/ 782726 w 1492301"/>
                  <a:gd name="connsiteY16" fmla="*/ 197510 h 358444"/>
                  <a:gd name="connsiteX17" fmla="*/ 797357 w 1492301"/>
                  <a:gd name="connsiteY17" fmla="*/ 212140 h 358444"/>
                  <a:gd name="connsiteX18" fmla="*/ 863193 w 1492301"/>
                  <a:gd name="connsiteY18" fmla="*/ 197510 h 358444"/>
                  <a:gd name="connsiteX19" fmla="*/ 885139 w 1492301"/>
                  <a:gd name="connsiteY19" fmla="*/ 204825 h 358444"/>
                  <a:gd name="connsiteX20" fmla="*/ 892454 w 1492301"/>
                  <a:gd name="connsiteY20" fmla="*/ 226771 h 358444"/>
                  <a:gd name="connsiteX21" fmla="*/ 921715 w 1492301"/>
                  <a:gd name="connsiteY21" fmla="*/ 270662 h 358444"/>
                  <a:gd name="connsiteX22" fmla="*/ 921715 w 1492301"/>
                  <a:gd name="connsiteY22" fmla="*/ 270662 h 358444"/>
                  <a:gd name="connsiteX23" fmla="*/ 972921 w 1492301"/>
                  <a:gd name="connsiteY23" fmla="*/ 299923 h 358444"/>
                  <a:gd name="connsiteX24" fmla="*/ 987552 w 1492301"/>
                  <a:gd name="connsiteY24" fmla="*/ 321868 h 358444"/>
                  <a:gd name="connsiteX25" fmla="*/ 1016813 w 1492301"/>
                  <a:gd name="connsiteY25" fmla="*/ 329184 h 358444"/>
                  <a:gd name="connsiteX26" fmla="*/ 1038758 w 1492301"/>
                  <a:gd name="connsiteY26" fmla="*/ 336499 h 358444"/>
                  <a:gd name="connsiteX27" fmla="*/ 1082649 w 1492301"/>
                  <a:gd name="connsiteY27" fmla="*/ 358444 h 358444"/>
                  <a:gd name="connsiteX28" fmla="*/ 1148486 w 1492301"/>
                  <a:gd name="connsiteY28" fmla="*/ 336499 h 358444"/>
                  <a:gd name="connsiteX29" fmla="*/ 1192377 w 1492301"/>
                  <a:gd name="connsiteY29" fmla="*/ 321868 h 358444"/>
                  <a:gd name="connsiteX30" fmla="*/ 1228953 w 1492301"/>
                  <a:gd name="connsiteY30" fmla="*/ 329184 h 358444"/>
                  <a:gd name="connsiteX31" fmla="*/ 1250899 w 1492301"/>
                  <a:gd name="connsiteY31" fmla="*/ 336499 h 358444"/>
                  <a:gd name="connsiteX32" fmla="*/ 1294790 w 1492301"/>
                  <a:gd name="connsiteY32" fmla="*/ 329184 h 358444"/>
                  <a:gd name="connsiteX33" fmla="*/ 1309421 w 1492301"/>
                  <a:gd name="connsiteY33" fmla="*/ 307238 h 358444"/>
                  <a:gd name="connsiteX34" fmla="*/ 1353312 w 1492301"/>
                  <a:gd name="connsiteY34" fmla="*/ 285292 h 358444"/>
                  <a:gd name="connsiteX35" fmla="*/ 1448409 w 1492301"/>
                  <a:gd name="connsiteY35" fmla="*/ 292608 h 358444"/>
                  <a:gd name="connsiteX36" fmla="*/ 1492301 w 1492301"/>
                  <a:gd name="connsiteY36" fmla="*/ 307238 h 358444"/>
                  <a:gd name="connsiteX0" fmla="*/ 0 w 1448409"/>
                  <a:gd name="connsiteY0" fmla="*/ 7315 h 358444"/>
                  <a:gd name="connsiteX1" fmla="*/ 36576 w 1448409"/>
                  <a:gd name="connsiteY1" fmla="*/ 14630 h 358444"/>
                  <a:gd name="connsiteX2" fmla="*/ 138989 w 1448409"/>
                  <a:gd name="connsiteY2" fmla="*/ 0 h 358444"/>
                  <a:gd name="connsiteX3" fmla="*/ 197510 w 1448409"/>
                  <a:gd name="connsiteY3" fmla="*/ 7315 h 358444"/>
                  <a:gd name="connsiteX4" fmla="*/ 241401 w 1448409"/>
                  <a:gd name="connsiteY4" fmla="*/ 21945 h 358444"/>
                  <a:gd name="connsiteX5" fmla="*/ 285293 w 1448409"/>
                  <a:gd name="connsiteY5" fmla="*/ 29260 h 358444"/>
                  <a:gd name="connsiteX6" fmla="*/ 424281 w 1448409"/>
                  <a:gd name="connsiteY6" fmla="*/ 43891 h 358444"/>
                  <a:gd name="connsiteX7" fmla="*/ 446227 w 1448409"/>
                  <a:gd name="connsiteY7" fmla="*/ 51206 h 358444"/>
                  <a:gd name="connsiteX8" fmla="*/ 475488 w 1448409"/>
                  <a:gd name="connsiteY8" fmla="*/ 58521 h 358444"/>
                  <a:gd name="connsiteX9" fmla="*/ 497433 w 1448409"/>
                  <a:gd name="connsiteY9" fmla="*/ 65836 h 358444"/>
                  <a:gd name="connsiteX10" fmla="*/ 592531 w 1448409"/>
                  <a:gd name="connsiteY10" fmla="*/ 73152 h 358444"/>
                  <a:gd name="connsiteX11" fmla="*/ 636422 w 1448409"/>
                  <a:gd name="connsiteY11" fmla="*/ 87782 h 358444"/>
                  <a:gd name="connsiteX12" fmla="*/ 643737 w 1448409"/>
                  <a:gd name="connsiteY12" fmla="*/ 109728 h 358444"/>
                  <a:gd name="connsiteX13" fmla="*/ 665683 w 1448409"/>
                  <a:gd name="connsiteY13" fmla="*/ 117043 h 358444"/>
                  <a:gd name="connsiteX14" fmla="*/ 731520 w 1448409"/>
                  <a:gd name="connsiteY14" fmla="*/ 153619 h 358444"/>
                  <a:gd name="connsiteX15" fmla="*/ 760781 w 1448409"/>
                  <a:gd name="connsiteY15" fmla="*/ 190195 h 358444"/>
                  <a:gd name="connsiteX16" fmla="*/ 782726 w 1448409"/>
                  <a:gd name="connsiteY16" fmla="*/ 197510 h 358444"/>
                  <a:gd name="connsiteX17" fmla="*/ 797357 w 1448409"/>
                  <a:gd name="connsiteY17" fmla="*/ 212140 h 358444"/>
                  <a:gd name="connsiteX18" fmla="*/ 863193 w 1448409"/>
                  <a:gd name="connsiteY18" fmla="*/ 197510 h 358444"/>
                  <a:gd name="connsiteX19" fmla="*/ 885139 w 1448409"/>
                  <a:gd name="connsiteY19" fmla="*/ 204825 h 358444"/>
                  <a:gd name="connsiteX20" fmla="*/ 892454 w 1448409"/>
                  <a:gd name="connsiteY20" fmla="*/ 226771 h 358444"/>
                  <a:gd name="connsiteX21" fmla="*/ 921715 w 1448409"/>
                  <a:gd name="connsiteY21" fmla="*/ 270662 h 358444"/>
                  <a:gd name="connsiteX22" fmla="*/ 921715 w 1448409"/>
                  <a:gd name="connsiteY22" fmla="*/ 270662 h 358444"/>
                  <a:gd name="connsiteX23" fmla="*/ 972921 w 1448409"/>
                  <a:gd name="connsiteY23" fmla="*/ 299923 h 358444"/>
                  <a:gd name="connsiteX24" fmla="*/ 987552 w 1448409"/>
                  <a:gd name="connsiteY24" fmla="*/ 321868 h 358444"/>
                  <a:gd name="connsiteX25" fmla="*/ 1016813 w 1448409"/>
                  <a:gd name="connsiteY25" fmla="*/ 329184 h 358444"/>
                  <a:gd name="connsiteX26" fmla="*/ 1038758 w 1448409"/>
                  <a:gd name="connsiteY26" fmla="*/ 336499 h 358444"/>
                  <a:gd name="connsiteX27" fmla="*/ 1082649 w 1448409"/>
                  <a:gd name="connsiteY27" fmla="*/ 358444 h 358444"/>
                  <a:gd name="connsiteX28" fmla="*/ 1148486 w 1448409"/>
                  <a:gd name="connsiteY28" fmla="*/ 336499 h 358444"/>
                  <a:gd name="connsiteX29" fmla="*/ 1192377 w 1448409"/>
                  <a:gd name="connsiteY29" fmla="*/ 321868 h 358444"/>
                  <a:gd name="connsiteX30" fmla="*/ 1228953 w 1448409"/>
                  <a:gd name="connsiteY30" fmla="*/ 329184 h 358444"/>
                  <a:gd name="connsiteX31" fmla="*/ 1250899 w 1448409"/>
                  <a:gd name="connsiteY31" fmla="*/ 336499 h 358444"/>
                  <a:gd name="connsiteX32" fmla="*/ 1294790 w 1448409"/>
                  <a:gd name="connsiteY32" fmla="*/ 329184 h 358444"/>
                  <a:gd name="connsiteX33" fmla="*/ 1309421 w 1448409"/>
                  <a:gd name="connsiteY33" fmla="*/ 307238 h 358444"/>
                  <a:gd name="connsiteX34" fmla="*/ 1353312 w 1448409"/>
                  <a:gd name="connsiteY34" fmla="*/ 285292 h 358444"/>
                  <a:gd name="connsiteX35" fmla="*/ 1448409 w 1448409"/>
                  <a:gd name="connsiteY35" fmla="*/ 292608 h 358444"/>
                  <a:gd name="connsiteX0" fmla="*/ 0 w 1353312"/>
                  <a:gd name="connsiteY0" fmla="*/ 7315 h 358444"/>
                  <a:gd name="connsiteX1" fmla="*/ 36576 w 1353312"/>
                  <a:gd name="connsiteY1" fmla="*/ 14630 h 358444"/>
                  <a:gd name="connsiteX2" fmla="*/ 138989 w 1353312"/>
                  <a:gd name="connsiteY2" fmla="*/ 0 h 358444"/>
                  <a:gd name="connsiteX3" fmla="*/ 197510 w 1353312"/>
                  <a:gd name="connsiteY3" fmla="*/ 7315 h 358444"/>
                  <a:gd name="connsiteX4" fmla="*/ 241401 w 1353312"/>
                  <a:gd name="connsiteY4" fmla="*/ 21945 h 358444"/>
                  <a:gd name="connsiteX5" fmla="*/ 285293 w 1353312"/>
                  <a:gd name="connsiteY5" fmla="*/ 29260 h 358444"/>
                  <a:gd name="connsiteX6" fmla="*/ 424281 w 1353312"/>
                  <a:gd name="connsiteY6" fmla="*/ 43891 h 358444"/>
                  <a:gd name="connsiteX7" fmla="*/ 446227 w 1353312"/>
                  <a:gd name="connsiteY7" fmla="*/ 51206 h 358444"/>
                  <a:gd name="connsiteX8" fmla="*/ 475488 w 1353312"/>
                  <a:gd name="connsiteY8" fmla="*/ 58521 h 358444"/>
                  <a:gd name="connsiteX9" fmla="*/ 497433 w 1353312"/>
                  <a:gd name="connsiteY9" fmla="*/ 65836 h 358444"/>
                  <a:gd name="connsiteX10" fmla="*/ 592531 w 1353312"/>
                  <a:gd name="connsiteY10" fmla="*/ 73152 h 358444"/>
                  <a:gd name="connsiteX11" fmla="*/ 636422 w 1353312"/>
                  <a:gd name="connsiteY11" fmla="*/ 87782 h 358444"/>
                  <a:gd name="connsiteX12" fmla="*/ 643737 w 1353312"/>
                  <a:gd name="connsiteY12" fmla="*/ 109728 h 358444"/>
                  <a:gd name="connsiteX13" fmla="*/ 665683 w 1353312"/>
                  <a:gd name="connsiteY13" fmla="*/ 117043 h 358444"/>
                  <a:gd name="connsiteX14" fmla="*/ 731520 w 1353312"/>
                  <a:gd name="connsiteY14" fmla="*/ 153619 h 358444"/>
                  <a:gd name="connsiteX15" fmla="*/ 760781 w 1353312"/>
                  <a:gd name="connsiteY15" fmla="*/ 190195 h 358444"/>
                  <a:gd name="connsiteX16" fmla="*/ 782726 w 1353312"/>
                  <a:gd name="connsiteY16" fmla="*/ 197510 h 358444"/>
                  <a:gd name="connsiteX17" fmla="*/ 797357 w 1353312"/>
                  <a:gd name="connsiteY17" fmla="*/ 212140 h 358444"/>
                  <a:gd name="connsiteX18" fmla="*/ 863193 w 1353312"/>
                  <a:gd name="connsiteY18" fmla="*/ 197510 h 358444"/>
                  <a:gd name="connsiteX19" fmla="*/ 885139 w 1353312"/>
                  <a:gd name="connsiteY19" fmla="*/ 204825 h 358444"/>
                  <a:gd name="connsiteX20" fmla="*/ 892454 w 1353312"/>
                  <a:gd name="connsiteY20" fmla="*/ 226771 h 358444"/>
                  <a:gd name="connsiteX21" fmla="*/ 921715 w 1353312"/>
                  <a:gd name="connsiteY21" fmla="*/ 270662 h 358444"/>
                  <a:gd name="connsiteX22" fmla="*/ 921715 w 1353312"/>
                  <a:gd name="connsiteY22" fmla="*/ 270662 h 358444"/>
                  <a:gd name="connsiteX23" fmla="*/ 972921 w 1353312"/>
                  <a:gd name="connsiteY23" fmla="*/ 299923 h 358444"/>
                  <a:gd name="connsiteX24" fmla="*/ 987552 w 1353312"/>
                  <a:gd name="connsiteY24" fmla="*/ 321868 h 358444"/>
                  <a:gd name="connsiteX25" fmla="*/ 1016813 w 1353312"/>
                  <a:gd name="connsiteY25" fmla="*/ 329184 h 358444"/>
                  <a:gd name="connsiteX26" fmla="*/ 1038758 w 1353312"/>
                  <a:gd name="connsiteY26" fmla="*/ 336499 h 358444"/>
                  <a:gd name="connsiteX27" fmla="*/ 1082649 w 1353312"/>
                  <a:gd name="connsiteY27" fmla="*/ 358444 h 358444"/>
                  <a:gd name="connsiteX28" fmla="*/ 1148486 w 1353312"/>
                  <a:gd name="connsiteY28" fmla="*/ 336499 h 358444"/>
                  <a:gd name="connsiteX29" fmla="*/ 1192377 w 1353312"/>
                  <a:gd name="connsiteY29" fmla="*/ 321868 h 358444"/>
                  <a:gd name="connsiteX30" fmla="*/ 1228953 w 1353312"/>
                  <a:gd name="connsiteY30" fmla="*/ 329184 h 358444"/>
                  <a:gd name="connsiteX31" fmla="*/ 1250899 w 1353312"/>
                  <a:gd name="connsiteY31" fmla="*/ 336499 h 358444"/>
                  <a:gd name="connsiteX32" fmla="*/ 1294790 w 1353312"/>
                  <a:gd name="connsiteY32" fmla="*/ 329184 h 358444"/>
                  <a:gd name="connsiteX33" fmla="*/ 1309421 w 1353312"/>
                  <a:gd name="connsiteY33" fmla="*/ 307238 h 358444"/>
                  <a:gd name="connsiteX34" fmla="*/ 1353312 w 1353312"/>
                  <a:gd name="connsiteY34" fmla="*/ 285292 h 358444"/>
                  <a:gd name="connsiteX0" fmla="*/ 0 w 1309421"/>
                  <a:gd name="connsiteY0" fmla="*/ 7315 h 358444"/>
                  <a:gd name="connsiteX1" fmla="*/ 36576 w 1309421"/>
                  <a:gd name="connsiteY1" fmla="*/ 14630 h 358444"/>
                  <a:gd name="connsiteX2" fmla="*/ 138989 w 1309421"/>
                  <a:gd name="connsiteY2" fmla="*/ 0 h 358444"/>
                  <a:gd name="connsiteX3" fmla="*/ 197510 w 1309421"/>
                  <a:gd name="connsiteY3" fmla="*/ 7315 h 358444"/>
                  <a:gd name="connsiteX4" fmla="*/ 241401 w 1309421"/>
                  <a:gd name="connsiteY4" fmla="*/ 21945 h 358444"/>
                  <a:gd name="connsiteX5" fmla="*/ 285293 w 1309421"/>
                  <a:gd name="connsiteY5" fmla="*/ 29260 h 358444"/>
                  <a:gd name="connsiteX6" fmla="*/ 424281 w 1309421"/>
                  <a:gd name="connsiteY6" fmla="*/ 43891 h 358444"/>
                  <a:gd name="connsiteX7" fmla="*/ 446227 w 1309421"/>
                  <a:gd name="connsiteY7" fmla="*/ 51206 h 358444"/>
                  <a:gd name="connsiteX8" fmla="*/ 475488 w 1309421"/>
                  <a:gd name="connsiteY8" fmla="*/ 58521 h 358444"/>
                  <a:gd name="connsiteX9" fmla="*/ 497433 w 1309421"/>
                  <a:gd name="connsiteY9" fmla="*/ 65836 h 358444"/>
                  <a:gd name="connsiteX10" fmla="*/ 592531 w 1309421"/>
                  <a:gd name="connsiteY10" fmla="*/ 73152 h 358444"/>
                  <a:gd name="connsiteX11" fmla="*/ 636422 w 1309421"/>
                  <a:gd name="connsiteY11" fmla="*/ 87782 h 358444"/>
                  <a:gd name="connsiteX12" fmla="*/ 643737 w 1309421"/>
                  <a:gd name="connsiteY12" fmla="*/ 109728 h 358444"/>
                  <a:gd name="connsiteX13" fmla="*/ 665683 w 1309421"/>
                  <a:gd name="connsiteY13" fmla="*/ 117043 h 358444"/>
                  <a:gd name="connsiteX14" fmla="*/ 731520 w 1309421"/>
                  <a:gd name="connsiteY14" fmla="*/ 153619 h 358444"/>
                  <a:gd name="connsiteX15" fmla="*/ 760781 w 1309421"/>
                  <a:gd name="connsiteY15" fmla="*/ 190195 h 358444"/>
                  <a:gd name="connsiteX16" fmla="*/ 782726 w 1309421"/>
                  <a:gd name="connsiteY16" fmla="*/ 197510 h 358444"/>
                  <a:gd name="connsiteX17" fmla="*/ 797357 w 1309421"/>
                  <a:gd name="connsiteY17" fmla="*/ 212140 h 358444"/>
                  <a:gd name="connsiteX18" fmla="*/ 863193 w 1309421"/>
                  <a:gd name="connsiteY18" fmla="*/ 197510 h 358444"/>
                  <a:gd name="connsiteX19" fmla="*/ 885139 w 1309421"/>
                  <a:gd name="connsiteY19" fmla="*/ 204825 h 358444"/>
                  <a:gd name="connsiteX20" fmla="*/ 892454 w 1309421"/>
                  <a:gd name="connsiteY20" fmla="*/ 226771 h 358444"/>
                  <a:gd name="connsiteX21" fmla="*/ 921715 w 1309421"/>
                  <a:gd name="connsiteY21" fmla="*/ 270662 h 358444"/>
                  <a:gd name="connsiteX22" fmla="*/ 921715 w 1309421"/>
                  <a:gd name="connsiteY22" fmla="*/ 270662 h 358444"/>
                  <a:gd name="connsiteX23" fmla="*/ 972921 w 1309421"/>
                  <a:gd name="connsiteY23" fmla="*/ 299923 h 358444"/>
                  <a:gd name="connsiteX24" fmla="*/ 987552 w 1309421"/>
                  <a:gd name="connsiteY24" fmla="*/ 321868 h 358444"/>
                  <a:gd name="connsiteX25" fmla="*/ 1016813 w 1309421"/>
                  <a:gd name="connsiteY25" fmla="*/ 329184 h 358444"/>
                  <a:gd name="connsiteX26" fmla="*/ 1038758 w 1309421"/>
                  <a:gd name="connsiteY26" fmla="*/ 336499 h 358444"/>
                  <a:gd name="connsiteX27" fmla="*/ 1082649 w 1309421"/>
                  <a:gd name="connsiteY27" fmla="*/ 358444 h 358444"/>
                  <a:gd name="connsiteX28" fmla="*/ 1148486 w 1309421"/>
                  <a:gd name="connsiteY28" fmla="*/ 336499 h 358444"/>
                  <a:gd name="connsiteX29" fmla="*/ 1192377 w 1309421"/>
                  <a:gd name="connsiteY29" fmla="*/ 321868 h 358444"/>
                  <a:gd name="connsiteX30" fmla="*/ 1228953 w 1309421"/>
                  <a:gd name="connsiteY30" fmla="*/ 329184 h 358444"/>
                  <a:gd name="connsiteX31" fmla="*/ 1250899 w 1309421"/>
                  <a:gd name="connsiteY31" fmla="*/ 336499 h 358444"/>
                  <a:gd name="connsiteX32" fmla="*/ 1294790 w 1309421"/>
                  <a:gd name="connsiteY32" fmla="*/ 329184 h 358444"/>
                  <a:gd name="connsiteX33" fmla="*/ 1309421 w 1309421"/>
                  <a:gd name="connsiteY33" fmla="*/ 307238 h 358444"/>
                  <a:gd name="connsiteX0" fmla="*/ 0 w 1294790"/>
                  <a:gd name="connsiteY0" fmla="*/ 7315 h 358444"/>
                  <a:gd name="connsiteX1" fmla="*/ 36576 w 1294790"/>
                  <a:gd name="connsiteY1" fmla="*/ 14630 h 358444"/>
                  <a:gd name="connsiteX2" fmla="*/ 138989 w 1294790"/>
                  <a:gd name="connsiteY2" fmla="*/ 0 h 358444"/>
                  <a:gd name="connsiteX3" fmla="*/ 197510 w 1294790"/>
                  <a:gd name="connsiteY3" fmla="*/ 7315 h 358444"/>
                  <a:gd name="connsiteX4" fmla="*/ 241401 w 1294790"/>
                  <a:gd name="connsiteY4" fmla="*/ 21945 h 358444"/>
                  <a:gd name="connsiteX5" fmla="*/ 285293 w 1294790"/>
                  <a:gd name="connsiteY5" fmla="*/ 29260 h 358444"/>
                  <a:gd name="connsiteX6" fmla="*/ 424281 w 1294790"/>
                  <a:gd name="connsiteY6" fmla="*/ 43891 h 358444"/>
                  <a:gd name="connsiteX7" fmla="*/ 446227 w 1294790"/>
                  <a:gd name="connsiteY7" fmla="*/ 51206 h 358444"/>
                  <a:gd name="connsiteX8" fmla="*/ 475488 w 1294790"/>
                  <a:gd name="connsiteY8" fmla="*/ 58521 h 358444"/>
                  <a:gd name="connsiteX9" fmla="*/ 497433 w 1294790"/>
                  <a:gd name="connsiteY9" fmla="*/ 65836 h 358444"/>
                  <a:gd name="connsiteX10" fmla="*/ 592531 w 1294790"/>
                  <a:gd name="connsiteY10" fmla="*/ 73152 h 358444"/>
                  <a:gd name="connsiteX11" fmla="*/ 636422 w 1294790"/>
                  <a:gd name="connsiteY11" fmla="*/ 87782 h 358444"/>
                  <a:gd name="connsiteX12" fmla="*/ 643737 w 1294790"/>
                  <a:gd name="connsiteY12" fmla="*/ 109728 h 358444"/>
                  <a:gd name="connsiteX13" fmla="*/ 665683 w 1294790"/>
                  <a:gd name="connsiteY13" fmla="*/ 117043 h 358444"/>
                  <a:gd name="connsiteX14" fmla="*/ 731520 w 1294790"/>
                  <a:gd name="connsiteY14" fmla="*/ 153619 h 358444"/>
                  <a:gd name="connsiteX15" fmla="*/ 760781 w 1294790"/>
                  <a:gd name="connsiteY15" fmla="*/ 190195 h 358444"/>
                  <a:gd name="connsiteX16" fmla="*/ 782726 w 1294790"/>
                  <a:gd name="connsiteY16" fmla="*/ 197510 h 358444"/>
                  <a:gd name="connsiteX17" fmla="*/ 797357 w 1294790"/>
                  <a:gd name="connsiteY17" fmla="*/ 212140 h 358444"/>
                  <a:gd name="connsiteX18" fmla="*/ 863193 w 1294790"/>
                  <a:gd name="connsiteY18" fmla="*/ 197510 h 358444"/>
                  <a:gd name="connsiteX19" fmla="*/ 885139 w 1294790"/>
                  <a:gd name="connsiteY19" fmla="*/ 204825 h 358444"/>
                  <a:gd name="connsiteX20" fmla="*/ 892454 w 1294790"/>
                  <a:gd name="connsiteY20" fmla="*/ 226771 h 358444"/>
                  <a:gd name="connsiteX21" fmla="*/ 921715 w 1294790"/>
                  <a:gd name="connsiteY21" fmla="*/ 270662 h 358444"/>
                  <a:gd name="connsiteX22" fmla="*/ 921715 w 1294790"/>
                  <a:gd name="connsiteY22" fmla="*/ 270662 h 358444"/>
                  <a:gd name="connsiteX23" fmla="*/ 972921 w 1294790"/>
                  <a:gd name="connsiteY23" fmla="*/ 299923 h 358444"/>
                  <a:gd name="connsiteX24" fmla="*/ 987552 w 1294790"/>
                  <a:gd name="connsiteY24" fmla="*/ 321868 h 358444"/>
                  <a:gd name="connsiteX25" fmla="*/ 1016813 w 1294790"/>
                  <a:gd name="connsiteY25" fmla="*/ 329184 h 358444"/>
                  <a:gd name="connsiteX26" fmla="*/ 1038758 w 1294790"/>
                  <a:gd name="connsiteY26" fmla="*/ 336499 h 358444"/>
                  <a:gd name="connsiteX27" fmla="*/ 1082649 w 1294790"/>
                  <a:gd name="connsiteY27" fmla="*/ 358444 h 358444"/>
                  <a:gd name="connsiteX28" fmla="*/ 1148486 w 1294790"/>
                  <a:gd name="connsiteY28" fmla="*/ 336499 h 358444"/>
                  <a:gd name="connsiteX29" fmla="*/ 1192377 w 1294790"/>
                  <a:gd name="connsiteY29" fmla="*/ 321868 h 358444"/>
                  <a:gd name="connsiteX30" fmla="*/ 1228953 w 1294790"/>
                  <a:gd name="connsiteY30" fmla="*/ 329184 h 358444"/>
                  <a:gd name="connsiteX31" fmla="*/ 1250899 w 1294790"/>
                  <a:gd name="connsiteY31" fmla="*/ 336499 h 358444"/>
                  <a:gd name="connsiteX32" fmla="*/ 1294790 w 1294790"/>
                  <a:gd name="connsiteY32" fmla="*/ 329184 h 358444"/>
                  <a:gd name="connsiteX0" fmla="*/ 0 w 1250899"/>
                  <a:gd name="connsiteY0" fmla="*/ 7315 h 358444"/>
                  <a:gd name="connsiteX1" fmla="*/ 36576 w 1250899"/>
                  <a:gd name="connsiteY1" fmla="*/ 14630 h 358444"/>
                  <a:gd name="connsiteX2" fmla="*/ 138989 w 1250899"/>
                  <a:gd name="connsiteY2" fmla="*/ 0 h 358444"/>
                  <a:gd name="connsiteX3" fmla="*/ 197510 w 1250899"/>
                  <a:gd name="connsiteY3" fmla="*/ 7315 h 358444"/>
                  <a:gd name="connsiteX4" fmla="*/ 241401 w 1250899"/>
                  <a:gd name="connsiteY4" fmla="*/ 21945 h 358444"/>
                  <a:gd name="connsiteX5" fmla="*/ 285293 w 1250899"/>
                  <a:gd name="connsiteY5" fmla="*/ 29260 h 358444"/>
                  <a:gd name="connsiteX6" fmla="*/ 424281 w 1250899"/>
                  <a:gd name="connsiteY6" fmla="*/ 43891 h 358444"/>
                  <a:gd name="connsiteX7" fmla="*/ 446227 w 1250899"/>
                  <a:gd name="connsiteY7" fmla="*/ 51206 h 358444"/>
                  <a:gd name="connsiteX8" fmla="*/ 475488 w 1250899"/>
                  <a:gd name="connsiteY8" fmla="*/ 58521 h 358444"/>
                  <a:gd name="connsiteX9" fmla="*/ 497433 w 1250899"/>
                  <a:gd name="connsiteY9" fmla="*/ 65836 h 358444"/>
                  <a:gd name="connsiteX10" fmla="*/ 592531 w 1250899"/>
                  <a:gd name="connsiteY10" fmla="*/ 73152 h 358444"/>
                  <a:gd name="connsiteX11" fmla="*/ 636422 w 1250899"/>
                  <a:gd name="connsiteY11" fmla="*/ 87782 h 358444"/>
                  <a:gd name="connsiteX12" fmla="*/ 643737 w 1250899"/>
                  <a:gd name="connsiteY12" fmla="*/ 109728 h 358444"/>
                  <a:gd name="connsiteX13" fmla="*/ 665683 w 1250899"/>
                  <a:gd name="connsiteY13" fmla="*/ 117043 h 358444"/>
                  <a:gd name="connsiteX14" fmla="*/ 731520 w 1250899"/>
                  <a:gd name="connsiteY14" fmla="*/ 153619 h 358444"/>
                  <a:gd name="connsiteX15" fmla="*/ 760781 w 1250899"/>
                  <a:gd name="connsiteY15" fmla="*/ 190195 h 358444"/>
                  <a:gd name="connsiteX16" fmla="*/ 782726 w 1250899"/>
                  <a:gd name="connsiteY16" fmla="*/ 197510 h 358444"/>
                  <a:gd name="connsiteX17" fmla="*/ 797357 w 1250899"/>
                  <a:gd name="connsiteY17" fmla="*/ 212140 h 358444"/>
                  <a:gd name="connsiteX18" fmla="*/ 863193 w 1250899"/>
                  <a:gd name="connsiteY18" fmla="*/ 197510 h 358444"/>
                  <a:gd name="connsiteX19" fmla="*/ 885139 w 1250899"/>
                  <a:gd name="connsiteY19" fmla="*/ 204825 h 358444"/>
                  <a:gd name="connsiteX20" fmla="*/ 892454 w 1250899"/>
                  <a:gd name="connsiteY20" fmla="*/ 226771 h 358444"/>
                  <a:gd name="connsiteX21" fmla="*/ 921715 w 1250899"/>
                  <a:gd name="connsiteY21" fmla="*/ 270662 h 358444"/>
                  <a:gd name="connsiteX22" fmla="*/ 921715 w 1250899"/>
                  <a:gd name="connsiteY22" fmla="*/ 270662 h 358444"/>
                  <a:gd name="connsiteX23" fmla="*/ 972921 w 1250899"/>
                  <a:gd name="connsiteY23" fmla="*/ 299923 h 358444"/>
                  <a:gd name="connsiteX24" fmla="*/ 987552 w 1250899"/>
                  <a:gd name="connsiteY24" fmla="*/ 321868 h 358444"/>
                  <a:gd name="connsiteX25" fmla="*/ 1016813 w 1250899"/>
                  <a:gd name="connsiteY25" fmla="*/ 329184 h 358444"/>
                  <a:gd name="connsiteX26" fmla="*/ 1038758 w 1250899"/>
                  <a:gd name="connsiteY26" fmla="*/ 336499 h 358444"/>
                  <a:gd name="connsiteX27" fmla="*/ 1082649 w 1250899"/>
                  <a:gd name="connsiteY27" fmla="*/ 358444 h 358444"/>
                  <a:gd name="connsiteX28" fmla="*/ 1148486 w 1250899"/>
                  <a:gd name="connsiteY28" fmla="*/ 336499 h 358444"/>
                  <a:gd name="connsiteX29" fmla="*/ 1192377 w 1250899"/>
                  <a:gd name="connsiteY29" fmla="*/ 321868 h 358444"/>
                  <a:gd name="connsiteX30" fmla="*/ 1228953 w 1250899"/>
                  <a:gd name="connsiteY30" fmla="*/ 329184 h 358444"/>
                  <a:gd name="connsiteX31" fmla="*/ 1250899 w 1250899"/>
                  <a:gd name="connsiteY31" fmla="*/ 336499 h 358444"/>
                  <a:gd name="connsiteX0" fmla="*/ 0 w 1228953"/>
                  <a:gd name="connsiteY0" fmla="*/ 7315 h 358444"/>
                  <a:gd name="connsiteX1" fmla="*/ 36576 w 1228953"/>
                  <a:gd name="connsiteY1" fmla="*/ 14630 h 358444"/>
                  <a:gd name="connsiteX2" fmla="*/ 138989 w 1228953"/>
                  <a:gd name="connsiteY2" fmla="*/ 0 h 358444"/>
                  <a:gd name="connsiteX3" fmla="*/ 197510 w 1228953"/>
                  <a:gd name="connsiteY3" fmla="*/ 7315 h 358444"/>
                  <a:gd name="connsiteX4" fmla="*/ 241401 w 1228953"/>
                  <a:gd name="connsiteY4" fmla="*/ 21945 h 358444"/>
                  <a:gd name="connsiteX5" fmla="*/ 285293 w 1228953"/>
                  <a:gd name="connsiteY5" fmla="*/ 29260 h 358444"/>
                  <a:gd name="connsiteX6" fmla="*/ 424281 w 1228953"/>
                  <a:gd name="connsiteY6" fmla="*/ 43891 h 358444"/>
                  <a:gd name="connsiteX7" fmla="*/ 446227 w 1228953"/>
                  <a:gd name="connsiteY7" fmla="*/ 51206 h 358444"/>
                  <a:gd name="connsiteX8" fmla="*/ 475488 w 1228953"/>
                  <a:gd name="connsiteY8" fmla="*/ 58521 h 358444"/>
                  <a:gd name="connsiteX9" fmla="*/ 497433 w 1228953"/>
                  <a:gd name="connsiteY9" fmla="*/ 65836 h 358444"/>
                  <a:gd name="connsiteX10" fmla="*/ 592531 w 1228953"/>
                  <a:gd name="connsiteY10" fmla="*/ 73152 h 358444"/>
                  <a:gd name="connsiteX11" fmla="*/ 636422 w 1228953"/>
                  <a:gd name="connsiteY11" fmla="*/ 87782 h 358444"/>
                  <a:gd name="connsiteX12" fmla="*/ 643737 w 1228953"/>
                  <a:gd name="connsiteY12" fmla="*/ 109728 h 358444"/>
                  <a:gd name="connsiteX13" fmla="*/ 665683 w 1228953"/>
                  <a:gd name="connsiteY13" fmla="*/ 117043 h 358444"/>
                  <a:gd name="connsiteX14" fmla="*/ 731520 w 1228953"/>
                  <a:gd name="connsiteY14" fmla="*/ 153619 h 358444"/>
                  <a:gd name="connsiteX15" fmla="*/ 760781 w 1228953"/>
                  <a:gd name="connsiteY15" fmla="*/ 190195 h 358444"/>
                  <a:gd name="connsiteX16" fmla="*/ 782726 w 1228953"/>
                  <a:gd name="connsiteY16" fmla="*/ 197510 h 358444"/>
                  <a:gd name="connsiteX17" fmla="*/ 797357 w 1228953"/>
                  <a:gd name="connsiteY17" fmla="*/ 212140 h 358444"/>
                  <a:gd name="connsiteX18" fmla="*/ 863193 w 1228953"/>
                  <a:gd name="connsiteY18" fmla="*/ 197510 h 358444"/>
                  <a:gd name="connsiteX19" fmla="*/ 885139 w 1228953"/>
                  <a:gd name="connsiteY19" fmla="*/ 204825 h 358444"/>
                  <a:gd name="connsiteX20" fmla="*/ 892454 w 1228953"/>
                  <a:gd name="connsiteY20" fmla="*/ 226771 h 358444"/>
                  <a:gd name="connsiteX21" fmla="*/ 921715 w 1228953"/>
                  <a:gd name="connsiteY21" fmla="*/ 270662 h 358444"/>
                  <a:gd name="connsiteX22" fmla="*/ 921715 w 1228953"/>
                  <a:gd name="connsiteY22" fmla="*/ 270662 h 358444"/>
                  <a:gd name="connsiteX23" fmla="*/ 972921 w 1228953"/>
                  <a:gd name="connsiteY23" fmla="*/ 299923 h 358444"/>
                  <a:gd name="connsiteX24" fmla="*/ 987552 w 1228953"/>
                  <a:gd name="connsiteY24" fmla="*/ 321868 h 358444"/>
                  <a:gd name="connsiteX25" fmla="*/ 1016813 w 1228953"/>
                  <a:gd name="connsiteY25" fmla="*/ 329184 h 358444"/>
                  <a:gd name="connsiteX26" fmla="*/ 1038758 w 1228953"/>
                  <a:gd name="connsiteY26" fmla="*/ 336499 h 358444"/>
                  <a:gd name="connsiteX27" fmla="*/ 1082649 w 1228953"/>
                  <a:gd name="connsiteY27" fmla="*/ 358444 h 358444"/>
                  <a:gd name="connsiteX28" fmla="*/ 1148486 w 1228953"/>
                  <a:gd name="connsiteY28" fmla="*/ 336499 h 358444"/>
                  <a:gd name="connsiteX29" fmla="*/ 1192377 w 1228953"/>
                  <a:gd name="connsiteY29" fmla="*/ 321868 h 358444"/>
                  <a:gd name="connsiteX30" fmla="*/ 1228953 w 1228953"/>
                  <a:gd name="connsiteY30" fmla="*/ 329184 h 358444"/>
                  <a:gd name="connsiteX0" fmla="*/ 0 w 1192377"/>
                  <a:gd name="connsiteY0" fmla="*/ 7315 h 358444"/>
                  <a:gd name="connsiteX1" fmla="*/ 36576 w 1192377"/>
                  <a:gd name="connsiteY1" fmla="*/ 14630 h 358444"/>
                  <a:gd name="connsiteX2" fmla="*/ 138989 w 1192377"/>
                  <a:gd name="connsiteY2" fmla="*/ 0 h 358444"/>
                  <a:gd name="connsiteX3" fmla="*/ 197510 w 1192377"/>
                  <a:gd name="connsiteY3" fmla="*/ 7315 h 358444"/>
                  <a:gd name="connsiteX4" fmla="*/ 241401 w 1192377"/>
                  <a:gd name="connsiteY4" fmla="*/ 21945 h 358444"/>
                  <a:gd name="connsiteX5" fmla="*/ 285293 w 1192377"/>
                  <a:gd name="connsiteY5" fmla="*/ 29260 h 358444"/>
                  <a:gd name="connsiteX6" fmla="*/ 424281 w 1192377"/>
                  <a:gd name="connsiteY6" fmla="*/ 43891 h 358444"/>
                  <a:gd name="connsiteX7" fmla="*/ 446227 w 1192377"/>
                  <a:gd name="connsiteY7" fmla="*/ 51206 h 358444"/>
                  <a:gd name="connsiteX8" fmla="*/ 475488 w 1192377"/>
                  <a:gd name="connsiteY8" fmla="*/ 58521 h 358444"/>
                  <a:gd name="connsiteX9" fmla="*/ 497433 w 1192377"/>
                  <a:gd name="connsiteY9" fmla="*/ 65836 h 358444"/>
                  <a:gd name="connsiteX10" fmla="*/ 592531 w 1192377"/>
                  <a:gd name="connsiteY10" fmla="*/ 73152 h 358444"/>
                  <a:gd name="connsiteX11" fmla="*/ 636422 w 1192377"/>
                  <a:gd name="connsiteY11" fmla="*/ 87782 h 358444"/>
                  <a:gd name="connsiteX12" fmla="*/ 643737 w 1192377"/>
                  <a:gd name="connsiteY12" fmla="*/ 109728 h 358444"/>
                  <a:gd name="connsiteX13" fmla="*/ 665683 w 1192377"/>
                  <a:gd name="connsiteY13" fmla="*/ 117043 h 358444"/>
                  <a:gd name="connsiteX14" fmla="*/ 731520 w 1192377"/>
                  <a:gd name="connsiteY14" fmla="*/ 153619 h 358444"/>
                  <a:gd name="connsiteX15" fmla="*/ 760781 w 1192377"/>
                  <a:gd name="connsiteY15" fmla="*/ 190195 h 358444"/>
                  <a:gd name="connsiteX16" fmla="*/ 782726 w 1192377"/>
                  <a:gd name="connsiteY16" fmla="*/ 197510 h 358444"/>
                  <a:gd name="connsiteX17" fmla="*/ 797357 w 1192377"/>
                  <a:gd name="connsiteY17" fmla="*/ 212140 h 358444"/>
                  <a:gd name="connsiteX18" fmla="*/ 863193 w 1192377"/>
                  <a:gd name="connsiteY18" fmla="*/ 197510 h 358444"/>
                  <a:gd name="connsiteX19" fmla="*/ 885139 w 1192377"/>
                  <a:gd name="connsiteY19" fmla="*/ 204825 h 358444"/>
                  <a:gd name="connsiteX20" fmla="*/ 892454 w 1192377"/>
                  <a:gd name="connsiteY20" fmla="*/ 226771 h 358444"/>
                  <a:gd name="connsiteX21" fmla="*/ 921715 w 1192377"/>
                  <a:gd name="connsiteY21" fmla="*/ 270662 h 358444"/>
                  <a:gd name="connsiteX22" fmla="*/ 921715 w 1192377"/>
                  <a:gd name="connsiteY22" fmla="*/ 270662 h 358444"/>
                  <a:gd name="connsiteX23" fmla="*/ 972921 w 1192377"/>
                  <a:gd name="connsiteY23" fmla="*/ 299923 h 358444"/>
                  <a:gd name="connsiteX24" fmla="*/ 987552 w 1192377"/>
                  <a:gd name="connsiteY24" fmla="*/ 321868 h 358444"/>
                  <a:gd name="connsiteX25" fmla="*/ 1016813 w 1192377"/>
                  <a:gd name="connsiteY25" fmla="*/ 329184 h 358444"/>
                  <a:gd name="connsiteX26" fmla="*/ 1038758 w 1192377"/>
                  <a:gd name="connsiteY26" fmla="*/ 336499 h 358444"/>
                  <a:gd name="connsiteX27" fmla="*/ 1082649 w 1192377"/>
                  <a:gd name="connsiteY27" fmla="*/ 358444 h 358444"/>
                  <a:gd name="connsiteX28" fmla="*/ 1148486 w 1192377"/>
                  <a:gd name="connsiteY28" fmla="*/ 336499 h 358444"/>
                  <a:gd name="connsiteX29" fmla="*/ 1192377 w 1192377"/>
                  <a:gd name="connsiteY29" fmla="*/ 321868 h 358444"/>
                  <a:gd name="connsiteX0" fmla="*/ 0 w 1148486"/>
                  <a:gd name="connsiteY0" fmla="*/ 7315 h 358444"/>
                  <a:gd name="connsiteX1" fmla="*/ 36576 w 1148486"/>
                  <a:gd name="connsiteY1" fmla="*/ 14630 h 358444"/>
                  <a:gd name="connsiteX2" fmla="*/ 138989 w 1148486"/>
                  <a:gd name="connsiteY2" fmla="*/ 0 h 358444"/>
                  <a:gd name="connsiteX3" fmla="*/ 197510 w 1148486"/>
                  <a:gd name="connsiteY3" fmla="*/ 7315 h 358444"/>
                  <a:gd name="connsiteX4" fmla="*/ 241401 w 1148486"/>
                  <a:gd name="connsiteY4" fmla="*/ 21945 h 358444"/>
                  <a:gd name="connsiteX5" fmla="*/ 285293 w 1148486"/>
                  <a:gd name="connsiteY5" fmla="*/ 29260 h 358444"/>
                  <a:gd name="connsiteX6" fmla="*/ 424281 w 1148486"/>
                  <a:gd name="connsiteY6" fmla="*/ 43891 h 358444"/>
                  <a:gd name="connsiteX7" fmla="*/ 446227 w 1148486"/>
                  <a:gd name="connsiteY7" fmla="*/ 51206 h 358444"/>
                  <a:gd name="connsiteX8" fmla="*/ 475488 w 1148486"/>
                  <a:gd name="connsiteY8" fmla="*/ 58521 h 358444"/>
                  <a:gd name="connsiteX9" fmla="*/ 497433 w 1148486"/>
                  <a:gd name="connsiteY9" fmla="*/ 65836 h 358444"/>
                  <a:gd name="connsiteX10" fmla="*/ 592531 w 1148486"/>
                  <a:gd name="connsiteY10" fmla="*/ 73152 h 358444"/>
                  <a:gd name="connsiteX11" fmla="*/ 636422 w 1148486"/>
                  <a:gd name="connsiteY11" fmla="*/ 87782 h 358444"/>
                  <a:gd name="connsiteX12" fmla="*/ 643737 w 1148486"/>
                  <a:gd name="connsiteY12" fmla="*/ 109728 h 358444"/>
                  <a:gd name="connsiteX13" fmla="*/ 665683 w 1148486"/>
                  <a:gd name="connsiteY13" fmla="*/ 117043 h 358444"/>
                  <a:gd name="connsiteX14" fmla="*/ 731520 w 1148486"/>
                  <a:gd name="connsiteY14" fmla="*/ 153619 h 358444"/>
                  <a:gd name="connsiteX15" fmla="*/ 760781 w 1148486"/>
                  <a:gd name="connsiteY15" fmla="*/ 190195 h 358444"/>
                  <a:gd name="connsiteX16" fmla="*/ 782726 w 1148486"/>
                  <a:gd name="connsiteY16" fmla="*/ 197510 h 358444"/>
                  <a:gd name="connsiteX17" fmla="*/ 797357 w 1148486"/>
                  <a:gd name="connsiteY17" fmla="*/ 212140 h 358444"/>
                  <a:gd name="connsiteX18" fmla="*/ 863193 w 1148486"/>
                  <a:gd name="connsiteY18" fmla="*/ 197510 h 358444"/>
                  <a:gd name="connsiteX19" fmla="*/ 885139 w 1148486"/>
                  <a:gd name="connsiteY19" fmla="*/ 204825 h 358444"/>
                  <a:gd name="connsiteX20" fmla="*/ 892454 w 1148486"/>
                  <a:gd name="connsiteY20" fmla="*/ 226771 h 358444"/>
                  <a:gd name="connsiteX21" fmla="*/ 921715 w 1148486"/>
                  <a:gd name="connsiteY21" fmla="*/ 270662 h 358444"/>
                  <a:gd name="connsiteX22" fmla="*/ 921715 w 1148486"/>
                  <a:gd name="connsiteY22" fmla="*/ 270662 h 358444"/>
                  <a:gd name="connsiteX23" fmla="*/ 972921 w 1148486"/>
                  <a:gd name="connsiteY23" fmla="*/ 299923 h 358444"/>
                  <a:gd name="connsiteX24" fmla="*/ 987552 w 1148486"/>
                  <a:gd name="connsiteY24" fmla="*/ 321868 h 358444"/>
                  <a:gd name="connsiteX25" fmla="*/ 1016813 w 1148486"/>
                  <a:gd name="connsiteY25" fmla="*/ 329184 h 358444"/>
                  <a:gd name="connsiteX26" fmla="*/ 1038758 w 1148486"/>
                  <a:gd name="connsiteY26" fmla="*/ 336499 h 358444"/>
                  <a:gd name="connsiteX27" fmla="*/ 1082649 w 1148486"/>
                  <a:gd name="connsiteY27" fmla="*/ 358444 h 358444"/>
                  <a:gd name="connsiteX28" fmla="*/ 1148486 w 1148486"/>
                  <a:gd name="connsiteY28" fmla="*/ 336499 h 358444"/>
                  <a:gd name="connsiteX0" fmla="*/ 0 w 1082649"/>
                  <a:gd name="connsiteY0" fmla="*/ 7315 h 358444"/>
                  <a:gd name="connsiteX1" fmla="*/ 36576 w 1082649"/>
                  <a:gd name="connsiteY1" fmla="*/ 14630 h 358444"/>
                  <a:gd name="connsiteX2" fmla="*/ 138989 w 1082649"/>
                  <a:gd name="connsiteY2" fmla="*/ 0 h 358444"/>
                  <a:gd name="connsiteX3" fmla="*/ 197510 w 1082649"/>
                  <a:gd name="connsiteY3" fmla="*/ 7315 h 358444"/>
                  <a:gd name="connsiteX4" fmla="*/ 241401 w 1082649"/>
                  <a:gd name="connsiteY4" fmla="*/ 21945 h 358444"/>
                  <a:gd name="connsiteX5" fmla="*/ 285293 w 1082649"/>
                  <a:gd name="connsiteY5" fmla="*/ 29260 h 358444"/>
                  <a:gd name="connsiteX6" fmla="*/ 424281 w 1082649"/>
                  <a:gd name="connsiteY6" fmla="*/ 43891 h 358444"/>
                  <a:gd name="connsiteX7" fmla="*/ 446227 w 1082649"/>
                  <a:gd name="connsiteY7" fmla="*/ 51206 h 358444"/>
                  <a:gd name="connsiteX8" fmla="*/ 475488 w 1082649"/>
                  <a:gd name="connsiteY8" fmla="*/ 58521 h 358444"/>
                  <a:gd name="connsiteX9" fmla="*/ 497433 w 1082649"/>
                  <a:gd name="connsiteY9" fmla="*/ 65836 h 358444"/>
                  <a:gd name="connsiteX10" fmla="*/ 592531 w 1082649"/>
                  <a:gd name="connsiteY10" fmla="*/ 73152 h 358444"/>
                  <a:gd name="connsiteX11" fmla="*/ 636422 w 1082649"/>
                  <a:gd name="connsiteY11" fmla="*/ 87782 h 358444"/>
                  <a:gd name="connsiteX12" fmla="*/ 643737 w 1082649"/>
                  <a:gd name="connsiteY12" fmla="*/ 109728 h 358444"/>
                  <a:gd name="connsiteX13" fmla="*/ 665683 w 1082649"/>
                  <a:gd name="connsiteY13" fmla="*/ 117043 h 358444"/>
                  <a:gd name="connsiteX14" fmla="*/ 731520 w 1082649"/>
                  <a:gd name="connsiteY14" fmla="*/ 153619 h 358444"/>
                  <a:gd name="connsiteX15" fmla="*/ 760781 w 1082649"/>
                  <a:gd name="connsiteY15" fmla="*/ 190195 h 358444"/>
                  <a:gd name="connsiteX16" fmla="*/ 782726 w 1082649"/>
                  <a:gd name="connsiteY16" fmla="*/ 197510 h 358444"/>
                  <a:gd name="connsiteX17" fmla="*/ 797357 w 1082649"/>
                  <a:gd name="connsiteY17" fmla="*/ 212140 h 358444"/>
                  <a:gd name="connsiteX18" fmla="*/ 863193 w 1082649"/>
                  <a:gd name="connsiteY18" fmla="*/ 197510 h 358444"/>
                  <a:gd name="connsiteX19" fmla="*/ 885139 w 1082649"/>
                  <a:gd name="connsiteY19" fmla="*/ 204825 h 358444"/>
                  <a:gd name="connsiteX20" fmla="*/ 892454 w 1082649"/>
                  <a:gd name="connsiteY20" fmla="*/ 226771 h 358444"/>
                  <a:gd name="connsiteX21" fmla="*/ 921715 w 1082649"/>
                  <a:gd name="connsiteY21" fmla="*/ 270662 h 358444"/>
                  <a:gd name="connsiteX22" fmla="*/ 921715 w 1082649"/>
                  <a:gd name="connsiteY22" fmla="*/ 270662 h 358444"/>
                  <a:gd name="connsiteX23" fmla="*/ 972921 w 1082649"/>
                  <a:gd name="connsiteY23" fmla="*/ 299923 h 358444"/>
                  <a:gd name="connsiteX24" fmla="*/ 987552 w 1082649"/>
                  <a:gd name="connsiteY24" fmla="*/ 321868 h 358444"/>
                  <a:gd name="connsiteX25" fmla="*/ 1016813 w 1082649"/>
                  <a:gd name="connsiteY25" fmla="*/ 329184 h 358444"/>
                  <a:gd name="connsiteX26" fmla="*/ 1038758 w 1082649"/>
                  <a:gd name="connsiteY26" fmla="*/ 336499 h 358444"/>
                  <a:gd name="connsiteX27" fmla="*/ 1082649 w 1082649"/>
                  <a:gd name="connsiteY27" fmla="*/ 358444 h 358444"/>
                  <a:gd name="connsiteX0" fmla="*/ 0 w 1038758"/>
                  <a:gd name="connsiteY0" fmla="*/ 7315 h 336499"/>
                  <a:gd name="connsiteX1" fmla="*/ 36576 w 1038758"/>
                  <a:gd name="connsiteY1" fmla="*/ 14630 h 336499"/>
                  <a:gd name="connsiteX2" fmla="*/ 138989 w 1038758"/>
                  <a:gd name="connsiteY2" fmla="*/ 0 h 336499"/>
                  <a:gd name="connsiteX3" fmla="*/ 197510 w 1038758"/>
                  <a:gd name="connsiteY3" fmla="*/ 7315 h 336499"/>
                  <a:gd name="connsiteX4" fmla="*/ 241401 w 1038758"/>
                  <a:gd name="connsiteY4" fmla="*/ 21945 h 336499"/>
                  <a:gd name="connsiteX5" fmla="*/ 285293 w 1038758"/>
                  <a:gd name="connsiteY5" fmla="*/ 29260 h 336499"/>
                  <a:gd name="connsiteX6" fmla="*/ 424281 w 1038758"/>
                  <a:gd name="connsiteY6" fmla="*/ 43891 h 336499"/>
                  <a:gd name="connsiteX7" fmla="*/ 446227 w 1038758"/>
                  <a:gd name="connsiteY7" fmla="*/ 51206 h 336499"/>
                  <a:gd name="connsiteX8" fmla="*/ 475488 w 1038758"/>
                  <a:gd name="connsiteY8" fmla="*/ 58521 h 336499"/>
                  <a:gd name="connsiteX9" fmla="*/ 497433 w 1038758"/>
                  <a:gd name="connsiteY9" fmla="*/ 65836 h 336499"/>
                  <a:gd name="connsiteX10" fmla="*/ 592531 w 1038758"/>
                  <a:gd name="connsiteY10" fmla="*/ 73152 h 336499"/>
                  <a:gd name="connsiteX11" fmla="*/ 636422 w 1038758"/>
                  <a:gd name="connsiteY11" fmla="*/ 87782 h 336499"/>
                  <a:gd name="connsiteX12" fmla="*/ 643737 w 1038758"/>
                  <a:gd name="connsiteY12" fmla="*/ 109728 h 336499"/>
                  <a:gd name="connsiteX13" fmla="*/ 665683 w 1038758"/>
                  <a:gd name="connsiteY13" fmla="*/ 117043 h 336499"/>
                  <a:gd name="connsiteX14" fmla="*/ 731520 w 1038758"/>
                  <a:gd name="connsiteY14" fmla="*/ 153619 h 336499"/>
                  <a:gd name="connsiteX15" fmla="*/ 760781 w 1038758"/>
                  <a:gd name="connsiteY15" fmla="*/ 190195 h 336499"/>
                  <a:gd name="connsiteX16" fmla="*/ 782726 w 1038758"/>
                  <a:gd name="connsiteY16" fmla="*/ 197510 h 336499"/>
                  <a:gd name="connsiteX17" fmla="*/ 797357 w 1038758"/>
                  <a:gd name="connsiteY17" fmla="*/ 212140 h 336499"/>
                  <a:gd name="connsiteX18" fmla="*/ 863193 w 1038758"/>
                  <a:gd name="connsiteY18" fmla="*/ 197510 h 336499"/>
                  <a:gd name="connsiteX19" fmla="*/ 885139 w 1038758"/>
                  <a:gd name="connsiteY19" fmla="*/ 204825 h 336499"/>
                  <a:gd name="connsiteX20" fmla="*/ 892454 w 1038758"/>
                  <a:gd name="connsiteY20" fmla="*/ 226771 h 336499"/>
                  <a:gd name="connsiteX21" fmla="*/ 921715 w 1038758"/>
                  <a:gd name="connsiteY21" fmla="*/ 270662 h 336499"/>
                  <a:gd name="connsiteX22" fmla="*/ 921715 w 1038758"/>
                  <a:gd name="connsiteY22" fmla="*/ 270662 h 336499"/>
                  <a:gd name="connsiteX23" fmla="*/ 972921 w 1038758"/>
                  <a:gd name="connsiteY23" fmla="*/ 299923 h 336499"/>
                  <a:gd name="connsiteX24" fmla="*/ 987552 w 1038758"/>
                  <a:gd name="connsiteY24" fmla="*/ 321868 h 336499"/>
                  <a:gd name="connsiteX25" fmla="*/ 1016813 w 1038758"/>
                  <a:gd name="connsiteY25" fmla="*/ 329184 h 336499"/>
                  <a:gd name="connsiteX26" fmla="*/ 1038758 w 1038758"/>
                  <a:gd name="connsiteY26" fmla="*/ 336499 h 336499"/>
                  <a:gd name="connsiteX0" fmla="*/ 0 w 1016813"/>
                  <a:gd name="connsiteY0" fmla="*/ 7315 h 329184"/>
                  <a:gd name="connsiteX1" fmla="*/ 36576 w 1016813"/>
                  <a:gd name="connsiteY1" fmla="*/ 14630 h 329184"/>
                  <a:gd name="connsiteX2" fmla="*/ 138989 w 1016813"/>
                  <a:gd name="connsiteY2" fmla="*/ 0 h 329184"/>
                  <a:gd name="connsiteX3" fmla="*/ 197510 w 1016813"/>
                  <a:gd name="connsiteY3" fmla="*/ 7315 h 329184"/>
                  <a:gd name="connsiteX4" fmla="*/ 241401 w 1016813"/>
                  <a:gd name="connsiteY4" fmla="*/ 21945 h 329184"/>
                  <a:gd name="connsiteX5" fmla="*/ 285293 w 1016813"/>
                  <a:gd name="connsiteY5" fmla="*/ 29260 h 329184"/>
                  <a:gd name="connsiteX6" fmla="*/ 424281 w 1016813"/>
                  <a:gd name="connsiteY6" fmla="*/ 43891 h 329184"/>
                  <a:gd name="connsiteX7" fmla="*/ 446227 w 1016813"/>
                  <a:gd name="connsiteY7" fmla="*/ 51206 h 329184"/>
                  <a:gd name="connsiteX8" fmla="*/ 475488 w 1016813"/>
                  <a:gd name="connsiteY8" fmla="*/ 58521 h 329184"/>
                  <a:gd name="connsiteX9" fmla="*/ 497433 w 1016813"/>
                  <a:gd name="connsiteY9" fmla="*/ 65836 h 329184"/>
                  <a:gd name="connsiteX10" fmla="*/ 592531 w 1016813"/>
                  <a:gd name="connsiteY10" fmla="*/ 73152 h 329184"/>
                  <a:gd name="connsiteX11" fmla="*/ 636422 w 1016813"/>
                  <a:gd name="connsiteY11" fmla="*/ 87782 h 329184"/>
                  <a:gd name="connsiteX12" fmla="*/ 643737 w 1016813"/>
                  <a:gd name="connsiteY12" fmla="*/ 109728 h 329184"/>
                  <a:gd name="connsiteX13" fmla="*/ 665683 w 1016813"/>
                  <a:gd name="connsiteY13" fmla="*/ 117043 h 329184"/>
                  <a:gd name="connsiteX14" fmla="*/ 731520 w 1016813"/>
                  <a:gd name="connsiteY14" fmla="*/ 153619 h 329184"/>
                  <a:gd name="connsiteX15" fmla="*/ 760781 w 1016813"/>
                  <a:gd name="connsiteY15" fmla="*/ 190195 h 329184"/>
                  <a:gd name="connsiteX16" fmla="*/ 782726 w 1016813"/>
                  <a:gd name="connsiteY16" fmla="*/ 197510 h 329184"/>
                  <a:gd name="connsiteX17" fmla="*/ 797357 w 1016813"/>
                  <a:gd name="connsiteY17" fmla="*/ 212140 h 329184"/>
                  <a:gd name="connsiteX18" fmla="*/ 863193 w 1016813"/>
                  <a:gd name="connsiteY18" fmla="*/ 197510 h 329184"/>
                  <a:gd name="connsiteX19" fmla="*/ 885139 w 1016813"/>
                  <a:gd name="connsiteY19" fmla="*/ 204825 h 329184"/>
                  <a:gd name="connsiteX20" fmla="*/ 892454 w 1016813"/>
                  <a:gd name="connsiteY20" fmla="*/ 226771 h 329184"/>
                  <a:gd name="connsiteX21" fmla="*/ 921715 w 1016813"/>
                  <a:gd name="connsiteY21" fmla="*/ 270662 h 329184"/>
                  <a:gd name="connsiteX22" fmla="*/ 921715 w 1016813"/>
                  <a:gd name="connsiteY22" fmla="*/ 270662 h 329184"/>
                  <a:gd name="connsiteX23" fmla="*/ 972921 w 1016813"/>
                  <a:gd name="connsiteY23" fmla="*/ 299923 h 329184"/>
                  <a:gd name="connsiteX24" fmla="*/ 987552 w 1016813"/>
                  <a:gd name="connsiteY24" fmla="*/ 321868 h 329184"/>
                  <a:gd name="connsiteX25" fmla="*/ 1016813 w 1016813"/>
                  <a:gd name="connsiteY25" fmla="*/ 329184 h 329184"/>
                  <a:gd name="connsiteX0" fmla="*/ 0 w 987552"/>
                  <a:gd name="connsiteY0" fmla="*/ 7315 h 321868"/>
                  <a:gd name="connsiteX1" fmla="*/ 36576 w 987552"/>
                  <a:gd name="connsiteY1" fmla="*/ 14630 h 321868"/>
                  <a:gd name="connsiteX2" fmla="*/ 138989 w 987552"/>
                  <a:gd name="connsiteY2" fmla="*/ 0 h 321868"/>
                  <a:gd name="connsiteX3" fmla="*/ 197510 w 987552"/>
                  <a:gd name="connsiteY3" fmla="*/ 7315 h 321868"/>
                  <a:gd name="connsiteX4" fmla="*/ 241401 w 987552"/>
                  <a:gd name="connsiteY4" fmla="*/ 21945 h 321868"/>
                  <a:gd name="connsiteX5" fmla="*/ 285293 w 987552"/>
                  <a:gd name="connsiteY5" fmla="*/ 29260 h 321868"/>
                  <a:gd name="connsiteX6" fmla="*/ 424281 w 987552"/>
                  <a:gd name="connsiteY6" fmla="*/ 43891 h 321868"/>
                  <a:gd name="connsiteX7" fmla="*/ 446227 w 987552"/>
                  <a:gd name="connsiteY7" fmla="*/ 51206 h 321868"/>
                  <a:gd name="connsiteX8" fmla="*/ 475488 w 987552"/>
                  <a:gd name="connsiteY8" fmla="*/ 58521 h 321868"/>
                  <a:gd name="connsiteX9" fmla="*/ 497433 w 987552"/>
                  <a:gd name="connsiteY9" fmla="*/ 65836 h 321868"/>
                  <a:gd name="connsiteX10" fmla="*/ 592531 w 987552"/>
                  <a:gd name="connsiteY10" fmla="*/ 73152 h 321868"/>
                  <a:gd name="connsiteX11" fmla="*/ 636422 w 987552"/>
                  <a:gd name="connsiteY11" fmla="*/ 87782 h 321868"/>
                  <a:gd name="connsiteX12" fmla="*/ 643737 w 987552"/>
                  <a:gd name="connsiteY12" fmla="*/ 109728 h 321868"/>
                  <a:gd name="connsiteX13" fmla="*/ 665683 w 987552"/>
                  <a:gd name="connsiteY13" fmla="*/ 117043 h 321868"/>
                  <a:gd name="connsiteX14" fmla="*/ 731520 w 987552"/>
                  <a:gd name="connsiteY14" fmla="*/ 153619 h 321868"/>
                  <a:gd name="connsiteX15" fmla="*/ 760781 w 987552"/>
                  <a:gd name="connsiteY15" fmla="*/ 190195 h 321868"/>
                  <a:gd name="connsiteX16" fmla="*/ 782726 w 987552"/>
                  <a:gd name="connsiteY16" fmla="*/ 197510 h 321868"/>
                  <a:gd name="connsiteX17" fmla="*/ 797357 w 987552"/>
                  <a:gd name="connsiteY17" fmla="*/ 212140 h 321868"/>
                  <a:gd name="connsiteX18" fmla="*/ 863193 w 987552"/>
                  <a:gd name="connsiteY18" fmla="*/ 197510 h 321868"/>
                  <a:gd name="connsiteX19" fmla="*/ 885139 w 987552"/>
                  <a:gd name="connsiteY19" fmla="*/ 204825 h 321868"/>
                  <a:gd name="connsiteX20" fmla="*/ 892454 w 987552"/>
                  <a:gd name="connsiteY20" fmla="*/ 226771 h 321868"/>
                  <a:gd name="connsiteX21" fmla="*/ 921715 w 987552"/>
                  <a:gd name="connsiteY21" fmla="*/ 270662 h 321868"/>
                  <a:gd name="connsiteX22" fmla="*/ 921715 w 987552"/>
                  <a:gd name="connsiteY22" fmla="*/ 270662 h 321868"/>
                  <a:gd name="connsiteX23" fmla="*/ 972921 w 987552"/>
                  <a:gd name="connsiteY23" fmla="*/ 299923 h 321868"/>
                  <a:gd name="connsiteX24" fmla="*/ 987552 w 987552"/>
                  <a:gd name="connsiteY24" fmla="*/ 321868 h 321868"/>
                  <a:gd name="connsiteX0" fmla="*/ 0 w 972921"/>
                  <a:gd name="connsiteY0" fmla="*/ 7315 h 299923"/>
                  <a:gd name="connsiteX1" fmla="*/ 36576 w 972921"/>
                  <a:gd name="connsiteY1" fmla="*/ 14630 h 299923"/>
                  <a:gd name="connsiteX2" fmla="*/ 138989 w 972921"/>
                  <a:gd name="connsiteY2" fmla="*/ 0 h 299923"/>
                  <a:gd name="connsiteX3" fmla="*/ 197510 w 972921"/>
                  <a:gd name="connsiteY3" fmla="*/ 7315 h 299923"/>
                  <a:gd name="connsiteX4" fmla="*/ 241401 w 972921"/>
                  <a:gd name="connsiteY4" fmla="*/ 21945 h 299923"/>
                  <a:gd name="connsiteX5" fmla="*/ 285293 w 972921"/>
                  <a:gd name="connsiteY5" fmla="*/ 29260 h 299923"/>
                  <a:gd name="connsiteX6" fmla="*/ 424281 w 972921"/>
                  <a:gd name="connsiteY6" fmla="*/ 43891 h 299923"/>
                  <a:gd name="connsiteX7" fmla="*/ 446227 w 972921"/>
                  <a:gd name="connsiteY7" fmla="*/ 51206 h 299923"/>
                  <a:gd name="connsiteX8" fmla="*/ 475488 w 972921"/>
                  <a:gd name="connsiteY8" fmla="*/ 58521 h 299923"/>
                  <a:gd name="connsiteX9" fmla="*/ 497433 w 972921"/>
                  <a:gd name="connsiteY9" fmla="*/ 65836 h 299923"/>
                  <a:gd name="connsiteX10" fmla="*/ 592531 w 972921"/>
                  <a:gd name="connsiteY10" fmla="*/ 73152 h 299923"/>
                  <a:gd name="connsiteX11" fmla="*/ 636422 w 972921"/>
                  <a:gd name="connsiteY11" fmla="*/ 87782 h 299923"/>
                  <a:gd name="connsiteX12" fmla="*/ 643737 w 972921"/>
                  <a:gd name="connsiteY12" fmla="*/ 109728 h 299923"/>
                  <a:gd name="connsiteX13" fmla="*/ 665683 w 972921"/>
                  <a:gd name="connsiteY13" fmla="*/ 117043 h 299923"/>
                  <a:gd name="connsiteX14" fmla="*/ 731520 w 972921"/>
                  <a:gd name="connsiteY14" fmla="*/ 153619 h 299923"/>
                  <a:gd name="connsiteX15" fmla="*/ 760781 w 972921"/>
                  <a:gd name="connsiteY15" fmla="*/ 190195 h 299923"/>
                  <a:gd name="connsiteX16" fmla="*/ 782726 w 972921"/>
                  <a:gd name="connsiteY16" fmla="*/ 197510 h 299923"/>
                  <a:gd name="connsiteX17" fmla="*/ 797357 w 972921"/>
                  <a:gd name="connsiteY17" fmla="*/ 212140 h 299923"/>
                  <a:gd name="connsiteX18" fmla="*/ 863193 w 972921"/>
                  <a:gd name="connsiteY18" fmla="*/ 197510 h 299923"/>
                  <a:gd name="connsiteX19" fmla="*/ 885139 w 972921"/>
                  <a:gd name="connsiteY19" fmla="*/ 204825 h 299923"/>
                  <a:gd name="connsiteX20" fmla="*/ 892454 w 972921"/>
                  <a:gd name="connsiteY20" fmla="*/ 226771 h 299923"/>
                  <a:gd name="connsiteX21" fmla="*/ 921715 w 972921"/>
                  <a:gd name="connsiteY21" fmla="*/ 270662 h 299923"/>
                  <a:gd name="connsiteX22" fmla="*/ 921715 w 972921"/>
                  <a:gd name="connsiteY22" fmla="*/ 270662 h 299923"/>
                  <a:gd name="connsiteX23" fmla="*/ 972921 w 972921"/>
                  <a:gd name="connsiteY23" fmla="*/ 299923 h 299923"/>
                  <a:gd name="connsiteX0" fmla="*/ 0 w 921715"/>
                  <a:gd name="connsiteY0" fmla="*/ 7315 h 270662"/>
                  <a:gd name="connsiteX1" fmla="*/ 36576 w 921715"/>
                  <a:gd name="connsiteY1" fmla="*/ 14630 h 270662"/>
                  <a:gd name="connsiteX2" fmla="*/ 138989 w 921715"/>
                  <a:gd name="connsiteY2" fmla="*/ 0 h 270662"/>
                  <a:gd name="connsiteX3" fmla="*/ 197510 w 921715"/>
                  <a:gd name="connsiteY3" fmla="*/ 7315 h 270662"/>
                  <a:gd name="connsiteX4" fmla="*/ 241401 w 921715"/>
                  <a:gd name="connsiteY4" fmla="*/ 21945 h 270662"/>
                  <a:gd name="connsiteX5" fmla="*/ 285293 w 921715"/>
                  <a:gd name="connsiteY5" fmla="*/ 29260 h 270662"/>
                  <a:gd name="connsiteX6" fmla="*/ 424281 w 921715"/>
                  <a:gd name="connsiteY6" fmla="*/ 43891 h 270662"/>
                  <a:gd name="connsiteX7" fmla="*/ 446227 w 921715"/>
                  <a:gd name="connsiteY7" fmla="*/ 51206 h 270662"/>
                  <a:gd name="connsiteX8" fmla="*/ 475488 w 921715"/>
                  <a:gd name="connsiteY8" fmla="*/ 58521 h 270662"/>
                  <a:gd name="connsiteX9" fmla="*/ 497433 w 921715"/>
                  <a:gd name="connsiteY9" fmla="*/ 65836 h 270662"/>
                  <a:gd name="connsiteX10" fmla="*/ 592531 w 921715"/>
                  <a:gd name="connsiteY10" fmla="*/ 73152 h 270662"/>
                  <a:gd name="connsiteX11" fmla="*/ 636422 w 921715"/>
                  <a:gd name="connsiteY11" fmla="*/ 87782 h 270662"/>
                  <a:gd name="connsiteX12" fmla="*/ 643737 w 921715"/>
                  <a:gd name="connsiteY12" fmla="*/ 109728 h 270662"/>
                  <a:gd name="connsiteX13" fmla="*/ 665683 w 921715"/>
                  <a:gd name="connsiteY13" fmla="*/ 117043 h 270662"/>
                  <a:gd name="connsiteX14" fmla="*/ 731520 w 921715"/>
                  <a:gd name="connsiteY14" fmla="*/ 153619 h 270662"/>
                  <a:gd name="connsiteX15" fmla="*/ 760781 w 921715"/>
                  <a:gd name="connsiteY15" fmla="*/ 190195 h 270662"/>
                  <a:gd name="connsiteX16" fmla="*/ 782726 w 921715"/>
                  <a:gd name="connsiteY16" fmla="*/ 197510 h 270662"/>
                  <a:gd name="connsiteX17" fmla="*/ 797357 w 921715"/>
                  <a:gd name="connsiteY17" fmla="*/ 212140 h 270662"/>
                  <a:gd name="connsiteX18" fmla="*/ 863193 w 921715"/>
                  <a:gd name="connsiteY18" fmla="*/ 197510 h 270662"/>
                  <a:gd name="connsiteX19" fmla="*/ 885139 w 921715"/>
                  <a:gd name="connsiteY19" fmla="*/ 204825 h 270662"/>
                  <a:gd name="connsiteX20" fmla="*/ 892454 w 921715"/>
                  <a:gd name="connsiteY20" fmla="*/ 226771 h 270662"/>
                  <a:gd name="connsiteX21" fmla="*/ 921715 w 921715"/>
                  <a:gd name="connsiteY21" fmla="*/ 270662 h 270662"/>
                  <a:gd name="connsiteX22" fmla="*/ 921715 w 921715"/>
                  <a:gd name="connsiteY22" fmla="*/ 270662 h 270662"/>
                  <a:gd name="connsiteX0" fmla="*/ 0 w 921715"/>
                  <a:gd name="connsiteY0" fmla="*/ 7315 h 270662"/>
                  <a:gd name="connsiteX1" fmla="*/ 36576 w 921715"/>
                  <a:gd name="connsiteY1" fmla="*/ 14630 h 270662"/>
                  <a:gd name="connsiteX2" fmla="*/ 138989 w 921715"/>
                  <a:gd name="connsiteY2" fmla="*/ 0 h 270662"/>
                  <a:gd name="connsiteX3" fmla="*/ 197510 w 921715"/>
                  <a:gd name="connsiteY3" fmla="*/ 7315 h 270662"/>
                  <a:gd name="connsiteX4" fmla="*/ 241401 w 921715"/>
                  <a:gd name="connsiteY4" fmla="*/ 21945 h 270662"/>
                  <a:gd name="connsiteX5" fmla="*/ 285293 w 921715"/>
                  <a:gd name="connsiteY5" fmla="*/ 29260 h 270662"/>
                  <a:gd name="connsiteX6" fmla="*/ 424281 w 921715"/>
                  <a:gd name="connsiteY6" fmla="*/ 43891 h 270662"/>
                  <a:gd name="connsiteX7" fmla="*/ 446227 w 921715"/>
                  <a:gd name="connsiteY7" fmla="*/ 51206 h 270662"/>
                  <a:gd name="connsiteX8" fmla="*/ 475488 w 921715"/>
                  <a:gd name="connsiteY8" fmla="*/ 58521 h 270662"/>
                  <a:gd name="connsiteX9" fmla="*/ 497433 w 921715"/>
                  <a:gd name="connsiteY9" fmla="*/ 65836 h 270662"/>
                  <a:gd name="connsiteX10" fmla="*/ 592531 w 921715"/>
                  <a:gd name="connsiteY10" fmla="*/ 73152 h 270662"/>
                  <a:gd name="connsiteX11" fmla="*/ 636422 w 921715"/>
                  <a:gd name="connsiteY11" fmla="*/ 87782 h 270662"/>
                  <a:gd name="connsiteX12" fmla="*/ 643737 w 921715"/>
                  <a:gd name="connsiteY12" fmla="*/ 109728 h 270662"/>
                  <a:gd name="connsiteX13" fmla="*/ 665683 w 921715"/>
                  <a:gd name="connsiteY13" fmla="*/ 117043 h 270662"/>
                  <a:gd name="connsiteX14" fmla="*/ 731520 w 921715"/>
                  <a:gd name="connsiteY14" fmla="*/ 153619 h 270662"/>
                  <a:gd name="connsiteX15" fmla="*/ 760781 w 921715"/>
                  <a:gd name="connsiteY15" fmla="*/ 190195 h 270662"/>
                  <a:gd name="connsiteX16" fmla="*/ 782726 w 921715"/>
                  <a:gd name="connsiteY16" fmla="*/ 197510 h 270662"/>
                  <a:gd name="connsiteX17" fmla="*/ 797357 w 921715"/>
                  <a:gd name="connsiteY17" fmla="*/ 212140 h 270662"/>
                  <a:gd name="connsiteX18" fmla="*/ 863193 w 921715"/>
                  <a:gd name="connsiteY18" fmla="*/ 197510 h 270662"/>
                  <a:gd name="connsiteX19" fmla="*/ 885139 w 921715"/>
                  <a:gd name="connsiteY19" fmla="*/ 204825 h 270662"/>
                  <a:gd name="connsiteX20" fmla="*/ 892454 w 921715"/>
                  <a:gd name="connsiteY20" fmla="*/ 226771 h 270662"/>
                  <a:gd name="connsiteX21" fmla="*/ 921715 w 921715"/>
                  <a:gd name="connsiteY21" fmla="*/ 270662 h 270662"/>
                  <a:gd name="connsiteX0" fmla="*/ 0 w 892454"/>
                  <a:gd name="connsiteY0" fmla="*/ 7315 h 226771"/>
                  <a:gd name="connsiteX1" fmla="*/ 36576 w 892454"/>
                  <a:gd name="connsiteY1" fmla="*/ 14630 h 226771"/>
                  <a:gd name="connsiteX2" fmla="*/ 138989 w 892454"/>
                  <a:gd name="connsiteY2" fmla="*/ 0 h 226771"/>
                  <a:gd name="connsiteX3" fmla="*/ 197510 w 892454"/>
                  <a:gd name="connsiteY3" fmla="*/ 7315 h 226771"/>
                  <a:gd name="connsiteX4" fmla="*/ 241401 w 892454"/>
                  <a:gd name="connsiteY4" fmla="*/ 21945 h 226771"/>
                  <a:gd name="connsiteX5" fmla="*/ 285293 w 892454"/>
                  <a:gd name="connsiteY5" fmla="*/ 29260 h 226771"/>
                  <a:gd name="connsiteX6" fmla="*/ 424281 w 892454"/>
                  <a:gd name="connsiteY6" fmla="*/ 43891 h 226771"/>
                  <a:gd name="connsiteX7" fmla="*/ 446227 w 892454"/>
                  <a:gd name="connsiteY7" fmla="*/ 51206 h 226771"/>
                  <a:gd name="connsiteX8" fmla="*/ 475488 w 892454"/>
                  <a:gd name="connsiteY8" fmla="*/ 58521 h 226771"/>
                  <a:gd name="connsiteX9" fmla="*/ 497433 w 892454"/>
                  <a:gd name="connsiteY9" fmla="*/ 65836 h 226771"/>
                  <a:gd name="connsiteX10" fmla="*/ 592531 w 892454"/>
                  <a:gd name="connsiteY10" fmla="*/ 73152 h 226771"/>
                  <a:gd name="connsiteX11" fmla="*/ 636422 w 892454"/>
                  <a:gd name="connsiteY11" fmla="*/ 87782 h 226771"/>
                  <a:gd name="connsiteX12" fmla="*/ 643737 w 892454"/>
                  <a:gd name="connsiteY12" fmla="*/ 109728 h 226771"/>
                  <a:gd name="connsiteX13" fmla="*/ 665683 w 892454"/>
                  <a:gd name="connsiteY13" fmla="*/ 117043 h 226771"/>
                  <a:gd name="connsiteX14" fmla="*/ 731520 w 892454"/>
                  <a:gd name="connsiteY14" fmla="*/ 153619 h 226771"/>
                  <a:gd name="connsiteX15" fmla="*/ 760781 w 892454"/>
                  <a:gd name="connsiteY15" fmla="*/ 190195 h 226771"/>
                  <a:gd name="connsiteX16" fmla="*/ 782726 w 892454"/>
                  <a:gd name="connsiteY16" fmla="*/ 197510 h 226771"/>
                  <a:gd name="connsiteX17" fmla="*/ 797357 w 892454"/>
                  <a:gd name="connsiteY17" fmla="*/ 212140 h 226771"/>
                  <a:gd name="connsiteX18" fmla="*/ 863193 w 892454"/>
                  <a:gd name="connsiteY18" fmla="*/ 197510 h 226771"/>
                  <a:gd name="connsiteX19" fmla="*/ 885139 w 892454"/>
                  <a:gd name="connsiteY19" fmla="*/ 204825 h 226771"/>
                  <a:gd name="connsiteX20" fmla="*/ 892454 w 892454"/>
                  <a:gd name="connsiteY20" fmla="*/ 226771 h 226771"/>
                  <a:gd name="connsiteX0" fmla="*/ 0 w 885139"/>
                  <a:gd name="connsiteY0" fmla="*/ 7315 h 212470"/>
                  <a:gd name="connsiteX1" fmla="*/ 36576 w 885139"/>
                  <a:gd name="connsiteY1" fmla="*/ 14630 h 212470"/>
                  <a:gd name="connsiteX2" fmla="*/ 138989 w 885139"/>
                  <a:gd name="connsiteY2" fmla="*/ 0 h 212470"/>
                  <a:gd name="connsiteX3" fmla="*/ 197510 w 885139"/>
                  <a:gd name="connsiteY3" fmla="*/ 7315 h 212470"/>
                  <a:gd name="connsiteX4" fmla="*/ 241401 w 885139"/>
                  <a:gd name="connsiteY4" fmla="*/ 21945 h 212470"/>
                  <a:gd name="connsiteX5" fmla="*/ 285293 w 885139"/>
                  <a:gd name="connsiteY5" fmla="*/ 29260 h 212470"/>
                  <a:gd name="connsiteX6" fmla="*/ 424281 w 885139"/>
                  <a:gd name="connsiteY6" fmla="*/ 43891 h 212470"/>
                  <a:gd name="connsiteX7" fmla="*/ 446227 w 885139"/>
                  <a:gd name="connsiteY7" fmla="*/ 51206 h 212470"/>
                  <a:gd name="connsiteX8" fmla="*/ 475488 w 885139"/>
                  <a:gd name="connsiteY8" fmla="*/ 58521 h 212470"/>
                  <a:gd name="connsiteX9" fmla="*/ 497433 w 885139"/>
                  <a:gd name="connsiteY9" fmla="*/ 65836 h 212470"/>
                  <a:gd name="connsiteX10" fmla="*/ 592531 w 885139"/>
                  <a:gd name="connsiteY10" fmla="*/ 73152 h 212470"/>
                  <a:gd name="connsiteX11" fmla="*/ 636422 w 885139"/>
                  <a:gd name="connsiteY11" fmla="*/ 87782 h 212470"/>
                  <a:gd name="connsiteX12" fmla="*/ 643737 w 885139"/>
                  <a:gd name="connsiteY12" fmla="*/ 109728 h 212470"/>
                  <a:gd name="connsiteX13" fmla="*/ 665683 w 885139"/>
                  <a:gd name="connsiteY13" fmla="*/ 117043 h 212470"/>
                  <a:gd name="connsiteX14" fmla="*/ 731520 w 885139"/>
                  <a:gd name="connsiteY14" fmla="*/ 153619 h 212470"/>
                  <a:gd name="connsiteX15" fmla="*/ 760781 w 885139"/>
                  <a:gd name="connsiteY15" fmla="*/ 190195 h 212470"/>
                  <a:gd name="connsiteX16" fmla="*/ 782726 w 885139"/>
                  <a:gd name="connsiteY16" fmla="*/ 197510 h 212470"/>
                  <a:gd name="connsiteX17" fmla="*/ 797357 w 885139"/>
                  <a:gd name="connsiteY17" fmla="*/ 212140 h 212470"/>
                  <a:gd name="connsiteX18" fmla="*/ 863193 w 885139"/>
                  <a:gd name="connsiteY18" fmla="*/ 197510 h 212470"/>
                  <a:gd name="connsiteX19" fmla="*/ 885139 w 885139"/>
                  <a:gd name="connsiteY19" fmla="*/ 204825 h 212470"/>
                  <a:gd name="connsiteX0" fmla="*/ 0 w 863193"/>
                  <a:gd name="connsiteY0" fmla="*/ 7315 h 212470"/>
                  <a:gd name="connsiteX1" fmla="*/ 36576 w 863193"/>
                  <a:gd name="connsiteY1" fmla="*/ 14630 h 212470"/>
                  <a:gd name="connsiteX2" fmla="*/ 138989 w 863193"/>
                  <a:gd name="connsiteY2" fmla="*/ 0 h 212470"/>
                  <a:gd name="connsiteX3" fmla="*/ 197510 w 863193"/>
                  <a:gd name="connsiteY3" fmla="*/ 7315 h 212470"/>
                  <a:gd name="connsiteX4" fmla="*/ 241401 w 863193"/>
                  <a:gd name="connsiteY4" fmla="*/ 21945 h 212470"/>
                  <a:gd name="connsiteX5" fmla="*/ 285293 w 863193"/>
                  <a:gd name="connsiteY5" fmla="*/ 29260 h 212470"/>
                  <a:gd name="connsiteX6" fmla="*/ 424281 w 863193"/>
                  <a:gd name="connsiteY6" fmla="*/ 43891 h 212470"/>
                  <a:gd name="connsiteX7" fmla="*/ 446227 w 863193"/>
                  <a:gd name="connsiteY7" fmla="*/ 51206 h 212470"/>
                  <a:gd name="connsiteX8" fmla="*/ 475488 w 863193"/>
                  <a:gd name="connsiteY8" fmla="*/ 58521 h 212470"/>
                  <a:gd name="connsiteX9" fmla="*/ 497433 w 863193"/>
                  <a:gd name="connsiteY9" fmla="*/ 65836 h 212470"/>
                  <a:gd name="connsiteX10" fmla="*/ 592531 w 863193"/>
                  <a:gd name="connsiteY10" fmla="*/ 73152 h 212470"/>
                  <a:gd name="connsiteX11" fmla="*/ 636422 w 863193"/>
                  <a:gd name="connsiteY11" fmla="*/ 87782 h 212470"/>
                  <a:gd name="connsiteX12" fmla="*/ 643737 w 863193"/>
                  <a:gd name="connsiteY12" fmla="*/ 109728 h 212470"/>
                  <a:gd name="connsiteX13" fmla="*/ 665683 w 863193"/>
                  <a:gd name="connsiteY13" fmla="*/ 117043 h 212470"/>
                  <a:gd name="connsiteX14" fmla="*/ 731520 w 863193"/>
                  <a:gd name="connsiteY14" fmla="*/ 153619 h 212470"/>
                  <a:gd name="connsiteX15" fmla="*/ 760781 w 863193"/>
                  <a:gd name="connsiteY15" fmla="*/ 190195 h 212470"/>
                  <a:gd name="connsiteX16" fmla="*/ 782726 w 863193"/>
                  <a:gd name="connsiteY16" fmla="*/ 197510 h 212470"/>
                  <a:gd name="connsiteX17" fmla="*/ 797357 w 863193"/>
                  <a:gd name="connsiteY17" fmla="*/ 212140 h 212470"/>
                  <a:gd name="connsiteX18" fmla="*/ 863193 w 863193"/>
                  <a:gd name="connsiteY18" fmla="*/ 197510 h 212470"/>
                  <a:gd name="connsiteX0" fmla="*/ 0 w 797357"/>
                  <a:gd name="connsiteY0" fmla="*/ 7315 h 212140"/>
                  <a:gd name="connsiteX1" fmla="*/ 36576 w 797357"/>
                  <a:gd name="connsiteY1" fmla="*/ 14630 h 212140"/>
                  <a:gd name="connsiteX2" fmla="*/ 138989 w 797357"/>
                  <a:gd name="connsiteY2" fmla="*/ 0 h 212140"/>
                  <a:gd name="connsiteX3" fmla="*/ 197510 w 797357"/>
                  <a:gd name="connsiteY3" fmla="*/ 7315 h 212140"/>
                  <a:gd name="connsiteX4" fmla="*/ 241401 w 797357"/>
                  <a:gd name="connsiteY4" fmla="*/ 21945 h 212140"/>
                  <a:gd name="connsiteX5" fmla="*/ 285293 w 797357"/>
                  <a:gd name="connsiteY5" fmla="*/ 29260 h 212140"/>
                  <a:gd name="connsiteX6" fmla="*/ 424281 w 797357"/>
                  <a:gd name="connsiteY6" fmla="*/ 43891 h 212140"/>
                  <a:gd name="connsiteX7" fmla="*/ 446227 w 797357"/>
                  <a:gd name="connsiteY7" fmla="*/ 51206 h 212140"/>
                  <a:gd name="connsiteX8" fmla="*/ 475488 w 797357"/>
                  <a:gd name="connsiteY8" fmla="*/ 58521 h 212140"/>
                  <a:gd name="connsiteX9" fmla="*/ 497433 w 797357"/>
                  <a:gd name="connsiteY9" fmla="*/ 65836 h 212140"/>
                  <a:gd name="connsiteX10" fmla="*/ 592531 w 797357"/>
                  <a:gd name="connsiteY10" fmla="*/ 73152 h 212140"/>
                  <a:gd name="connsiteX11" fmla="*/ 636422 w 797357"/>
                  <a:gd name="connsiteY11" fmla="*/ 87782 h 212140"/>
                  <a:gd name="connsiteX12" fmla="*/ 643737 w 797357"/>
                  <a:gd name="connsiteY12" fmla="*/ 109728 h 212140"/>
                  <a:gd name="connsiteX13" fmla="*/ 665683 w 797357"/>
                  <a:gd name="connsiteY13" fmla="*/ 117043 h 212140"/>
                  <a:gd name="connsiteX14" fmla="*/ 731520 w 797357"/>
                  <a:gd name="connsiteY14" fmla="*/ 153619 h 212140"/>
                  <a:gd name="connsiteX15" fmla="*/ 760781 w 797357"/>
                  <a:gd name="connsiteY15" fmla="*/ 190195 h 212140"/>
                  <a:gd name="connsiteX16" fmla="*/ 782726 w 797357"/>
                  <a:gd name="connsiteY16" fmla="*/ 197510 h 212140"/>
                  <a:gd name="connsiteX17" fmla="*/ 797357 w 797357"/>
                  <a:gd name="connsiteY17" fmla="*/ 212140 h 212140"/>
                  <a:gd name="connsiteX0" fmla="*/ 0 w 782726"/>
                  <a:gd name="connsiteY0" fmla="*/ 7315 h 197510"/>
                  <a:gd name="connsiteX1" fmla="*/ 36576 w 782726"/>
                  <a:gd name="connsiteY1" fmla="*/ 14630 h 197510"/>
                  <a:gd name="connsiteX2" fmla="*/ 138989 w 782726"/>
                  <a:gd name="connsiteY2" fmla="*/ 0 h 197510"/>
                  <a:gd name="connsiteX3" fmla="*/ 197510 w 782726"/>
                  <a:gd name="connsiteY3" fmla="*/ 7315 h 197510"/>
                  <a:gd name="connsiteX4" fmla="*/ 241401 w 782726"/>
                  <a:gd name="connsiteY4" fmla="*/ 21945 h 197510"/>
                  <a:gd name="connsiteX5" fmla="*/ 285293 w 782726"/>
                  <a:gd name="connsiteY5" fmla="*/ 29260 h 197510"/>
                  <a:gd name="connsiteX6" fmla="*/ 424281 w 782726"/>
                  <a:gd name="connsiteY6" fmla="*/ 43891 h 197510"/>
                  <a:gd name="connsiteX7" fmla="*/ 446227 w 782726"/>
                  <a:gd name="connsiteY7" fmla="*/ 51206 h 197510"/>
                  <a:gd name="connsiteX8" fmla="*/ 475488 w 782726"/>
                  <a:gd name="connsiteY8" fmla="*/ 58521 h 197510"/>
                  <a:gd name="connsiteX9" fmla="*/ 497433 w 782726"/>
                  <a:gd name="connsiteY9" fmla="*/ 65836 h 197510"/>
                  <a:gd name="connsiteX10" fmla="*/ 592531 w 782726"/>
                  <a:gd name="connsiteY10" fmla="*/ 73152 h 197510"/>
                  <a:gd name="connsiteX11" fmla="*/ 636422 w 782726"/>
                  <a:gd name="connsiteY11" fmla="*/ 87782 h 197510"/>
                  <a:gd name="connsiteX12" fmla="*/ 643737 w 782726"/>
                  <a:gd name="connsiteY12" fmla="*/ 109728 h 197510"/>
                  <a:gd name="connsiteX13" fmla="*/ 665683 w 782726"/>
                  <a:gd name="connsiteY13" fmla="*/ 117043 h 197510"/>
                  <a:gd name="connsiteX14" fmla="*/ 731520 w 782726"/>
                  <a:gd name="connsiteY14" fmla="*/ 153619 h 197510"/>
                  <a:gd name="connsiteX15" fmla="*/ 760781 w 782726"/>
                  <a:gd name="connsiteY15" fmla="*/ 190195 h 197510"/>
                  <a:gd name="connsiteX16" fmla="*/ 782726 w 782726"/>
                  <a:gd name="connsiteY16" fmla="*/ 197510 h 197510"/>
                  <a:gd name="connsiteX0" fmla="*/ 0 w 760781"/>
                  <a:gd name="connsiteY0" fmla="*/ 7315 h 190195"/>
                  <a:gd name="connsiteX1" fmla="*/ 36576 w 760781"/>
                  <a:gd name="connsiteY1" fmla="*/ 14630 h 190195"/>
                  <a:gd name="connsiteX2" fmla="*/ 138989 w 760781"/>
                  <a:gd name="connsiteY2" fmla="*/ 0 h 190195"/>
                  <a:gd name="connsiteX3" fmla="*/ 197510 w 760781"/>
                  <a:gd name="connsiteY3" fmla="*/ 7315 h 190195"/>
                  <a:gd name="connsiteX4" fmla="*/ 241401 w 760781"/>
                  <a:gd name="connsiteY4" fmla="*/ 21945 h 190195"/>
                  <a:gd name="connsiteX5" fmla="*/ 285293 w 760781"/>
                  <a:gd name="connsiteY5" fmla="*/ 29260 h 190195"/>
                  <a:gd name="connsiteX6" fmla="*/ 424281 w 760781"/>
                  <a:gd name="connsiteY6" fmla="*/ 43891 h 190195"/>
                  <a:gd name="connsiteX7" fmla="*/ 446227 w 760781"/>
                  <a:gd name="connsiteY7" fmla="*/ 51206 h 190195"/>
                  <a:gd name="connsiteX8" fmla="*/ 475488 w 760781"/>
                  <a:gd name="connsiteY8" fmla="*/ 58521 h 190195"/>
                  <a:gd name="connsiteX9" fmla="*/ 497433 w 760781"/>
                  <a:gd name="connsiteY9" fmla="*/ 65836 h 190195"/>
                  <a:gd name="connsiteX10" fmla="*/ 592531 w 760781"/>
                  <a:gd name="connsiteY10" fmla="*/ 73152 h 190195"/>
                  <a:gd name="connsiteX11" fmla="*/ 636422 w 760781"/>
                  <a:gd name="connsiteY11" fmla="*/ 87782 h 190195"/>
                  <a:gd name="connsiteX12" fmla="*/ 643737 w 760781"/>
                  <a:gd name="connsiteY12" fmla="*/ 109728 h 190195"/>
                  <a:gd name="connsiteX13" fmla="*/ 665683 w 760781"/>
                  <a:gd name="connsiteY13" fmla="*/ 117043 h 190195"/>
                  <a:gd name="connsiteX14" fmla="*/ 731520 w 760781"/>
                  <a:gd name="connsiteY14" fmla="*/ 153619 h 190195"/>
                  <a:gd name="connsiteX15" fmla="*/ 760781 w 760781"/>
                  <a:gd name="connsiteY15" fmla="*/ 190195 h 190195"/>
                  <a:gd name="connsiteX0" fmla="*/ 0 w 731520"/>
                  <a:gd name="connsiteY0" fmla="*/ 7315 h 153619"/>
                  <a:gd name="connsiteX1" fmla="*/ 36576 w 731520"/>
                  <a:gd name="connsiteY1" fmla="*/ 14630 h 153619"/>
                  <a:gd name="connsiteX2" fmla="*/ 138989 w 731520"/>
                  <a:gd name="connsiteY2" fmla="*/ 0 h 153619"/>
                  <a:gd name="connsiteX3" fmla="*/ 197510 w 731520"/>
                  <a:gd name="connsiteY3" fmla="*/ 7315 h 153619"/>
                  <a:gd name="connsiteX4" fmla="*/ 241401 w 731520"/>
                  <a:gd name="connsiteY4" fmla="*/ 21945 h 153619"/>
                  <a:gd name="connsiteX5" fmla="*/ 285293 w 731520"/>
                  <a:gd name="connsiteY5" fmla="*/ 29260 h 153619"/>
                  <a:gd name="connsiteX6" fmla="*/ 424281 w 731520"/>
                  <a:gd name="connsiteY6" fmla="*/ 43891 h 153619"/>
                  <a:gd name="connsiteX7" fmla="*/ 446227 w 731520"/>
                  <a:gd name="connsiteY7" fmla="*/ 51206 h 153619"/>
                  <a:gd name="connsiteX8" fmla="*/ 475488 w 731520"/>
                  <a:gd name="connsiteY8" fmla="*/ 58521 h 153619"/>
                  <a:gd name="connsiteX9" fmla="*/ 497433 w 731520"/>
                  <a:gd name="connsiteY9" fmla="*/ 65836 h 153619"/>
                  <a:gd name="connsiteX10" fmla="*/ 592531 w 731520"/>
                  <a:gd name="connsiteY10" fmla="*/ 73152 h 153619"/>
                  <a:gd name="connsiteX11" fmla="*/ 636422 w 731520"/>
                  <a:gd name="connsiteY11" fmla="*/ 87782 h 153619"/>
                  <a:gd name="connsiteX12" fmla="*/ 643737 w 731520"/>
                  <a:gd name="connsiteY12" fmla="*/ 109728 h 153619"/>
                  <a:gd name="connsiteX13" fmla="*/ 665683 w 731520"/>
                  <a:gd name="connsiteY13" fmla="*/ 117043 h 153619"/>
                  <a:gd name="connsiteX14" fmla="*/ 731520 w 731520"/>
                  <a:gd name="connsiteY14" fmla="*/ 153619 h 153619"/>
                  <a:gd name="connsiteX0" fmla="*/ 0 w 665683"/>
                  <a:gd name="connsiteY0" fmla="*/ 7315 h 117043"/>
                  <a:gd name="connsiteX1" fmla="*/ 36576 w 665683"/>
                  <a:gd name="connsiteY1" fmla="*/ 14630 h 117043"/>
                  <a:gd name="connsiteX2" fmla="*/ 138989 w 665683"/>
                  <a:gd name="connsiteY2" fmla="*/ 0 h 117043"/>
                  <a:gd name="connsiteX3" fmla="*/ 197510 w 665683"/>
                  <a:gd name="connsiteY3" fmla="*/ 7315 h 117043"/>
                  <a:gd name="connsiteX4" fmla="*/ 241401 w 665683"/>
                  <a:gd name="connsiteY4" fmla="*/ 21945 h 117043"/>
                  <a:gd name="connsiteX5" fmla="*/ 285293 w 665683"/>
                  <a:gd name="connsiteY5" fmla="*/ 29260 h 117043"/>
                  <a:gd name="connsiteX6" fmla="*/ 424281 w 665683"/>
                  <a:gd name="connsiteY6" fmla="*/ 43891 h 117043"/>
                  <a:gd name="connsiteX7" fmla="*/ 446227 w 665683"/>
                  <a:gd name="connsiteY7" fmla="*/ 51206 h 117043"/>
                  <a:gd name="connsiteX8" fmla="*/ 475488 w 665683"/>
                  <a:gd name="connsiteY8" fmla="*/ 58521 h 117043"/>
                  <a:gd name="connsiteX9" fmla="*/ 497433 w 665683"/>
                  <a:gd name="connsiteY9" fmla="*/ 65836 h 117043"/>
                  <a:gd name="connsiteX10" fmla="*/ 592531 w 665683"/>
                  <a:gd name="connsiteY10" fmla="*/ 73152 h 117043"/>
                  <a:gd name="connsiteX11" fmla="*/ 636422 w 665683"/>
                  <a:gd name="connsiteY11" fmla="*/ 87782 h 117043"/>
                  <a:gd name="connsiteX12" fmla="*/ 643737 w 665683"/>
                  <a:gd name="connsiteY12" fmla="*/ 109728 h 117043"/>
                  <a:gd name="connsiteX13" fmla="*/ 665683 w 665683"/>
                  <a:gd name="connsiteY13" fmla="*/ 117043 h 117043"/>
                  <a:gd name="connsiteX0" fmla="*/ 0 w 643737"/>
                  <a:gd name="connsiteY0" fmla="*/ 7315 h 109728"/>
                  <a:gd name="connsiteX1" fmla="*/ 36576 w 643737"/>
                  <a:gd name="connsiteY1" fmla="*/ 14630 h 109728"/>
                  <a:gd name="connsiteX2" fmla="*/ 138989 w 643737"/>
                  <a:gd name="connsiteY2" fmla="*/ 0 h 109728"/>
                  <a:gd name="connsiteX3" fmla="*/ 197510 w 643737"/>
                  <a:gd name="connsiteY3" fmla="*/ 7315 h 109728"/>
                  <a:gd name="connsiteX4" fmla="*/ 241401 w 643737"/>
                  <a:gd name="connsiteY4" fmla="*/ 21945 h 109728"/>
                  <a:gd name="connsiteX5" fmla="*/ 285293 w 643737"/>
                  <a:gd name="connsiteY5" fmla="*/ 29260 h 109728"/>
                  <a:gd name="connsiteX6" fmla="*/ 424281 w 643737"/>
                  <a:gd name="connsiteY6" fmla="*/ 43891 h 109728"/>
                  <a:gd name="connsiteX7" fmla="*/ 446227 w 643737"/>
                  <a:gd name="connsiteY7" fmla="*/ 51206 h 109728"/>
                  <a:gd name="connsiteX8" fmla="*/ 475488 w 643737"/>
                  <a:gd name="connsiteY8" fmla="*/ 58521 h 109728"/>
                  <a:gd name="connsiteX9" fmla="*/ 497433 w 643737"/>
                  <a:gd name="connsiteY9" fmla="*/ 65836 h 109728"/>
                  <a:gd name="connsiteX10" fmla="*/ 592531 w 643737"/>
                  <a:gd name="connsiteY10" fmla="*/ 73152 h 109728"/>
                  <a:gd name="connsiteX11" fmla="*/ 636422 w 643737"/>
                  <a:gd name="connsiteY11" fmla="*/ 87782 h 109728"/>
                  <a:gd name="connsiteX12" fmla="*/ 643737 w 643737"/>
                  <a:gd name="connsiteY12" fmla="*/ 109728 h 109728"/>
                  <a:gd name="connsiteX0" fmla="*/ 0 w 636422"/>
                  <a:gd name="connsiteY0" fmla="*/ 7315 h 87782"/>
                  <a:gd name="connsiteX1" fmla="*/ 36576 w 636422"/>
                  <a:gd name="connsiteY1" fmla="*/ 14630 h 87782"/>
                  <a:gd name="connsiteX2" fmla="*/ 138989 w 636422"/>
                  <a:gd name="connsiteY2" fmla="*/ 0 h 87782"/>
                  <a:gd name="connsiteX3" fmla="*/ 197510 w 636422"/>
                  <a:gd name="connsiteY3" fmla="*/ 7315 h 87782"/>
                  <a:gd name="connsiteX4" fmla="*/ 241401 w 636422"/>
                  <a:gd name="connsiteY4" fmla="*/ 21945 h 87782"/>
                  <a:gd name="connsiteX5" fmla="*/ 285293 w 636422"/>
                  <a:gd name="connsiteY5" fmla="*/ 29260 h 87782"/>
                  <a:gd name="connsiteX6" fmla="*/ 424281 w 636422"/>
                  <a:gd name="connsiteY6" fmla="*/ 43891 h 87782"/>
                  <a:gd name="connsiteX7" fmla="*/ 446227 w 636422"/>
                  <a:gd name="connsiteY7" fmla="*/ 51206 h 87782"/>
                  <a:gd name="connsiteX8" fmla="*/ 475488 w 636422"/>
                  <a:gd name="connsiteY8" fmla="*/ 58521 h 87782"/>
                  <a:gd name="connsiteX9" fmla="*/ 497433 w 636422"/>
                  <a:gd name="connsiteY9" fmla="*/ 65836 h 87782"/>
                  <a:gd name="connsiteX10" fmla="*/ 592531 w 636422"/>
                  <a:gd name="connsiteY10" fmla="*/ 73152 h 87782"/>
                  <a:gd name="connsiteX11" fmla="*/ 636422 w 636422"/>
                  <a:gd name="connsiteY11" fmla="*/ 87782 h 87782"/>
                  <a:gd name="connsiteX0" fmla="*/ 0 w 599846"/>
                  <a:gd name="connsiteY0" fmla="*/ 14630 h 87782"/>
                  <a:gd name="connsiteX1" fmla="*/ 102413 w 599846"/>
                  <a:gd name="connsiteY1" fmla="*/ 0 h 87782"/>
                  <a:gd name="connsiteX2" fmla="*/ 160934 w 599846"/>
                  <a:gd name="connsiteY2" fmla="*/ 7315 h 87782"/>
                  <a:gd name="connsiteX3" fmla="*/ 204825 w 599846"/>
                  <a:gd name="connsiteY3" fmla="*/ 21945 h 87782"/>
                  <a:gd name="connsiteX4" fmla="*/ 248717 w 599846"/>
                  <a:gd name="connsiteY4" fmla="*/ 29260 h 87782"/>
                  <a:gd name="connsiteX5" fmla="*/ 387705 w 599846"/>
                  <a:gd name="connsiteY5" fmla="*/ 43891 h 87782"/>
                  <a:gd name="connsiteX6" fmla="*/ 409651 w 599846"/>
                  <a:gd name="connsiteY6" fmla="*/ 51206 h 87782"/>
                  <a:gd name="connsiteX7" fmla="*/ 438912 w 599846"/>
                  <a:gd name="connsiteY7" fmla="*/ 58521 h 87782"/>
                  <a:gd name="connsiteX8" fmla="*/ 460857 w 599846"/>
                  <a:gd name="connsiteY8" fmla="*/ 65836 h 87782"/>
                  <a:gd name="connsiteX9" fmla="*/ 555955 w 599846"/>
                  <a:gd name="connsiteY9" fmla="*/ 73152 h 87782"/>
                  <a:gd name="connsiteX10" fmla="*/ 599846 w 599846"/>
                  <a:gd name="connsiteY10" fmla="*/ 87782 h 87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9846" h="87782">
                    <a:moveTo>
                      <a:pt x="0" y="14630"/>
                    </a:moveTo>
                    <a:cubicBezTo>
                      <a:pt x="34753" y="14630"/>
                      <a:pt x="68646" y="6753"/>
                      <a:pt x="102413" y="0"/>
                    </a:cubicBezTo>
                    <a:cubicBezTo>
                      <a:pt x="121920" y="2438"/>
                      <a:pt x="141712" y="3196"/>
                      <a:pt x="160934" y="7315"/>
                    </a:cubicBezTo>
                    <a:cubicBezTo>
                      <a:pt x="176013" y="10546"/>
                      <a:pt x="189613" y="19410"/>
                      <a:pt x="204825" y="21945"/>
                    </a:cubicBezTo>
                    <a:lnTo>
                      <a:pt x="248717" y="29260"/>
                    </a:lnTo>
                    <a:cubicBezTo>
                      <a:pt x="312358" y="50477"/>
                      <a:pt x="239583" y="28300"/>
                      <a:pt x="387705" y="43891"/>
                    </a:cubicBezTo>
                    <a:cubicBezTo>
                      <a:pt x="395374" y="44698"/>
                      <a:pt x="402237" y="49088"/>
                      <a:pt x="409651" y="51206"/>
                    </a:cubicBezTo>
                    <a:cubicBezTo>
                      <a:pt x="419318" y="53968"/>
                      <a:pt x="429245" y="55759"/>
                      <a:pt x="438912" y="58521"/>
                    </a:cubicBezTo>
                    <a:cubicBezTo>
                      <a:pt x="446326" y="60639"/>
                      <a:pt x="453206" y="64880"/>
                      <a:pt x="460857" y="65836"/>
                    </a:cubicBezTo>
                    <a:cubicBezTo>
                      <a:pt x="492404" y="69780"/>
                      <a:pt x="524256" y="70713"/>
                      <a:pt x="555955" y="73152"/>
                    </a:cubicBezTo>
                    <a:cubicBezTo>
                      <a:pt x="570585" y="78029"/>
                      <a:pt x="594969" y="73152"/>
                      <a:pt x="599846" y="87782"/>
                    </a:cubicBezTo>
                  </a:path>
                </a:pathLst>
              </a:custGeom>
              <a:noFill/>
              <a:ln w="38100" cmpd="sng">
                <a:solidFill>
                  <a:srgbClr val="008000"/>
                </a:solidFill>
                <a:prstDash val="sysDot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>
                  <a:solidFill>
                    <a:srgbClr val="C00000"/>
                  </a:solidFill>
                </a:endParaRPr>
              </a:p>
            </p:txBody>
          </p:sp>
        </p:grpSp>
        <p:cxnSp>
          <p:nvCxnSpPr>
            <p:cNvPr id="432" name="Conector reto 337"/>
            <p:cNvCxnSpPr/>
            <p:nvPr/>
          </p:nvCxnSpPr>
          <p:spPr>
            <a:xfrm>
              <a:off x="6793200" y="6139791"/>
              <a:ext cx="360363" cy="0"/>
            </a:xfrm>
            <a:prstGeom prst="line">
              <a:avLst/>
            </a:prstGeom>
            <a:ln w="38100" cmpd="sng">
              <a:solidFill>
                <a:srgbClr val="008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3" name="CaixaDeTexto 80"/>
            <p:cNvSpPr txBox="1">
              <a:spLocks noChangeArrowheads="1"/>
            </p:cNvSpPr>
            <p:nvPr/>
          </p:nvSpPr>
          <p:spPr bwMode="auto">
            <a:xfrm>
              <a:off x="7233595" y="5935004"/>
              <a:ext cx="873957" cy="314894"/>
            </a:xfrm>
            <a:prstGeom prst="rect">
              <a:avLst/>
            </a:prstGeom>
            <a:noFill/>
            <a:ln w="38100" cmpd="sng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pt-BR" sz="1100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Em </a:t>
              </a:r>
              <a:r>
                <a:rPr lang="pt-BR" sz="1100" dirty="0" smtClean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Estudo</a:t>
              </a:r>
              <a:endParaRPr lang="pt-BR" sz="1100" dirty="0">
                <a:solidFill>
                  <a:srgbClr val="008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" name="Grupo 5"/>
          <p:cNvGrpSpPr/>
          <p:nvPr/>
        </p:nvGrpSpPr>
        <p:grpSpPr>
          <a:xfrm>
            <a:off x="3152776" y="1394951"/>
            <a:ext cx="5991225" cy="4943475"/>
            <a:chOff x="3152776" y="1394951"/>
            <a:chExt cx="5991225" cy="4943475"/>
          </a:xfrm>
        </p:grpSpPr>
        <p:sp>
          <p:nvSpPr>
            <p:cNvPr id="449" name="Forma livre 399"/>
            <p:cNvSpPr/>
            <p:nvPr/>
          </p:nvSpPr>
          <p:spPr bwMode="auto">
            <a:xfrm>
              <a:off x="3251201" y="4638214"/>
              <a:ext cx="106363" cy="46037"/>
            </a:xfrm>
            <a:custGeom>
              <a:avLst/>
              <a:gdLst>
                <a:gd name="connsiteX0" fmla="*/ 0 w 106752"/>
                <a:gd name="connsiteY0" fmla="*/ 0 h 46152"/>
                <a:gd name="connsiteX1" fmla="*/ 14423 w 106752"/>
                <a:gd name="connsiteY1" fmla="*/ 2884 h 46152"/>
                <a:gd name="connsiteX2" fmla="*/ 25961 w 106752"/>
                <a:gd name="connsiteY2" fmla="*/ 5769 h 46152"/>
                <a:gd name="connsiteX3" fmla="*/ 51922 w 106752"/>
                <a:gd name="connsiteY3" fmla="*/ 8653 h 46152"/>
                <a:gd name="connsiteX4" fmla="*/ 69230 w 106752"/>
                <a:gd name="connsiteY4" fmla="*/ 11538 h 46152"/>
                <a:gd name="connsiteX5" fmla="*/ 77883 w 106752"/>
                <a:gd name="connsiteY5" fmla="*/ 17307 h 46152"/>
                <a:gd name="connsiteX6" fmla="*/ 95190 w 106752"/>
                <a:gd name="connsiteY6" fmla="*/ 31730 h 46152"/>
                <a:gd name="connsiteX7" fmla="*/ 98075 w 106752"/>
                <a:gd name="connsiteY7" fmla="*/ 40383 h 46152"/>
                <a:gd name="connsiteX8" fmla="*/ 106729 w 106752"/>
                <a:gd name="connsiteY8" fmla="*/ 46152 h 46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6752" h="46152">
                  <a:moveTo>
                    <a:pt x="0" y="0"/>
                  </a:moveTo>
                  <a:cubicBezTo>
                    <a:pt x="4808" y="961"/>
                    <a:pt x="9637" y="1820"/>
                    <a:pt x="14423" y="2884"/>
                  </a:cubicBezTo>
                  <a:cubicBezTo>
                    <a:pt x="18293" y="3744"/>
                    <a:pt x="22043" y="5166"/>
                    <a:pt x="25961" y="5769"/>
                  </a:cubicBezTo>
                  <a:cubicBezTo>
                    <a:pt x="34567" y="7093"/>
                    <a:pt x="43291" y="7502"/>
                    <a:pt x="51922" y="8653"/>
                  </a:cubicBezTo>
                  <a:cubicBezTo>
                    <a:pt x="57720" y="9426"/>
                    <a:pt x="63461" y="10576"/>
                    <a:pt x="69230" y="11538"/>
                  </a:cubicBezTo>
                  <a:cubicBezTo>
                    <a:pt x="72114" y="13461"/>
                    <a:pt x="75220" y="15088"/>
                    <a:pt x="77883" y="17307"/>
                  </a:cubicBezTo>
                  <a:cubicBezTo>
                    <a:pt x="100092" y="35815"/>
                    <a:pt x="73707" y="17407"/>
                    <a:pt x="95190" y="31730"/>
                  </a:cubicBezTo>
                  <a:cubicBezTo>
                    <a:pt x="96152" y="34614"/>
                    <a:pt x="95925" y="38233"/>
                    <a:pt x="98075" y="40383"/>
                  </a:cubicBezTo>
                  <a:cubicBezTo>
                    <a:pt x="107641" y="49948"/>
                    <a:pt x="106729" y="38211"/>
                    <a:pt x="106729" y="46152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3" name="Forma livre 395"/>
            <p:cNvSpPr/>
            <p:nvPr/>
          </p:nvSpPr>
          <p:spPr bwMode="auto">
            <a:xfrm>
              <a:off x="4519614" y="4860464"/>
              <a:ext cx="41275" cy="112712"/>
            </a:xfrm>
            <a:custGeom>
              <a:avLst/>
              <a:gdLst>
                <a:gd name="connsiteX0" fmla="*/ 37499 w 40384"/>
                <a:gd name="connsiteY0" fmla="*/ 0 h 112514"/>
                <a:gd name="connsiteX1" fmla="*/ 14423 w 40384"/>
                <a:gd name="connsiteY1" fmla="*/ 11539 h 112514"/>
                <a:gd name="connsiteX2" fmla="*/ 8654 w 40384"/>
                <a:gd name="connsiteY2" fmla="*/ 31730 h 112514"/>
                <a:gd name="connsiteX3" fmla="*/ 0 w 40384"/>
                <a:gd name="connsiteY3" fmla="*/ 51922 h 112514"/>
                <a:gd name="connsiteX4" fmla="*/ 11538 w 40384"/>
                <a:gd name="connsiteY4" fmla="*/ 80768 h 112514"/>
                <a:gd name="connsiteX5" fmla="*/ 20192 w 40384"/>
                <a:gd name="connsiteY5" fmla="*/ 86537 h 112514"/>
                <a:gd name="connsiteX6" fmla="*/ 31730 w 40384"/>
                <a:gd name="connsiteY6" fmla="*/ 103844 h 112514"/>
                <a:gd name="connsiteX7" fmla="*/ 40384 w 40384"/>
                <a:gd name="connsiteY7" fmla="*/ 112498 h 112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384" h="112514">
                  <a:moveTo>
                    <a:pt x="37499" y="0"/>
                  </a:moveTo>
                  <a:cubicBezTo>
                    <a:pt x="33145" y="1742"/>
                    <a:pt x="18489" y="6457"/>
                    <a:pt x="14423" y="11539"/>
                  </a:cubicBezTo>
                  <a:cubicBezTo>
                    <a:pt x="12884" y="13462"/>
                    <a:pt x="8885" y="30920"/>
                    <a:pt x="8654" y="31730"/>
                  </a:cubicBezTo>
                  <a:cubicBezTo>
                    <a:pt x="5825" y="41631"/>
                    <a:pt x="5126" y="41669"/>
                    <a:pt x="0" y="51922"/>
                  </a:cubicBezTo>
                  <a:cubicBezTo>
                    <a:pt x="2388" y="61472"/>
                    <a:pt x="4191" y="73421"/>
                    <a:pt x="11538" y="80768"/>
                  </a:cubicBezTo>
                  <a:cubicBezTo>
                    <a:pt x="13989" y="83219"/>
                    <a:pt x="17307" y="84614"/>
                    <a:pt x="20192" y="86537"/>
                  </a:cubicBezTo>
                  <a:lnTo>
                    <a:pt x="31730" y="103844"/>
                  </a:lnTo>
                  <a:cubicBezTo>
                    <a:pt x="38033" y="113298"/>
                    <a:pt x="34032" y="112498"/>
                    <a:pt x="40384" y="112498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5" name="Forma livre 401"/>
            <p:cNvSpPr/>
            <p:nvPr/>
          </p:nvSpPr>
          <p:spPr bwMode="auto">
            <a:xfrm>
              <a:off x="3922714" y="5270039"/>
              <a:ext cx="409575" cy="101600"/>
            </a:xfrm>
            <a:custGeom>
              <a:avLst/>
              <a:gdLst>
                <a:gd name="connsiteX0" fmla="*/ 0 w 409605"/>
                <a:gd name="connsiteY0" fmla="*/ 14423 h 101440"/>
                <a:gd name="connsiteX1" fmla="*/ 14423 w 409605"/>
                <a:gd name="connsiteY1" fmla="*/ 25961 h 101440"/>
                <a:gd name="connsiteX2" fmla="*/ 25961 w 409605"/>
                <a:gd name="connsiteY2" fmla="*/ 43269 h 101440"/>
                <a:gd name="connsiteX3" fmla="*/ 31730 w 409605"/>
                <a:gd name="connsiteY3" fmla="*/ 51922 h 101440"/>
                <a:gd name="connsiteX4" fmla="*/ 40384 w 409605"/>
                <a:gd name="connsiteY4" fmla="*/ 57691 h 101440"/>
                <a:gd name="connsiteX5" fmla="*/ 49037 w 409605"/>
                <a:gd name="connsiteY5" fmla="*/ 66345 h 101440"/>
                <a:gd name="connsiteX6" fmla="*/ 57691 w 409605"/>
                <a:gd name="connsiteY6" fmla="*/ 69229 h 101440"/>
                <a:gd name="connsiteX7" fmla="*/ 63460 w 409605"/>
                <a:gd name="connsiteY7" fmla="*/ 74999 h 101440"/>
                <a:gd name="connsiteX8" fmla="*/ 86536 w 409605"/>
                <a:gd name="connsiteY8" fmla="*/ 80768 h 101440"/>
                <a:gd name="connsiteX9" fmla="*/ 121151 w 409605"/>
                <a:gd name="connsiteY9" fmla="*/ 89421 h 101440"/>
                <a:gd name="connsiteX10" fmla="*/ 129804 w 409605"/>
                <a:gd name="connsiteY10" fmla="*/ 92306 h 101440"/>
                <a:gd name="connsiteX11" fmla="*/ 193264 w 409605"/>
                <a:gd name="connsiteY11" fmla="*/ 95190 h 101440"/>
                <a:gd name="connsiteX12" fmla="*/ 245186 w 409605"/>
                <a:gd name="connsiteY12" fmla="*/ 98075 h 101440"/>
                <a:gd name="connsiteX13" fmla="*/ 253840 w 409605"/>
                <a:gd name="connsiteY13" fmla="*/ 92306 h 101440"/>
                <a:gd name="connsiteX14" fmla="*/ 259609 w 409605"/>
                <a:gd name="connsiteY14" fmla="*/ 83652 h 101440"/>
                <a:gd name="connsiteX15" fmla="*/ 268262 w 409605"/>
                <a:gd name="connsiteY15" fmla="*/ 80768 h 101440"/>
                <a:gd name="connsiteX16" fmla="*/ 276916 w 409605"/>
                <a:gd name="connsiteY16" fmla="*/ 74999 h 101440"/>
                <a:gd name="connsiteX17" fmla="*/ 282685 w 409605"/>
                <a:gd name="connsiteY17" fmla="*/ 69229 h 101440"/>
                <a:gd name="connsiteX18" fmla="*/ 291339 w 409605"/>
                <a:gd name="connsiteY18" fmla="*/ 66345 h 101440"/>
                <a:gd name="connsiteX19" fmla="*/ 308646 w 409605"/>
                <a:gd name="connsiteY19" fmla="*/ 57691 h 101440"/>
                <a:gd name="connsiteX20" fmla="*/ 317300 w 409605"/>
                <a:gd name="connsiteY20" fmla="*/ 51922 h 101440"/>
                <a:gd name="connsiteX21" fmla="*/ 337491 w 409605"/>
                <a:gd name="connsiteY21" fmla="*/ 46153 h 101440"/>
                <a:gd name="connsiteX22" fmla="*/ 346145 w 409605"/>
                <a:gd name="connsiteY22" fmla="*/ 40384 h 101440"/>
                <a:gd name="connsiteX23" fmla="*/ 354799 w 409605"/>
                <a:gd name="connsiteY23" fmla="*/ 37500 h 101440"/>
                <a:gd name="connsiteX24" fmla="*/ 369221 w 409605"/>
                <a:gd name="connsiteY24" fmla="*/ 28846 h 101440"/>
                <a:gd name="connsiteX25" fmla="*/ 386529 w 409605"/>
                <a:gd name="connsiteY25" fmla="*/ 17308 h 101440"/>
                <a:gd name="connsiteX26" fmla="*/ 395182 w 409605"/>
                <a:gd name="connsiteY26" fmla="*/ 11539 h 101440"/>
                <a:gd name="connsiteX27" fmla="*/ 403836 w 409605"/>
                <a:gd name="connsiteY27" fmla="*/ 8654 h 101440"/>
                <a:gd name="connsiteX28" fmla="*/ 409605 w 409605"/>
                <a:gd name="connsiteY28" fmla="*/ 0 h 10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09605" h="101440">
                  <a:moveTo>
                    <a:pt x="0" y="14423"/>
                  </a:moveTo>
                  <a:cubicBezTo>
                    <a:pt x="4808" y="18269"/>
                    <a:pt x="10304" y="21385"/>
                    <a:pt x="14423" y="25961"/>
                  </a:cubicBezTo>
                  <a:cubicBezTo>
                    <a:pt x="19061" y="31115"/>
                    <a:pt x="22115" y="37500"/>
                    <a:pt x="25961" y="43269"/>
                  </a:cubicBezTo>
                  <a:cubicBezTo>
                    <a:pt x="27884" y="46153"/>
                    <a:pt x="28846" y="49999"/>
                    <a:pt x="31730" y="51922"/>
                  </a:cubicBezTo>
                  <a:cubicBezTo>
                    <a:pt x="34615" y="53845"/>
                    <a:pt x="37721" y="55472"/>
                    <a:pt x="40384" y="57691"/>
                  </a:cubicBezTo>
                  <a:cubicBezTo>
                    <a:pt x="43518" y="60303"/>
                    <a:pt x="45643" y="64082"/>
                    <a:pt x="49037" y="66345"/>
                  </a:cubicBezTo>
                  <a:cubicBezTo>
                    <a:pt x="51567" y="68032"/>
                    <a:pt x="54806" y="68268"/>
                    <a:pt x="57691" y="69229"/>
                  </a:cubicBezTo>
                  <a:cubicBezTo>
                    <a:pt x="59614" y="71152"/>
                    <a:pt x="60935" y="73989"/>
                    <a:pt x="63460" y="74999"/>
                  </a:cubicBezTo>
                  <a:cubicBezTo>
                    <a:pt x="70822" y="77944"/>
                    <a:pt x="86536" y="80768"/>
                    <a:pt x="86536" y="80768"/>
                  </a:cubicBezTo>
                  <a:cubicBezTo>
                    <a:pt x="103736" y="92234"/>
                    <a:pt x="88475" y="83975"/>
                    <a:pt x="121151" y="89421"/>
                  </a:cubicBezTo>
                  <a:cubicBezTo>
                    <a:pt x="124150" y="89921"/>
                    <a:pt x="126773" y="92064"/>
                    <a:pt x="129804" y="92306"/>
                  </a:cubicBezTo>
                  <a:cubicBezTo>
                    <a:pt x="150912" y="93995"/>
                    <a:pt x="172111" y="94229"/>
                    <a:pt x="193264" y="95190"/>
                  </a:cubicBezTo>
                  <a:cubicBezTo>
                    <a:pt x="221556" y="104620"/>
                    <a:pt x="204512" y="101464"/>
                    <a:pt x="245186" y="98075"/>
                  </a:cubicBezTo>
                  <a:cubicBezTo>
                    <a:pt x="248071" y="96152"/>
                    <a:pt x="251389" y="94757"/>
                    <a:pt x="253840" y="92306"/>
                  </a:cubicBezTo>
                  <a:cubicBezTo>
                    <a:pt x="256291" y="89855"/>
                    <a:pt x="256902" y="85818"/>
                    <a:pt x="259609" y="83652"/>
                  </a:cubicBezTo>
                  <a:cubicBezTo>
                    <a:pt x="261983" y="81753"/>
                    <a:pt x="265378" y="81729"/>
                    <a:pt x="268262" y="80768"/>
                  </a:cubicBezTo>
                  <a:cubicBezTo>
                    <a:pt x="271147" y="78845"/>
                    <a:pt x="274209" y="77165"/>
                    <a:pt x="276916" y="74999"/>
                  </a:cubicBezTo>
                  <a:cubicBezTo>
                    <a:pt x="279040" y="73300"/>
                    <a:pt x="280353" y="70628"/>
                    <a:pt x="282685" y="69229"/>
                  </a:cubicBezTo>
                  <a:cubicBezTo>
                    <a:pt x="285292" y="67665"/>
                    <a:pt x="288454" y="67306"/>
                    <a:pt x="291339" y="66345"/>
                  </a:cubicBezTo>
                  <a:cubicBezTo>
                    <a:pt x="316131" y="49816"/>
                    <a:pt x="284766" y="69631"/>
                    <a:pt x="308646" y="57691"/>
                  </a:cubicBezTo>
                  <a:cubicBezTo>
                    <a:pt x="311747" y="56141"/>
                    <a:pt x="314199" y="53472"/>
                    <a:pt x="317300" y="51922"/>
                  </a:cubicBezTo>
                  <a:cubicBezTo>
                    <a:pt x="321435" y="49855"/>
                    <a:pt x="333799" y="47076"/>
                    <a:pt x="337491" y="46153"/>
                  </a:cubicBezTo>
                  <a:cubicBezTo>
                    <a:pt x="340376" y="44230"/>
                    <a:pt x="343044" y="41934"/>
                    <a:pt x="346145" y="40384"/>
                  </a:cubicBezTo>
                  <a:cubicBezTo>
                    <a:pt x="348865" y="39024"/>
                    <a:pt x="352192" y="39064"/>
                    <a:pt x="354799" y="37500"/>
                  </a:cubicBezTo>
                  <a:cubicBezTo>
                    <a:pt x="374598" y="25620"/>
                    <a:pt x="344707" y="37016"/>
                    <a:pt x="369221" y="28846"/>
                  </a:cubicBezTo>
                  <a:lnTo>
                    <a:pt x="386529" y="17308"/>
                  </a:lnTo>
                  <a:cubicBezTo>
                    <a:pt x="389413" y="15385"/>
                    <a:pt x="391893" y="12635"/>
                    <a:pt x="395182" y="11539"/>
                  </a:cubicBezTo>
                  <a:lnTo>
                    <a:pt x="403836" y="8654"/>
                  </a:lnTo>
                  <a:lnTo>
                    <a:pt x="409605" y="0"/>
                  </a:ln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7" name="Forma livre 389"/>
            <p:cNvSpPr/>
            <p:nvPr/>
          </p:nvSpPr>
          <p:spPr bwMode="auto">
            <a:xfrm>
              <a:off x="5278468" y="4420727"/>
              <a:ext cx="376207" cy="432145"/>
            </a:xfrm>
            <a:custGeom>
              <a:avLst/>
              <a:gdLst>
                <a:gd name="connsiteX0" fmla="*/ 0 w 622689"/>
                <a:gd name="connsiteY0" fmla="*/ 454395 h 454395"/>
                <a:gd name="connsiteX1" fmla="*/ 28049 w 622689"/>
                <a:gd name="connsiteY1" fmla="*/ 443175 h 454395"/>
                <a:gd name="connsiteX2" fmla="*/ 39269 w 622689"/>
                <a:gd name="connsiteY2" fmla="*/ 426346 h 454395"/>
                <a:gd name="connsiteX3" fmla="*/ 89757 w 622689"/>
                <a:gd name="connsiteY3" fmla="*/ 403906 h 454395"/>
                <a:gd name="connsiteX4" fmla="*/ 117806 w 622689"/>
                <a:gd name="connsiteY4" fmla="*/ 398297 h 454395"/>
                <a:gd name="connsiteX5" fmla="*/ 151465 w 622689"/>
                <a:gd name="connsiteY5" fmla="*/ 387077 h 454395"/>
                <a:gd name="connsiteX6" fmla="*/ 190734 w 622689"/>
                <a:gd name="connsiteY6" fmla="*/ 392687 h 454395"/>
                <a:gd name="connsiteX7" fmla="*/ 224393 w 622689"/>
                <a:gd name="connsiteY7" fmla="*/ 403906 h 454395"/>
                <a:gd name="connsiteX8" fmla="*/ 252442 w 622689"/>
                <a:gd name="connsiteY8" fmla="*/ 398297 h 454395"/>
                <a:gd name="connsiteX9" fmla="*/ 319759 w 622689"/>
                <a:gd name="connsiteY9" fmla="*/ 353418 h 454395"/>
                <a:gd name="connsiteX10" fmla="*/ 342199 w 622689"/>
                <a:gd name="connsiteY10" fmla="*/ 347808 h 454395"/>
                <a:gd name="connsiteX11" fmla="*/ 375858 w 622689"/>
                <a:gd name="connsiteY11" fmla="*/ 336589 h 454395"/>
                <a:gd name="connsiteX12" fmla="*/ 387077 w 622689"/>
                <a:gd name="connsiteY12" fmla="*/ 319759 h 454395"/>
                <a:gd name="connsiteX13" fmla="*/ 420736 w 622689"/>
                <a:gd name="connsiteY13" fmla="*/ 302930 h 454395"/>
                <a:gd name="connsiteX14" fmla="*/ 437566 w 622689"/>
                <a:gd name="connsiteY14" fmla="*/ 286100 h 454395"/>
                <a:gd name="connsiteX15" fmla="*/ 437566 w 622689"/>
                <a:gd name="connsiteY15" fmla="*/ 201953 h 454395"/>
                <a:gd name="connsiteX16" fmla="*/ 426346 w 622689"/>
                <a:gd name="connsiteY16" fmla="*/ 168294 h 454395"/>
                <a:gd name="connsiteX17" fmla="*/ 448785 w 622689"/>
                <a:gd name="connsiteY17" fmla="*/ 106586 h 454395"/>
                <a:gd name="connsiteX18" fmla="*/ 482444 w 622689"/>
                <a:gd name="connsiteY18" fmla="*/ 95366 h 454395"/>
                <a:gd name="connsiteX19" fmla="*/ 516103 w 622689"/>
                <a:gd name="connsiteY19" fmla="*/ 72927 h 454395"/>
                <a:gd name="connsiteX20" fmla="*/ 560982 w 622689"/>
                <a:gd name="connsiteY20" fmla="*/ 33658 h 454395"/>
                <a:gd name="connsiteX21" fmla="*/ 577811 w 622689"/>
                <a:gd name="connsiteY21" fmla="*/ 22439 h 454395"/>
                <a:gd name="connsiteX22" fmla="*/ 594640 w 622689"/>
                <a:gd name="connsiteY22" fmla="*/ 11219 h 454395"/>
                <a:gd name="connsiteX23" fmla="*/ 622689 w 622689"/>
                <a:gd name="connsiteY23" fmla="*/ 0 h 454395"/>
                <a:gd name="connsiteX0" fmla="*/ 0 w 622689"/>
                <a:gd name="connsiteY0" fmla="*/ 454395 h 454395"/>
                <a:gd name="connsiteX1" fmla="*/ 28049 w 622689"/>
                <a:gd name="connsiteY1" fmla="*/ 443175 h 454395"/>
                <a:gd name="connsiteX2" fmla="*/ 39269 w 622689"/>
                <a:gd name="connsiteY2" fmla="*/ 426346 h 454395"/>
                <a:gd name="connsiteX3" fmla="*/ 89757 w 622689"/>
                <a:gd name="connsiteY3" fmla="*/ 403906 h 454395"/>
                <a:gd name="connsiteX4" fmla="*/ 117806 w 622689"/>
                <a:gd name="connsiteY4" fmla="*/ 398297 h 454395"/>
                <a:gd name="connsiteX5" fmla="*/ 151465 w 622689"/>
                <a:gd name="connsiteY5" fmla="*/ 387077 h 454395"/>
                <a:gd name="connsiteX6" fmla="*/ 190734 w 622689"/>
                <a:gd name="connsiteY6" fmla="*/ 392687 h 454395"/>
                <a:gd name="connsiteX7" fmla="*/ 224393 w 622689"/>
                <a:gd name="connsiteY7" fmla="*/ 403906 h 454395"/>
                <a:gd name="connsiteX8" fmla="*/ 252442 w 622689"/>
                <a:gd name="connsiteY8" fmla="*/ 398297 h 454395"/>
                <a:gd name="connsiteX9" fmla="*/ 319759 w 622689"/>
                <a:gd name="connsiteY9" fmla="*/ 353418 h 454395"/>
                <a:gd name="connsiteX10" fmla="*/ 342199 w 622689"/>
                <a:gd name="connsiteY10" fmla="*/ 347808 h 454395"/>
                <a:gd name="connsiteX11" fmla="*/ 375858 w 622689"/>
                <a:gd name="connsiteY11" fmla="*/ 336589 h 454395"/>
                <a:gd name="connsiteX12" fmla="*/ 387077 w 622689"/>
                <a:gd name="connsiteY12" fmla="*/ 319759 h 454395"/>
                <a:gd name="connsiteX13" fmla="*/ 420736 w 622689"/>
                <a:gd name="connsiteY13" fmla="*/ 302930 h 454395"/>
                <a:gd name="connsiteX14" fmla="*/ 437566 w 622689"/>
                <a:gd name="connsiteY14" fmla="*/ 286100 h 454395"/>
                <a:gd name="connsiteX15" fmla="*/ 437566 w 622689"/>
                <a:gd name="connsiteY15" fmla="*/ 201953 h 454395"/>
                <a:gd name="connsiteX16" fmla="*/ 426346 w 622689"/>
                <a:gd name="connsiteY16" fmla="*/ 168294 h 454395"/>
                <a:gd name="connsiteX17" fmla="*/ 448785 w 622689"/>
                <a:gd name="connsiteY17" fmla="*/ 120873 h 454395"/>
                <a:gd name="connsiteX18" fmla="*/ 482444 w 622689"/>
                <a:gd name="connsiteY18" fmla="*/ 95366 h 454395"/>
                <a:gd name="connsiteX19" fmla="*/ 516103 w 622689"/>
                <a:gd name="connsiteY19" fmla="*/ 72927 h 454395"/>
                <a:gd name="connsiteX20" fmla="*/ 560982 w 622689"/>
                <a:gd name="connsiteY20" fmla="*/ 33658 h 454395"/>
                <a:gd name="connsiteX21" fmla="*/ 577811 w 622689"/>
                <a:gd name="connsiteY21" fmla="*/ 22439 h 454395"/>
                <a:gd name="connsiteX22" fmla="*/ 594640 w 622689"/>
                <a:gd name="connsiteY22" fmla="*/ 11219 h 454395"/>
                <a:gd name="connsiteX23" fmla="*/ 622689 w 622689"/>
                <a:gd name="connsiteY23" fmla="*/ 0 h 454395"/>
                <a:gd name="connsiteX0" fmla="*/ 0 w 622689"/>
                <a:gd name="connsiteY0" fmla="*/ 454395 h 454395"/>
                <a:gd name="connsiteX1" fmla="*/ 28049 w 622689"/>
                <a:gd name="connsiteY1" fmla="*/ 443175 h 454395"/>
                <a:gd name="connsiteX2" fmla="*/ 39269 w 622689"/>
                <a:gd name="connsiteY2" fmla="*/ 426346 h 454395"/>
                <a:gd name="connsiteX3" fmla="*/ 89757 w 622689"/>
                <a:gd name="connsiteY3" fmla="*/ 403906 h 454395"/>
                <a:gd name="connsiteX4" fmla="*/ 117806 w 622689"/>
                <a:gd name="connsiteY4" fmla="*/ 398297 h 454395"/>
                <a:gd name="connsiteX5" fmla="*/ 151465 w 622689"/>
                <a:gd name="connsiteY5" fmla="*/ 387077 h 454395"/>
                <a:gd name="connsiteX6" fmla="*/ 190734 w 622689"/>
                <a:gd name="connsiteY6" fmla="*/ 392687 h 454395"/>
                <a:gd name="connsiteX7" fmla="*/ 224393 w 622689"/>
                <a:gd name="connsiteY7" fmla="*/ 403906 h 454395"/>
                <a:gd name="connsiteX8" fmla="*/ 252442 w 622689"/>
                <a:gd name="connsiteY8" fmla="*/ 398297 h 454395"/>
                <a:gd name="connsiteX9" fmla="*/ 319759 w 622689"/>
                <a:gd name="connsiteY9" fmla="*/ 353418 h 454395"/>
                <a:gd name="connsiteX10" fmla="*/ 342199 w 622689"/>
                <a:gd name="connsiteY10" fmla="*/ 347808 h 454395"/>
                <a:gd name="connsiteX11" fmla="*/ 375858 w 622689"/>
                <a:gd name="connsiteY11" fmla="*/ 336589 h 454395"/>
                <a:gd name="connsiteX12" fmla="*/ 387077 w 622689"/>
                <a:gd name="connsiteY12" fmla="*/ 319759 h 454395"/>
                <a:gd name="connsiteX13" fmla="*/ 420736 w 622689"/>
                <a:gd name="connsiteY13" fmla="*/ 302930 h 454395"/>
                <a:gd name="connsiteX14" fmla="*/ 437566 w 622689"/>
                <a:gd name="connsiteY14" fmla="*/ 286100 h 454395"/>
                <a:gd name="connsiteX15" fmla="*/ 437566 w 622689"/>
                <a:gd name="connsiteY15" fmla="*/ 201953 h 454395"/>
                <a:gd name="connsiteX16" fmla="*/ 440634 w 622689"/>
                <a:gd name="connsiteY16" fmla="*/ 158769 h 454395"/>
                <a:gd name="connsiteX17" fmla="*/ 448785 w 622689"/>
                <a:gd name="connsiteY17" fmla="*/ 120873 h 454395"/>
                <a:gd name="connsiteX18" fmla="*/ 482444 w 622689"/>
                <a:gd name="connsiteY18" fmla="*/ 95366 h 454395"/>
                <a:gd name="connsiteX19" fmla="*/ 516103 w 622689"/>
                <a:gd name="connsiteY19" fmla="*/ 72927 h 454395"/>
                <a:gd name="connsiteX20" fmla="*/ 560982 w 622689"/>
                <a:gd name="connsiteY20" fmla="*/ 33658 h 454395"/>
                <a:gd name="connsiteX21" fmla="*/ 577811 w 622689"/>
                <a:gd name="connsiteY21" fmla="*/ 22439 h 454395"/>
                <a:gd name="connsiteX22" fmla="*/ 594640 w 622689"/>
                <a:gd name="connsiteY22" fmla="*/ 11219 h 454395"/>
                <a:gd name="connsiteX23" fmla="*/ 622689 w 622689"/>
                <a:gd name="connsiteY23" fmla="*/ 0 h 454395"/>
                <a:gd name="connsiteX0" fmla="*/ 0 w 622689"/>
                <a:gd name="connsiteY0" fmla="*/ 454395 h 454395"/>
                <a:gd name="connsiteX1" fmla="*/ 28049 w 622689"/>
                <a:gd name="connsiteY1" fmla="*/ 443175 h 454395"/>
                <a:gd name="connsiteX2" fmla="*/ 39269 w 622689"/>
                <a:gd name="connsiteY2" fmla="*/ 426346 h 454395"/>
                <a:gd name="connsiteX3" fmla="*/ 89757 w 622689"/>
                <a:gd name="connsiteY3" fmla="*/ 403906 h 454395"/>
                <a:gd name="connsiteX4" fmla="*/ 117806 w 622689"/>
                <a:gd name="connsiteY4" fmla="*/ 398297 h 454395"/>
                <a:gd name="connsiteX5" fmla="*/ 151465 w 622689"/>
                <a:gd name="connsiteY5" fmla="*/ 387077 h 454395"/>
                <a:gd name="connsiteX6" fmla="*/ 190734 w 622689"/>
                <a:gd name="connsiteY6" fmla="*/ 392687 h 454395"/>
                <a:gd name="connsiteX7" fmla="*/ 224393 w 622689"/>
                <a:gd name="connsiteY7" fmla="*/ 403906 h 454395"/>
                <a:gd name="connsiteX8" fmla="*/ 252442 w 622689"/>
                <a:gd name="connsiteY8" fmla="*/ 398297 h 454395"/>
                <a:gd name="connsiteX9" fmla="*/ 319759 w 622689"/>
                <a:gd name="connsiteY9" fmla="*/ 353418 h 454395"/>
                <a:gd name="connsiteX10" fmla="*/ 342199 w 622689"/>
                <a:gd name="connsiteY10" fmla="*/ 347808 h 454395"/>
                <a:gd name="connsiteX11" fmla="*/ 375858 w 622689"/>
                <a:gd name="connsiteY11" fmla="*/ 336589 h 454395"/>
                <a:gd name="connsiteX12" fmla="*/ 387077 w 622689"/>
                <a:gd name="connsiteY12" fmla="*/ 319759 h 454395"/>
                <a:gd name="connsiteX13" fmla="*/ 420736 w 622689"/>
                <a:gd name="connsiteY13" fmla="*/ 302930 h 454395"/>
                <a:gd name="connsiteX14" fmla="*/ 437566 w 622689"/>
                <a:gd name="connsiteY14" fmla="*/ 286100 h 454395"/>
                <a:gd name="connsiteX15" fmla="*/ 447091 w 622689"/>
                <a:gd name="connsiteY15" fmla="*/ 230528 h 454395"/>
                <a:gd name="connsiteX16" fmla="*/ 440634 w 622689"/>
                <a:gd name="connsiteY16" fmla="*/ 158769 h 454395"/>
                <a:gd name="connsiteX17" fmla="*/ 448785 w 622689"/>
                <a:gd name="connsiteY17" fmla="*/ 120873 h 454395"/>
                <a:gd name="connsiteX18" fmla="*/ 482444 w 622689"/>
                <a:gd name="connsiteY18" fmla="*/ 95366 h 454395"/>
                <a:gd name="connsiteX19" fmla="*/ 516103 w 622689"/>
                <a:gd name="connsiteY19" fmla="*/ 72927 h 454395"/>
                <a:gd name="connsiteX20" fmla="*/ 560982 w 622689"/>
                <a:gd name="connsiteY20" fmla="*/ 33658 h 454395"/>
                <a:gd name="connsiteX21" fmla="*/ 577811 w 622689"/>
                <a:gd name="connsiteY21" fmla="*/ 22439 h 454395"/>
                <a:gd name="connsiteX22" fmla="*/ 594640 w 622689"/>
                <a:gd name="connsiteY22" fmla="*/ 11219 h 454395"/>
                <a:gd name="connsiteX23" fmla="*/ 622689 w 622689"/>
                <a:gd name="connsiteY23" fmla="*/ 0 h 454395"/>
                <a:gd name="connsiteX0" fmla="*/ 0 w 622689"/>
                <a:gd name="connsiteY0" fmla="*/ 454395 h 454395"/>
                <a:gd name="connsiteX1" fmla="*/ 28049 w 622689"/>
                <a:gd name="connsiteY1" fmla="*/ 443175 h 454395"/>
                <a:gd name="connsiteX2" fmla="*/ 39269 w 622689"/>
                <a:gd name="connsiteY2" fmla="*/ 426346 h 454395"/>
                <a:gd name="connsiteX3" fmla="*/ 89757 w 622689"/>
                <a:gd name="connsiteY3" fmla="*/ 403906 h 454395"/>
                <a:gd name="connsiteX4" fmla="*/ 117806 w 622689"/>
                <a:gd name="connsiteY4" fmla="*/ 398297 h 454395"/>
                <a:gd name="connsiteX5" fmla="*/ 151465 w 622689"/>
                <a:gd name="connsiteY5" fmla="*/ 387077 h 454395"/>
                <a:gd name="connsiteX6" fmla="*/ 190734 w 622689"/>
                <a:gd name="connsiteY6" fmla="*/ 392687 h 454395"/>
                <a:gd name="connsiteX7" fmla="*/ 224393 w 622689"/>
                <a:gd name="connsiteY7" fmla="*/ 403906 h 454395"/>
                <a:gd name="connsiteX8" fmla="*/ 252442 w 622689"/>
                <a:gd name="connsiteY8" fmla="*/ 398297 h 454395"/>
                <a:gd name="connsiteX9" fmla="*/ 319759 w 622689"/>
                <a:gd name="connsiteY9" fmla="*/ 353418 h 454395"/>
                <a:gd name="connsiteX10" fmla="*/ 342199 w 622689"/>
                <a:gd name="connsiteY10" fmla="*/ 347808 h 454395"/>
                <a:gd name="connsiteX11" fmla="*/ 375858 w 622689"/>
                <a:gd name="connsiteY11" fmla="*/ 336589 h 454395"/>
                <a:gd name="connsiteX12" fmla="*/ 387077 w 622689"/>
                <a:gd name="connsiteY12" fmla="*/ 319759 h 454395"/>
                <a:gd name="connsiteX13" fmla="*/ 420736 w 622689"/>
                <a:gd name="connsiteY13" fmla="*/ 302930 h 454395"/>
                <a:gd name="connsiteX14" fmla="*/ 428041 w 622689"/>
                <a:gd name="connsiteY14" fmla="*/ 262288 h 454395"/>
                <a:gd name="connsiteX15" fmla="*/ 447091 w 622689"/>
                <a:gd name="connsiteY15" fmla="*/ 230528 h 454395"/>
                <a:gd name="connsiteX16" fmla="*/ 440634 w 622689"/>
                <a:gd name="connsiteY16" fmla="*/ 158769 h 454395"/>
                <a:gd name="connsiteX17" fmla="*/ 448785 w 622689"/>
                <a:gd name="connsiteY17" fmla="*/ 120873 h 454395"/>
                <a:gd name="connsiteX18" fmla="*/ 482444 w 622689"/>
                <a:gd name="connsiteY18" fmla="*/ 95366 h 454395"/>
                <a:gd name="connsiteX19" fmla="*/ 516103 w 622689"/>
                <a:gd name="connsiteY19" fmla="*/ 72927 h 454395"/>
                <a:gd name="connsiteX20" fmla="*/ 560982 w 622689"/>
                <a:gd name="connsiteY20" fmla="*/ 33658 h 454395"/>
                <a:gd name="connsiteX21" fmla="*/ 577811 w 622689"/>
                <a:gd name="connsiteY21" fmla="*/ 22439 h 454395"/>
                <a:gd name="connsiteX22" fmla="*/ 594640 w 622689"/>
                <a:gd name="connsiteY22" fmla="*/ 11219 h 454395"/>
                <a:gd name="connsiteX23" fmla="*/ 622689 w 622689"/>
                <a:gd name="connsiteY23" fmla="*/ 0 h 454395"/>
                <a:gd name="connsiteX0" fmla="*/ 382947 w 1005636"/>
                <a:gd name="connsiteY0" fmla="*/ 454395 h 542629"/>
                <a:gd name="connsiteX1" fmla="*/ 410996 w 1005636"/>
                <a:gd name="connsiteY1" fmla="*/ 443175 h 542629"/>
                <a:gd name="connsiteX2" fmla="*/ 422216 w 1005636"/>
                <a:gd name="connsiteY2" fmla="*/ 426346 h 542629"/>
                <a:gd name="connsiteX3" fmla="*/ 382 w 1005636"/>
                <a:gd name="connsiteY3" fmla="*/ 542574 h 542629"/>
                <a:gd name="connsiteX4" fmla="*/ 500753 w 1005636"/>
                <a:gd name="connsiteY4" fmla="*/ 398297 h 542629"/>
                <a:gd name="connsiteX5" fmla="*/ 534412 w 1005636"/>
                <a:gd name="connsiteY5" fmla="*/ 387077 h 542629"/>
                <a:gd name="connsiteX6" fmla="*/ 573681 w 1005636"/>
                <a:gd name="connsiteY6" fmla="*/ 392687 h 542629"/>
                <a:gd name="connsiteX7" fmla="*/ 607340 w 1005636"/>
                <a:gd name="connsiteY7" fmla="*/ 403906 h 542629"/>
                <a:gd name="connsiteX8" fmla="*/ 635389 w 1005636"/>
                <a:gd name="connsiteY8" fmla="*/ 398297 h 542629"/>
                <a:gd name="connsiteX9" fmla="*/ 702706 w 1005636"/>
                <a:gd name="connsiteY9" fmla="*/ 353418 h 542629"/>
                <a:gd name="connsiteX10" fmla="*/ 725146 w 1005636"/>
                <a:gd name="connsiteY10" fmla="*/ 347808 h 542629"/>
                <a:gd name="connsiteX11" fmla="*/ 758805 w 1005636"/>
                <a:gd name="connsiteY11" fmla="*/ 336589 h 542629"/>
                <a:gd name="connsiteX12" fmla="*/ 770024 w 1005636"/>
                <a:gd name="connsiteY12" fmla="*/ 319759 h 542629"/>
                <a:gd name="connsiteX13" fmla="*/ 803683 w 1005636"/>
                <a:gd name="connsiteY13" fmla="*/ 302930 h 542629"/>
                <a:gd name="connsiteX14" fmla="*/ 810988 w 1005636"/>
                <a:gd name="connsiteY14" fmla="*/ 262288 h 542629"/>
                <a:gd name="connsiteX15" fmla="*/ 830038 w 1005636"/>
                <a:gd name="connsiteY15" fmla="*/ 230528 h 542629"/>
                <a:gd name="connsiteX16" fmla="*/ 823581 w 1005636"/>
                <a:gd name="connsiteY16" fmla="*/ 158769 h 542629"/>
                <a:gd name="connsiteX17" fmla="*/ 831732 w 1005636"/>
                <a:gd name="connsiteY17" fmla="*/ 120873 h 542629"/>
                <a:gd name="connsiteX18" fmla="*/ 865391 w 1005636"/>
                <a:gd name="connsiteY18" fmla="*/ 95366 h 542629"/>
                <a:gd name="connsiteX19" fmla="*/ 899050 w 1005636"/>
                <a:gd name="connsiteY19" fmla="*/ 72927 h 542629"/>
                <a:gd name="connsiteX20" fmla="*/ 943929 w 1005636"/>
                <a:gd name="connsiteY20" fmla="*/ 33658 h 542629"/>
                <a:gd name="connsiteX21" fmla="*/ 960758 w 1005636"/>
                <a:gd name="connsiteY21" fmla="*/ 22439 h 542629"/>
                <a:gd name="connsiteX22" fmla="*/ 977587 w 1005636"/>
                <a:gd name="connsiteY22" fmla="*/ 11219 h 542629"/>
                <a:gd name="connsiteX23" fmla="*/ 1005636 w 1005636"/>
                <a:gd name="connsiteY23" fmla="*/ 0 h 542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005636" h="542629">
                  <a:moveTo>
                    <a:pt x="382947" y="454395"/>
                  </a:moveTo>
                  <a:cubicBezTo>
                    <a:pt x="392297" y="450655"/>
                    <a:pt x="402802" y="449028"/>
                    <a:pt x="410996" y="443175"/>
                  </a:cubicBezTo>
                  <a:cubicBezTo>
                    <a:pt x="416482" y="439256"/>
                    <a:pt x="490651" y="409780"/>
                    <a:pt x="422216" y="426346"/>
                  </a:cubicBezTo>
                  <a:cubicBezTo>
                    <a:pt x="353781" y="442912"/>
                    <a:pt x="-13506" y="545351"/>
                    <a:pt x="382" y="542574"/>
                  </a:cubicBezTo>
                  <a:cubicBezTo>
                    <a:pt x="9732" y="540704"/>
                    <a:pt x="411748" y="424213"/>
                    <a:pt x="500753" y="398297"/>
                  </a:cubicBezTo>
                  <a:cubicBezTo>
                    <a:pt x="589758" y="372381"/>
                    <a:pt x="534412" y="387077"/>
                    <a:pt x="534412" y="387077"/>
                  </a:cubicBezTo>
                  <a:cubicBezTo>
                    <a:pt x="547502" y="388947"/>
                    <a:pt x="560797" y="389714"/>
                    <a:pt x="573681" y="392687"/>
                  </a:cubicBezTo>
                  <a:cubicBezTo>
                    <a:pt x="585205" y="395346"/>
                    <a:pt x="607340" y="403906"/>
                    <a:pt x="607340" y="403906"/>
                  </a:cubicBezTo>
                  <a:cubicBezTo>
                    <a:pt x="616690" y="402036"/>
                    <a:pt x="627345" y="403416"/>
                    <a:pt x="635389" y="398297"/>
                  </a:cubicBezTo>
                  <a:cubicBezTo>
                    <a:pt x="702863" y="355360"/>
                    <a:pt x="635025" y="370338"/>
                    <a:pt x="702706" y="353418"/>
                  </a:cubicBezTo>
                  <a:cubicBezTo>
                    <a:pt x="710186" y="351548"/>
                    <a:pt x="717761" y="350023"/>
                    <a:pt x="725146" y="347808"/>
                  </a:cubicBezTo>
                  <a:cubicBezTo>
                    <a:pt x="736474" y="344410"/>
                    <a:pt x="758805" y="336589"/>
                    <a:pt x="758805" y="336589"/>
                  </a:cubicBezTo>
                  <a:cubicBezTo>
                    <a:pt x="762545" y="330979"/>
                    <a:pt x="765257" y="324527"/>
                    <a:pt x="770024" y="319759"/>
                  </a:cubicBezTo>
                  <a:cubicBezTo>
                    <a:pt x="780899" y="308884"/>
                    <a:pt x="789995" y="307492"/>
                    <a:pt x="803683" y="302930"/>
                  </a:cubicBezTo>
                  <a:cubicBezTo>
                    <a:pt x="809293" y="297320"/>
                    <a:pt x="806596" y="274355"/>
                    <a:pt x="810988" y="262288"/>
                  </a:cubicBezTo>
                  <a:cubicBezTo>
                    <a:pt x="815381" y="250221"/>
                    <a:pt x="827939" y="247781"/>
                    <a:pt x="830038" y="230528"/>
                  </a:cubicBezTo>
                  <a:cubicBezTo>
                    <a:pt x="832137" y="213275"/>
                    <a:pt x="823299" y="177045"/>
                    <a:pt x="823581" y="158769"/>
                  </a:cubicBezTo>
                  <a:cubicBezTo>
                    <a:pt x="823863" y="140493"/>
                    <a:pt x="824764" y="131440"/>
                    <a:pt x="831732" y="120873"/>
                  </a:cubicBezTo>
                  <a:cubicBezTo>
                    <a:pt x="838700" y="110306"/>
                    <a:pt x="854171" y="103357"/>
                    <a:pt x="865391" y="95366"/>
                  </a:cubicBezTo>
                  <a:cubicBezTo>
                    <a:pt x="876611" y="87375"/>
                    <a:pt x="887830" y="80407"/>
                    <a:pt x="899050" y="72927"/>
                  </a:cubicBezTo>
                  <a:cubicBezTo>
                    <a:pt x="917750" y="44879"/>
                    <a:pt x="904661" y="59837"/>
                    <a:pt x="943929" y="33658"/>
                  </a:cubicBezTo>
                  <a:lnTo>
                    <a:pt x="960758" y="22439"/>
                  </a:lnTo>
                  <a:cubicBezTo>
                    <a:pt x="966368" y="18699"/>
                    <a:pt x="971191" y="13351"/>
                    <a:pt x="977587" y="11219"/>
                  </a:cubicBezTo>
                  <a:cubicBezTo>
                    <a:pt x="998383" y="4287"/>
                    <a:pt x="989128" y="8253"/>
                    <a:pt x="1005636" y="0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48" name="Forma livre 393"/>
            <p:cNvSpPr/>
            <p:nvPr/>
          </p:nvSpPr>
          <p:spPr bwMode="auto">
            <a:xfrm>
              <a:off x="3921126" y="4927139"/>
              <a:ext cx="777875" cy="368300"/>
            </a:xfrm>
            <a:custGeom>
              <a:avLst/>
              <a:gdLst>
                <a:gd name="connsiteX0" fmla="*/ 778827 w 778827"/>
                <a:gd name="connsiteY0" fmla="*/ 28845 h 369221"/>
                <a:gd name="connsiteX1" fmla="*/ 764404 w 778827"/>
                <a:gd name="connsiteY1" fmla="*/ 51922 h 369221"/>
                <a:gd name="connsiteX2" fmla="*/ 758635 w 778827"/>
                <a:gd name="connsiteY2" fmla="*/ 63460 h 369221"/>
                <a:gd name="connsiteX3" fmla="*/ 744212 w 778827"/>
                <a:gd name="connsiteY3" fmla="*/ 89421 h 369221"/>
                <a:gd name="connsiteX4" fmla="*/ 735559 w 778827"/>
                <a:gd name="connsiteY4" fmla="*/ 95190 h 369221"/>
                <a:gd name="connsiteX5" fmla="*/ 698060 w 778827"/>
                <a:gd name="connsiteY5" fmla="*/ 89421 h 369221"/>
                <a:gd name="connsiteX6" fmla="*/ 680752 w 778827"/>
                <a:gd name="connsiteY6" fmla="*/ 77883 h 369221"/>
                <a:gd name="connsiteX7" fmla="*/ 672099 w 778827"/>
                <a:gd name="connsiteY7" fmla="*/ 74998 h 369221"/>
                <a:gd name="connsiteX8" fmla="*/ 654792 w 778827"/>
                <a:gd name="connsiteY8" fmla="*/ 63460 h 369221"/>
                <a:gd name="connsiteX9" fmla="*/ 643253 w 778827"/>
                <a:gd name="connsiteY9" fmla="*/ 60575 h 369221"/>
                <a:gd name="connsiteX10" fmla="*/ 637484 w 778827"/>
                <a:gd name="connsiteY10" fmla="*/ 51922 h 369221"/>
                <a:gd name="connsiteX11" fmla="*/ 634600 w 778827"/>
                <a:gd name="connsiteY11" fmla="*/ 43268 h 369221"/>
                <a:gd name="connsiteX12" fmla="*/ 625946 w 778827"/>
                <a:gd name="connsiteY12" fmla="*/ 34614 h 369221"/>
                <a:gd name="connsiteX13" fmla="*/ 594216 w 778827"/>
                <a:gd name="connsiteY13" fmla="*/ 28845 h 369221"/>
                <a:gd name="connsiteX14" fmla="*/ 576909 w 778827"/>
                <a:gd name="connsiteY14" fmla="*/ 20192 h 369221"/>
                <a:gd name="connsiteX15" fmla="*/ 568255 w 778827"/>
                <a:gd name="connsiteY15" fmla="*/ 14423 h 369221"/>
                <a:gd name="connsiteX16" fmla="*/ 550948 w 778827"/>
                <a:gd name="connsiteY16" fmla="*/ 8654 h 369221"/>
                <a:gd name="connsiteX17" fmla="*/ 524987 w 778827"/>
                <a:gd name="connsiteY17" fmla="*/ 0 h 369221"/>
                <a:gd name="connsiteX18" fmla="*/ 510564 w 778827"/>
                <a:gd name="connsiteY18" fmla="*/ 2884 h 369221"/>
                <a:gd name="connsiteX19" fmla="*/ 496142 w 778827"/>
                <a:gd name="connsiteY19" fmla="*/ 17307 h 369221"/>
                <a:gd name="connsiteX20" fmla="*/ 487488 w 778827"/>
                <a:gd name="connsiteY20" fmla="*/ 20192 h 369221"/>
                <a:gd name="connsiteX21" fmla="*/ 470181 w 778827"/>
                <a:gd name="connsiteY21" fmla="*/ 34614 h 369221"/>
                <a:gd name="connsiteX22" fmla="*/ 449989 w 778827"/>
                <a:gd name="connsiteY22" fmla="*/ 31730 h 369221"/>
                <a:gd name="connsiteX23" fmla="*/ 435566 w 778827"/>
                <a:gd name="connsiteY23" fmla="*/ 34614 h 369221"/>
                <a:gd name="connsiteX24" fmla="*/ 429797 w 778827"/>
                <a:gd name="connsiteY24" fmla="*/ 40384 h 369221"/>
                <a:gd name="connsiteX25" fmla="*/ 421144 w 778827"/>
                <a:gd name="connsiteY25" fmla="*/ 46153 h 369221"/>
                <a:gd name="connsiteX26" fmla="*/ 418259 w 778827"/>
                <a:gd name="connsiteY26" fmla="*/ 54806 h 369221"/>
                <a:gd name="connsiteX27" fmla="*/ 400952 w 778827"/>
                <a:gd name="connsiteY27" fmla="*/ 60575 h 369221"/>
                <a:gd name="connsiteX28" fmla="*/ 383645 w 778827"/>
                <a:gd name="connsiteY28" fmla="*/ 74998 h 369221"/>
                <a:gd name="connsiteX29" fmla="*/ 369222 w 778827"/>
                <a:gd name="connsiteY29" fmla="*/ 86536 h 369221"/>
                <a:gd name="connsiteX30" fmla="*/ 351915 w 778827"/>
                <a:gd name="connsiteY30" fmla="*/ 92305 h 369221"/>
                <a:gd name="connsiteX31" fmla="*/ 340376 w 778827"/>
                <a:gd name="connsiteY31" fmla="*/ 118266 h 369221"/>
                <a:gd name="connsiteX32" fmla="*/ 334607 w 778827"/>
                <a:gd name="connsiteY32" fmla="*/ 135573 h 369221"/>
                <a:gd name="connsiteX33" fmla="*/ 331723 w 778827"/>
                <a:gd name="connsiteY33" fmla="*/ 144227 h 369221"/>
                <a:gd name="connsiteX34" fmla="*/ 323069 w 778827"/>
                <a:gd name="connsiteY34" fmla="*/ 149996 h 369221"/>
                <a:gd name="connsiteX35" fmla="*/ 317300 w 778827"/>
                <a:gd name="connsiteY35" fmla="*/ 158650 h 369221"/>
                <a:gd name="connsiteX36" fmla="*/ 308646 w 778827"/>
                <a:gd name="connsiteY36" fmla="*/ 164419 h 369221"/>
                <a:gd name="connsiteX37" fmla="*/ 288455 w 778827"/>
                <a:gd name="connsiteY37" fmla="*/ 170188 h 369221"/>
                <a:gd name="connsiteX38" fmla="*/ 279801 w 778827"/>
                <a:gd name="connsiteY38" fmla="*/ 175957 h 369221"/>
                <a:gd name="connsiteX39" fmla="*/ 271147 w 778827"/>
                <a:gd name="connsiteY39" fmla="*/ 178842 h 369221"/>
                <a:gd name="connsiteX40" fmla="*/ 245186 w 778827"/>
                <a:gd name="connsiteY40" fmla="*/ 193264 h 369221"/>
                <a:gd name="connsiteX41" fmla="*/ 227879 w 778827"/>
                <a:gd name="connsiteY41" fmla="*/ 204802 h 369221"/>
                <a:gd name="connsiteX42" fmla="*/ 219226 w 778827"/>
                <a:gd name="connsiteY42" fmla="*/ 210572 h 369221"/>
                <a:gd name="connsiteX43" fmla="*/ 213457 w 778827"/>
                <a:gd name="connsiteY43" fmla="*/ 219225 h 369221"/>
                <a:gd name="connsiteX44" fmla="*/ 199034 w 778827"/>
                <a:gd name="connsiteY44" fmla="*/ 230763 h 369221"/>
                <a:gd name="connsiteX45" fmla="*/ 187496 w 778827"/>
                <a:gd name="connsiteY45" fmla="*/ 245186 h 369221"/>
                <a:gd name="connsiteX46" fmla="*/ 184611 w 778827"/>
                <a:gd name="connsiteY46" fmla="*/ 253840 h 369221"/>
                <a:gd name="connsiteX47" fmla="*/ 167304 w 778827"/>
                <a:gd name="connsiteY47" fmla="*/ 265378 h 369221"/>
                <a:gd name="connsiteX48" fmla="*/ 161535 w 778827"/>
                <a:gd name="connsiteY48" fmla="*/ 274031 h 369221"/>
                <a:gd name="connsiteX49" fmla="*/ 152881 w 778827"/>
                <a:gd name="connsiteY49" fmla="*/ 291339 h 369221"/>
                <a:gd name="connsiteX50" fmla="*/ 144228 w 778827"/>
                <a:gd name="connsiteY50" fmla="*/ 297108 h 369221"/>
                <a:gd name="connsiteX51" fmla="*/ 135574 w 778827"/>
                <a:gd name="connsiteY51" fmla="*/ 305761 h 369221"/>
                <a:gd name="connsiteX52" fmla="*/ 126920 w 778827"/>
                <a:gd name="connsiteY52" fmla="*/ 308646 h 369221"/>
                <a:gd name="connsiteX53" fmla="*/ 118267 w 778827"/>
                <a:gd name="connsiteY53" fmla="*/ 314415 h 369221"/>
                <a:gd name="connsiteX54" fmla="*/ 95190 w 778827"/>
                <a:gd name="connsiteY54" fmla="*/ 320184 h 369221"/>
                <a:gd name="connsiteX55" fmla="*/ 77883 w 778827"/>
                <a:gd name="connsiteY55" fmla="*/ 325953 h 369221"/>
                <a:gd name="connsiteX56" fmla="*/ 69229 w 778827"/>
                <a:gd name="connsiteY56" fmla="*/ 328838 h 369221"/>
                <a:gd name="connsiteX57" fmla="*/ 60576 w 778827"/>
                <a:gd name="connsiteY57" fmla="*/ 334607 h 369221"/>
                <a:gd name="connsiteX58" fmla="*/ 54807 w 778827"/>
                <a:gd name="connsiteY58" fmla="*/ 343260 h 369221"/>
                <a:gd name="connsiteX59" fmla="*/ 46153 w 778827"/>
                <a:gd name="connsiteY59" fmla="*/ 346145 h 369221"/>
                <a:gd name="connsiteX60" fmla="*/ 37499 w 778827"/>
                <a:gd name="connsiteY60" fmla="*/ 351914 h 369221"/>
                <a:gd name="connsiteX61" fmla="*/ 20192 w 778827"/>
                <a:gd name="connsiteY61" fmla="*/ 357683 h 369221"/>
                <a:gd name="connsiteX62" fmla="*/ 11539 w 778827"/>
                <a:gd name="connsiteY62" fmla="*/ 360568 h 369221"/>
                <a:gd name="connsiteX63" fmla="*/ 2885 w 778827"/>
                <a:gd name="connsiteY63" fmla="*/ 363452 h 369221"/>
                <a:gd name="connsiteX64" fmla="*/ 0 w 778827"/>
                <a:gd name="connsiteY64" fmla="*/ 369221 h 369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778827" h="369221">
                  <a:moveTo>
                    <a:pt x="778827" y="28845"/>
                  </a:moveTo>
                  <a:cubicBezTo>
                    <a:pt x="774019" y="36537"/>
                    <a:pt x="768461" y="43809"/>
                    <a:pt x="764404" y="51922"/>
                  </a:cubicBezTo>
                  <a:cubicBezTo>
                    <a:pt x="762481" y="55768"/>
                    <a:pt x="760329" y="59508"/>
                    <a:pt x="758635" y="63460"/>
                  </a:cubicBezTo>
                  <a:cubicBezTo>
                    <a:pt x="754426" y="73281"/>
                    <a:pt x="755458" y="81923"/>
                    <a:pt x="744212" y="89421"/>
                  </a:cubicBezTo>
                  <a:lnTo>
                    <a:pt x="735559" y="95190"/>
                  </a:lnTo>
                  <a:cubicBezTo>
                    <a:pt x="733880" y="95003"/>
                    <a:pt x="705195" y="92988"/>
                    <a:pt x="698060" y="89421"/>
                  </a:cubicBezTo>
                  <a:cubicBezTo>
                    <a:pt x="691858" y="86320"/>
                    <a:pt x="687330" y="80076"/>
                    <a:pt x="680752" y="77883"/>
                  </a:cubicBezTo>
                  <a:cubicBezTo>
                    <a:pt x="677868" y="76921"/>
                    <a:pt x="674757" y="76475"/>
                    <a:pt x="672099" y="74998"/>
                  </a:cubicBezTo>
                  <a:cubicBezTo>
                    <a:pt x="666038" y="71631"/>
                    <a:pt x="661518" y="65142"/>
                    <a:pt x="654792" y="63460"/>
                  </a:cubicBezTo>
                  <a:lnTo>
                    <a:pt x="643253" y="60575"/>
                  </a:lnTo>
                  <a:cubicBezTo>
                    <a:pt x="641330" y="57691"/>
                    <a:pt x="639034" y="55023"/>
                    <a:pt x="637484" y="51922"/>
                  </a:cubicBezTo>
                  <a:cubicBezTo>
                    <a:pt x="636124" y="49202"/>
                    <a:pt x="636287" y="45798"/>
                    <a:pt x="634600" y="43268"/>
                  </a:cubicBezTo>
                  <a:cubicBezTo>
                    <a:pt x="632337" y="39874"/>
                    <a:pt x="629488" y="36638"/>
                    <a:pt x="625946" y="34614"/>
                  </a:cubicBezTo>
                  <a:cubicBezTo>
                    <a:pt x="621415" y="32025"/>
                    <a:pt x="595003" y="28957"/>
                    <a:pt x="594216" y="28845"/>
                  </a:cubicBezTo>
                  <a:cubicBezTo>
                    <a:pt x="569424" y="12316"/>
                    <a:pt x="600789" y="32131"/>
                    <a:pt x="576909" y="20192"/>
                  </a:cubicBezTo>
                  <a:cubicBezTo>
                    <a:pt x="573808" y="18642"/>
                    <a:pt x="571423" y="15831"/>
                    <a:pt x="568255" y="14423"/>
                  </a:cubicBezTo>
                  <a:cubicBezTo>
                    <a:pt x="562698" y="11953"/>
                    <a:pt x="556387" y="11374"/>
                    <a:pt x="550948" y="8654"/>
                  </a:cubicBezTo>
                  <a:cubicBezTo>
                    <a:pt x="535025" y="691"/>
                    <a:pt x="543627" y="3727"/>
                    <a:pt x="524987" y="0"/>
                  </a:cubicBezTo>
                  <a:cubicBezTo>
                    <a:pt x="520179" y="961"/>
                    <a:pt x="514768" y="362"/>
                    <a:pt x="510564" y="2884"/>
                  </a:cubicBezTo>
                  <a:cubicBezTo>
                    <a:pt x="504734" y="6382"/>
                    <a:pt x="502592" y="15157"/>
                    <a:pt x="496142" y="17307"/>
                  </a:cubicBezTo>
                  <a:lnTo>
                    <a:pt x="487488" y="20192"/>
                  </a:lnTo>
                  <a:cubicBezTo>
                    <a:pt x="485310" y="22370"/>
                    <a:pt x="474641" y="34168"/>
                    <a:pt x="470181" y="34614"/>
                  </a:cubicBezTo>
                  <a:cubicBezTo>
                    <a:pt x="463416" y="35291"/>
                    <a:pt x="456720" y="32691"/>
                    <a:pt x="449989" y="31730"/>
                  </a:cubicBezTo>
                  <a:cubicBezTo>
                    <a:pt x="445181" y="32691"/>
                    <a:pt x="440072" y="32683"/>
                    <a:pt x="435566" y="34614"/>
                  </a:cubicBezTo>
                  <a:cubicBezTo>
                    <a:pt x="433066" y="35685"/>
                    <a:pt x="431921" y="38685"/>
                    <a:pt x="429797" y="40384"/>
                  </a:cubicBezTo>
                  <a:cubicBezTo>
                    <a:pt x="427090" y="42550"/>
                    <a:pt x="424028" y="44230"/>
                    <a:pt x="421144" y="46153"/>
                  </a:cubicBezTo>
                  <a:cubicBezTo>
                    <a:pt x="420182" y="49037"/>
                    <a:pt x="420733" y="53039"/>
                    <a:pt x="418259" y="54806"/>
                  </a:cubicBezTo>
                  <a:cubicBezTo>
                    <a:pt x="413311" y="58340"/>
                    <a:pt x="400952" y="60575"/>
                    <a:pt x="400952" y="60575"/>
                  </a:cubicBezTo>
                  <a:cubicBezTo>
                    <a:pt x="380401" y="81126"/>
                    <a:pt x="403719" y="58940"/>
                    <a:pt x="383645" y="74998"/>
                  </a:cubicBezTo>
                  <a:cubicBezTo>
                    <a:pt x="376156" y="80989"/>
                    <a:pt x="379205" y="82099"/>
                    <a:pt x="369222" y="86536"/>
                  </a:cubicBezTo>
                  <a:cubicBezTo>
                    <a:pt x="363665" y="89006"/>
                    <a:pt x="351915" y="92305"/>
                    <a:pt x="351915" y="92305"/>
                  </a:cubicBezTo>
                  <a:cubicBezTo>
                    <a:pt x="345049" y="112902"/>
                    <a:pt x="349519" y="104553"/>
                    <a:pt x="340376" y="118266"/>
                  </a:cubicBezTo>
                  <a:lnTo>
                    <a:pt x="334607" y="135573"/>
                  </a:lnTo>
                  <a:cubicBezTo>
                    <a:pt x="333646" y="138458"/>
                    <a:pt x="334253" y="142540"/>
                    <a:pt x="331723" y="144227"/>
                  </a:cubicBezTo>
                  <a:lnTo>
                    <a:pt x="323069" y="149996"/>
                  </a:lnTo>
                  <a:cubicBezTo>
                    <a:pt x="321146" y="152881"/>
                    <a:pt x="319751" y="156199"/>
                    <a:pt x="317300" y="158650"/>
                  </a:cubicBezTo>
                  <a:cubicBezTo>
                    <a:pt x="314849" y="161101"/>
                    <a:pt x="311833" y="163053"/>
                    <a:pt x="308646" y="164419"/>
                  </a:cubicBezTo>
                  <a:cubicBezTo>
                    <a:pt x="295693" y="169970"/>
                    <a:pt x="299692" y="164569"/>
                    <a:pt x="288455" y="170188"/>
                  </a:cubicBezTo>
                  <a:cubicBezTo>
                    <a:pt x="285354" y="171739"/>
                    <a:pt x="282902" y="174407"/>
                    <a:pt x="279801" y="175957"/>
                  </a:cubicBezTo>
                  <a:cubicBezTo>
                    <a:pt x="277081" y="177317"/>
                    <a:pt x="273805" y="177365"/>
                    <a:pt x="271147" y="178842"/>
                  </a:cubicBezTo>
                  <a:cubicBezTo>
                    <a:pt x="241396" y="195371"/>
                    <a:pt x="264766" y="186739"/>
                    <a:pt x="245186" y="193264"/>
                  </a:cubicBezTo>
                  <a:lnTo>
                    <a:pt x="227879" y="204802"/>
                  </a:lnTo>
                  <a:lnTo>
                    <a:pt x="219226" y="210572"/>
                  </a:lnTo>
                  <a:cubicBezTo>
                    <a:pt x="217303" y="213456"/>
                    <a:pt x="215623" y="216518"/>
                    <a:pt x="213457" y="219225"/>
                  </a:cubicBezTo>
                  <a:cubicBezTo>
                    <a:pt x="208760" y="225095"/>
                    <a:pt x="205457" y="226481"/>
                    <a:pt x="199034" y="230763"/>
                  </a:cubicBezTo>
                  <a:cubicBezTo>
                    <a:pt x="191782" y="252516"/>
                    <a:pt x="202408" y="226546"/>
                    <a:pt x="187496" y="245186"/>
                  </a:cubicBezTo>
                  <a:cubicBezTo>
                    <a:pt x="185597" y="247560"/>
                    <a:pt x="186761" y="251690"/>
                    <a:pt x="184611" y="253840"/>
                  </a:cubicBezTo>
                  <a:cubicBezTo>
                    <a:pt x="179708" y="258743"/>
                    <a:pt x="167304" y="265378"/>
                    <a:pt x="167304" y="265378"/>
                  </a:cubicBezTo>
                  <a:cubicBezTo>
                    <a:pt x="165381" y="268262"/>
                    <a:pt x="163085" y="270930"/>
                    <a:pt x="161535" y="274031"/>
                  </a:cubicBezTo>
                  <a:cubicBezTo>
                    <a:pt x="156843" y="283415"/>
                    <a:pt x="161147" y="283072"/>
                    <a:pt x="152881" y="291339"/>
                  </a:cubicBezTo>
                  <a:cubicBezTo>
                    <a:pt x="150430" y="293790"/>
                    <a:pt x="146891" y="294889"/>
                    <a:pt x="144228" y="297108"/>
                  </a:cubicBezTo>
                  <a:cubicBezTo>
                    <a:pt x="141094" y="299719"/>
                    <a:pt x="138968" y="303498"/>
                    <a:pt x="135574" y="305761"/>
                  </a:cubicBezTo>
                  <a:cubicBezTo>
                    <a:pt x="133044" y="307448"/>
                    <a:pt x="129640" y="307286"/>
                    <a:pt x="126920" y="308646"/>
                  </a:cubicBezTo>
                  <a:cubicBezTo>
                    <a:pt x="123819" y="310196"/>
                    <a:pt x="121368" y="312865"/>
                    <a:pt x="118267" y="314415"/>
                  </a:cubicBezTo>
                  <a:cubicBezTo>
                    <a:pt x="111262" y="317918"/>
                    <a:pt x="102437" y="318208"/>
                    <a:pt x="95190" y="320184"/>
                  </a:cubicBezTo>
                  <a:cubicBezTo>
                    <a:pt x="89323" y="321784"/>
                    <a:pt x="83652" y="324030"/>
                    <a:pt x="77883" y="325953"/>
                  </a:cubicBezTo>
                  <a:cubicBezTo>
                    <a:pt x="74998" y="326915"/>
                    <a:pt x="71759" y="327151"/>
                    <a:pt x="69229" y="328838"/>
                  </a:cubicBezTo>
                  <a:lnTo>
                    <a:pt x="60576" y="334607"/>
                  </a:lnTo>
                  <a:cubicBezTo>
                    <a:pt x="58653" y="337491"/>
                    <a:pt x="57514" y="341094"/>
                    <a:pt x="54807" y="343260"/>
                  </a:cubicBezTo>
                  <a:cubicBezTo>
                    <a:pt x="52433" y="345159"/>
                    <a:pt x="48873" y="344785"/>
                    <a:pt x="46153" y="346145"/>
                  </a:cubicBezTo>
                  <a:cubicBezTo>
                    <a:pt x="43052" y="347695"/>
                    <a:pt x="40667" y="350506"/>
                    <a:pt x="37499" y="351914"/>
                  </a:cubicBezTo>
                  <a:cubicBezTo>
                    <a:pt x="31942" y="354384"/>
                    <a:pt x="25961" y="355760"/>
                    <a:pt x="20192" y="357683"/>
                  </a:cubicBezTo>
                  <a:lnTo>
                    <a:pt x="11539" y="360568"/>
                  </a:lnTo>
                  <a:cubicBezTo>
                    <a:pt x="8654" y="361530"/>
                    <a:pt x="4245" y="360732"/>
                    <a:pt x="2885" y="363452"/>
                  </a:cubicBezTo>
                  <a:lnTo>
                    <a:pt x="0" y="369221"/>
                  </a:ln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1" name="Forma livre 460"/>
            <p:cNvSpPr/>
            <p:nvPr/>
          </p:nvSpPr>
          <p:spPr bwMode="auto">
            <a:xfrm>
              <a:off x="3152776" y="3274551"/>
              <a:ext cx="2398713" cy="1414463"/>
            </a:xfrm>
            <a:custGeom>
              <a:avLst/>
              <a:gdLst>
                <a:gd name="connsiteX0" fmla="*/ 0 w 2398143"/>
                <a:gd name="connsiteY0" fmla="*/ 0 h 1414879"/>
                <a:gd name="connsiteX1" fmla="*/ 43132 w 2398143"/>
                <a:gd name="connsiteY1" fmla="*/ 8627 h 1414879"/>
                <a:gd name="connsiteX2" fmla="*/ 69011 w 2398143"/>
                <a:gd name="connsiteY2" fmla="*/ 17253 h 1414879"/>
                <a:gd name="connsiteX3" fmla="*/ 112143 w 2398143"/>
                <a:gd name="connsiteY3" fmla="*/ 25879 h 1414879"/>
                <a:gd name="connsiteX4" fmla="*/ 198407 w 2398143"/>
                <a:gd name="connsiteY4" fmla="*/ 51759 h 1414879"/>
                <a:gd name="connsiteX5" fmla="*/ 284671 w 2398143"/>
                <a:gd name="connsiteY5" fmla="*/ 60385 h 1414879"/>
                <a:gd name="connsiteX6" fmla="*/ 534837 w 2398143"/>
                <a:gd name="connsiteY6" fmla="*/ 60385 h 1414879"/>
                <a:gd name="connsiteX7" fmla="*/ 560717 w 2398143"/>
                <a:gd name="connsiteY7" fmla="*/ 69011 h 1414879"/>
                <a:gd name="connsiteX8" fmla="*/ 586596 w 2398143"/>
                <a:gd name="connsiteY8" fmla="*/ 94891 h 1414879"/>
                <a:gd name="connsiteX9" fmla="*/ 646981 w 2398143"/>
                <a:gd name="connsiteY9" fmla="*/ 155276 h 1414879"/>
                <a:gd name="connsiteX10" fmla="*/ 767751 w 2398143"/>
                <a:gd name="connsiteY10" fmla="*/ 172528 h 1414879"/>
                <a:gd name="connsiteX11" fmla="*/ 793630 w 2398143"/>
                <a:gd name="connsiteY11" fmla="*/ 189781 h 1414879"/>
                <a:gd name="connsiteX12" fmla="*/ 1035169 w 2398143"/>
                <a:gd name="connsiteY12" fmla="*/ 207034 h 1414879"/>
                <a:gd name="connsiteX13" fmla="*/ 1173192 w 2398143"/>
                <a:gd name="connsiteY13" fmla="*/ 215661 h 1414879"/>
                <a:gd name="connsiteX14" fmla="*/ 1199071 w 2398143"/>
                <a:gd name="connsiteY14" fmla="*/ 224287 h 1414879"/>
                <a:gd name="connsiteX15" fmla="*/ 1250830 w 2398143"/>
                <a:gd name="connsiteY15" fmla="*/ 258793 h 1414879"/>
                <a:gd name="connsiteX16" fmla="*/ 1276709 w 2398143"/>
                <a:gd name="connsiteY16" fmla="*/ 276045 h 1414879"/>
                <a:gd name="connsiteX17" fmla="*/ 1337094 w 2398143"/>
                <a:gd name="connsiteY17" fmla="*/ 353683 h 1414879"/>
                <a:gd name="connsiteX18" fmla="*/ 1388852 w 2398143"/>
                <a:gd name="connsiteY18" fmla="*/ 388189 h 1414879"/>
                <a:gd name="connsiteX19" fmla="*/ 1423358 w 2398143"/>
                <a:gd name="connsiteY19" fmla="*/ 491706 h 1414879"/>
                <a:gd name="connsiteX20" fmla="*/ 1457864 w 2398143"/>
                <a:gd name="connsiteY20" fmla="*/ 526211 h 1414879"/>
                <a:gd name="connsiteX21" fmla="*/ 1483743 w 2398143"/>
                <a:gd name="connsiteY21" fmla="*/ 543464 h 1414879"/>
                <a:gd name="connsiteX22" fmla="*/ 1561381 w 2398143"/>
                <a:gd name="connsiteY22" fmla="*/ 560717 h 1414879"/>
                <a:gd name="connsiteX23" fmla="*/ 1613139 w 2398143"/>
                <a:gd name="connsiteY23" fmla="*/ 577970 h 1414879"/>
                <a:gd name="connsiteX24" fmla="*/ 1690777 w 2398143"/>
                <a:gd name="connsiteY24" fmla="*/ 595223 h 1414879"/>
                <a:gd name="connsiteX25" fmla="*/ 1716656 w 2398143"/>
                <a:gd name="connsiteY25" fmla="*/ 612476 h 1414879"/>
                <a:gd name="connsiteX26" fmla="*/ 1751162 w 2398143"/>
                <a:gd name="connsiteY26" fmla="*/ 646981 h 1414879"/>
                <a:gd name="connsiteX27" fmla="*/ 1768415 w 2398143"/>
                <a:gd name="connsiteY27" fmla="*/ 672861 h 1414879"/>
                <a:gd name="connsiteX28" fmla="*/ 1785668 w 2398143"/>
                <a:gd name="connsiteY28" fmla="*/ 724619 h 1414879"/>
                <a:gd name="connsiteX29" fmla="*/ 1802920 w 2398143"/>
                <a:gd name="connsiteY29" fmla="*/ 750498 h 1414879"/>
                <a:gd name="connsiteX30" fmla="*/ 1811547 w 2398143"/>
                <a:gd name="connsiteY30" fmla="*/ 776378 h 1414879"/>
                <a:gd name="connsiteX31" fmla="*/ 1871932 w 2398143"/>
                <a:gd name="connsiteY31" fmla="*/ 854015 h 1414879"/>
                <a:gd name="connsiteX32" fmla="*/ 1897811 w 2398143"/>
                <a:gd name="connsiteY32" fmla="*/ 862642 h 1414879"/>
                <a:gd name="connsiteX33" fmla="*/ 1984075 w 2398143"/>
                <a:gd name="connsiteY33" fmla="*/ 871268 h 1414879"/>
                <a:gd name="connsiteX34" fmla="*/ 2035834 w 2398143"/>
                <a:gd name="connsiteY34" fmla="*/ 888521 h 1414879"/>
                <a:gd name="connsiteX35" fmla="*/ 2078966 w 2398143"/>
                <a:gd name="connsiteY35" fmla="*/ 923027 h 1414879"/>
                <a:gd name="connsiteX36" fmla="*/ 2096219 w 2398143"/>
                <a:gd name="connsiteY36" fmla="*/ 948906 h 1414879"/>
                <a:gd name="connsiteX37" fmla="*/ 2122098 w 2398143"/>
                <a:gd name="connsiteY37" fmla="*/ 957532 h 1414879"/>
                <a:gd name="connsiteX38" fmla="*/ 2130724 w 2398143"/>
                <a:gd name="connsiteY38" fmla="*/ 983411 h 1414879"/>
                <a:gd name="connsiteX39" fmla="*/ 2191109 w 2398143"/>
                <a:gd name="connsiteY39" fmla="*/ 1052423 h 1414879"/>
                <a:gd name="connsiteX40" fmla="*/ 2199736 w 2398143"/>
                <a:gd name="connsiteY40" fmla="*/ 1199072 h 1414879"/>
                <a:gd name="connsiteX41" fmla="*/ 2182483 w 2398143"/>
                <a:gd name="connsiteY41" fmla="*/ 1250830 h 1414879"/>
                <a:gd name="connsiteX42" fmla="*/ 2191109 w 2398143"/>
                <a:gd name="connsiteY42" fmla="*/ 1354347 h 1414879"/>
                <a:gd name="connsiteX43" fmla="*/ 2216988 w 2398143"/>
                <a:gd name="connsiteY43" fmla="*/ 1362974 h 1414879"/>
                <a:gd name="connsiteX44" fmla="*/ 2242868 w 2398143"/>
                <a:gd name="connsiteY44" fmla="*/ 1380227 h 1414879"/>
                <a:gd name="connsiteX45" fmla="*/ 2268747 w 2398143"/>
                <a:gd name="connsiteY45" fmla="*/ 1388853 h 1414879"/>
                <a:gd name="connsiteX46" fmla="*/ 2355011 w 2398143"/>
                <a:gd name="connsiteY46" fmla="*/ 1406106 h 1414879"/>
                <a:gd name="connsiteX47" fmla="*/ 2398143 w 2398143"/>
                <a:gd name="connsiteY47" fmla="*/ 1406106 h 1414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2398143" h="1414879">
                  <a:moveTo>
                    <a:pt x="0" y="0"/>
                  </a:moveTo>
                  <a:cubicBezTo>
                    <a:pt x="14377" y="2876"/>
                    <a:pt x="28908" y="5071"/>
                    <a:pt x="43132" y="8627"/>
                  </a:cubicBezTo>
                  <a:cubicBezTo>
                    <a:pt x="51953" y="10832"/>
                    <a:pt x="60190" y="15048"/>
                    <a:pt x="69011" y="17253"/>
                  </a:cubicBezTo>
                  <a:cubicBezTo>
                    <a:pt x="83235" y="20809"/>
                    <a:pt x="97998" y="22021"/>
                    <a:pt x="112143" y="25879"/>
                  </a:cubicBezTo>
                  <a:cubicBezTo>
                    <a:pt x="138546" y="33080"/>
                    <a:pt x="170121" y="47718"/>
                    <a:pt x="198407" y="51759"/>
                  </a:cubicBezTo>
                  <a:cubicBezTo>
                    <a:pt x="227015" y="55846"/>
                    <a:pt x="255916" y="57510"/>
                    <a:pt x="284671" y="60385"/>
                  </a:cubicBezTo>
                  <a:cubicBezTo>
                    <a:pt x="406734" y="54282"/>
                    <a:pt x="434551" y="43671"/>
                    <a:pt x="534837" y="60385"/>
                  </a:cubicBezTo>
                  <a:cubicBezTo>
                    <a:pt x="543807" y="61880"/>
                    <a:pt x="552090" y="66136"/>
                    <a:pt x="560717" y="69011"/>
                  </a:cubicBezTo>
                  <a:cubicBezTo>
                    <a:pt x="569343" y="77638"/>
                    <a:pt x="579106" y="85261"/>
                    <a:pt x="586596" y="94891"/>
                  </a:cubicBezTo>
                  <a:cubicBezTo>
                    <a:pt x="619094" y="136674"/>
                    <a:pt x="604523" y="147784"/>
                    <a:pt x="646981" y="155276"/>
                  </a:cubicBezTo>
                  <a:cubicBezTo>
                    <a:pt x="687028" y="162343"/>
                    <a:pt x="767751" y="172528"/>
                    <a:pt x="767751" y="172528"/>
                  </a:cubicBezTo>
                  <a:cubicBezTo>
                    <a:pt x="776377" y="178279"/>
                    <a:pt x="785665" y="183144"/>
                    <a:pt x="793630" y="189781"/>
                  </a:cubicBezTo>
                  <a:cubicBezTo>
                    <a:pt x="885028" y="265948"/>
                    <a:pt x="720939" y="219604"/>
                    <a:pt x="1035169" y="207034"/>
                  </a:cubicBezTo>
                  <a:cubicBezTo>
                    <a:pt x="1081177" y="209910"/>
                    <a:pt x="1127348" y="210835"/>
                    <a:pt x="1173192" y="215661"/>
                  </a:cubicBezTo>
                  <a:cubicBezTo>
                    <a:pt x="1182235" y="216613"/>
                    <a:pt x="1191122" y="219871"/>
                    <a:pt x="1199071" y="224287"/>
                  </a:cubicBezTo>
                  <a:cubicBezTo>
                    <a:pt x="1217197" y="234357"/>
                    <a:pt x="1233577" y="247291"/>
                    <a:pt x="1250830" y="258793"/>
                  </a:cubicBezTo>
                  <a:lnTo>
                    <a:pt x="1276709" y="276045"/>
                  </a:lnTo>
                  <a:cubicBezTo>
                    <a:pt x="1296780" y="306152"/>
                    <a:pt x="1309027" y="331853"/>
                    <a:pt x="1337094" y="353683"/>
                  </a:cubicBezTo>
                  <a:cubicBezTo>
                    <a:pt x="1353461" y="366413"/>
                    <a:pt x="1388852" y="388189"/>
                    <a:pt x="1388852" y="388189"/>
                  </a:cubicBezTo>
                  <a:cubicBezTo>
                    <a:pt x="1405129" y="534670"/>
                    <a:pt x="1376114" y="420842"/>
                    <a:pt x="1423358" y="491706"/>
                  </a:cubicBezTo>
                  <a:cubicBezTo>
                    <a:pt x="1449648" y="531140"/>
                    <a:pt x="1408571" y="509781"/>
                    <a:pt x="1457864" y="526211"/>
                  </a:cubicBezTo>
                  <a:cubicBezTo>
                    <a:pt x="1466490" y="531962"/>
                    <a:pt x="1474470" y="538827"/>
                    <a:pt x="1483743" y="543464"/>
                  </a:cubicBezTo>
                  <a:cubicBezTo>
                    <a:pt x="1504982" y="554084"/>
                    <a:pt x="1541496" y="557403"/>
                    <a:pt x="1561381" y="560717"/>
                  </a:cubicBezTo>
                  <a:cubicBezTo>
                    <a:pt x="1578634" y="566468"/>
                    <a:pt x="1595306" y="574404"/>
                    <a:pt x="1613139" y="577970"/>
                  </a:cubicBezTo>
                  <a:cubicBezTo>
                    <a:pt x="1667897" y="588921"/>
                    <a:pt x="1642047" y="583040"/>
                    <a:pt x="1690777" y="595223"/>
                  </a:cubicBezTo>
                  <a:cubicBezTo>
                    <a:pt x="1699403" y="600974"/>
                    <a:pt x="1710179" y="604380"/>
                    <a:pt x="1716656" y="612476"/>
                  </a:cubicBezTo>
                  <a:cubicBezTo>
                    <a:pt x="1750116" y="654300"/>
                    <a:pt x="1694700" y="628161"/>
                    <a:pt x="1751162" y="646981"/>
                  </a:cubicBezTo>
                  <a:cubicBezTo>
                    <a:pt x="1756913" y="655608"/>
                    <a:pt x="1764204" y="663387"/>
                    <a:pt x="1768415" y="672861"/>
                  </a:cubicBezTo>
                  <a:cubicBezTo>
                    <a:pt x="1775801" y="689480"/>
                    <a:pt x="1775581" y="709487"/>
                    <a:pt x="1785668" y="724619"/>
                  </a:cubicBezTo>
                  <a:cubicBezTo>
                    <a:pt x="1791419" y="733245"/>
                    <a:pt x="1798284" y="741225"/>
                    <a:pt x="1802920" y="750498"/>
                  </a:cubicBezTo>
                  <a:cubicBezTo>
                    <a:pt x="1806987" y="758631"/>
                    <a:pt x="1807131" y="768429"/>
                    <a:pt x="1811547" y="776378"/>
                  </a:cubicBezTo>
                  <a:cubicBezTo>
                    <a:pt x="1821630" y="794528"/>
                    <a:pt x="1849740" y="839220"/>
                    <a:pt x="1871932" y="854015"/>
                  </a:cubicBezTo>
                  <a:cubicBezTo>
                    <a:pt x="1879498" y="859059"/>
                    <a:pt x="1888824" y="861259"/>
                    <a:pt x="1897811" y="862642"/>
                  </a:cubicBezTo>
                  <a:cubicBezTo>
                    <a:pt x="1926373" y="867036"/>
                    <a:pt x="1955320" y="868393"/>
                    <a:pt x="1984075" y="871268"/>
                  </a:cubicBezTo>
                  <a:cubicBezTo>
                    <a:pt x="2001328" y="877019"/>
                    <a:pt x="2025746" y="873389"/>
                    <a:pt x="2035834" y="888521"/>
                  </a:cubicBezTo>
                  <a:cubicBezTo>
                    <a:pt x="2058130" y="921966"/>
                    <a:pt x="2043251" y="911121"/>
                    <a:pt x="2078966" y="923027"/>
                  </a:cubicBezTo>
                  <a:cubicBezTo>
                    <a:pt x="2084717" y="931653"/>
                    <a:pt x="2088123" y="942429"/>
                    <a:pt x="2096219" y="948906"/>
                  </a:cubicBezTo>
                  <a:cubicBezTo>
                    <a:pt x="2103319" y="954586"/>
                    <a:pt x="2115668" y="951102"/>
                    <a:pt x="2122098" y="957532"/>
                  </a:cubicBezTo>
                  <a:cubicBezTo>
                    <a:pt x="2128528" y="963962"/>
                    <a:pt x="2126308" y="975462"/>
                    <a:pt x="2130724" y="983411"/>
                  </a:cubicBezTo>
                  <a:cubicBezTo>
                    <a:pt x="2160324" y="1036692"/>
                    <a:pt x="2153305" y="1027220"/>
                    <a:pt x="2191109" y="1052423"/>
                  </a:cubicBezTo>
                  <a:cubicBezTo>
                    <a:pt x="2228589" y="1108642"/>
                    <a:pt x="2217510" y="1080575"/>
                    <a:pt x="2199736" y="1199072"/>
                  </a:cubicBezTo>
                  <a:cubicBezTo>
                    <a:pt x="2197038" y="1217057"/>
                    <a:pt x="2182483" y="1250830"/>
                    <a:pt x="2182483" y="1250830"/>
                  </a:cubicBezTo>
                  <a:cubicBezTo>
                    <a:pt x="2185358" y="1285336"/>
                    <a:pt x="2180926" y="1321253"/>
                    <a:pt x="2191109" y="1354347"/>
                  </a:cubicBezTo>
                  <a:cubicBezTo>
                    <a:pt x="2193783" y="1363038"/>
                    <a:pt x="2208855" y="1358907"/>
                    <a:pt x="2216988" y="1362974"/>
                  </a:cubicBezTo>
                  <a:cubicBezTo>
                    <a:pt x="2226261" y="1367611"/>
                    <a:pt x="2233595" y="1375590"/>
                    <a:pt x="2242868" y="1380227"/>
                  </a:cubicBezTo>
                  <a:cubicBezTo>
                    <a:pt x="2251001" y="1384293"/>
                    <a:pt x="2259887" y="1386808"/>
                    <a:pt x="2268747" y="1388853"/>
                  </a:cubicBezTo>
                  <a:cubicBezTo>
                    <a:pt x="2297320" y="1395447"/>
                    <a:pt x="2327192" y="1396833"/>
                    <a:pt x="2355011" y="1406106"/>
                  </a:cubicBezTo>
                  <a:cubicBezTo>
                    <a:pt x="2386990" y="1416765"/>
                    <a:pt x="2372757" y="1418798"/>
                    <a:pt x="2398143" y="1406106"/>
                  </a:cubicBezTo>
                </a:path>
              </a:pathLst>
            </a:custGeom>
            <a:ln w="38100" cmpd="sng">
              <a:solidFill>
                <a:srgbClr val="008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2" name="Forma livre 387"/>
            <p:cNvSpPr/>
            <p:nvPr/>
          </p:nvSpPr>
          <p:spPr bwMode="auto">
            <a:xfrm>
              <a:off x="4961935" y="2474451"/>
              <a:ext cx="1532502" cy="1864063"/>
            </a:xfrm>
            <a:custGeom>
              <a:avLst/>
              <a:gdLst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17806 w 1542699"/>
                <a:gd name="connsiteY69" fmla="*/ 1357575 h 2019534"/>
                <a:gd name="connsiteX70" fmla="*/ 112196 w 1542699"/>
                <a:gd name="connsiteY70" fmla="*/ 1374405 h 2019534"/>
                <a:gd name="connsiteX71" fmla="*/ 117806 w 1542699"/>
                <a:gd name="connsiteY71" fmla="*/ 1408064 h 2019534"/>
                <a:gd name="connsiteX72" fmla="*/ 123416 w 1542699"/>
                <a:gd name="connsiteY72" fmla="*/ 1424893 h 2019534"/>
                <a:gd name="connsiteX73" fmla="*/ 106586 w 1542699"/>
                <a:gd name="connsiteY73" fmla="*/ 1436113 h 2019534"/>
                <a:gd name="connsiteX74" fmla="*/ 89757 w 1542699"/>
                <a:gd name="connsiteY74" fmla="*/ 1452942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17806 w 1542699"/>
                <a:gd name="connsiteY69" fmla="*/ 1357575 h 2019534"/>
                <a:gd name="connsiteX70" fmla="*/ 112196 w 1542699"/>
                <a:gd name="connsiteY70" fmla="*/ 1374405 h 2019534"/>
                <a:gd name="connsiteX71" fmla="*/ 117806 w 1542699"/>
                <a:gd name="connsiteY71" fmla="*/ 1408064 h 2019534"/>
                <a:gd name="connsiteX72" fmla="*/ 123416 w 1542699"/>
                <a:gd name="connsiteY72" fmla="*/ 1424893 h 2019534"/>
                <a:gd name="connsiteX73" fmla="*/ 106586 w 1542699"/>
                <a:gd name="connsiteY73" fmla="*/ 1436113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17806 w 1542699"/>
                <a:gd name="connsiteY69" fmla="*/ 1357575 h 2019534"/>
                <a:gd name="connsiteX70" fmla="*/ 112196 w 1542699"/>
                <a:gd name="connsiteY70" fmla="*/ 1374405 h 2019534"/>
                <a:gd name="connsiteX71" fmla="*/ 117806 w 1542699"/>
                <a:gd name="connsiteY71" fmla="*/ 1408064 h 2019534"/>
                <a:gd name="connsiteX72" fmla="*/ 123416 w 1542699"/>
                <a:gd name="connsiteY72" fmla="*/ 1424893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17806 w 1542699"/>
                <a:gd name="connsiteY69" fmla="*/ 1357575 h 2019534"/>
                <a:gd name="connsiteX70" fmla="*/ 112196 w 1542699"/>
                <a:gd name="connsiteY70" fmla="*/ 1374405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17806 w 1542699"/>
                <a:gd name="connsiteY69" fmla="*/ 1357575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29026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45855 w 1542699"/>
                <a:gd name="connsiteY67" fmla="*/ 1279038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85124 w 1542699"/>
                <a:gd name="connsiteY66" fmla="*/ 1234159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35612 w 1542699"/>
                <a:gd name="connsiteY65" fmla="*/ 1189281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46832 w 1542699"/>
                <a:gd name="connsiteY64" fmla="*/ 1172451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52441 w 1542699"/>
                <a:gd name="connsiteY63" fmla="*/ 112757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8540 w 1542699"/>
                <a:gd name="connsiteY61" fmla="*/ 1088304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25369 w 1542699"/>
                <a:gd name="connsiteY60" fmla="*/ 1077084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49035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16103 w 1542699"/>
                <a:gd name="connsiteY53" fmla="*/ 948059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32932 w 1542699"/>
                <a:gd name="connsiteY52" fmla="*/ 936839 h 2019534"/>
                <a:gd name="connsiteX53" fmla="*/ 521713 w 1542699"/>
                <a:gd name="connsiteY53" fmla="*/ 964888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82444 w 1542699"/>
                <a:gd name="connsiteY54" fmla="*/ 964888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65614 w 1542699"/>
                <a:gd name="connsiteY55" fmla="*/ 981718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49762 w 1542699"/>
                <a:gd name="connsiteY50" fmla="*/ 897570 h 2019534"/>
                <a:gd name="connsiteX51" fmla="*/ 54976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60981 w 1542699"/>
                <a:gd name="connsiteY50" fmla="*/ 900374 h 2019534"/>
                <a:gd name="connsiteX51" fmla="*/ 54976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5372 w 1542699"/>
                <a:gd name="connsiteY49" fmla="*/ 852692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9030 w 1542699"/>
                <a:gd name="connsiteY48" fmla="*/ 830253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1470 w 1542699"/>
                <a:gd name="connsiteY47" fmla="*/ 796594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25619 w 1542699"/>
                <a:gd name="connsiteY39" fmla="*/ 729276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31228 w 1542699"/>
                <a:gd name="connsiteY39" fmla="*/ 709642 h 2019534"/>
                <a:gd name="connsiteX40" fmla="*/ 908790 w 1542699"/>
                <a:gd name="connsiteY40" fmla="*/ 723666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48059 w 1542699"/>
                <a:gd name="connsiteY38" fmla="*/ 734886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0498 w 1542699"/>
                <a:gd name="connsiteY36" fmla="*/ 762935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76108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9767 w 1542699"/>
                <a:gd name="connsiteY32" fmla="*/ 656348 h 2019534"/>
                <a:gd name="connsiteX33" fmla="*/ 984522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2937 w 1542699"/>
                <a:gd name="connsiteY34" fmla="*/ 723666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100976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37816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57450 w 1542699"/>
                <a:gd name="connsiteY29" fmla="*/ 577811 h 2019534"/>
                <a:gd name="connsiteX30" fmla="*/ 1043426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54645 w 1542699"/>
                <a:gd name="connsiteY28" fmla="*/ 544152 h 2019534"/>
                <a:gd name="connsiteX29" fmla="*/ 1057450 w 1542699"/>
                <a:gd name="connsiteY29" fmla="*/ 577811 h 2019534"/>
                <a:gd name="connsiteX30" fmla="*/ 1051841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60255 w 1542699"/>
                <a:gd name="connsiteY27" fmla="*/ 527323 h 2019534"/>
                <a:gd name="connsiteX28" fmla="*/ 1068670 w 1542699"/>
                <a:gd name="connsiteY28" fmla="*/ 549762 h 2019534"/>
                <a:gd name="connsiteX29" fmla="*/ 1057450 w 1542699"/>
                <a:gd name="connsiteY29" fmla="*/ 577811 h 2019534"/>
                <a:gd name="connsiteX30" fmla="*/ 1051841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61232 w 1542699"/>
                <a:gd name="connsiteY22" fmla="*/ 448785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71475 w 1542699"/>
                <a:gd name="connsiteY27" fmla="*/ 532932 h 2019534"/>
                <a:gd name="connsiteX28" fmla="*/ 1068670 w 1542699"/>
                <a:gd name="connsiteY28" fmla="*/ 549762 h 2019534"/>
                <a:gd name="connsiteX29" fmla="*/ 1057450 w 1542699"/>
                <a:gd name="connsiteY29" fmla="*/ 577811 h 2019534"/>
                <a:gd name="connsiteX30" fmla="*/ 1051841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44402 w 1542699"/>
                <a:gd name="connsiteY23" fmla="*/ 488054 h 2019534"/>
                <a:gd name="connsiteX24" fmla="*/ 1127573 w 1542699"/>
                <a:gd name="connsiteY24" fmla="*/ 493664 h 2019534"/>
                <a:gd name="connsiteX25" fmla="*/ 1110743 w 1542699"/>
                <a:gd name="connsiteY25" fmla="*/ 504883 h 2019534"/>
                <a:gd name="connsiteX26" fmla="*/ 1077084 w 1542699"/>
                <a:gd name="connsiteY26" fmla="*/ 516103 h 2019534"/>
                <a:gd name="connsiteX27" fmla="*/ 1071475 w 1542699"/>
                <a:gd name="connsiteY27" fmla="*/ 532932 h 2019534"/>
                <a:gd name="connsiteX28" fmla="*/ 1068670 w 1542699"/>
                <a:gd name="connsiteY28" fmla="*/ 549762 h 2019534"/>
                <a:gd name="connsiteX29" fmla="*/ 1057450 w 1542699"/>
                <a:gd name="connsiteY29" fmla="*/ 577811 h 2019534"/>
                <a:gd name="connsiteX30" fmla="*/ 1051841 w 1542699"/>
                <a:gd name="connsiteY30" fmla="*/ 600250 h 2019534"/>
                <a:gd name="connsiteX31" fmla="*/ 1049035 w 1542699"/>
                <a:gd name="connsiteY31" fmla="*/ 617080 h 2019534"/>
                <a:gd name="connsiteX32" fmla="*/ 1001352 w 1542699"/>
                <a:gd name="connsiteY32" fmla="*/ 639519 h 2019534"/>
                <a:gd name="connsiteX33" fmla="*/ 984522 w 1542699"/>
                <a:gd name="connsiteY33" fmla="*/ 673178 h 2019534"/>
                <a:gd name="connsiteX34" fmla="*/ 998547 w 1542699"/>
                <a:gd name="connsiteY34" fmla="*/ 709642 h 2019534"/>
                <a:gd name="connsiteX35" fmla="*/ 998547 w 1542699"/>
                <a:gd name="connsiteY35" fmla="*/ 740496 h 2019534"/>
                <a:gd name="connsiteX36" fmla="*/ 978913 w 1542699"/>
                <a:gd name="connsiteY36" fmla="*/ 779764 h 2019534"/>
                <a:gd name="connsiteX37" fmla="*/ 964888 w 1542699"/>
                <a:gd name="connsiteY37" fmla="*/ 746105 h 2019534"/>
                <a:gd name="connsiteX38" fmla="*/ 950864 w 1542699"/>
                <a:gd name="connsiteY38" fmla="*/ 720861 h 2019534"/>
                <a:gd name="connsiteX39" fmla="*/ 931228 w 1542699"/>
                <a:gd name="connsiteY39" fmla="*/ 709642 h 2019534"/>
                <a:gd name="connsiteX40" fmla="*/ 905985 w 1542699"/>
                <a:gd name="connsiteY40" fmla="*/ 715251 h 2019534"/>
                <a:gd name="connsiteX41" fmla="*/ 869521 w 1542699"/>
                <a:gd name="connsiteY41" fmla="*/ 729276 h 2019534"/>
                <a:gd name="connsiteX42" fmla="*/ 852692 w 1542699"/>
                <a:gd name="connsiteY42" fmla="*/ 740496 h 2019534"/>
                <a:gd name="connsiteX43" fmla="*/ 807813 w 1542699"/>
                <a:gd name="connsiteY43" fmla="*/ 746105 h 2019534"/>
                <a:gd name="connsiteX44" fmla="*/ 751715 w 1542699"/>
                <a:gd name="connsiteY44" fmla="*/ 751715 h 2019534"/>
                <a:gd name="connsiteX45" fmla="*/ 684397 w 1542699"/>
                <a:gd name="connsiteY45" fmla="*/ 762935 h 2019534"/>
                <a:gd name="connsiteX46" fmla="*/ 667568 w 1542699"/>
                <a:gd name="connsiteY46" fmla="*/ 768545 h 2019534"/>
                <a:gd name="connsiteX47" fmla="*/ 619884 w 1542699"/>
                <a:gd name="connsiteY47" fmla="*/ 799399 h 2019534"/>
                <a:gd name="connsiteX48" fmla="*/ 580616 w 1542699"/>
                <a:gd name="connsiteY48" fmla="*/ 838667 h 2019534"/>
                <a:gd name="connsiteX49" fmla="*/ 558177 w 1542699"/>
                <a:gd name="connsiteY49" fmla="*/ 866716 h 2019534"/>
                <a:gd name="connsiteX50" fmla="*/ 560981 w 1542699"/>
                <a:gd name="connsiteY50" fmla="*/ 900374 h 2019534"/>
                <a:gd name="connsiteX51" fmla="*/ 566592 w 1542699"/>
                <a:gd name="connsiteY51" fmla="*/ 931229 h 2019534"/>
                <a:gd name="connsiteX52" fmla="*/ 544152 w 1542699"/>
                <a:gd name="connsiteY52" fmla="*/ 953669 h 2019534"/>
                <a:gd name="connsiteX53" fmla="*/ 521713 w 1542699"/>
                <a:gd name="connsiteY53" fmla="*/ 964888 h 2019534"/>
                <a:gd name="connsiteX54" fmla="*/ 496468 w 1542699"/>
                <a:gd name="connsiteY54" fmla="*/ 984523 h 2019534"/>
                <a:gd name="connsiteX55" fmla="*/ 471223 w 1542699"/>
                <a:gd name="connsiteY55" fmla="*/ 990133 h 2019534"/>
                <a:gd name="connsiteX56" fmla="*/ 454395 w 1542699"/>
                <a:gd name="connsiteY56" fmla="*/ 998547 h 2019534"/>
                <a:gd name="connsiteX57" fmla="*/ 437565 w 1542699"/>
                <a:gd name="connsiteY57" fmla="*/ 1004157 h 2019534"/>
                <a:gd name="connsiteX58" fmla="*/ 426346 w 1542699"/>
                <a:gd name="connsiteY58" fmla="*/ 1020986 h 2019534"/>
                <a:gd name="connsiteX59" fmla="*/ 375857 w 1542699"/>
                <a:gd name="connsiteY59" fmla="*/ 1035011 h 2019534"/>
                <a:gd name="connsiteX60" fmla="*/ 339394 w 1542699"/>
                <a:gd name="connsiteY60" fmla="*/ 1060255 h 2019534"/>
                <a:gd name="connsiteX61" fmla="*/ 300125 w 1542699"/>
                <a:gd name="connsiteY61" fmla="*/ 1074280 h 2019534"/>
                <a:gd name="connsiteX62" fmla="*/ 258051 w 1542699"/>
                <a:gd name="connsiteY62" fmla="*/ 1110743 h 2019534"/>
                <a:gd name="connsiteX63" fmla="*/ 266465 w 1542699"/>
                <a:gd name="connsiteY63" fmla="*/ 1133183 h 2019534"/>
                <a:gd name="connsiteX64" fmla="*/ 260856 w 1542699"/>
                <a:gd name="connsiteY64" fmla="*/ 1169646 h 2019534"/>
                <a:gd name="connsiteX65" fmla="*/ 227197 w 1542699"/>
                <a:gd name="connsiteY65" fmla="*/ 1211720 h 2019534"/>
                <a:gd name="connsiteX66" fmla="*/ 199148 w 1542699"/>
                <a:gd name="connsiteY66" fmla="*/ 1245378 h 2019534"/>
                <a:gd name="connsiteX67" fmla="*/ 159880 w 1542699"/>
                <a:gd name="connsiteY67" fmla="*/ 1287453 h 2019534"/>
                <a:gd name="connsiteX68" fmla="*/ 140245 w 1542699"/>
                <a:gd name="connsiteY68" fmla="*/ 1323916 h 2019534"/>
                <a:gd name="connsiteX69" fmla="*/ 126221 w 1542699"/>
                <a:gd name="connsiteY69" fmla="*/ 1365990 h 2019534"/>
                <a:gd name="connsiteX70" fmla="*/ 106586 w 1542699"/>
                <a:gd name="connsiteY70" fmla="*/ 1391234 h 2019534"/>
                <a:gd name="connsiteX71" fmla="*/ 117806 w 1542699"/>
                <a:gd name="connsiteY71" fmla="*/ 1408064 h 2019534"/>
                <a:gd name="connsiteX72" fmla="*/ 131830 w 1542699"/>
                <a:gd name="connsiteY72" fmla="*/ 1422088 h 2019534"/>
                <a:gd name="connsiteX73" fmla="*/ 123416 w 1542699"/>
                <a:gd name="connsiteY73" fmla="*/ 1450137 h 2019534"/>
                <a:gd name="connsiteX74" fmla="*/ 98172 w 1542699"/>
                <a:gd name="connsiteY74" fmla="*/ 1472577 h 2019534"/>
                <a:gd name="connsiteX75" fmla="*/ 78537 w 1542699"/>
                <a:gd name="connsiteY75" fmla="*/ 1497821 h 2019534"/>
                <a:gd name="connsiteX76" fmla="*/ 67318 w 1542699"/>
                <a:gd name="connsiteY76" fmla="*/ 1531480 h 2019534"/>
                <a:gd name="connsiteX77" fmla="*/ 56098 w 1542699"/>
                <a:gd name="connsiteY77" fmla="*/ 1548309 h 2019534"/>
                <a:gd name="connsiteX78" fmla="*/ 44878 w 1542699"/>
                <a:gd name="connsiteY78" fmla="*/ 1587578 h 2019534"/>
                <a:gd name="connsiteX79" fmla="*/ 16829 w 1542699"/>
                <a:gd name="connsiteY79" fmla="*/ 1621237 h 2019534"/>
                <a:gd name="connsiteX80" fmla="*/ 5610 w 1542699"/>
                <a:gd name="connsiteY80" fmla="*/ 1654896 h 2019534"/>
                <a:gd name="connsiteX81" fmla="*/ 0 w 1542699"/>
                <a:gd name="connsiteY81" fmla="*/ 1671725 h 2019534"/>
                <a:gd name="connsiteX82" fmla="*/ 11219 w 1542699"/>
                <a:gd name="connsiteY82" fmla="*/ 1705384 h 2019534"/>
                <a:gd name="connsiteX83" fmla="*/ 16829 w 1542699"/>
                <a:gd name="connsiteY83" fmla="*/ 1727823 h 2019534"/>
                <a:gd name="connsiteX84" fmla="*/ 28049 w 1542699"/>
                <a:gd name="connsiteY84" fmla="*/ 1761482 h 2019534"/>
                <a:gd name="connsiteX85" fmla="*/ 33659 w 1542699"/>
                <a:gd name="connsiteY85" fmla="*/ 1778311 h 2019534"/>
                <a:gd name="connsiteX86" fmla="*/ 50488 w 1542699"/>
                <a:gd name="connsiteY86" fmla="*/ 1811970 h 2019534"/>
                <a:gd name="connsiteX87" fmla="*/ 67318 w 1542699"/>
                <a:gd name="connsiteY87" fmla="*/ 1823190 h 2019534"/>
                <a:gd name="connsiteX88" fmla="*/ 89757 w 1542699"/>
                <a:gd name="connsiteY88" fmla="*/ 1856849 h 2019534"/>
                <a:gd name="connsiteX89" fmla="*/ 106586 w 1542699"/>
                <a:gd name="connsiteY89" fmla="*/ 1896118 h 2019534"/>
                <a:gd name="connsiteX90" fmla="*/ 100976 w 1542699"/>
                <a:gd name="connsiteY90" fmla="*/ 1912947 h 2019534"/>
                <a:gd name="connsiteX91" fmla="*/ 56098 w 1542699"/>
                <a:gd name="connsiteY91" fmla="*/ 1929777 h 2019534"/>
                <a:gd name="connsiteX92" fmla="*/ 50488 w 1542699"/>
                <a:gd name="connsiteY92" fmla="*/ 1946606 h 2019534"/>
                <a:gd name="connsiteX93" fmla="*/ 72927 w 1542699"/>
                <a:gd name="connsiteY93" fmla="*/ 1980265 h 2019534"/>
                <a:gd name="connsiteX94" fmla="*/ 84147 w 1542699"/>
                <a:gd name="connsiteY94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44402 w 1542699"/>
                <a:gd name="connsiteY24" fmla="*/ 488054 h 2019534"/>
                <a:gd name="connsiteX25" fmla="*/ 1127573 w 1542699"/>
                <a:gd name="connsiteY25" fmla="*/ 49366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7573 w 1542699"/>
                <a:gd name="connsiteY25" fmla="*/ 49366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00500 w 1542699"/>
                <a:gd name="connsiteY20" fmla="*/ 398297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06110 w 1542699"/>
                <a:gd name="connsiteY19" fmla="*/ 381467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56599 w 1542699"/>
                <a:gd name="connsiteY16" fmla="*/ 224392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62208 w 1542699"/>
                <a:gd name="connsiteY15" fmla="*/ 20756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3185 w 1542699"/>
                <a:gd name="connsiteY10" fmla="*/ 201953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46356 w 1542699"/>
                <a:gd name="connsiteY9" fmla="*/ 134635 h 2019534"/>
                <a:gd name="connsiteX10" fmla="*/ 1368795 w 1542699"/>
                <a:gd name="connsiteY10" fmla="*/ 182319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17806 h 2019534"/>
                <a:gd name="connsiteX9" fmla="*/ 1365990 w 1542699"/>
                <a:gd name="connsiteY9" fmla="*/ 154270 h 2019534"/>
                <a:gd name="connsiteX10" fmla="*/ 1368795 w 1542699"/>
                <a:gd name="connsiteY10" fmla="*/ 182319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4405 w 1542699"/>
                <a:gd name="connsiteY7" fmla="*/ 112196 h 2019534"/>
                <a:gd name="connsiteX8" fmla="*/ 1357575 w 1542699"/>
                <a:gd name="connsiteY8" fmla="*/ 129026 h 2019534"/>
                <a:gd name="connsiteX9" fmla="*/ 1365990 w 1542699"/>
                <a:gd name="connsiteY9" fmla="*/ 154270 h 2019534"/>
                <a:gd name="connsiteX10" fmla="*/ 1368795 w 1542699"/>
                <a:gd name="connsiteY10" fmla="*/ 182319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14650 w 1542699"/>
                <a:gd name="connsiteY1" fmla="*/ 2243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7210 w 1542699"/>
                <a:gd name="connsiteY7" fmla="*/ 120611 h 2019534"/>
                <a:gd name="connsiteX8" fmla="*/ 1357575 w 1542699"/>
                <a:gd name="connsiteY8" fmla="*/ 129026 h 2019534"/>
                <a:gd name="connsiteX9" fmla="*/ 1365990 w 1542699"/>
                <a:gd name="connsiteY9" fmla="*/ 154270 h 2019534"/>
                <a:gd name="connsiteX10" fmla="*/ 1368795 w 1542699"/>
                <a:gd name="connsiteY10" fmla="*/ 182319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42699 w 1542699"/>
                <a:gd name="connsiteY0" fmla="*/ 0 h 2019534"/>
                <a:gd name="connsiteX1" fmla="*/ 1531480 w 1542699"/>
                <a:gd name="connsiteY1" fmla="*/ 33659 h 2019534"/>
                <a:gd name="connsiteX2" fmla="*/ 1497821 w 1542699"/>
                <a:gd name="connsiteY2" fmla="*/ 33659 h 2019534"/>
                <a:gd name="connsiteX3" fmla="*/ 1469772 w 1542699"/>
                <a:gd name="connsiteY3" fmla="*/ 61708 h 2019534"/>
                <a:gd name="connsiteX4" fmla="*/ 1464162 w 1542699"/>
                <a:gd name="connsiteY4" fmla="*/ 78537 h 2019534"/>
                <a:gd name="connsiteX5" fmla="*/ 1430503 w 1542699"/>
                <a:gd name="connsiteY5" fmla="*/ 89757 h 2019534"/>
                <a:gd name="connsiteX6" fmla="*/ 1413673 w 1542699"/>
                <a:gd name="connsiteY6" fmla="*/ 100977 h 2019534"/>
                <a:gd name="connsiteX7" fmla="*/ 1377210 w 1542699"/>
                <a:gd name="connsiteY7" fmla="*/ 120611 h 2019534"/>
                <a:gd name="connsiteX8" fmla="*/ 1357575 w 1542699"/>
                <a:gd name="connsiteY8" fmla="*/ 129026 h 2019534"/>
                <a:gd name="connsiteX9" fmla="*/ 1365990 w 1542699"/>
                <a:gd name="connsiteY9" fmla="*/ 154270 h 2019534"/>
                <a:gd name="connsiteX10" fmla="*/ 1368795 w 1542699"/>
                <a:gd name="connsiteY10" fmla="*/ 182319 h 2019534"/>
                <a:gd name="connsiteX11" fmla="*/ 1380014 w 1542699"/>
                <a:gd name="connsiteY11" fmla="*/ 207563 h 2019534"/>
                <a:gd name="connsiteX12" fmla="*/ 1391234 w 1542699"/>
                <a:gd name="connsiteY12" fmla="*/ 224392 h 2019534"/>
                <a:gd name="connsiteX13" fmla="*/ 1357575 w 1542699"/>
                <a:gd name="connsiteY13" fmla="*/ 218783 h 2019534"/>
                <a:gd name="connsiteX14" fmla="*/ 1318306 w 1542699"/>
                <a:gd name="connsiteY14" fmla="*/ 201953 h 2019534"/>
                <a:gd name="connsiteX15" fmla="*/ 1276233 w 1542699"/>
                <a:gd name="connsiteY15" fmla="*/ 213173 h 2019534"/>
                <a:gd name="connsiteX16" fmla="*/ 1262208 w 1542699"/>
                <a:gd name="connsiteY16" fmla="*/ 258050 h 2019534"/>
                <a:gd name="connsiteX17" fmla="*/ 1245379 w 1542699"/>
                <a:gd name="connsiteY17" fmla="*/ 297320 h 2019534"/>
                <a:gd name="connsiteX18" fmla="*/ 1217330 w 1542699"/>
                <a:gd name="connsiteY18" fmla="*/ 364638 h 2019534"/>
                <a:gd name="connsiteX19" fmla="*/ 1222940 w 1542699"/>
                <a:gd name="connsiteY19" fmla="*/ 384272 h 2019534"/>
                <a:gd name="connsiteX20" fmla="*/ 1211720 w 1542699"/>
                <a:gd name="connsiteY20" fmla="*/ 406711 h 2019534"/>
                <a:gd name="connsiteX21" fmla="*/ 1194891 w 1542699"/>
                <a:gd name="connsiteY21" fmla="*/ 426346 h 2019534"/>
                <a:gd name="connsiteX22" fmla="*/ 1186476 w 1542699"/>
                <a:gd name="connsiteY22" fmla="*/ 457200 h 2019534"/>
                <a:gd name="connsiteX23" fmla="*/ 1152817 w 1542699"/>
                <a:gd name="connsiteY23" fmla="*/ 474029 h 2019534"/>
                <a:gd name="connsiteX24" fmla="*/ 1138793 w 1542699"/>
                <a:gd name="connsiteY24" fmla="*/ 482444 h 2019534"/>
                <a:gd name="connsiteX25" fmla="*/ 1121963 w 1542699"/>
                <a:gd name="connsiteY25" fmla="*/ 482444 h 2019534"/>
                <a:gd name="connsiteX26" fmla="*/ 1110743 w 1542699"/>
                <a:gd name="connsiteY26" fmla="*/ 504883 h 2019534"/>
                <a:gd name="connsiteX27" fmla="*/ 1077084 w 1542699"/>
                <a:gd name="connsiteY27" fmla="*/ 516103 h 2019534"/>
                <a:gd name="connsiteX28" fmla="*/ 1071475 w 1542699"/>
                <a:gd name="connsiteY28" fmla="*/ 532932 h 2019534"/>
                <a:gd name="connsiteX29" fmla="*/ 1068670 w 1542699"/>
                <a:gd name="connsiteY29" fmla="*/ 549762 h 2019534"/>
                <a:gd name="connsiteX30" fmla="*/ 1057450 w 1542699"/>
                <a:gd name="connsiteY30" fmla="*/ 577811 h 2019534"/>
                <a:gd name="connsiteX31" fmla="*/ 1051841 w 1542699"/>
                <a:gd name="connsiteY31" fmla="*/ 600250 h 2019534"/>
                <a:gd name="connsiteX32" fmla="*/ 1049035 w 1542699"/>
                <a:gd name="connsiteY32" fmla="*/ 617080 h 2019534"/>
                <a:gd name="connsiteX33" fmla="*/ 1001352 w 1542699"/>
                <a:gd name="connsiteY33" fmla="*/ 639519 h 2019534"/>
                <a:gd name="connsiteX34" fmla="*/ 984522 w 1542699"/>
                <a:gd name="connsiteY34" fmla="*/ 673178 h 2019534"/>
                <a:gd name="connsiteX35" fmla="*/ 998547 w 1542699"/>
                <a:gd name="connsiteY35" fmla="*/ 709642 h 2019534"/>
                <a:gd name="connsiteX36" fmla="*/ 998547 w 1542699"/>
                <a:gd name="connsiteY36" fmla="*/ 740496 h 2019534"/>
                <a:gd name="connsiteX37" fmla="*/ 978913 w 1542699"/>
                <a:gd name="connsiteY37" fmla="*/ 779764 h 2019534"/>
                <a:gd name="connsiteX38" fmla="*/ 964888 w 1542699"/>
                <a:gd name="connsiteY38" fmla="*/ 746105 h 2019534"/>
                <a:gd name="connsiteX39" fmla="*/ 950864 w 1542699"/>
                <a:gd name="connsiteY39" fmla="*/ 720861 h 2019534"/>
                <a:gd name="connsiteX40" fmla="*/ 931228 w 1542699"/>
                <a:gd name="connsiteY40" fmla="*/ 709642 h 2019534"/>
                <a:gd name="connsiteX41" fmla="*/ 905985 w 1542699"/>
                <a:gd name="connsiteY41" fmla="*/ 715251 h 2019534"/>
                <a:gd name="connsiteX42" fmla="*/ 869521 w 1542699"/>
                <a:gd name="connsiteY42" fmla="*/ 729276 h 2019534"/>
                <a:gd name="connsiteX43" fmla="*/ 852692 w 1542699"/>
                <a:gd name="connsiteY43" fmla="*/ 740496 h 2019534"/>
                <a:gd name="connsiteX44" fmla="*/ 807813 w 1542699"/>
                <a:gd name="connsiteY44" fmla="*/ 746105 h 2019534"/>
                <a:gd name="connsiteX45" fmla="*/ 751715 w 1542699"/>
                <a:gd name="connsiteY45" fmla="*/ 751715 h 2019534"/>
                <a:gd name="connsiteX46" fmla="*/ 684397 w 1542699"/>
                <a:gd name="connsiteY46" fmla="*/ 762935 h 2019534"/>
                <a:gd name="connsiteX47" fmla="*/ 667568 w 1542699"/>
                <a:gd name="connsiteY47" fmla="*/ 768545 h 2019534"/>
                <a:gd name="connsiteX48" fmla="*/ 619884 w 1542699"/>
                <a:gd name="connsiteY48" fmla="*/ 799399 h 2019534"/>
                <a:gd name="connsiteX49" fmla="*/ 580616 w 1542699"/>
                <a:gd name="connsiteY49" fmla="*/ 838667 h 2019534"/>
                <a:gd name="connsiteX50" fmla="*/ 558177 w 1542699"/>
                <a:gd name="connsiteY50" fmla="*/ 866716 h 2019534"/>
                <a:gd name="connsiteX51" fmla="*/ 560981 w 1542699"/>
                <a:gd name="connsiteY51" fmla="*/ 900374 h 2019534"/>
                <a:gd name="connsiteX52" fmla="*/ 566592 w 1542699"/>
                <a:gd name="connsiteY52" fmla="*/ 931229 h 2019534"/>
                <a:gd name="connsiteX53" fmla="*/ 544152 w 1542699"/>
                <a:gd name="connsiteY53" fmla="*/ 953669 h 2019534"/>
                <a:gd name="connsiteX54" fmla="*/ 521713 w 1542699"/>
                <a:gd name="connsiteY54" fmla="*/ 964888 h 2019534"/>
                <a:gd name="connsiteX55" fmla="*/ 496468 w 1542699"/>
                <a:gd name="connsiteY55" fmla="*/ 984523 h 2019534"/>
                <a:gd name="connsiteX56" fmla="*/ 471223 w 1542699"/>
                <a:gd name="connsiteY56" fmla="*/ 990133 h 2019534"/>
                <a:gd name="connsiteX57" fmla="*/ 454395 w 1542699"/>
                <a:gd name="connsiteY57" fmla="*/ 998547 h 2019534"/>
                <a:gd name="connsiteX58" fmla="*/ 437565 w 1542699"/>
                <a:gd name="connsiteY58" fmla="*/ 1004157 h 2019534"/>
                <a:gd name="connsiteX59" fmla="*/ 426346 w 1542699"/>
                <a:gd name="connsiteY59" fmla="*/ 1020986 h 2019534"/>
                <a:gd name="connsiteX60" fmla="*/ 375857 w 1542699"/>
                <a:gd name="connsiteY60" fmla="*/ 1035011 h 2019534"/>
                <a:gd name="connsiteX61" fmla="*/ 339394 w 1542699"/>
                <a:gd name="connsiteY61" fmla="*/ 1060255 h 2019534"/>
                <a:gd name="connsiteX62" fmla="*/ 300125 w 1542699"/>
                <a:gd name="connsiteY62" fmla="*/ 1074280 h 2019534"/>
                <a:gd name="connsiteX63" fmla="*/ 258051 w 1542699"/>
                <a:gd name="connsiteY63" fmla="*/ 1110743 h 2019534"/>
                <a:gd name="connsiteX64" fmla="*/ 266465 w 1542699"/>
                <a:gd name="connsiteY64" fmla="*/ 1133183 h 2019534"/>
                <a:gd name="connsiteX65" fmla="*/ 260856 w 1542699"/>
                <a:gd name="connsiteY65" fmla="*/ 1169646 h 2019534"/>
                <a:gd name="connsiteX66" fmla="*/ 227197 w 1542699"/>
                <a:gd name="connsiteY66" fmla="*/ 1211720 h 2019534"/>
                <a:gd name="connsiteX67" fmla="*/ 199148 w 1542699"/>
                <a:gd name="connsiteY67" fmla="*/ 1245378 h 2019534"/>
                <a:gd name="connsiteX68" fmla="*/ 159880 w 1542699"/>
                <a:gd name="connsiteY68" fmla="*/ 1287453 h 2019534"/>
                <a:gd name="connsiteX69" fmla="*/ 140245 w 1542699"/>
                <a:gd name="connsiteY69" fmla="*/ 1323916 h 2019534"/>
                <a:gd name="connsiteX70" fmla="*/ 126221 w 1542699"/>
                <a:gd name="connsiteY70" fmla="*/ 1365990 h 2019534"/>
                <a:gd name="connsiteX71" fmla="*/ 106586 w 1542699"/>
                <a:gd name="connsiteY71" fmla="*/ 1391234 h 2019534"/>
                <a:gd name="connsiteX72" fmla="*/ 117806 w 1542699"/>
                <a:gd name="connsiteY72" fmla="*/ 1408064 h 2019534"/>
                <a:gd name="connsiteX73" fmla="*/ 131830 w 1542699"/>
                <a:gd name="connsiteY73" fmla="*/ 1422088 h 2019534"/>
                <a:gd name="connsiteX74" fmla="*/ 123416 w 1542699"/>
                <a:gd name="connsiteY74" fmla="*/ 1450137 h 2019534"/>
                <a:gd name="connsiteX75" fmla="*/ 98172 w 1542699"/>
                <a:gd name="connsiteY75" fmla="*/ 1472577 h 2019534"/>
                <a:gd name="connsiteX76" fmla="*/ 78537 w 1542699"/>
                <a:gd name="connsiteY76" fmla="*/ 1497821 h 2019534"/>
                <a:gd name="connsiteX77" fmla="*/ 67318 w 1542699"/>
                <a:gd name="connsiteY77" fmla="*/ 1531480 h 2019534"/>
                <a:gd name="connsiteX78" fmla="*/ 56098 w 1542699"/>
                <a:gd name="connsiteY78" fmla="*/ 1548309 h 2019534"/>
                <a:gd name="connsiteX79" fmla="*/ 44878 w 1542699"/>
                <a:gd name="connsiteY79" fmla="*/ 1587578 h 2019534"/>
                <a:gd name="connsiteX80" fmla="*/ 16829 w 1542699"/>
                <a:gd name="connsiteY80" fmla="*/ 1621237 h 2019534"/>
                <a:gd name="connsiteX81" fmla="*/ 5610 w 1542699"/>
                <a:gd name="connsiteY81" fmla="*/ 1654896 h 2019534"/>
                <a:gd name="connsiteX82" fmla="*/ 0 w 1542699"/>
                <a:gd name="connsiteY82" fmla="*/ 1671725 h 2019534"/>
                <a:gd name="connsiteX83" fmla="*/ 11219 w 1542699"/>
                <a:gd name="connsiteY83" fmla="*/ 1705384 h 2019534"/>
                <a:gd name="connsiteX84" fmla="*/ 16829 w 1542699"/>
                <a:gd name="connsiteY84" fmla="*/ 1727823 h 2019534"/>
                <a:gd name="connsiteX85" fmla="*/ 28049 w 1542699"/>
                <a:gd name="connsiteY85" fmla="*/ 1761482 h 2019534"/>
                <a:gd name="connsiteX86" fmla="*/ 33659 w 1542699"/>
                <a:gd name="connsiteY86" fmla="*/ 1778311 h 2019534"/>
                <a:gd name="connsiteX87" fmla="*/ 50488 w 1542699"/>
                <a:gd name="connsiteY87" fmla="*/ 1811970 h 2019534"/>
                <a:gd name="connsiteX88" fmla="*/ 67318 w 1542699"/>
                <a:gd name="connsiteY88" fmla="*/ 1823190 h 2019534"/>
                <a:gd name="connsiteX89" fmla="*/ 89757 w 1542699"/>
                <a:gd name="connsiteY89" fmla="*/ 1856849 h 2019534"/>
                <a:gd name="connsiteX90" fmla="*/ 106586 w 1542699"/>
                <a:gd name="connsiteY90" fmla="*/ 1896118 h 2019534"/>
                <a:gd name="connsiteX91" fmla="*/ 100976 w 1542699"/>
                <a:gd name="connsiteY91" fmla="*/ 1912947 h 2019534"/>
                <a:gd name="connsiteX92" fmla="*/ 56098 w 1542699"/>
                <a:gd name="connsiteY92" fmla="*/ 1929777 h 2019534"/>
                <a:gd name="connsiteX93" fmla="*/ 50488 w 1542699"/>
                <a:gd name="connsiteY93" fmla="*/ 1946606 h 2019534"/>
                <a:gd name="connsiteX94" fmla="*/ 72927 w 1542699"/>
                <a:gd name="connsiteY94" fmla="*/ 1980265 h 2019534"/>
                <a:gd name="connsiteX95" fmla="*/ 84147 w 1542699"/>
                <a:gd name="connsiteY95" fmla="*/ 2019534 h 2019534"/>
                <a:gd name="connsiteX0" fmla="*/ 1534285 w 1534285"/>
                <a:gd name="connsiteY0" fmla="*/ 0 h 2008314"/>
                <a:gd name="connsiteX1" fmla="*/ 1531480 w 1534285"/>
                <a:gd name="connsiteY1" fmla="*/ 22439 h 2008314"/>
                <a:gd name="connsiteX2" fmla="*/ 1497821 w 1534285"/>
                <a:gd name="connsiteY2" fmla="*/ 22439 h 2008314"/>
                <a:gd name="connsiteX3" fmla="*/ 1469772 w 1534285"/>
                <a:gd name="connsiteY3" fmla="*/ 50488 h 2008314"/>
                <a:gd name="connsiteX4" fmla="*/ 1464162 w 1534285"/>
                <a:gd name="connsiteY4" fmla="*/ 67317 h 2008314"/>
                <a:gd name="connsiteX5" fmla="*/ 1430503 w 1534285"/>
                <a:gd name="connsiteY5" fmla="*/ 78537 h 2008314"/>
                <a:gd name="connsiteX6" fmla="*/ 1413673 w 1534285"/>
                <a:gd name="connsiteY6" fmla="*/ 89757 h 2008314"/>
                <a:gd name="connsiteX7" fmla="*/ 1377210 w 1534285"/>
                <a:gd name="connsiteY7" fmla="*/ 109391 h 2008314"/>
                <a:gd name="connsiteX8" fmla="*/ 1357575 w 1534285"/>
                <a:gd name="connsiteY8" fmla="*/ 117806 h 2008314"/>
                <a:gd name="connsiteX9" fmla="*/ 1365990 w 1534285"/>
                <a:gd name="connsiteY9" fmla="*/ 143050 h 2008314"/>
                <a:gd name="connsiteX10" fmla="*/ 1368795 w 1534285"/>
                <a:gd name="connsiteY10" fmla="*/ 171099 h 2008314"/>
                <a:gd name="connsiteX11" fmla="*/ 1380014 w 1534285"/>
                <a:gd name="connsiteY11" fmla="*/ 196343 h 2008314"/>
                <a:gd name="connsiteX12" fmla="*/ 1391234 w 1534285"/>
                <a:gd name="connsiteY12" fmla="*/ 213172 h 2008314"/>
                <a:gd name="connsiteX13" fmla="*/ 1357575 w 1534285"/>
                <a:gd name="connsiteY13" fmla="*/ 207563 h 2008314"/>
                <a:gd name="connsiteX14" fmla="*/ 1318306 w 1534285"/>
                <a:gd name="connsiteY14" fmla="*/ 190733 h 2008314"/>
                <a:gd name="connsiteX15" fmla="*/ 1276233 w 1534285"/>
                <a:gd name="connsiteY15" fmla="*/ 201953 h 2008314"/>
                <a:gd name="connsiteX16" fmla="*/ 1262208 w 1534285"/>
                <a:gd name="connsiteY16" fmla="*/ 246830 h 2008314"/>
                <a:gd name="connsiteX17" fmla="*/ 1245379 w 1534285"/>
                <a:gd name="connsiteY17" fmla="*/ 286100 h 2008314"/>
                <a:gd name="connsiteX18" fmla="*/ 1217330 w 1534285"/>
                <a:gd name="connsiteY18" fmla="*/ 353418 h 2008314"/>
                <a:gd name="connsiteX19" fmla="*/ 1222940 w 1534285"/>
                <a:gd name="connsiteY19" fmla="*/ 373052 h 2008314"/>
                <a:gd name="connsiteX20" fmla="*/ 1211720 w 1534285"/>
                <a:gd name="connsiteY20" fmla="*/ 395491 h 2008314"/>
                <a:gd name="connsiteX21" fmla="*/ 1194891 w 1534285"/>
                <a:gd name="connsiteY21" fmla="*/ 415126 h 2008314"/>
                <a:gd name="connsiteX22" fmla="*/ 1186476 w 1534285"/>
                <a:gd name="connsiteY22" fmla="*/ 445980 h 2008314"/>
                <a:gd name="connsiteX23" fmla="*/ 1152817 w 1534285"/>
                <a:gd name="connsiteY23" fmla="*/ 462809 h 2008314"/>
                <a:gd name="connsiteX24" fmla="*/ 1138793 w 1534285"/>
                <a:gd name="connsiteY24" fmla="*/ 471224 h 2008314"/>
                <a:gd name="connsiteX25" fmla="*/ 1121963 w 1534285"/>
                <a:gd name="connsiteY25" fmla="*/ 471224 h 2008314"/>
                <a:gd name="connsiteX26" fmla="*/ 1110743 w 1534285"/>
                <a:gd name="connsiteY26" fmla="*/ 493663 h 2008314"/>
                <a:gd name="connsiteX27" fmla="*/ 1077084 w 1534285"/>
                <a:gd name="connsiteY27" fmla="*/ 504883 h 2008314"/>
                <a:gd name="connsiteX28" fmla="*/ 1071475 w 1534285"/>
                <a:gd name="connsiteY28" fmla="*/ 521712 h 2008314"/>
                <a:gd name="connsiteX29" fmla="*/ 1068670 w 1534285"/>
                <a:gd name="connsiteY29" fmla="*/ 538542 h 2008314"/>
                <a:gd name="connsiteX30" fmla="*/ 1057450 w 1534285"/>
                <a:gd name="connsiteY30" fmla="*/ 566591 h 2008314"/>
                <a:gd name="connsiteX31" fmla="*/ 1051841 w 1534285"/>
                <a:gd name="connsiteY31" fmla="*/ 589030 h 2008314"/>
                <a:gd name="connsiteX32" fmla="*/ 1049035 w 1534285"/>
                <a:gd name="connsiteY32" fmla="*/ 605860 h 2008314"/>
                <a:gd name="connsiteX33" fmla="*/ 1001352 w 1534285"/>
                <a:gd name="connsiteY33" fmla="*/ 628299 h 2008314"/>
                <a:gd name="connsiteX34" fmla="*/ 984522 w 1534285"/>
                <a:gd name="connsiteY34" fmla="*/ 661958 h 2008314"/>
                <a:gd name="connsiteX35" fmla="*/ 998547 w 1534285"/>
                <a:gd name="connsiteY35" fmla="*/ 698422 h 2008314"/>
                <a:gd name="connsiteX36" fmla="*/ 998547 w 1534285"/>
                <a:gd name="connsiteY36" fmla="*/ 729276 h 2008314"/>
                <a:gd name="connsiteX37" fmla="*/ 978913 w 1534285"/>
                <a:gd name="connsiteY37" fmla="*/ 768544 h 2008314"/>
                <a:gd name="connsiteX38" fmla="*/ 964888 w 1534285"/>
                <a:gd name="connsiteY38" fmla="*/ 734885 h 2008314"/>
                <a:gd name="connsiteX39" fmla="*/ 950864 w 1534285"/>
                <a:gd name="connsiteY39" fmla="*/ 709641 h 2008314"/>
                <a:gd name="connsiteX40" fmla="*/ 931228 w 1534285"/>
                <a:gd name="connsiteY40" fmla="*/ 698422 h 2008314"/>
                <a:gd name="connsiteX41" fmla="*/ 905985 w 1534285"/>
                <a:gd name="connsiteY41" fmla="*/ 704031 h 2008314"/>
                <a:gd name="connsiteX42" fmla="*/ 869521 w 1534285"/>
                <a:gd name="connsiteY42" fmla="*/ 718056 h 2008314"/>
                <a:gd name="connsiteX43" fmla="*/ 852692 w 1534285"/>
                <a:gd name="connsiteY43" fmla="*/ 729276 h 2008314"/>
                <a:gd name="connsiteX44" fmla="*/ 807813 w 1534285"/>
                <a:gd name="connsiteY44" fmla="*/ 734885 h 2008314"/>
                <a:gd name="connsiteX45" fmla="*/ 751715 w 1534285"/>
                <a:gd name="connsiteY45" fmla="*/ 740495 h 2008314"/>
                <a:gd name="connsiteX46" fmla="*/ 684397 w 1534285"/>
                <a:gd name="connsiteY46" fmla="*/ 751715 h 2008314"/>
                <a:gd name="connsiteX47" fmla="*/ 667568 w 1534285"/>
                <a:gd name="connsiteY47" fmla="*/ 757325 h 2008314"/>
                <a:gd name="connsiteX48" fmla="*/ 619884 w 1534285"/>
                <a:gd name="connsiteY48" fmla="*/ 788179 h 2008314"/>
                <a:gd name="connsiteX49" fmla="*/ 580616 w 1534285"/>
                <a:gd name="connsiteY49" fmla="*/ 827447 h 2008314"/>
                <a:gd name="connsiteX50" fmla="*/ 558177 w 1534285"/>
                <a:gd name="connsiteY50" fmla="*/ 855496 h 2008314"/>
                <a:gd name="connsiteX51" fmla="*/ 560981 w 1534285"/>
                <a:gd name="connsiteY51" fmla="*/ 889154 h 2008314"/>
                <a:gd name="connsiteX52" fmla="*/ 566592 w 1534285"/>
                <a:gd name="connsiteY52" fmla="*/ 920009 h 2008314"/>
                <a:gd name="connsiteX53" fmla="*/ 544152 w 1534285"/>
                <a:gd name="connsiteY53" fmla="*/ 942449 h 2008314"/>
                <a:gd name="connsiteX54" fmla="*/ 521713 w 1534285"/>
                <a:gd name="connsiteY54" fmla="*/ 953668 h 2008314"/>
                <a:gd name="connsiteX55" fmla="*/ 496468 w 1534285"/>
                <a:gd name="connsiteY55" fmla="*/ 973303 h 2008314"/>
                <a:gd name="connsiteX56" fmla="*/ 471223 w 1534285"/>
                <a:gd name="connsiteY56" fmla="*/ 978913 h 2008314"/>
                <a:gd name="connsiteX57" fmla="*/ 454395 w 1534285"/>
                <a:gd name="connsiteY57" fmla="*/ 987327 h 2008314"/>
                <a:gd name="connsiteX58" fmla="*/ 437565 w 1534285"/>
                <a:gd name="connsiteY58" fmla="*/ 992937 h 2008314"/>
                <a:gd name="connsiteX59" fmla="*/ 426346 w 1534285"/>
                <a:gd name="connsiteY59" fmla="*/ 1009766 h 2008314"/>
                <a:gd name="connsiteX60" fmla="*/ 375857 w 1534285"/>
                <a:gd name="connsiteY60" fmla="*/ 1023791 h 2008314"/>
                <a:gd name="connsiteX61" fmla="*/ 339394 w 1534285"/>
                <a:gd name="connsiteY61" fmla="*/ 1049035 h 2008314"/>
                <a:gd name="connsiteX62" fmla="*/ 300125 w 1534285"/>
                <a:gd name="connsiteY62" fmla="*/ 1063060 h 2008314"/>
                <a:gd name="connsiteX63" fmla="*/ 258051 w 1534285"/>
                <a:gd name="connsiteY63" fmla="*/ 1099523 h 2008314"/>
                <a:gd name="connsiteX64" fmla="*/ 266465 w 1534285"/>
                <a:gd name="connsiteY64" fmla="*/ 1121963 h 2008314"/>
                <a:gd name="connsiteX65" fmla="*/ 260856 w 1534285"/>
                <a:gd name="connsiteY65" fmla="*/ 1158426 h 2008314"/>
                <a:gd name="connsiteX66" fmla="*/ 227197 w 1534285"/>
                <a:gd name="connsiteY66" fmla="*/ 1200500 h 2008314"/>
                <a:gd name="connsiteX67" fmla="*/ 199148 w 1534285"/>
                <a:gd name="connsiteY67" fmla="*/ 1234158 h 2008314"/>
                <a:gd name="connsiteX68" fmla="*/ 159880 w 1534285"/>
                <a:gd name="connsiteY68" fmla="*/ 1276233 h 2008314"/>
                <a:gd name="connsiteX69" fmla="*/ 140245 w 1534285"/>
                <a:gd name="connsiteY69" fmla="*/ 1312696 h 2008314"/>
                <a:gd name="connsiteX70" fmla="*/ 126221 w 1534285"/>
                <a:gd name="connsiteY70" fmla="*/ 1354770 h 2008314"/>
                <a:gd name="connsiteX71" fmla="*/ 106586 w 1534285"/>
                <a:gd name="connsiteY71" fmla="*/ 1380014 h 2008314"/>
                <a:gd name="connsiteX72" fmla="*/ 117806 w 1534285"/>
                <a:gd name="connsiteY72" fmla="*/ 1396844 h 2008314"/>
                <a:gd name="connsiteX73" fmla="*/ 131830 w 1534285"/>
                <a:gd name="connsiteY73" fmla="*/ 1410868 h 2008314"/>
                <a:gd name="connsiteX74" fmla="*/ 123416 w 1534285"/>
                <a:gd name="connsiteY74" fmla="*/ 1438917 h 2008314"/>
                <a:gd name="connsiteX75" fmla="*/ 98172 w 1534285"/>
                <a:gd name="connsiteY75" fmla="*/ 1461357 h 2008314"/>
                <a:gd name="connsiteX76" fmla="*/ 78537 w 1534285"/>
                <a:gd name="connsiteY76" fmla="*/ 1486601 h 2008314"/>
                <a:gd name="connsiteX77" fmla="*/ 67318 w 1534285"/>
                <a:gd name="connsiteY77" fmla="*/ 1520260 h 2008314"/>
                <a:gd name="connsiteX78" fmla="*/ 56098 w 1534285"/>
                <a:gd name="connsiteY78" fmla="*/ 1537089 h 2008314"/>
                <a:gd name="connsiteX79" fmla="*/ 44878 w 1534285"/>
                <a:gd name="connsiteY79" fmla="*/ 1576358 h 2008314"/>
                <a:gd name="connsiteX80" fmla="*/ 16829 w 1534285"/>
                <a:gd name="connsiteY80" fmla="*/ 1610017 h 2008314"/>
                <a:gd name="connsiteX81" fmla="*/ 5610 w 1534285"/>
                <a:gd name="connsiteY81" fmla="*/ 1643676 h 2008314"/>
                <a:gd name="connsiteX82" fmla="*/ 0 w 1534285"/>
                <a:gd name="connsiteY82" fmla="*/ 1660505 h 2008314"/>
                <a:gd name="connsiteX83" fmla="*/ 11219 w 1534285"/>
                <a:gd name="connsiteY83" fmla="*/ 1694164 h 2008314"/>
                <a:gd name="connsiteX84" fmla="*/ 16829 w 1534285"/>
                <a:gd name="connsiteY84" fmla="*/ 1716603 h 2008314"/>
                <a:gd name="connsiteX85" fmla="*/ 28049 w 1534285"/>
                <a:gd name="connsiteY85" fmla="*/ 1750262 h 2008314"/>
                <a:gd name="connsiteX86" fmla="*/ 33659 w 1534285"/>
                <a:gd name="connsiteY86" fmla="*/ 1767091 h 2008314"/>
                <a:gd name="connsiteX87" fmla="*/ 50488 w 1534285"/>
                <a:gd name="connsiteY87" fmla="*/ 1800750 h 2008314"/>
                <a:gd name="connsiteX88" fmla="*/ 67318 w 1534285"/>
                <a:gd name="connsiteY88" fmla="*/ 1811970 h 2008314"/>
                <a:gd name="connsiteX89" fmla="*/ 89757 w 1534285"/>
                <a:gd name="connsiteY89" fmla="*/ 1845629 h 2008314"/>
                <a:gd name="connsiteX90" fmla="*/ 106586 w 1534285"/>
                <a:gd name="connsiteY90" fmla="*/ 1884898 h 2008314"/>
                <a:gd name="connsiteX91" fmla="*/ 100976 w 1534285"/>
                <a:gd name="connsiteY91" fmla="*/ 1901727 h 2008314"/>
                <a:gd name="connsiteX92" fmla="*/ 56098 w 1534285"/>
                <a:gd name="connsiteY92" fmla="*/ 1918557 h 2008314"/>
                <a:gd name="connsiteX93" fmla="*/ 50488 w 1534285"/>
                <a:gd name="connsiteY93" fmla="*/ 1935386 h 2008314"/>
                <a:gd name="connsiteX94" fmla="*/ 72927 w 1534285"/>
                <a:gd name="connsiteY94" fmla="*/ 1969045 h 2008314"/>
                <a:gd name="connsiteX95" fmla="*/ 84147 w 1534285"/>
                <a:gd name="connsiteY95" fmla="*/ 2008314 h 2008314"/>
                <a:gd name="connsiteX0" fmla="*/ 1528675 w 1528675"/>
                <a:gd name="connsiteY0" fmla="*/ 0 h 2008314"/>
                <a:gd name="connsiteX1" fmla="*/ 1525870 w 1528675"/>
                <a:gd name="connsiteY1" fmla="*/ 22439 h 2008314"/>
                <a:gd name="connsiteX2" fmla="*/ 1492211 w 1528675"/>
                <a:gd name="connsiteY2" fmla="*/ 22439 h 2008314"/>
                <a:gd name="connsiteX3" fmla="*/ 1464162 w 1528675"/>
                <a:gd name="connsiteY3" fmla="*/ 50488 h 2008314"/>
                <a:gd name="connsiteX4" fmla="*/ 1458552 w 1528675"/>
                <a:gd name="connsiteY4" fmla="*/ 67317 h 2008314"/>
                <a:gd name="connsiteX5" fmla="*/ 1424893 w 1528675"/>
                <a:gd name="connsiteY5" fmla="*/ 78537 h 2008314"/>
                <a:gd name="connsiteX6" fmla="*/ 1408063 w 1528675"/>
                <a:gd name="connsiteY6" fmla="*/ 89757 h 2008314"/>
                <a:gd name="connsiteX7" fmla="*/ 1371600 w 1528675"/>
                <a:gd name="connsiteY7" fmla="*/ 109391 h 2008314"/>
                <a:gd name="connsiteX8" fmla="*/ 1351965 w 1528675"/>
                <a:gd name="connsiteY8" fmla="*/ 117806 h 2008314"/>
                <a:gd name="connsiteX9" fmla="*/ 1360380 w 1528675"/>
                <a:gd name="connsiteY9" fmla="*/ 143050 h 2008314"/>
                <a:gd name="connsiteX10" fmla="*/ 1363185 w 1528675"/>
                <a:gd name="connsiteY10" fmla="*/ 171099 h 2008314"/>
                <a:gd name="connsiteX11" fmla="*/ 1374404 w 1528675"/>
                <a:gd name="connsiteY11" fmla="*/ 196343 h 2008314"/>
                <a:gd name="connsiteX12" fmla="*/ 1385624 w 1528675"/>
                <a:gd name="connsiteY12" fmla="*/ 213172 h 2008314"/>
                <a:gd name="connsiteX13" fmla="*/ 1351965 w 1528675"/>
                <a:gd name="connsiteY13" fmla="*/ 207563 h 2008314"/>
                <a:gd name="connsiteX14" fmla="*/ 1312696 w 1528675"/>
                <a:gd name="connsiteY14" fmla="*/ 190733 h 2008314"/>
                <a:gd name="connsiteX15" fmla="*/ 1270623 w 1528675"/>
                <a:gd name="connsiteY15" fmla="*/ 201953 h 2008314"/>
                <a:gd name="connsiteX16" fmla="*/ 1256598 w 1528675"/>
                <a:gd name="connsiteY16" fmla="*/ 246830 h 2008314"/>
                <a:gd name="connsiteX17" fmla="*/ 1239769 w 1528675"/>
                <a:gd name="connsiteY17" fmla="*/ 286100 h 2008314"/>
                <a:gd name="connsiteX18" fmla="*/ 1211720 w 1528675"/>
                <a:gd name="connsiteY18" fmla="*/ 353418 h 2008314"/>
                <a:gd name="connsiteX19" fmla="*/ 1217330 w 1528675"/>
                <a:gd name="connsiteY19" fmla="*/ 373052 h 2008314"/>
                <a:gd name="connsiteX20" fmla="*/ 1206110 w 1528675"/>
                <a:gd name="connsiteY20" fmla="*/ 395491 h 2008314"/>
                <a:gd name="connsiteX21" fmla="*/ 1189281 w 1528675"/>
                <a:gd name="connsiteY21" fmla="*/ 415126 h 2008314"/>
                <a:gd name="connsiteX22" fmla="*/ 1180866 w 1528675"/>
                <a:gd name="connsiteY22" fmla="*/ 445980 h 2008314"/>
                <a:gd name="connsiteX23" fmla="*/ 1147207 w 1528675"/>
                <a:gd name="connsiteY23" fmla="*/ 462809 h 2008314"/>
                <a:gd name="connsiteX24" fmla="*/ 1133183 w 1528675"/>
                <a:gd name="connsiteY24" fmla="*/ 471224 h 2008314"/>
                <a:gd name="connsiteX25" fmla="*/ 1116353 w 1528675"/>
                <a:gd name="connsiteY25" fmla="*/ 471224 h 2008314"/>
                <a:gd name="connsiteX26" fmla="*/ 1105133 w 1528675"/>
                <a:gd name="connsiteY26" fmla="*/ 493663 h 2008314"/>
                <a:gd name="connsiteX27" fmla="*/ 1071474 w 1528675"/>
                <a:gd name="connsiteY27" fmla="*/ 504883 h 2008314"/>
                <a:gd name="connsiteX28" fmla="*/ 1065865 w 1528675"/>
                <a:gd name="connsiteY28" fmla="*/ 521712 h 2008314"/>
                <a:gd name="connsiteX29" fmla="*/ 1063060 w 1528675"/>
                <a:gd name="connsiteY29" fmla="*/ 538542 h 2008314"/>
                <a:gd name="connsiteX30" fmla="*/ 1051840 w 1528675"/>
                <a:gd name="connsiteY30" fmla="*/ 566591 h 2008314"/>
                <a:gd name="connsiteX31" fmla="*/ 1046231 w 1528675"/>
                <a:gd name="connsiteY31" fmla="*/ 589030 h 2008314"/>
                <a:gd name="connsiteX32" fmla="*/ 1043425 w 1528675"/>
                <a:gd name="connsiteY32" fmla="*/ 605860 h 2008314"/>
                <a:gd name="connsiteX33" fmla="*/ 995742 w 1528675"/>
                <a:gd name="connsiteY33" fmla="*/ 628299 h 2008314"/>
                <a:gd name="connsiteX34" fmla="*/ 978912 w 1528675"/>
                <a:gd name="connsiteY34" fmla="*/ 661958 h 2008314"/>
                <a:gd name="connsiteX35" fmla="*/ 992937 w 1528675"/>
                <a:gd name="connsiteY35" fmla="*/ 698422 h 2008314"/>
                <a:gd name="connsiteX36" fmla="*/ 992937 w 1528675"/>
                <a:gd name="connsiteY36" fmla="*/ 729276 h 2008314"/>
                <a:gd name="connsiteX37" fmla="*/ 973303 w 1528675"/>
                <a:gd name="connsiteY37" fmla="*/ 768544 h 2008314"/>
                <a:gd name="connsiteX38" fmla="*/ 959278 w 1528675"/>
                <a:gd name="connsiteY38" fmla="*/ 734885 h 2008314"/>
                <a:gd name="connsiteX39" fmla="*/ 945254 w 1528675"/>
                <a:gd name="connsiteY39" fmla="*/ 709641 h 2008314"/>
                <a:gd name="connsiteX40" fmla="*/ 925618 w 1528675"/>
                <a:gd name="connsiteY40" fmla="*/ 698422 h 2008314"/>
                <a:gd name="connsiteX41" fmla="*/ 900375 w 1528675"/>
                <a:gd name="connsiteY41" fmla="*/ 704031 h 2008314"/>
                <a:gd name="connsiteX42" fmla="*/ 863911 w 1528675"/>
                <a:gd name="connsiteY42" fmla="*/ 718056 h 2008314"/>
                <a:gd name="connsiteX43" fmla="*/ 847082 w 1528675"/>
                <a:gd name="connsiteY43" fmla="*/ 729276 h 2008314"/>
                <a:gd name="connsiteX44" fmla="*/ 802203 w 1528675"/>
                <a:gd name="connsiteY44" fmla="*/ 734885 h 2008314"/>
                <a:gd name="connsiteX45" fmla="*/ 746105 w 1528675"/>
                <a:gd name="connsiteY45" fmla="*/ 740495 h 2008314"/>
                <a:gd name="connsiteX46" fmla="*/ 678787 w 1528675"/>
                <a:gd name="connsiteY46" fmla="*/ 751715 h 2008314"/>
                <a:gd name="connsiteX47" fmla="*/ 661958 w 1528675"/>
                <a:gd name="connsiteY47" fmla="*/ 757325 h 2008314"/>
                <a:gd name="connsiteX48" fmla="*/ 614274 w 1528675"/>
                <a:gd name="connsiteY48" fmla="*/ 788179 h 2008314"/>
                <a:gd name="connsiteX49" fmla="*/ 575006 w 1528675"/>
                <a:gd name="connsiteY49" fmla="*/ 827447 h 2008314"/>
                <a:gd name="connsiteX50" fmla="*/ 552567 w 1528675"/>
                <a:gd name="connsiteY50" fmla="*/ 855496 h 2008314"/>
                <a:gd name="connsiteX51" fmla="*/ 555371 w 1528675"/>
                <a:gd name="connsiteY51" fmla="*/ 889154 h 2008314"/>
                <a:gd name="connsiteX52" fmla="*/ 560982 w 1528675"/>
                <a:gd name="connsiteY52" fmla="*/ 920009 h 2008314"/>
                <a:gd name="connsiteX53" fmla="*/ 538542 w 1528675"/>
                <a:gd name="connsiteY53" fmla="*/ 942449 h 2008314"/>
                <a:gd name="connsiteX54" fmla="*/ 516103 w 1528675"/>
                <a:gd name="connsiteY54" fmla="*/ 953668 h 2008314"/>
                <a:gd name="connsiteX55" fmla="*/ 490858 w 1528675"/>
                <a:gd name="connsiteY55" fmla="*/ 973303 h 2008314"/>
                <a:gd name="connsiteX56" fmla="*/ 465613 w 1528675"/>
                <a:gd name="connsiteY56" fmla="*/ 978913 h 2008314"/>
                <a:gd name="connsiteX57" fmla="*/ 448785 w 1528675"/>
                <a:gd name="connsiteY57" fmla="*/ 987327 h 2008314"/>
                <a:gd name="connsiteX58" fmla="*/ 431955 w 1528675"/>
                <a:gd name="connsiteY58" fmla="*/ 992937 h 2008314"/>
                <a:gd name="connsiteX59" fmla="*/ 420736 w 1528675"/>
                <a:gd name="connsiteY59" fmla="*/ 1009766 h 2008314"/>
                <a:gd name="connsiteX60" fmla="*/ 370247 w 1528675"/>
                <a:gd name="connsiteY60" fmla="*/ 1023791 h 2008314"/>
                <a:gd name="connsiteX61" fmla="*/ 333784 w 1528675"/>
                <a:gd name="connsiteY61" fmla="*/ 1049035 h 2008314"/>
                <a:gd name="connsiteX62" fmla="*/ 294515 w 1528675"/>
                <a:gd name="connsiteY62" fmla="*/ 1063060 h 2008314"/>
                <a:gd name="connsiteX63" fmla="*/ 252441 w 1528675"/>
                <a:gd name="connsiteY63" fmla="*/ 1099523 h 2008314"/>
                <a:gd name="connsiteX64" fmla="*/ 260855 w 1528675"/>
                <a:gd name="connsiteY64" fmla="*/ 1121963 h 2008314"/>
                <a:gd name="connsiteX65" fmla="*/ 255246 w 1528675"/>
                <a:gd name="connsiteY65" fmla="*/ 1158426 h 2008314"/>
                <a:gd name="connsiteX66" fmla="*/ 221587 w 1528675"/>
                <a:gd name="connsiteY66" fmla="*/ 1200500 h 2008314"/>
                <a:gd name="connsiteX67" fmla="*/ 193538 w 1528675"/>
                <a:gd name="connsiteY67" fmla="*/ 1234158 h 2008314"/>
                <a:gd name="connsiteX68" fmla="*/ 154270 w 1528675"/>
                <a:gd name="connsiteY68" fmla="*/ 1276233 h 2008314"/>
                <a:gd name="connsiteX69" fmla="*/ 134635 w 1528675"/>
                <a:gd name="connsiteY69" fmla="*/ 1312696 h 2008314"/>
                <a:gd name="connsiteX70" fmla="*/ 120611 w 1528675"/>
                <a:gd name="connsiteY70" fmla="*/ 1354770 h 2008314"/>
                <a:gd name="connsiteX71" fmla="*/ 100976 w 1528675"/>
                <a:gd name="connsiteY71" fmla="*/ 1380014 h 2008314"/>
                <a:gd name="connsiteX72" fmla="*/ 112196 w 1528675"/>
                <a:gd name="connsiteY72" fmla="*/ 1396844 h 2008314"/>
                <a:gd name="connsiteX73" fmla="*/ 126220 w 1528675"/>
                <a:gd name="connsiteY73" fmla="*/ 1410868 h 2008314"/>
                <a:gd name="connsiteX74" fmla="*/ 117806 w 1528675"/>
                <a:gd name="connsiteY74" fmla="*/ 1438917 h 2008314"/>
                <a:gd name="connsiteX75" fmla="*/ 92562 w 1528675"/>
                <a:gd name="connsiteY75" fmla="*/ 1461357 h 2008314"/>
                <a:gd name="connsiteX76" fmla="*/ 72927 w 1528675"/>
                <a:gd name="connsiteY76" fmla="*/ 1486601 h 2008314"/>
                <a:gd name="connsiteX77" fmla="*/ 61708 w 1528675"/>
                <a:gd name="connsiteY77" fmla="*/ 1520260 h 2008314"/>
                <a:gd name="connsiteX78" fmla="*/ 50488 w 1528675"/>
                <a:gd name="connsiteY78" fmla="*/ 1537089 h 2008314"/>
                <a:gd name="connsiteX79" fmla="*/ 39268 w 1528675"/>
                <a:gd name="connsiteY79" fmla="*/ 1576358 h 2008314"/>
                <a:gd name="connsiteX80" fmla="*/ 11219 w 1528675"/>
                <a:gd name="connsiteY80" fmla="*/ 1610017 h 2008314"/>
                <a:gd name="connsiteX81" fmla="*/ 0 w 1528675"/>
                <a:gd name="connsiteY81" fmla="*/ 1643676 h 2008314"/>
                <a:gd name="connsiteX82" fmla="*/ 2805 w 1528675"/>
                <a:gd name="connsiteY82" fmla="*/ 1660505 h 2008314"/>
                <a:gd name="connsiteX83" fmla="*/ 5609 w 1528675"/>
                <a:gd name="connsiteY83" fmla="*/ 1694164 h 2008314"/>
                <a:gd name="connsiteX84" fmla="*/ 11219 w 1528675"/>
                <a:gd name="connsiteY84" fmla="*/ 1716603 h 2008314"/>
                <a:gd name="connsiteX85" fmla="*/ 22439 w 1528675"/>
                <a:gd name="connsiteY85" fmla="*/ 1750262 h 2008314"/>
                <a:gd name="connsiteX86" fmla="*/ 28049 w 1528675"/>
                <a:gd name="connsiteY86" fmla="*/ 1767091 h 2008314"/>
                <a:gd name="connsiteX87" fmla="*/ 44878 w 1528675"/>
                <a:gd name="connsiteY87" fmla="*/ 1800750 h 2008314"/>
                <a:gd name="connsiteX88" fmla="*/ 61708 w 1528675"/>
                <a:gd name="connsiteY88" fmla="*/ 1811970 h 2008314"/>
                <a:gd name="connsiteX89" fmla="*/ 84147 w 1528675"/>
                <a:gd name="connsiteY89" fmla="*/ 1845629 h 2008314"/>
                <a:gd name="connsiteX90" fmla="*/ 100976 w 1528675"/>
                <a:gd name="connsiteY90" fmla="*/ 1884898 h 2008314"/>
                <a:gd name="connsiteX91" fmla="*/ 95366 w 1528675"/>
                <a:gd name="connsiteY91" fmla="*/ 1901727 h 2008314"/>
                <a:gd name="connsiteX92" fmla="*/ 50488 w 1528675"/>
                <a:gd name="connsiteY92" fmla="*/ 1918557 h 2008314"/>
                <a:gd name="connsiteX93" fmla="*/ 44878 w 1528675"/>
                <a:gd name="connsiteY93" fmla="*/ 1935386 h 2008314"/>
                <a:gd name="connsiteX94" fmla="*/ 67317 w 1528675"/>
                <a:gd name="connsiteY94" fmla="*/ 1969045 h 2008314"/>
                <a:gd name="connsiteX95" fmla="*/ 78537 w 152867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36678 w 1526085"/>
                <a:gd name="connsiteY79" fmla="*/ 1576358 h 2008314"/>
                <a:gd name="connsiteX80" fmla="*/ 8629 w 1526085"/>
                <a:gd name="connsiteY80" fmla="*/ 161001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9118 w 1526085"/>
                <a:gd name="connsiteY88" fmla="*/ 1811970 h 2008314"/>
                <a:gd name="connsiteX89" fmla="*/ 81557 w 1526085"/>
                <a:gd name="connsiteY89" fmla="*/ 1845629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36678 w 1526085"/>
                <a:gd name="connsiteY79" fmla="*/ 157635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9118 w 1526085"/>
                <a:gd name="connsiteY88" fmla="*/ 1811970 h 2008314"/>
                <a:gd name="connsiteX89" fmla="*/ 81557 w 1526085"/>
                <a:gd name="connsiteY89" fmla="*/ 1845629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9118 w 1526085"/>
                <a:gd name="connsiteY88" fmla="*/ 1811970 h 2008314"/>
                <a:gd name="connsiteX89" fmla="*/ 81557 w 1526085"/>
                <a:gd name="connsiteY89" fmla="*/ 1845629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0385 h 2008314"/>
                <a:gd name="connsiteX89" fmla="*/ 81557 w 1526085"/>
                <a:gd name="connsiteY89" fmla="*/ 1845629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0385 h 2008314"/>
                <a:gd name="connsiteX89" fmla="*/ 75947 w 1526085"/>
                <a:gd name="connsiteY89" fmla="*/ 1854044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8489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73678 h 2008314"/>
                <a:gd name="connsiteX91" fmla="*/ 92776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73678 h 2008314"/>
                <a:gd name="connsiteX91" fmla="*/ 78751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7594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73678 h 2008314"/>
                <a:gd name="connsiteX91" fmla="*/ 78751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64727 w 1526085"/>
                <a:gd name="connsiteY94" fmla="*/ 1969045 h 2008314"/>
                <a:gd name="connsiteX95" fmla="*/ 9277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73678 h 2008314"/>
                <a:gd name="connsiteX91" fmla="*/ 78751 w 1526085"/>
                <a:gd name="connsiteY91" fmla="*/ 1901727 h 2008314"/>
                <a:gd name="connsiteX92" fmla="*/ 47898 w 1526085"/>
                <a:gd name="connsiteY92" fmla="*/ 1918557 h 2008314"/>
                <a:gd name="connsiteX93" fmla="*/ 42288 w 1526085"/>
                <a:gd name="connsiteY93" fmla="*/ 1935386 h 2008314"/>
                <a:gd name="connsiteX94" fmla="*/ 75946 w 1526085"/>
                <a:gd name="connsiteY94" fmla="*/ 1969045 h 2008314"/>
                <a:gd name="connsiteX95" fmla="*/ 92777 w 1526085"/>
                <a:gd name="connsiteY95" fmla="*/ 2008314 h 2008314"/>
                <a:gd name="connsiteX0" fmla="*/ 1526085 w 1526085"/>
                <a:gd name="connsiteY0" fmla="*/ 0 h 2008314"/>
                <a:gd name="connsiteX1" fmla="*/ 1523280 w 1526085"/>
                <a:gd name="connsiteY1" fmla="*/ 22439 h 2008314"/>
                <a:gd name="connsiteX2" fmla="*/ 1489621 w 1526085"/>
                <a:gd name="connsiteY2" fmla="*/ 22439 h 2008314"/>
                <a:gd name="connsiteX3" fmla="*/ 1461572 w 1526085"/>
                <a:gd name="connsiteY3" fmla="*/ 50488 h 2008314"/>
                <a:gd name="connsiteX4" fmla="*/ 1455962 w 1526085"/>
                <a:gd name="connsiteY4" fmla="*/ 67317 h 2008314"/>
                <a:gd name="connsiteX5" fmla="*/ 1422303 w 1526085"/>
                <a:gd name="connsiteY5" fmla="*/ 78537 h 2008314"/>
                <a:gd name="connsiteX6" fmla="*/ 1405473 w 1526085"/>
                <a:gd name="connsiteY6" fmla="*/ 89757 h 2008314"/>
                <a:gd name="connsiteX7" fmla="*/ 1369010 w 1526085"/>
                <a:gd name="connsiteY7" fmla="*/ 109391 h 2008314"/>
                <a:gd name="connsiteX8" fmla="*/ 1349375 w 1526085"/>
                <a:gd name="connsiteY8" fmla="*/ 117806 h 2008314"/>
                <a:gd name="connsiteX9" fmla="*/ 1357790 w 1526085"/>
                <a:gd name="connsiteY9" fmla="*/ 143050 h 2008314"/>
                <a:gd name="connsiteX10" fmla="*/ 1360595 w 1526085"/>
                <a:gd name="connsiteY10" fmla="*/ 171099 h 2008314"/>
                <a:gd name="connsiteX11" fmla="*/ 1371814 w 1526085"/>
                <a:gd name="connsiteY11" fmla="*/ 196343 h 2008314"/>
                <a:gd name="connsiteX12" fmla="*/ 1383034 w 1526085"/>
                <a:gd name="connsiteY12" fmla="*/ 213172 h 2008314"/>
                <a:gd name="connsiteX13" fmla="*/ 1349375 w 1526085"/>
                <a:gd name="connsiteY13" fmla="*/ 207563 h 2008314"/>
                <a:gd name="connsiteX14" fmla="*/ 1310106 w 1526085"/>
                <a:gd name="connsiteY14" fmla="*/ 190733 h 2008314"/>
                <a:gd name="connsiteX15" fmla="*/ 1268033 w 1526085"/>
                <a:gd name="connsiteY15" fmla="*/ 201953 h 2008314"/>
                <a:gd name="connsiteX16" fmla="*/ 1254008 w 1526085"/>
                <a:gd name="connsiteY16" fmla="*/ 246830 h 2008314"/>
                <a:gd name="connsiteX17" fmla="*/ 1237179 w 1526085"/>
                <a:gd name="connsiteY17" fmla="*/ 286100 h 2008314"/>
                <a:gd name="connsiteX18" fmla="*/ 1209130 w 1526085"/>
                <a:gd name="connsiteY18" fmla="*/ 353418 h 2008314"/>
                <a:gd name="connsiteX19" fmla="*/ 1214740 w 1526085"/>
                <a:gd name="connsiteY19" fmla="*/ 373052 h 2008314"/>
                <a:gd name="connsiteX20" fmla="*/ 1203520 w 1526085"/>
                <a:gd name="connsiteY20" fmla="*/ 395491 h 2008314"/>
                <a:gd name="connsiteX21" fmla="*/ 1186691 w 1526085"/>
                <a:gd name="connsiteY21" fmla="*/ 415126 h 2008314"/>
                <a:gd name="connsiteX22" fmla="*/ 1178276 w 1526085"/>
                <a:gd name="connsiteY22" fmla="*/ 445980 h 2008314"/>
                <a:gd name="connsiteX23" fmla="*/ 1144617 w 1526085"/>
                <a:gd name="connsiteY23" fmla="*/ 462809 h 2008314"/>
                <a:gd name="connsiteX24" fmla="*/ 1130593 w 1526085"/>
                <a:gd name="connsiteY24" fmla="*/ 471224 h 2008314"/>
                <a:gd name="connsiteX25" fmla="*/ 1113763 w 1526085"/>
                <a:gd name="connsiteY25" fmla="*/ 471224 h 2008314"/>
                <a:gd name="connsiteX26" fmla="*/ 1102543 w 1526085"/>
                <a:gd name="connsiteY26" fmla="*/ 493663 h 2008314"/>
                <a:gd name="connsiteX27" fmla="*/ 1068884 w 1526085"/>
                <a:gd name="connsiteY27" fmla="*/ 504883 h 2008314"/>
                <a:gd name="connsiteX28" fmla="*/ 1063275 w 1526085"/>
                <a:gd name="connsiteY28" fmla="*/ 521712 h 2008314"/>
                <a:gd name="connsiteX29" fmla="*/ 1060470 w 1526085"/>
                <a:gd name="connsiteY29" fmla="*/ 538542 h 2008314"/>
                <a:gd name="connsiteX30" fmla="*/ 1049250 w 1526085"/>
                <a:gd name="connsiteY30" fmla="*/ 566591 h 2008314"/>
                <a:gd name="connsiteX31" fmla="*/ 1043641 w 1526085"/>
                <a:gd name="connsiteY31" fmla="*/ 589030 h 2008314"/>
                <a:gd name="connsiteX32" fmla="*/ 1040835 w 1526085"/>
                <a:gd name="connsiteY32" fmla="*/ 605860 h 2008314"/>
                <a:gd name="connsiteX33" fmla="*/ 993152 w 1526085"/>
                <a:gd name="connsiteY33" fmla="*/ 628299 h 2008314"/>
                <a:gd name="connsiteX34" fmla="*/ 976322 w 1526085"/>
                <a:gd name="connsiteY34" fmla="*/ 661958 h 2008314"/>
                <a:gd name="connsiteX35" fmla="*/ 990347 w 1526085"/>
                <a:gd name="connsiteY35" fmla="*/ 698422 h 2008314"/>
                <a:gd name="connsiteX36" fmla="*/ 990347 w 1526085"/>
                <a:gd name="connsiteY36" fmla="*/ 729276 h 2008314"/>
                <a:gd name="connsiteX37" fmla="*/ 970713 w 1526085"/>
                <a:gd name="connsiteY37" fmla="*/ 768544 h 2008314"/>
                <a:gd name="connsiteX38" fmla="*/ 956688 w 1526085"/>
                <a:gd name="connsiteY38" fmla="*/ 734885 h 2008314"/>
                <a:gd name="connsiteX39" fmla="*/ 942664 w 1526085"/>
                <a:gd name="connsiteY39" fmla="*/ 709641 h 2008314"/>
                <a:gd name="connsiteX40" fmla="*/ 923028 w 1526085"/>
                <a:gd name="connsiteY40" fmla="*/ 698422 h 2008314"/>
                <a:gd name="connsiteX41" fmla="*/ 897785 w 1526085"/>
                <a:gd name="connsiteY41" fmla="*/ 704031 h 2008314"/>
                <a:gd name="connsiteX42" fmla="*/ 861321 w 1526085"/>
                <a:gd name="connsiteY42" fmla="*/ 718056 h 2008314"/>
                <a:gd name="connsiteX43" fmla="*/ 844492 w 1526085"/>
                <a:gd name="connsiteY43" fmla="*/ 729276 h 2008314"/>
                <a:gd name="connsiteX44" fmla="*/ 799613 w 1526085"/>
                <a:gd name="connsiteY44" fmla="*/ 734885 h 2008314"/>
                <a:gd name="connsiteX45" fmla="*/ 743515 w 1526085"/>
                <a:gd name="connsiteY45" fmla="*/ 740495 h 2008314"/>
                <a:gd name="connsiteX46" fmla="*/ 676197 w 1526085"/>
                <a:gd name="connsiteY46" fmla="*/ 751715 h 2008314"/>
                <a:gd name="connsiteX47" fmla="*/ 659368 w 1526085"/>
                <a:gd name="connsiteY47" fmla="*/ 757325 h 2008314"/>
                <a:gd name="connsiteX48" fmla="*/ 611684 w 1526085"/>
                <a:gd name="connsiteY48" fmla="*/ 788179 h 2008314"/>
                <a:gd name="connsiteX49" fmla="*/ 572416 w 1526085"/>
                <a:gd name="connsiteY49" fmla="*/ 827447 h 2008314"/>
                <a:gd name="connsiteX50" fmla="*/ 549977 w 1526085"/>
                <a:gd name="connsiteY50" fmla="*/ 855496 h 2008314"/>
                <a:gd name="connsiteX51" fmla="*/ 552781 w 1526085"/>
                <a:gd name="connsiteY51" fmla="*/ 889154 h 2008314"/>
                <a:gd name="connsiteX52" fmla="*/ 558392 w 1526085"/>
                <a:gd name="connsiteY52" fmla="*/ 920009 h 2008314"/>
                <a:gd name="connsiteX53" fmla="*/ 535952 w 1526085"/>
                <a:gd name="connsiteY53" fmla="*/ 942449 h 2008314"/>
                <a:gd name="connsiteX54" fmla="*/ 513513 w 1526085"/>
                <a:gd name="connsiteY54" fmla="*/ 953668 h 2008314"/>
                <a:gd name="connsiteX55" fmla="*/ 488268 w 1526085"/>
                <a:gd name="connsiteY55" fmla="*/ 973303 h 2008314"/>
                <a:gd name="connsiteX56" fmla="*/ 463023 w 1526085"/>
                <a:gd name="connsiteY56" fmla="*/ 978913 h 2008314"/>
                <a:gd name="connsiteX57" fmla="*/ 446195 w 1526085"/>
                <a:gd name="connsiteY57" fmla="*/ 987327 h 2008314"/>
                <a:gd name="connsiteX58" fmla="*/ 429365 w 1526085"/>
                <a:gd name="connsiteY58" fmla="*/ 992937 h 2008314"/>
                <a:gd name="connsiteX59" fmla="*/ 418146 w 1526085"/>
                <a:gd name="connsiteY59" fmla="*/ 1009766 h 2008314"/>
                <a:gd name="connsiteX60" fmla="*/ 367657 w 1526085"/>
                <a:gd name="connsiteY60" fmla="*/ 1023791 h 2008314"/>
                <a:gd name="connsiteX61" fmla="*/ 331194 w 1526085"/>
                <a:gd name="connsiteY61" fmla="*/ 1049035 h 2008314"/>
                <a:gd name="connsiteX62" fmla="*/ 291925 w 1526085"/>
                <a:gd name="connsiteY62" fmla="*/ 1063060 h 2008314"/>
                <a:gd name="connsiteX63" fmla="*/ 249851 w 1526085"/>
                <a:gd name="connsiteY63" fmla="*/ 1099523 h 2008314"/>
                <a:gd name="connsiteX64" fmla="*/ 258265 w 1526085"/>
                <a:gd name="connsiteY64" fmla="*/ 1121963 h 2008314"/>
                <a:gd name="connsiteX65" fmla="*/ 252656 w 1526085"/>
                <a:gd name="connsiteY65" fmla="*/ 1158426 h 2008314"/>
                <a:gd name="connsiteX66" fmla="*/ 218997 w 1526085"/>
                <a:gd name="connsiteY66" fmla="*/ 1200500 h 2008314"/>
                <a:gd name="connsiteX67" fmla="*/ 190948 w 1526085"/>
                <a:gd name="connsiteY67" fmla="*/ 1234158 h 2008314"/>
                <a:gd name="connsiteX68" fmla="*/ 151680 w 1526085"/>
                <a:gd name="connsiteY68" fmla="*/ 1276233 h 2008314"/>
                <a:gd name="connsiteX69" fmla="*/ 132045 w 1526085"/>
                <a:gd name="connsiteY69" fmla="*/ 1312696 h 2008314"/>
                <a:gd name="connsiteX70" fmla="*/ 118021 w 1526085"/>
                <a:gd name="connsiteY70" fmla="*/ 1354770 h 2008314"/>
                <a:gd name="connsiteX71" fmla="*/ 98386 w 1526085"/>
                <a:gd name="connsiteY71" fmla="*/ 1380014 h 2008314"/>
                <a:gd name="connsiteX72" fmla="*/ 109606 w 1526085"/>
                <a:gd name="connsiteY72" fmla="*/ 1396844 h 2008314"/>
                <a:gd name="connsiteX73" fmla="*/ 123630 w 1526085"/>
                <a:gd name="connsiteY73" fmla="*/ 1410868 h 2008314"/>
                <a:gd name="connsiteX74" fmla="*/ 115216 w 1526085"/>
                <a:gd name="connsiteY74" fmla="*/ 1438917 h 2008314"/>
                <a:gd name="connsiteX75" fmla="*/ 89972 w 1526085"/>
                <a:gd name="connsiteY75" fmla="*/ 1461357 h 2008314"/>
                <a:gd name="connsiteX76" fmla="*/ 70337 w 1526085"/>
                <a:gd name="connsiteY76" fmla="*/ 1486601 h 2008314"/>
                <a:gd name="connsiteX77" fmla="*/ 59118 w 1526085"/>
                <a:gd name="connsiteY77" fmla="*/ 1520260 h 2008314"/>
                <a:gd name="connsiteX78" fmla="*/ 47898 w 1526085"/>
                <a:gd name="connsiteY78" fmla="*/ 1537089 h 2008314"/>
                <a:gd name="connsiteX79" fmla="*/ 50702 w 1526085"/>
                <a:gd name="connsiteY79" fmla="*/ 1587578 h 2008314"/>
                <a:gd name="connsiteX80" fmla="*/ 22654 w 1526085"/>
                <a:gd name="connsiteY80" fmla="*/ 1615627 h 2008314"/>
                <a:gd name="connsiteX81" fmla="*/ 8629 w 1526085"/>
                <a:gd name="connsiteY81" fmla="*/ 1649286 h 2008314"/>
                <a:gd name="connsiteX82" fmla="*/ 215 w 1526085"/>
                <a:gd name="connsiteY82" fmla="*/ 1660505 h 2008314"/>
                <a:gd name="connsiteX83" fmla="*/ 3019 w 1526085"/>
                <a:gd name="connsiteY83" fmla="*/ 1694164 h 2008314"/>
                <a:gd name="connsiteX84" fmla="*/ 8629 w 1526085"/>
                <a:gd name="connsiteY84" fmla="*/ 1716603 h 2008314"/>
                <a:gd name="connsiteX85" fmla="*/ 19849 w 1526085"/>
                <a:gd name="connsiteY85" fmla="*/ 1750262 h 2008314"/>
                <a:gd name="connsiteX86" fmla="*/ 25459 w 1526085"/>
                <a:gd name="connsiteY86" fmla="*/ 1767091 h 2008314"/>
                <a:gd name="connsiteX87" fmla="*/ 42288 w 1526085"/>
                <a:gd name="connsiteY87" fmla="*/ 1800750 h 2008314"/>
                <a:gd name="connsiteX88" fmla="*/ 53508 w 1526085"/>
                <a:gd name="connsiteY88" fmla="*/ 1828800 h 2008314"/>
                <a:gd name="connsiteX89" fmla="*/ 75947 w 1526085"/>
                <a:gd name="connsiteY89" fmla="*/ 1854044 h 2008314"/>
                <a:gd name="connsiteX90" fmla="*/ 98386 w 1526085"/>
                <a:gd name="connsiteY90" fmla="*/ 1873678 h 2008314"/>
                <a:gd name="connsiteX91" fmla="*/ 78751 w 1526085"/>
                <a:gd name="connsiteY91" fmla="*/ 1901727 h 2008314"/>
                <a:gd name="connsiteX92" fmla="*/ 47898 w 1526085"/>
                <a:gd name="connsiteY92" fmla="*/ 1918557 h 2008314"/>
                <a:gd name="connsiteX93" fmla="*/ 50703 w 1526085"/>
                <a:gd name="connsiteY93" fmla="*/ 1938191 h 2008314"/>
                <a:gd name="connsiteX94" fmla="*/ 75946 w 1526085"/>
                <a:gd name="connsiteY94" fmla="*/ 1969045 h 2008314"/>
                <a:gd name="connsiteX95" fmla="*/ 92777 w 1526085"/>
                <a:gd name="connsiteY95" fmla="*/ 2008314 h 2008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</a:cxnLst>
              <a:rect l="l" t="t" r="r" b="b"/>
              <a:pathLst>
                <a:path w="1526085" h="2008314">
                  <a:moveTo>
                    <a:pt x="1526085" y="0"/>
                  </a:moveTo>
                  <a:cubicBezTo>
                    <a:pt x="1516735" y="7480"/>
                    <a:pt x="1529357" y="18699"/>
                    <a:pt x="1523280" y="22439"/>
                  </a:cubicBezTo>
                  <a:cubicBezTo>
                    <a:pt x="1517203" y="26179"/>
                    <a:pt x="1499906" y="17764"/>
                    <a:pt x="1489621" y="22439"/>
                  </a:cubicBezTo>
                  <a:cubicBezTo>
                    <a:pt x="1479336" y="27114"/>
                    <a:pt x="1506449" y="20568"/>
                    <a:pt x="1461572" y="50488"/>
                  </a:cubicBezTo>
                  <a:cubicBezTo>
                    <a:pt x="1459702" y="56098"/>
                    <a:pt x="1460774" y="63880"/>
                    <a:pt x="1455962" y="67317"/>
                  </a:cubicBezTo>
                  <a:cubicBezTo>
                    <a:pt x="1446338" y="74191"/>
                    <a:pt x="1432143" y="71977"/>
                    <a:pt x="1422303" y="78537"/>
                  </a:cubicBezTo>
                  <a:cubicBezTo>
                    <a:pt x="1416693" y="82277"/>
                    <a:pt x="1414355" y="84615"/>
                    <a:pt x="1405473" y="89757"/>
                  </a:cubicBezTo>
                  <a:cubicBezTo>
                    <a:pt x="1396591" y="94899"/>
                    <a:pt x="1378360" y="104716"/>
                    <a:pt x="1369010" y="109391"/>
                  </a:cubicBezTo>
                  <a:cubicBezTo>
                    <a:pt x="1359660" y="114066"/>
                    <a:pt x="1354985" y="115936"/>
                    <a:pt x="1349375" y="117806"/>
                  </a:cubicBezTo>
                  <a:cubicBezTo>
                    <a:pt x="1345635" y="123416"/>
                    <a:pt x="1355920" y="134168"/>
                    <a:pt x="1357790" y="143050"/>
                  </a:cubicBezTo>
                  <a:cubicBezTo>
                    <a:pt x="1359660" y="151932"/>
                    <a:pt x="1358258" y="162217"/>
                    <a:pt x="1360595" y="171099"/>
                  </a:cubicBezTo>
                  <a:cubicBezTo>
                    <a:pt x="1362932" y="179981"/>
                    <a:pt x="1366204" y="194473"/>
                    <a:pt x="1371814" y="196343"/>
                  </a:cubicBezTo>
                  <a:cubicBezTo>
                    <a:pt x="1375554" y="201953"/>
                    <a:pt x="1389064" y="210157"/>
                    <a:pt x="1383034" y="213172"/>
                  </a:cubicBezTo>
                  <a:cubicBezTo>
                    <a:pt x="1372861" y="218259"/>
                    <a:pt x="1360479" y="210030"/>
                    <a:pt x="1349375" y="207563"/>
                  </a:cubicBezTo>
                  <a:cubicBezTo>
                    <a:pt x="1334520" y="204262"/>
                    <a:pt x="1323823" y="197591"/>
                    <a:pt x="1310106" y="190733"/>
                  </a:cubicBezTo>
                  <a:cubicBezTo>
                    <a:pt x="1291407" y="192603"/>
                    <a:pt x="1277383" y="192604"/>
                    <a:pt x="1268033" y="201953"/>
                  </a:cubicBezTo>
                  <a:cubicBezTo>
                    <a:pt x="1258683" y="211302"/>
                    <a:pt x="1259150" y="232806"/>
                    <a:pt x="1254008" y="246830"/>
                  </a:cubicBezTo>
                  <a:cubicBezTo>
                    <a:pt x="1248866" y="260855"/>
                    <a:pt x="1250682" y="245594"/>
                    <a:pt x="1237179" y="286100"/>
                  </a:cubicBezTo>
                  <a:cubicBezTo>
                    <a:pt x="1229352" y="333059"/>
                    <a:pt x="1212870" y="338926"/>
                    <a:pt x="1209130" y="353418"/>
                  </a:cubicBezTo>
                  <a:cubicBezTo>
                    <a:pt x="1205390" y="367910"/>
                    <a:pt x="1215675" y="366040"/>
                    <a:pt x="1214740" y="373052"/>
                  </a:cubicBezTo>
                  <a:cubicBezTo>
                    <a:pt x="1213805" y="380064"/>
                    <a:pt x="1208195" y="388479"/>
                    <a:pt x="1203520" y="395491"/>
                  </a:cubicBezTo>
                  <a:cubicBezTo>
                    <a:pt x="1198845" y="402503"/>
                    <a:pt x="1190898" y="406711"/>
                    <a:pt x="1186691" y="415126"/>
                  </a:cubicBezTo>
                  <a:cubicBezTo>
                    <a:pt x="1182484" y="423541"/>
                    <a:pt x="1185288" y="438033"/>
                    <a:pt x="1178276" y="445980"/>
                  </a:cubicBezTo>
                  <a:cubicBezTo>
                    <a:pt x="1171264" y="453927"/>
                    <a:pt x="1151629" y="457667"/>
                    <a:pt x="1144617" y="462809"/>
                  </a:cubicBezTo>
                  <a:cubicBezTo>
                    <a:pt x="1137605" y="467951"/>
                    <a:pt x="1135735" y="469822"/>
                    <a:pt x="1130593" y="471224"/>
                  </a:cubicBezTo>
                  <a:cubicBezTo>
                    <a:pt x="1125451" y="472626"/>
                    <a:pt x="1118438" y="467484"/>
                    <a:pt x="1113763" y="471224"/>
                  </a:cubicBezTo>
                  <a:cubicBezTo>
                    <a:pt x="1109088" y="474964"/>
                    <a:pt x="1110023" y="488053"/>
                    <a:pt x="1102543" y="493663"/>
                  </a:cubicBezTo>
                  <a:cubicBezTo>
                    <a:pt x="1095063" y="499273"/>
                    <a:pt x="1075429" y="500208"/>
                    <a:pt x="1068884" y="504883"/>
                  </a:cubicBezTo>
                  <a:cubicBezTo>
                    <a:pt x="1062339" y="509558"/>
                    <a:pt x="1064677" y="516102"/>
                    <a:pt x="1063275" y="521712"/>
                  </a:cubicBezTo>
                  <a:cubicBezTo>
                    <a:pt x="1061873" y="527322"/>
                    <a:pt x="1062807" y="531062"/>
                    <a:pt x="1060470" y="538542"/>
                  </a:cubicBezTo>
                  <a:cubicBezTo>
                    <a:pt x="1058133" y="546022"/>
                    <a:pt x="1063350" y="524291"/>
                    <a:pt x="1049250" y="566591"/>
                  </a:cubicBezTo>
                  <a:cubicBezTo>
                    <a:pt x="1051120" y="574071"/>
                    <a:pt x="1045043" y="582485"/>
                    <a:pt x="1043641" y="589030"/>
                  </a:cubicBezTo>
                  <a:cubicBezTo>
                    <a:pt x="1042239" y="595575"/>
                    <a:pt x="1049250" y="599315"/>
                    <a:pt x="1040835" y="605860"/>
                  </a:cubicBezTo>
                  <a:cubicBezTo>
                    <a:pt x="1032420" y="612405"/>
                    <a:pt x="1003904" y="618949"/>
                    <a:pt x="993152" y="628299"/>
                  </a:cubicBezTo>
                  <a:cubicBezTo>
                    <a:pt x="982400" y="637649"/>
                    <a:pt x="999548" y="654216"/>
                    <a:pt x="976322" y="661958"/>
                  </a:cubicBezTo>
                  <a:cubicBezTo>
                    <a:pt x="979127" y="678787"/>
                    <a:pt x="988010" y="687202"/>
                    <a:pt x="990347" y="698422"/>
                  </a:cubicBezTo>
                  <a:cubicBezTo>
                    <a:pt x="992684" y="709642"/>
                    <a:pt x="993619" y="717589"/>
                    <a:pt x="990347" y="729276"/>
                  </a:cubicBezTo>
                  <a:cubicBezTo>
                    <a:pt x="987075" y="740963"/>
                    <a:pt x="984260" y="775318"/>
                    <a:pt x="970713" y="768544"/>
                  </a:cubicBezTo>
                  <a:cubicBezTo>
                    <a:pt x="965424" y="765899"/>
                    <a:pt x="961363" y="744702"/>
                    <a:pt x="956688" y="734885"/>
                  </a:cubicBezTo>
                  <a:cubicBezTo>
                    <a:pt x="952013" y="725068"/>
                    <a:pt x="948274" y="715718"/>
                    <a:pt x="942664" y="709641"/>
                  </a:cubicBezTo>
                  <a:cubicBezTo>
                    <a:pt x="937054" y="703564"/>
                    <a:pt x="930508" y="699357"/>
                    <a:pt x="923028" y="698422"/>
                  </a:cubicBezTo>
                  <a:cubicBezTo>
                    <a:pt x="915548" y="697487"/>
                    <a:pt x="903395" y="705901"/>
                    <a:pt x="897785" y="704031"/>
                  </a:cubicBezTo>
                  <a:cubicBezTo>
                    <a:pt x="884695" y="705901"/>
                    <a:pt x="870203" y="713849"/>
                    <a:pt x="861321" y="718056"/>
                  </a:cubicBezTo>
                  <a:cubicBezTo>
                    <a:pt x="852439" y="722263"/>
                    <a:pt x="850997" y="727502"/>
                    <a:pt x="844492" y="729276"/>
                  </a:cubicBezTo>
                  <a:cubicBezTo>
                    <a:pt x="829947" y="733243"/>
                    <a:pt x="814573" y="733015"/>
                    <a:pt x="799613" y="734885"/>
                  </a:cubicBezTo>
                  <a:cubicBezTo>
                    <a:pt x="758640" y="748543"/>
                    <a:pt x="777427" y="748973"/>
                    <a:pt x="743515" y="740495"/>
                  </a:cubicBezTo>
                  <a:cubicBezTo>
                    <a:pt x="707095" y="745048"/>
                    <a:pt x="705024" y="743478"/>
                    <a:pt x="676197" y="751715"/>
                  </a:cubicBezTo>
                  <a:cubicBezTo>
                    <a:pt x="670511" y="753340"/>
                    <a:pt x="670120" y="751248"/>
                    <a:pt x="659368" y="757325"/>
                  </a:cubicBezTo>
                  <a:cubicBezTo>
                    <a:pt x="648616" y="763402"/>
                    <a:pt x="655536" y="777216"/>
                    <a:pt x="611684" y="788179"/>
                  </a:cubicBezTo>
                  <a:cubicBezTo>
                    <a:pt x="604204" y="799399"/>
                    <a:pt x="582700" y="816228"/>
                    <a:pt x="572416" y="827447"/>
                  </a:cubicBezTo>
                  <a:cubicBezTo>
                    <a:pt x="562132" y="838666"/>
                    <a:pt x="553250" y="845212"/>
                    <a:pt x="549977" y="855496"/>
                  </a:cubicBezTo>
                  <a:cubicBezTo>
                    <a:pt x="546705" y="865781"/>
                    <a:pt x="524731" y="870456"/>
                    <a:pt x="552781" y="889154"/>
                  </a:cubicBezTo>
                  <a:cubicBezTo>
                    <a:pt x="556521" y="900374"/>
                    <a:pt x="561197" y="911127"/>
                    <a:pt x="558392" y="920009"/>
                  </a:cubicBezTo>
                  <a:cubicBezTo>
                    <a:pt x="555587" y="928891"/>
                    <a:pt x="541562" y="940579"/>
                    <a:pt x="535952" y="942449"/>
                  </a:cubicBezTo>
                  <a:cubicBezTo>
                    <a:pt x="530342" y="946189"/>
                    <a:pt x="521460" y="948526"/>
                    <a:pt x="513513" y="953668"/>
                  </a:cubicBezTo>
                  <a:cubicBezTo>
                    <a:pt x="505566" y="958810"/>
                    <a:pt x="496683" y="969096"/>
                    <a:pt x="488268" y="973303"/>
                  </a:cubicBezTo>
                  <a:cubicBezTo>
                    <a:pt x="479853" y="977510"/>
                    <a:pt x="470035" y="976576"/>
                    <a:pt x="463023" y="978913"/>
                  </a:cubicBezTo>
                  <a:cubicBezTo>
                    <a:pt x="456011" y="981250"/>
                    <a:pt x="451805" y="984990"/>
                    <a:pt x="446195" y="987327"/>
                  </a:cubicBezTo>
                  <a:cubicBezTo>
                    <a:pt x="440585" y="989664"/>
                    <a:pt x="434975" y="991067"/>
                    <a:pt x="429365" y="992937"/>
                  </a:cubicBezTo>
                  <a:cubicBezTo>
                    <a:pt x="425625" y="998547"/>
                    <a:pt x="428431" y="1004624"/>
                    <a:pt x="418146" y="1009766"/>
                  </a:cubicBezTo>
                  <a:cubicBezTo>
                    <a:pt x="407861" y="1014908"/>
                    <a:pt x="390774" y="1016087"/>
                    <a:pt x="367657" y="1023791"/>
                  </a:cubicBezTo>
                  <a:cubicBezTo>
                    <a:pt x="329079" y="1049511"/>
                    <a:pt x="360816" y="1039163"/>
                    <a:pt x="331194" y="1049035"/>
                  </a:cubicBezTo>
                  <a:cubicBezTo>
                    <a:pt x="325584" y="1052775"/>
                    <a:pt x="305482" y="1054645"/>
                    <a:pt x="291925" y="1063060"/>
                  </a:cubicBezTo>
                  <a:cubicBezTo>
                    <a:pt x="278368" y="1071475"/>
                    <a:pt x="287944" y="1074130"/>
                    <a:pt x="249851" y="1099523"/>
                  </a:cubicBezTo>
                  <a:cubicBezTo>
                    <a:pt x="247981" y="1105133"/>
                    <a:pt x="257798" y="1112146"/>
                    <a:pt x="258265" y="1121963"/>
                  </a:cubicBezTo>
                  <a:cubicBezTo>
                    <a:pt x="258732" y="1131780"/>
                    <a:pt x="259201" y="1145337"/>
                    <a:pt x="252656" y="1158426"/>
                  </a:cubicBezTo>
                  <a:cubicBezTo>
                    <a:pt x="246111" y="1171515"/>
                    <a:pt x="229282" y="1187878"/>
                    <a:pt x="218997" y="1200500"/>
                  </a:cubicBezTo>
                  <a:cubicBezTo>
                    <a:pt x="208712" y="1213122"/>
                    <a:pt x="216526" y="1217106"/>
                    <a:pt x="190948" y="1234158"/>
                  </a:cubicBezTo>
                  <a:cubicBezTo>
                    <a:pt x="164768" y="1273427"/>
                    <a:pt x="179729" y="1257533"/>
                    <a:pt x="151680" y="1276233"/>
                  </a:cubicBezTo>
                  <a:cubicBezTo>
                    <a:pt x="132154" y="1305521"/>
                    <a:pt x="137655" y="1299607"/>
                    <a:pt x="132045" y="1312696"/>
                  </a:cubicBezTo>
                  <a:cubicBezTo>
                    <a:pt x="126435" y="1325786"/>
                    <a:pt x="123631" y="1343550"/>
                    <a:pt x="118021" y="1354770"/>
                  </a:cubicBezTo>
                  <a:cubicBezTo>
                    <a:pt x="112411" y="1365990"/>
                    <a:pt x="99788" y="1373002"/>
                    <a:pt x="98386" y="1380014"/>
                  </a:cubicBezTo>
                  <a:cubicBezTo>
                    <a:pt x="96984" y="1387026"/>
                    <a:pt x="105399" y="1391702"/>
                    <a:pt x="109606" y="1396844"/>
                  </a:cubicBezTo>
                  <a:cubicBezTo>
                    <a:pt x="113813" y="1401986"/>
                    <a:pt x="122695" y="1403856"/>
                    <a:pt x="123630" y="1410868"/>
                  </a:cubicBezTo>
                  <a:cubicBezTo>
                    <a:pt x="124565" y="1417880"/>
                    <a:pt x="120826" y="1430502"/>
                    <a:pt x="115216" y="1438917"/>
                  </a:cubicBezTo>
                  <a:cubicBezTo>
                    <a:pt x="109606" y="1447332"/>
                    <a:pt x="95582" y="1455747"/>
                    <a:pt x="89972" y="1461357"/>
                  </a:cubicBezTo>
                  <a:cubicBezTo>
                    <a:pt x="72953" y="1512415"/>
                    <a:pt x="75479" y="1476784"/>
                    <a:pt x="70337" y="1486601"/>
                  </a:cubicBezTo>
                  <a:cubicBezTo>
                    <a:pt x="65195" y="1496418"/>
                    <a:pt x="65678" y="1510420"/>
                    <a:pt x="59118" y="1520260"/>
                  </a:cubicBezTo>
                  <a:cubicBezTo>
                    <a:pt x="55378" y="1525870"/>
                    <a:pt x="49301" y="1525869"/>
                    <a:pt x="47898" y="1537089"/>
                  </a:cubicBezTo>
                  <a:cubicBezTo>
                    <a:pt x="46495" y="1548309"/>
                    <a:pt x="54909" y="1574488"/>
                    <a:pt x="50702" y="1587578"/>
                  </a:cubicBezTo>
                  <a:cubicBezTo>
                    <a:pt x="46495" y="1600668"/>
                    <a:pt x="32763" y="1605518"/>
                    <a:pt x="22654" y="1615627"/>
                  </a:cubicBezTo>
                  <a:cubicBezTo>
                    <a:pt x="18914" y="1626847"/>
                    <a:pt x="12369" y="1641806"/>
                    <a:pt x="8629" y="1649286"/>
                  </a:cubicBezTo>
                  <a:cubicBezTo>
                    <a:pt x="4889" y="1656766"/>
                    <a:pt x="1150" y="1653025"/>
                    <a:pt x="215" y="1660505"/>
                  </a:cubicBezTo>
                  <a:cubicBezTo>
                    <a:pt x="-720" y="1667985"/>
                    <a:pt x="1617" y="1684814"/>
                    <a:pt x="3019" y="1694164"/>
                  </a:cubicBezTo>
                  <a:cubicBezTo>
                    <a:pt x="4421" y="1703514"/>
                    <a:pt x="6414" y="1709218"/>
                    <a:pt x="8629" y="1716603"/>
                  </a:cubicBezTo>
                  <a:cubicBezTo>
                    <a:pt x="12027" y="1727931"/>
                    <a:pt x="16109" y="1739042"/>
                    <a:pt x="19849" y="1750262"/>
                  </a:cubicBezTo>
                  <a:lnTo>
                    <a:pt x="25459" y="1767091"/>
                  </a:lnTo>
                  <a:cubicBezTo>
                    <a:pt x="30022" y="1780782"/>
                    <a:pt x="37613" y="1790465"/>
                    <a:pt x="42288" y="1800750"/>
                  </a:cubicBezTo>
                  <a:cubicBezTo>
                    <a:pt x="46963" y="1811035"/>
                    <a:pt x="47898" y="1825060"/>
                    <a:pt x="53508" y="1828800"/>
                  </a:cubicBezTo>
                  <a:cubicBezTo>
                    <a:pt x="60988" y="1840020"/>
                    <a:pt x="68467" y="1846564"/>
                    <a:pt x="75947" y="1854044"/>
                  </a:cubicBezTo>
                  <a:cubicBezTo>
                    <a:pt x="83427" y="1861524"/>
                    <a:pt x="82891" y="1850433"/>
                    <a:pt x="98386" y="1873678"/>
                  </a:cubicBezTo>
                  <a:cubicBezTo>
                    <a:pt x="96516" y="1879288"/>
                    <a:pt x="87166" y="1894247"/>
                    <a:pt x="78751" y="1901727"/>
                  </a:cubicBezTo>
                  <a:cubicBezTo>
                    <a:pt x="70336" y="1909207"/>
                    <a:pt x="60420" y="1915426"/>
                    <a:pt x="47898" y="1918557"/>
                  </a:cubicBezTo>
                  <a:cubicBezTo>
                    <a:pt x="46028" y="1924167"/>
                    <a:pt x="46028" y="1929776"/>
                    <a:pt x="50703" y="1938191"/>
                  </a:cubicBezTo>
                  <a:cubicBezTo>
                    <a:pt x="55378" y="1946606"/>
                    <a:pt x="68934" y="1957358"/>
                    <a:pt x="75946" y="1969045"/>
                  </a:cubicBezTo>
                  <a:cubicBezTo>
                    <a:pt x="82958" y="1980732"/>
                    <a:pt x="82903" y="1988566"/>
                    <a:pt x="92777" y="2008314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3" name="Forma livre 391"/>
            <p:cNvSpPr/>
            <p:nvPr/>
          </p:nvSpPr>
          <p:spPr bwMode="auto">
            <a:xfrm>
              <a:off x="3714751" y="5277976"/>
              <a:ext cx="420688" cy="1060450"/>
            </a:xfrm>
            <a:custGeom>
              <a:avLst/>
              <a:gdLst>
                <a:gd name="connsiteX0" fmla="*/ 420736 w 420736"/>
                <a:gd name="connsiteY0" fmla="*/ 0 h 1060457"/>
                <a:gd name="connsiteX1" fmla="*/ 415127 w 420736"/>
                <a:gd name="connsiteY1" fmla="*/ 28050 h 1060457"/>
                <a:gd name="connsiteX2" fmla="*/ 409517 w 420736"/>
                <a:gd name="connsiteY2" fmla="*/ 50489 h 1060457"/>
                <a:gd name="connsiteX3" fmla="*/ 392687 w 420736"/>
                <a:gd name="connsiteY3" fmla="*/ 117807 h 1060457"/>
                <a:gd name="connsiteX4" fmla="*/ 375858 w 420736"/>
                <a:gd name="connsiteY4" fmla="*/ 134636 h 1060457"/>
                <a:gd name="connsiteX5" fmla="*/ 330979 w 420736"/>
                <a:gd name="connsiteY5" fmla="*/ 145856 h 1060457"/>
                <a:gd name="connsiteX6" fmla="*/ 325369 w 420736"/>
                <a:gd name="connsiteY6" fmla="*/ 168295 h 1060457"/>
                <a:gd name="connsiteX7" fmla="*/ 308540 w 420736"/>
                <a:gd name="connsiteY7" fmla="*/ 185124 h 1060457"/>
                <a:gd name="connsiteX8" fmla="*/ 314150 w 420736"/>
                <a:gd name="connsiteY8" fmla="*/ 201954 h 1060457"/>
                <a:gd name="connsiteX9" fmla="*/ 330979 w 420736"/>
                <a:gd name="connsiteY9" fmla="*/ 235613 h 1060457"/>
                <a:gd name="connsiteX10" fmla="*/ 319760 w 420736"/>
                <a:gd name="connsiteY10" fmla="*/ 286101 h 1060457"/>
                <a:gd name="connsiteX11" fmla="*/ 319760 w 420736"/>
                <a:gd name="connsiteY11" fmla="*/ 364638 h 1060457"/>
                <a:gd name="connsiteX12" fmla="*/ 314150 w 420736"/>
                <a:gd name="connsiteY12" fmla="*/ 403907 h 1060457"/>
                <a:gd name="connsiteX13" fmla="*/ 297320 w 420736"/>
                <a:gd name="connsiteY13" fmla="*/ 420737 h 1060457"/>
                <a:gd name="connsiteX14" fmla="*/ 286101 w 420736"/>
                <a:gd name="connsiteY14" fmla="*/ 437566 h 1060457"/>
                <a:gd name="connsiteX15" fmla="*/ 252442 w 420736"/>
                <a:gd name="connsiteY15" fmla="*/ 448786 h 1060457"/>
                <a:gd name="connsiteX16" fmla="*/ 241222 w 420736"/>
                <a:gd name="connsiteY16" fmla="*/ 465615 h 1060457"/>
                <a:gd name="connsiteX17" fmla="*/ 224393 w 420736"/>
                <a:gd name="connsiteY17" fmla="*/ 471225 h 1060457"/>
                <a:gd name="connsiteX18" fmla="*/ 207563 w 420736"/>
                <a:gd name="connsiteY18" fmla="*/ 482445 h 1060457"/>
                <a:gd name="connsiteX19" fmla="*/ 151465 w 420736"/>
                <a:gd name="connsiteY19" fmla="*/ 499274 h 1060457"/>
                <a:gd name="connsiteX20" fmla="*/ 140246 w 420736"/>
                <a:gd name="connsiteY20" fmla="*/ 516104 h 1060457"/>
                <a:gd name="connsiteX21" fmla="*/ 129026 w 420736"/>
                <a:gd name="connsiteY21" fmla="*/ 560982 h 1060457"/>
                <a:gd name="connsiteX22" fmla="*/ 123416 w 420736"/>
                <a:gd name="connsiteY22" fmla="*/ 577811 h 1060457"/>
                <a:gd name="connsiteX23" fmla="*/ 134636 w 420736"/>
                <a:gd name="connsiteY23" fmla="*/ 645129 h 1060457"/>
                <a:gd name="connsiteX24" fmla="*/ 145855 w 420736"/>
                <a:gd name="connsiteY24" fmla="*/ 678788 h 1060457"/>
                <a:gd name="connsiteX25" fmla="*/ 151465 w 420736"/>
                <a:gd name="connsiteY25" fmla="*/ 695618 h 1060457"/>
                <a:gd name="connsiteX26" fmla="*/ 157075 w 420736"/>
                <a:gd name="connsiteY26" fmla="*/ 712447 h 1060457"/>
                <a:gd name="connsiteX27" fmla="*/ 151465 w 420736"/>
                <a:gd name="connsiteY27" fmla="*/ 729277 h 1060457"/>
                <a:gd name="connsiteX28" fmla="*/ 151465 w 420736"/>
                <a:gd name="connsiteY28" fmla="*/ 790984 h 1060457"/>
                <a:gd name="connsiteX29" fmla="*/ 129026 w 420736"/>
                <a:gd name="connsiteY29" fmla="*/ 824643 h 1060457"/>
                <a:gd name="connsiteX30" fmla="*/ 123416 w 420736"/>
                <a:gd name="connsiteY30" fmla="*/ 841473 h 1060457"/>
                <a:gd name="connsiteX31" fmla="*/ 89757 w 420736"/>
                <a:gd name="connsiteY31" fmla="*/ 863912 h 1060457"/>
                <a:gd name="connsiteX32" fmla="*/ 56098 w 420736"/>
                <a:gd name="connsiteY32" fmla="*/ 891961 h 1060457"/>
                <a:gd name="connsiteX33" fmla="*/ 50489 w 420736"/>
                <a:gd name="connsiteY33" fmla="*/ 908791 h 1060457"/>
                <a:gd name="connsiteX34" fmla="*/ 56098 w 420736"/>
                <a:gd name="connsiteY34" fmla="*/ 925620 h 1060457"/>
                <a:gd name="connsiteX35" fmla="*/ 39269 w 420736"/>
                <a:gd name="connsiteY35" fmla="*/ 936840 h 1060457"/>
                <a:gd name="connsiteX36" fmla="*/ 16830 w 420736"/>
                <a:gd name="connsiteY36" fmla="*/ 970499 h 1060457"/>
                <a:gd name="connsiteX37" fmla="*/ 0 w 420736"/>
                <a:gd name="connsiteY37" fmla="*/ 1004157 h 1060457"/>
                <a:gd name="connsiteX38" fmla="*/ 11220 w 420736"/>
                <a:gd name="connsiteY38" fmla="*/ 1037816 h 1060457"/>
                <a:gd name="connsiteX39" fmla="*/ 33659 w 420736"/>
                <a:gd name="connsiteY39" fmla="*/ 1060256 h 1060457"/>
                <a:gd name="connsiteX40" fmla="*/ 39269 w 420736"/>
                <a:gd name="connsiteY40" fmla="*/ 1060256 h 10604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20736" h="1060457">
                  <a:moveTo>
                    <a:pt x="420736" y="0"/>
                  </a:moveTo>
                  <a:cubicBezTo>
                    <a:pt x="418866" y="9350"/>
                    <a:pt x="417195" y="18742"/>
                    <a:pt x="415127" y="28050"/>
                  </a:cubicBezTo>
                  <a:cubicBezTo>
                    <a:pt x="413455" y="35576"/>
                    <a:pt x="411029" y="42929"/>
                    <a:pt x="409517" y="50489"/>
                  </a:cubicBezTo>
                  <a:cubicBezTo>
                    <a:pt x="407199" y="62077"/>
                    <a:pt x="402059" y="108435"/>
                    <a:pt x="392687" y="117807"/>
                  </a:cubicBezTo>
                  <a:cubicBezTo>
                    <a:pt x="387077" y="123417"/>
                    <a:pt x="382459" y="130235"/>
                    <a:pt x="375858" y="134636"/>
                  </a:cubicBezTo>
                  <a:cubicBezTo>
                    <a:pt x="368465" y="139565"/>
                    <a:pt x="335025" y="145047"/>
                    <a:pt x="330979" y="145856"/>
                  </a:cubicBezTo>
                  <a:cubicBezTo>
                    <a:pt x="329109" y="153336"/>
                    <a:pt x="329194" y="161601"/>
                    <a:pt x="325369" y="168295"/>
                  </a:cubicBezTo>
                  <a:cubicBezTo>
                    <a:pt x="321433" y="175183"/>
                    <a:pt x="311049" y="177598"/>
                    <a:pt x="308540" y="185124"/>
                  </a:cubicBezTo>
                  <a:cubicBezTo>
                    <a:pt x="306670" y="190734"/>
                    <a:pt x="311505" y="196665"/>
                    <a:pt x="314150" y="201954"/>
                  </a:cubicBezTo>
                  <a:cubicBezTo>
                    <a:pt x="335899" y="245454"/>
                    <a:pt x="316878" y="193309"/>
                    <a:pt x="330979" y="235613"/>
                  </a:cubicBezTo>
                  <a:cubicBezTo>
                    <a:pt x="304800" y="274882"/>
                    <a:pt x="301060" y="258053"/>
                    <a:pt x="319760" y="286101"/>
                  </a:cubicBezTo>
                  <a:cubicBezTo>
                    <a:pt x="331606" y="321645"/>
                    <a:pt x="326929" y="300116"/>
                    <a:pt x="319760" y="364638"/>
                  </a:cubicBezTo>
                  <a:cubicBezTo>
                    <a:pt x="318300" y="377780"/>
                    <a:pt x="319061" y="391630"/>
                    <a:pt x="314150" y="403907"/>
                  </a:cubicBezTo>
                  <a:cubicBezTo>
                    <a:pt x="311203" y="411273"/>
                    <a:pt x="302399" y="414642"/>
                    <a:pt x="297320" y="420737"/>
                  </a:cubicBezTo>
                  <a:cubicBezTo>
                    <a:pt x="293004" y="425916"/>
                    <a:pt x="291818" y="433993"/>
                    <a:pt x="286101" y="437566"/>
                  </a:cubicBezTo>
                  <a:cubicBezTo>
                    <a:pt x="276072" y="443834"/>
                    <a:pt x="252442" y="448786"/>
                    <a:pt x="252442" y="448786"/>
                  </a:cubicBezTo>
                  <a:cubicBezTo>
                    <a:pt x="248702" y="454396"/>
                    <a:pt x="246487" y="461403"/>
                    <a:pt x="241222" y="465615"/>
                  </a:cubicBezTo>
                  <a:cubicBezTo>
                    <a:pt x="236605" y="469309"/>
                    <a:pt x="229682" y="468580"/>
                    <a:pt x="224393" y="471225"/>
                  </a:cubicBezTo>
                  <a:cubicBezTo>
                    <a:pt x="218362" y="474240"/>
                    <a:pt x="213724" y="479707"/>
                    <a:pt x="207563" y="482445"/>
                  </a:cubicBezTo>
                  <a:cubicBezTo>
                    <a:pt x="190008" y="490247"/>
                    <a:pt x="170111" y="494612"/>
                    <a:pt x="151465" y="499274"/>
                  </a:cubicBezTo>
                  <a:cubicBezTo>
                    <a:pt x="147725" y="504884"/>
                    <a:pt x="143261" y="510074"/>
                    <a:pt x="140246" y="516104"/>
                  </a:cubicBezTo>
                  <a:cubicBezTo>
                    <a:pt x="133833" y="528930"/>
                    <a:pt x="132228" y="548176"/>
                    <a:pt x="129026" y="560982"/>
                  </a:cubicBezTo>
                  <a:cubicBezTo>
                    <a:pt x="127592" y="566719"/>
                    <a:pt x="125286" y="572201"/>
                    <a:pt x="123416" y="577811"/>
                  </a:cubicBezTo>
                  <a:cubicBezTo>
                    <a:pt x="138754" y="623826"/>
                    <a:pt x="115849" y="551192"/>
                    <a:pt x="134636" y="645129"/>
                  </a:cubicBezTo>
                  <a:cubicBezTo>
                    <a:pt x="136955" y="656726"/>
                    <a:pt x="142115" y="667568"/>
                    <a:pt x="145855" y="678788"/>
                  </a:cubicBezTo>
                  <a:lnTo>
                    <a:pt x="151465" y="695618"/>
                  </a:lnTo>
                  <a:lnTo>
                    <a:pt x="157075" y="712447"/>
                  </a:lnTo>
                  <a:cubicBezTo>
                    <a:pt x="155205" y="718057"/>
                    <a:pt x="151465" y="723364"/>
                    <a:pt x="151465" y="729277"/>
                  </a:cubicBezTo>
                  <a:cubicBezTo>
                    <a:pt x="151465" y="761944"/>
                    <a:pt x="165323" y="760497"/>
                    <a:pt x="151465" y="790984"/>
                  </a:cubicBezTo>
                  <a:cubicBezTo>
                    <a:pt x="145885" y="803260"/>
                    <a:pt x="129026" y="824643"/>
                    <a:pt x="129026" y="824643"/>
                  </a:cubicBezTo>
                  <a:cubicBezTo>
                    <a:pt x="127156" y="830253"/>
                    <a:pt x="127597" y="837292"/>
                    <a:pt x="123416" y="841473"/>
                  </a:cubicBezTo>
                  <a:cubicBezTo>
                    <a:pt x="113881" y="851008"/>
                    <a:pt x="99292" y="854377"/>
                    <a:pt x="89757" y="863912"/>
                  </a:cubicBezTo>
                  <a:cubicBezTo>
                    <a:pt x="68161" y="885510"/>
                    <a:pt x="79529" y="876342"/>
                    <a:pt x="56098" y="891961"/>
                  </a:cubicBezTo>
                  <a:cubicBezTo>
                    <a:pt x="54228" y="897571"/>
                    <a:pt x="50489" y="902878"/>
                    <a:pt x="50489" y="908791"/>
                  </a:cubicBezTo>
                  <a:cubicBezTo>
                    <a:pt x="50489" y="914704"/>
                    <a:pt x="58294" y="920130"/>
                    <a:pt x="56098" y="925620"/>
                  </a:cubicBezTo>
                  <a:cubicBezTo>
                    <a:pt x="53594" y="931880"/>
                    <a:pt x="44879" y="933100"/>
                    <a:pt x="39269" y="936840"/>
                  </a:cubicBezTo>
                  <a:cubicBezTo>
                    <a:pt x="31789" y="948060"/>
                    <a:pt x="21094" y="957707"/>
                    <a:pt x="16830" y="970499"/>
                  </a:cubicBezTo>
                  <a:cubicBezTo>
                    <a:pt x="9088" y="993724"/>
                    <a:pt x="14500" y="982408"/>
                    <a:pt x="0" y="1004157"/>
                  </a:cubicBezTo>
                  <a:lnTo>
                    <a:pt x="11220" y="1037816"/>
                  </a:lnTo>
                  <a:cubicBezTo>
                    <a:pt x="18020" y="1058216"/>
                    <a:pt x="11900" y="1054816"/>
                    <a:pt x="33659" y="1060256"/>
                  </a:cubicBezTo>
                  <a:cubicBezTo>
                    <a:pt x="35473" y="1060710"/>
                    <a:pt x="37399" y="1060256"/>
                    <a:pt x="39269" y="1060256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54" name="Forma livre 397"/>
            <p:cNvSpPr/>
            <p:nvPr/>
          </p:nvSpPr>
          <p:spPr bwMode="auto">
            <a:xfrm>
              <a:off x="3314701" y="4439776"/>
              <a:ext cx="709613" cy="847725"/>
            </a:xfrm>
            <a:custGeom>
              <a:avLst/>
              <a:gdLst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86537 w 715367"/>
                <a:gd name="connsiteY40" fmla="*/ 576909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801903 h 848078"/>
                <a:gd name="connsiteX66" fmla="*/ 429797 w 715367"/>
                <a:gd name="connsiteY66" fmla="*/ 804788 h 848078"/>
                <a:gd name="connsiteX67" fmla="*/ 432682 w 715367"/>
                <a:gd name="connsiteY67" fmla="*/ 793249 h 848078"/>
                <a:gd name="connsiteX68" fmla="*/ 441335 w 715367"/>
                <a:gd name="connsiteY68" fmla="*/ 790365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86537 w 715367"/>
                <a:gd name="connsiteY40" fmla="*/ 576909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29797 w 715367"/>
                <a:gd name="connsiteY66" fmla="*/ 804788 h 848078"/>
                <a:gd name="connsiteX67" fmla="*/ 432682 w 715367"/>
                <a:gd name="connsiteY67" fmla="*/ 793249 h 848078"/>
                <a:gd name="connsiteX68" fmla="*/ 441335 w 715367"/>
                <a:gd name="connsiteY68" fmla="*/ 790365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86537 w 715367"/>
                <a:gd name="connsiteY40" fmla="*/ 576909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06720 w 715367"/>
                <a:gd name="connsiteY66" fmla="*/ 796134 h 848078"/>
                <a:gd name="connsiteX67" fmla="*/ 432682 w 715367"/>
                <a:gd name="connsiteY67" fmla="*/ 793249 h 848078"/>
                <a:gd name="connsiteX68" fmla="*/ 441335 w 715367"/>
                <a:gd name="connsiteY68" fmla="*/ 790365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86537 w 715367"/>
                <a:gd name="connsiteY40" fmla="*/ 576909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06720 w 715367"/>
                <a:gd name="connsiteY66" fmla="*/ 796134 h 848078"/>
                <a:gd name="connsiteX67" fmla="*/ 432682 w 715367"/>
                <a:gd name="connsiteY67" fmla="*/ 793249 h 848078"/>
                <a:gd name="connsiteX68" fmla="*/ 447105 w 715367"/>
                <a:gd name="connsiteY68" fmla="*/ 778827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95191 w 715367"/>
                <a:gd name="connsiteY40" fmla="*/ 550948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06720 w 715367"/>
                <a:gd name="connsiteY66" fmla="*/ 796134 h 848078"/>
                <a:gd name="connsiteX67" fmla="*/ 432682 w 715367"/>
                <a:gd name="connsiteY67" fmla="*/ 793249 h 848078"/>
                <a:gd name="connsiteX68" fmla="*/ 447105 w 715367"/>
                <a:gd name="connsiteY68" fmla="*/ 778827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95191 w 715367"/>
                <a:gd name="connsiteY40" fmla="*/ 550948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06720 w 715367"/>
                <a:gd name="connsiteY66" fmla="*/ 796134 h 848078"/>
                <a:gd name="connsiteX67" fmla="*/ 432682 w 715367"/>
                <a:gd name="connsiteY67" fmla="*/ 793249 h 848078"/>
                <a:gd name="connsiteX68" fmla="*/ 447105 w 715367"/>
                <a:gd name="connsiteY68" fmla="*/ 778827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5367 w 715367"/>
                <a:gd name="connsiteY0" fmla="*/ 0 h 848078"/>
                <a:gd name="connsiteX1" fmla="*/ 706713 w 715367"/>
                <a:gd name="connsiteY1" fmla="*/ 14423 h 848078"/>
                <a:gd name="connsiteX2" fmla="*/ 689406 w 715367"/>
                <a:gd name="connsiteY2" fmla="*/ 20192 h 848078"/>
                <a:gd name="connsiteX3" fmla="*/ 686521 w 715367"/>
                <a:gd name="connsiteY3" fmla="*/ 46153 h 848078"/>
                <a:gd name="connsiteX4" fmla="*/ 677868 w 715367"/>
                <a:gd name="connsiteY4" fmla="*/ 49037 h 848078"/>
                <a:gd name="connsiteX5" fmla="*/ 660561 w 715367"/>
                <a:gd name="connsiteY5" fmla="*/ 46153 h 848078"/>
                <a:gd name="connsiteX6" fmla="*/ 599985 w 715367"/>
                <a:gd name="connsiteY6" fmla="*/ 49037 h 848078"/>
                <a:gd name="connsiteX7" fmla="*/ 594216 w 715367"/>
                <a:gd name="connsiteY7" fmla="*/ 66345 h 848078"/>
                <a:gd name="connsiteX8" fmla="*/ 588447 w 715367"/>
                <a:gd name="connsiteY8" fmla="*/ 74998 h 848078"/>
                <a:gd name="connsiteX9" fmla="*/ 579793 w 715367"/>
                <a:gd name="connsiteY9" fmla="*/ 77883 h 848078"/>
                <a:gd name="connsiteX10" fmla="*/ 562486 w 715367"/>
                <a:gd name="connsiteY10" fmla="*/ 89421 h 848078"/>
                <a:gd name="connsiteX11" fmla="*/ 559602 w 715367"/>
                <a:gd name="connsiteY11" fmla="*/ 112497 h 848078"/>
                <a:gd name="connsiteX12" fmla="*/ 548063 w 715367"/>
                <a:gd name="connsiteY12" fmla="*/ 126920 h 848078"/>
                <a:gd name="connsiteX13" fmla="*/ 536525 w 715367"/>
                <a:gd name="connsiteY13" fmla="*/ 144227 h 848078"/>
                <a:gd name="connsiteX14" fmla="*/ 527872 w 715367"/>
                <a:gd name="connsiteY14" fmla="*/ 152881 h 848078"/>
                <a:gd name="connsiteX15" fmla="*/ 510564 w 715367"/>
                <a:gd name="connsiteY15" fmla="*/ 161535 h 848078"/>
                <a:gd name="connsiteX16" fmla="*/ 311531 w 715367"/>
                <a:gd name="connsiteY16" fmla="*/ 164419 h 848078"/>
                <a:gd name="connsiteX17" fmla="*/ 302877 w 715367"/>
                <a:gd name="connsiteY17" fmla="*/ 170188 h 848078"/>
                <a:gd name="connsiteX18" fmla="*/ 274032 w 715367"/>
                <a:gd name="connsiteY18" fmla="*/ 178842 h 848078"/>
                <a:gd name="connsiteX19" fmla="*/ 219226 w 715367"/>
                <a:gd name="connsiteY19" fmla="*/ 181726 h 848078"/>
                <a:gd name="connsiteX20" fmla="*/ 175957 w 715367"/>
                <a:gd name="connsiteY20" fmla="*/ 187495 h 848078"/>
                <a:gd name="connsiteX21" fmla="*/ 147112 w 715367"/>
                <a:gd name="connsiteY21" fmla="*/ 196149 h 848078"/>
                <a:gd name="connsiteX22" fmla="*/ 106728 w 715367"/>
                <a:gd name="connsiteY22" fmla="*/ 207687 h 848078"/>
                <a:gd name="connsiteX23" fmla="*/ 98075 w 715367"/>
                <a:gd name="connsiteY23" fmla="*/ 210572 h 848078"/>
                <a:gd name="connsiteX24" fmla="*/ 77883 w 715367"/>
                <a:gd name="connsiteY24" fmla="*/ 222110 h 848078"/>
                <a:gd name="connsiteX25" fmla="*/ 60576 w 715367"/>
                <a:gd name="connsiteY25" fmla="*/ 227879 h 848078"/>
                <a:gd name="connsiteX26" fmla="*/ 46153 w 715367"/>
                <a:gd name="connsiteY26" fmla="*/ 242302 h 848078"/>
                <a:gd name="connsiteX27" fmla="*/ 43268 w 715367"/>
                <a:gd name="connsiteY27" fmla="*/ 259609 h 848078"/>
                <a:gd name="connsiteX28" fmla="*/ 25961 w 715367"/>
                <a:gd name="connsiteY28" fmla="*/ 271147 h 848078"/>
                <a:gd name="connsiteX29" fmla="*/ 17308 w 715367"/>
                <a:gd name="connsiteY29" fmla="*/ 279801 h 848078"/>
                <a:gd name="connsiteX30" fmla="*/ 0 w 715367"/>
                <a:gd name="connsiteY30" fmla="*/ 291339 h 848078"/>
                <a:gd name="connsiteX31" fmla="*/ 2885 w 715367"/>
                <a:gd name="connsiteY31" fmla="*/ 308646 h 848078"/>
                <a:gd name="connsiteX32" fmla="*/ 5769 w 715367"/>
                <a:gd name="connsiteY32" fmla="*/ 317300 h 848078"/>
                <a:gd name="connsiteX33" fmla="*/ 8654 w 715367"/>
                <a:gd name="connsiteY33" fmla="*/ 374991 h 848078"/>
                <a:gd name="connsiteX34" fmla="*/ 17308 w 715367"/>
                <a:gd name="connsiteY34" fmla="*/ 380760 h 848078"/>
                <a:gd name="connsiteX35" fmla="*/ 31730 w 715367"/>
                <a:gd name="connsiteY35" fmla="*/ 395183 h 848078"/>
                <a:gd name="connsiteX36" fmla="*/ 40384 w 715367"/>
                <a:gd name="connsiteY36" fmla="*/ 412490 h 848078"/>
                <a:gd name="connsiteX37" fmla="*/ 46153 w 715367"/>
                <a:gd name="connsiteY37" fmla="*/ 421143 h 848078"/>
                <a:gd name="connsiteX38" fmla="*/ 72114 w 715367"/>
                <a:gd name="connsiteY38" fmla="*/ 441335 h 848078"/>
                <a:gd name="connsiteX39" fmla="*/ 80768 w 715367"/>
                <a:gd name="connsiteY39" fmla="*/ 444220 h 848078"/>
                <a:gd name="connsiteX40" fmla="*/ 89422 w 715367"/>
                <a:gd name="connsiteY40" fmla="*/ 536526 h 848078"/>
                <a:gd name="connsiteX41" fmla="*/ 92306 w 715367"/>
                <a:gd name="connsiteY41" fmla="*/ 585562 h 848078"/>
                <a:gd name="connsiteX42" fmla="*/ 98075 w 715367"/>
                <a:gd name="connsiteY42" fmla="*/ 597101 h 848078"/>
                <a:gd name="connsiteX43" fmla="*/ 106728 w 715367"/>
                <a:gd name="connsiteY43" fmla="*/ 614408 h 848078"/>
                <a:gd name="connsiteX44" fmla="*/ 109613 w 715367"/>
                <a:gd name="connsiteY44" fmla="*/ 623061 h 848078"/>
                <a:gd name="connsiteX45" fmla="*/ 124036 w 715367"/>
                <a:gd name="connsiteY45" fmla="*/ 640369 h 848078"/>
                <a:gd name="connsiteX46" fmla="*/ 135574 w 715367"/>
                <a:gd name="connsiteY46" fmla="*/ 646138 h 848078"/>
                <a:gd name="connsiteX47" fmla="*/ 144227 w 715367"/>
                <a:gd name="connsiteY47" fmla="*/ 649022 h 848078"/>
                <a:gd name="connsiteX48" fmla="*/ 170188 w 715367"/>
                <a:gd name="connsiteY48" fmla="*/ 651907 h 848078"/>
                <a:gd name="connsiteX49" fmla="*/ 178842 w 715367"/>
                <a:gd name="connsiteY49" fmla="*/ 657676 h 848078"/>
                <a:gd name="connsiteX50" fmla="*/ 184611 w 715367"/>
                <a:gd name="connsiteY50" fmla="*/ 674983 h 848078"/>
                <a:gd name="connsiteX51" fmla="*/ 187496 w 715367"/>
                <a:gd name="connsiteY51" fmla="*/ 683637 h 848078"/>
                <a:gd name="connsiteX52" fmla="*/ 193265 w 715367"/>
                <a:gd name="connsiteY52" fmla="*/ 692290 h 848078"/>
                <a:gd name="connsiteX53" fmla="*/ 204803 w 715367"/>
                <a:gd name="connsiteY53" fmla="*/ 709598 h 848078"/>
                <a:gd name="connsiteX54" fmla="*/ 219226 w 715367"/>
                <a:gd name="connsiteY54" fmla="*/ 724020 h 848078"/>
                <a:gd name="connsiteX55" fmla="*/ 227879 w 715367"/>
                <a:gd name="connsiteY55" fmla="*/ 729789 h 848078"/>
                <a:gd name="connsiteX56" fmla="*/ 233648 w 715367"/>
                <a:gd name="connsiteY56" fmla="*/ 738443 h 848078"/>
                <a:gd name="connsiteX57" fmla="*/ 242302 w 715367"/>
                <a:gd name="connsiteY57" fmla="*/ 741328 h 848078"/>
                <a:gd name="connsiteX58" fmla="*/ 250956 w 715367"/>
                <a:gd name="connsiteY58" fmla="*/ 749981 h 848078"/>
                <a:gd name="connsiteX59" fmla="*/ 268263 w 715367"/>
                <a:gd name="connsiteY59" fmla="*/ 755750 h 848078"/>
                <a:gd name="connsiteX60" fmla="*/ 276916 w 715367"/>
                <a:gd name="connsiteY60" fmla="*/ 758635 h 848078"/>
                <a:gd name="connsiteX61" fmla="*/ 314415 w 715367"/>
                <a:gd name="connsiteY61" fmla="*/ 764404 h 848078"/>
                <a:gd name="connsiteX62" fmla="*/ 334607 w 715367"/>
                <a:gd name="connsiteY62" fmla="*/ 770173 h 848078"/>
                <a:gd name="connsiteX63" fmla="*/ 337492 w 715367"/>
                <a:gd name="connsiteY63" fmla="*/ 778827 h 848078"/>
                <a:gd name="connsiteX64" fmla="*/ 354799 w 715367"/>
                <a:gd name="connsiteY64" fmla="*/ 787480 h 848078"/>
                <a:gd name="connsiteX65" fmla="*/ 380760 w 715367"/>
                <a:gd name="connsiteY65" fmla="*/ 793249 h 848078"/>
                <a:gd name="connsiteX66" fmla="*/ 406720 w 715367"/>
                <a:gd name="connsiteY66" fmla="*/ 796134 h 848078"/>
                <a:gd name="connsiteX67" fmla="*/ 432682 w 715367"/>
                <a:gd name="connsiteY67" fmla="*/ 793249 h 848078"/>
                <a:gd name="connsiteX68" fmla="*/ 447105 w 715367"/>
                <a:gd name="connsiteY68" fmla="*/ 778827 h 848078"/>
                <a:gd name="connsiteX69" fmla="*/ 475950 w 715367"/>
                <a:gd name="connsiteY69" fmla="*/ 793249 h 848078"/>
                <a:gd name="connsiteX70" fmla="*/ 481719 w 715367"/>
                <a:gd name="connsiteY70" fmla="*/ 799019 h 848078"/>
                <a:gd name="connsiteX71" fmla="*/ 490373 w 715367"/>
                <a:gd name="connsiteY71" fmla="*/ 804788 h 848078"/>
                <a:gd name="connsiteX72" fmla="*/ 507680 w 715367"/>
                <a:gd name="connsiteY72" fmla="*/ 810557 h 848078"/>
                <a:gd name="connsiteX73" fmla="*/ 516333 w 715367"/>
                <a:gd name="connsiteY73" fmla="*/ 813441 h 848078"/>
                <a:gd name="connsiteX74" fmla="*/ 524987 w 715367"/>
                <a:gd name="connsiteY74" fmla="*/ 816326 h 848078"/>
                <a:gd name="connsiteX75" fmla="*/ 556717 w 715367"/>
                <a:gd name="connsiteY75" fmla="*/ 822095 h 848078"/>
                <a:gd name="connsiteX76" fmla="*/ 574024 w 715367"/>
                <a:gd name="connsiteY76" fmla="*/ 827864 h 848078"/>
                <a:gd name="connsiteX77" fmla="*/ 597101 w 715367"/>
                <a:gd name="connsiteY77" fmla="*/ 833633 h 848078"/>
                <a:gd name="connsiteX78" fmla="*/ 605754 w 715367"/>
                <a:gd name="connsiteY78" fmla="*/ 836518 h 848078"/>
                <a:gd name="connsiteX79" fmla="*/ 628831 w 715367"/>
                <a:gd name="connsiteY79" fmla="*/ 848056 h 848078"/>
                <a:gd name="connsiteX0" fmla="*/ 712791 w 712791"/>
                <a:gd name="connsiteY0" fmla="*/ 0 h 848078"/>
                <a:gd name="connsiteX1" fmla="*/ 704137 w 712791"/>
                <a:gd name="connsiteY1" fmla="*/ 14423 h 848078"/>
                <a:gd name="connsiteX2" fmla="*/ 686830 w 712791"/>
                <a:gd name="connsiteY2" fmla="*/ 20192 h 848078"/>
                <a:gd name="connsiteX3" fmla="*/ 683945 w 712791"/>
                <a:gd name="connsiteY3" fmla="*/ 46153 h 848078"/>
                <a:gd name="connsiteX4" fmla="*/ 675292 w 712791"/>
                <a:gd name="connsiteY4" fmla="*/ 49037 h 848078"/>
                <a:gd name="connsiteX5" fmla="*/ 657985 w 712791"/>
                <a:gd name="connsiteY5" fmla="*/ 46153 h 848078"/>
                <a:gd name="connsiteX6" fmla="*/ 597409 w 712791"/>
                <a:gd name="connsiteY6" fmla="*/ 49037 h 848078"/>
                <a:gd name="connsiteX7" fmla="*/ 591640 w 712791"/>
                <a:gd name="connsiteY7" fmla="*/ 66345 h 848078"/>
                <a:gd name="connsiteX8" fmla="*/ 585871 w 712791"/>
                <a:gd name="connsiteY8" fmla="*/ 74998 h 848078"/>
                <a:gd name="connsiteX9" fmla="*/ 577217 w 712791"/>
                <a:gd name="connsiteY9" fmla="*/ 77883 h 848078"/>
                <a:gd name="connsiteX10" fmla="*/ 559910 w 712791"/>
                <a:gd name="connsiteY10" fmla="*/ 89421 h 848078"/>
                <a:gd name="connsiteX11" fmla="*/ 557026 w 712791"/>
                <a:gd name="connsiteY11" fmla="*/ 112497 h 848078"/>
                <a:gd name="connsiteX12" fmla="*/ 545487 w 712791"/>
                <a:gd name="connsiteY12" fmla="*/ 126920 h 848078"/>
                <a:gd name="connsiteX13" fmla="*/ 533949 w 712791"/>
                <a:gd name="connsiteY13" fmla="*/ 144227 h 848078"/>
                <a:gd name="connsiteX14" fmla="*/ 525296 w 712791"/>
                <a:gd name="connsiteY14" fmla="*/ 152881 h 848078"/>
                <a:gd name="connsiteX15" fmla="*/ 507988 w 712791"/>
                <a:gd name="connsiteY15" fmla="*/ 161535 h 848078"/>
                <a:gd name="connsiteX16" fmla="*/ 308955 w 712791"/>
                <a:gd name="connsiteY16" fmla="*/ 164419 h 848078"/>
                <a:gd name="connsiteX17" fmla="*/ 300301 w 712791"/>
                <a:gd name="connsiteY17" fmla="*/ 170188 h 848078"/>
                <a:gd name="connsiteX18" fmla="*/ 271456 w 712791"/>
                <a:gd name="connsiteY18" fmla="*/ 178842 h 848078"/>
                <a:gd name="connsiteX19" fmla="*/ 216650 w 712791"/>
                <a:gd name="connsiteY19" fmla="*/ 181726 h 848078"/>
                <a:gd name="connsiteX20" fmla="*/ 173381 w 712791"/>
                <a:gd name="connsiteY20" fmla="*/ 187495 h 848078"/>
                <a:gd name="connsiteX21" fmla="*/ 144536 w 712791"/>
                <a:gd name="connsiteY21" fmla="*/ 196149 h 848078"/>
                <a:gd name="connsiteX22" fmla="*/ 104152 w 712791"/>
                <a:gd name="connsiteY22" fmla="*/ 207687 h 848078"/>
                <a:gd name="connsiteX23" fmla="*/ 95499 w 712791"/>
                <a:gd name="connsiteY23" fmla="*/ 210572 h 848078"/>
                <a:gd name="connsiteX24" fmla="*/ 75307 w 712791"/>
                <a:gd name="connsiteY24" fmla="*/ 222110 h 848078"/>
                <a:gd name="connsiteX25" fmla="*/ 58000 w 712791"/>
                <a:gd name="connsiteY25" fmla="*/ 227879 h 848078"/>
                <a:gd name="connsiteX26" fmla="*/ 43577 w 712791"/>
                <a:gd name="connsiteY26" fmla="*/ 242302 h 848078"/>
                <a:gd name="connsiteX27" fmla="*/ 40692 w 712791"/>
                <a:gd name="connsiteY27" fmla="*/ 259609 h 848078"/>
                <a:gd name="connsiteX28" fmla="*/ 23385 w 712791"/>
                <a:gd name="connsiteY28" fmla="*/ 271147 h 848078"/>
                <a:gd name="connsiteX29" fmla="*/ 14732 w 712791"/>
                <a:gd name="connsiteY29" fmla="*/ 279801 h 848078"/>
                <a:gd name="connsiteX30" fmla="*/ 11847 w 712791"/>
                <a:gd name="connsiteY30" fmla="*/ 291339 h 848078"/>
                <a:gd name="connsiteX31" fmla="*/ 309 w 712791"/>
                <a:gd name="connsiteY31" fmla="*/ 308646 h 848078"/>
                <a:gd name="connsiteX32" fmla="*/ 3193 w 712791"/>
                <a:gd name="connsiteY32" fmla="*/ 317300 h 848078"/>
                <a:gd name="connsiteX33" fmla="*/ 6078 w 712791"/>
                <a:gd name="connsiteY33" fmla="*/ 374991 h 848078"/>
                <a:gd name="connsiteX34" fmla="*/ 14732 w 712791"/>
                <a:gd name="connsiteY34" fmla="*/ 380760 h 848078"/>
                <a:gd name="connsiteX35" fmla="*/ 29154 w 712791"/>
                <a:gd name="connsiteY35" fmla="*/ 395183 h 848078"/>
                <a:gd name="connsiteX36" fmla="*/ 37808 w 712791"/>
                <a:gd name="connsiteY36" fmla="*/ 412490 h 848078"/>
                <a:gd name="connsiteX37" fmla="*/ 43577 w 712791"/>
                <a:gd name="connsiteY37" fmla="*/ 421143 h 848078"/>
                <a:gd name="connsiteX38" fmla="*/ 69538 w 712791"/>
                <a:gd name="connsiteY38" fmla="*/ 441335 h 848078"/>
                <a:gd name="connsiteX39" fmla="*/ 78192 w 712791"/>
                <a:gd name="connsiteY39" fmla="*/ 444220 h 848078"/>
                <a:gd name="connsiteX40" fmla="*/ 86846 w 712791"/>
                <a:gd name="connsiteY40" fmla="*/ 536526 h 848078"/>
                <a:gd name="connsiteX41" fmla="*/ 89730 w 712791"/>
                <a:gd name="connsiteY41" fmla="*/ 585562 h 848078"/>
                <a:gd name="connsiteX42" fmla="*/ 95499 w 712791"/>
                <a:gd name="connsiteY42" fmla="*/ 597101 h 848078"/>
                <a:gd name="connsiteX43" fmla="*/ 104152 w 712791"/>
                <a:gd name="connsiteY43" fmla="*/ 614408 h 848078"/>
                <a:gd name="connsiteX44" fmla="*/ 107037 w 712791"/>
                <a:gd name="connsiteY44" fmla="*/ 623061 h 848078"/>
                <a:gd name="connsiteX45" fmla="*/ 121460 w 712791"/>
                <a:gd name="connsiteY45" fmla="*/ 640369 h 848078"/>
                <a:gd name="connsiteX46" fmla="*/ 132998 w 712791"/>
                <a:gd name="connsiteY46" fmla="*/ 646138 h 848078"/>
                <a:gd name="connsiteX47" fmla="*/ 141651 w 712791"/>
                <a:gd name="connsiteY47" fmla="*/ 649022 h 848078"/>
                <a:gd name="connsiteX48" fmla="*/ 167612 w 712791"/>
                <a:gd name="connsiteY48" fmla="*/ 651907 h 848078"/>
                <a:gd name="connsiteX49" fmla="*/ 176266 w 712791"/>
                <a:gd name="connsiteY49" fmla="*/ 657676 h 848078"/>
                <a:gd name="connsiteX50" fmla="*/ 182035 w 712791"/>
                <a:gd name="connsiteY50" fmla="*/ 674983 h 848078"/>
                <a:gd name="connsiteX51" fmla="*/ 184920 w 712791"/>
                <a:gd name="connsiteY51" fmla="*/ 683637 h 848078"/>
                <a:gd name="connsiteX52" fmla="*/ 190689 w 712791"/>
                <a:gd name="connsiteY52" fmla="*/ 692290 h 848078"/>
                <a:gd name="connsiteX53" fmla="*/ 202227 w 712791"/>
                <a:gd name="connsiteY53" fmla="*/ 709598 h 848078"/>
                <a:gd name="connsiteX54" fmla="*/ 216650 w 712791"/>
                <a:gd name="connsiteY54" fmla="*/ 724020 h 848078"/>
                <a:gd name="connsiteX55" fmla="*/ 225303 w 712791"/>
                <a:gd name="connsiteY55" fmla="*/ 729789 h 848078"/>
                <a:gd name="connsiteX56" fmla="*/ 231072 w 712791"/>
                <a:gd name="connsiteY56" fmla="*/ 738443 h 848078"/>
                <a:gd name="connsiteX57" fmla="*/ 239726 w 712791"/>
                <a:gd name="connsiteY57" fmla="*/ 741328 h 848078"/>
                <a:gd name="connsiteX58" fmla="*/ 248380 w 712791"/>
                <a:gd name="connsiteY58" fmla="*/ 749981 h 848078"/>
                <a:gd name="connsiteX59" fmla="*/ 265687 w 712791"/>
                <a:gd name="connsiteY59" fmla="*/ 755750 h 848078"/>
                <a:gd name="connsiteX60" fmla="*/ 274340 w 712791"/>
                <a:gd name="connsiteY60" fmla="*/ 758635 h 848078"/>
                <a:gd name="connsiteX61" fmla="*/ 311839 w 712791"/>
                <a:gd name="connsiteY61" fmla="*/ 764404 h 848078"/>
                <a:gd name="connsiteX62" fmla="*/ 332031 w 712791"/>
                <a:gd name="connsiteY62" fmla="*/ 770173 h 848078"/>
                <a:gd name="connsiteX63" fmla="*/ 334916 w 712791"/>
                <a:gd name="connsiteY63" fmla="*/ 778827 h 848078"/>
                <a:gd name="connsiteX64" fmla="*/ 352223 w 712791"/>
                <a:gd name="connsiteY64" fmla="*/ 787480 h 848078"/>
                <a:gd name="connsiteX65" fmla="*/ 378184 w 712791"/>
                <a:gd name="connsiteY65" fmla="*/ 793249 h 848078"/>
                <a:gd name="connsiteX66" fmla="*/ 404144 w 712791"/>
                <a:gd name="connsiteY66" fmla="*/ 796134 h 848078"/>
                <a:gd name="connsiteX67" fmla="*/ 430106 w 712791"/>
                <a:gd name="connsiteY67" fmla="*/ 793249 h 848078"/>
                <a:gd name="connsiteX68" fmla="*/ 444529 w 712791"/>
                <a:gd name="connsiteY68" fmla="*/ 778827 h 848078"/>
                <a:gd name="connsiteX69" fmla="*/ 473374 w 712791"/>
                <a:gd name="connsiteY69" fmla="*/ 793249 h 848078"/>
                <a:gd name="connsiteX70" fmla="*/ 479143 w 712791"/>
                <a:gd name="connsiteY70" fmla="*/ 799019 h 848078"/>
                <a:gd name="connsiteX71" fmla="*/ 487797 w 712791"/>
                <a:gd name="connsiteY71" fmla="*/ 804788 h 848078"/>
                <a:gd name="connsiteX72" fmla="*/ 505104 w 712791"/>
                <a:gd name="connsiteY72" fmla="*/ 810557 h 848078"/>
                <a:gd name="connsiteX73" fmla="*/ 513757 w 712791"/>
                <a:gd name="connsiteY73" fmla="*/ 813441 h 848078"/>
                <a:gd name="connsiteX74" fmla="*/ 522411 w 712791"/>
                <a:gd name="connsiteY74" fmla="*/ 816326 h 848078"/>
                <a:gd name="connsiteX75" fmla="*/ 554141 w 712791"/>
                <a:gd name="connsiteY75" fmla="*/ 822095 h 848078"/>
                <a:gd name="connsiteX76" fmla="*/ 571448 w 712791"/>
                <a:gd name="connsiteY76" fmla="*/ 827864 h 848078"/>
                <a:gd name="connsiteX77" fmla="*/ 594525 w 712791"/>
                <a:gd name="connsiteY77" fmla="*/ 833633 h 848078"/>
                <a:gd name="connsiteX78" fmla="*/ 603178 w 712791"/>
                <a:gd name="connsiteY78" fmla="*/ 836518 h 848078"/>
                <a:gd name="connsiteX79" fmla="*/ 626255 w 712791"/>
                <a:gd name="connsiteY79" fmla="*/ 848056 h 848078"/>
                <a:gd name="connsiteX0" fmla="*/ 712791 w 712791"/>
                <a:gd name="connsiteY0" fmla="*/ 0 h 848078"/>
                <a:gd name="connsiteX1" fmla="*/ 704137 w 712791"/>
                <a:gd name="connsiteY1" fmla="*/ 14423 h 848078"/>
                <a:gd name="connsiteX2" fmla="*/ 686830 w 712791"/>
                <a:gd name="connsiteY2" fmla="*/ 20192 h 848078"/>
                <a:gd name="connsiteX3" fmla="*/ 683945 w 712791"/>
                <a:gd name="connsiteY3" fmla="*/ 46153 h 848078"/>
                <a:gd name="connsiteX4" fmla="*/ 675292 w 712791"/>
                <a:gd name="connsiteY4" fmla="*/ 49037 h 848078"/>
                <a:gd name="connsiteX5" fmla="*/ 657985 w 712791"/>
                <a:gd name="connsiteY5" fmla="*/ 46153 h 848078"/>
                <a:gd name="connsiteX6" fmla="*/ 597409 w 712791"/>
                <a:gd name="connsiteY6" fmla="*/ 49037 h 848078"/>
                <a:gd name="connsiteX7" fmla="*/ 591640 w 712791"/>
                <a:gd name="connsiteY7" fmla="*/ 66345 h 848078"/>
                <a:gd name="connsiteX8" fmla="*/ 585871 w 712791"/>
                <a:gd name="connsiteY8" fmla="*/ 74998 h 848078"/>
                <a:gd name="connsiteX9" fmla="*/ 577217 w 712791"/>
                <a:gd name="connsiteY9" fmla="*/ 77883 h 848078"/>
                <a:gd name="connsiteX10" fmla="*/ 559910 w 712791"/>
                <a:gd name="connsiteY10" fmla="*/ 89421 h 848078"/>
                <a:gd name="connsiteX11" fmla="*/ 557026 w 712791"/>
                <a:gd name="connsiteY11" fmla="*/ 112497 h 848078"/>
                <a:gd name="connsiteX12" fmla="*/ 545487 w 712791"/>
                <a:gd name="connsiteY12" fmla="*/ 126920 h 848078"/>
                <a:gd name="connsiteX13" fmla="*/ 533949 w 712791"/>
                <a:gd name="connsiteY13" fmla="*/ 144227 h 848078"/>
                <a:gd name="connsiteX14" fmla="*/ 525296 w 712791"/>
                <a:gd name="connsiteY14" fmla="*/ 152881 h 848078"/>
                <a:gd name="connsiteX15" fmla="*/ 507988 w 712791"/>
                <a:gd name="connsiteY15" fmla="*/ 161535 h 848078"/>
                <a:gd name="connsiteX16" fmla="*/ 308955 w 712791"/>
                <a:gd name="connsiteY16" fmla="*/ 164419 h 848078"/>
                <a:gd name="connsiteX17" fmla="*/ 300301 w 712791"/>
                <a:gd name="connsiteY17" fmla="*/ 170188 h 848078"/>
                <a:gd name="connsiteX18" fmla="*/ 271456 w 712791"/>
                <a:gd name="connsiteY18" fmla="*/ 178842 h 848078"/>
                <a:gd name="connsiteX19" fmla="*/ 216650 w 712791"/>
                <a:gd name="connsiteY19" fmla="*/ 181726 h 848078"/>
                <a:gd name="connsiteX20" fmla="*/ 173381 w 712791"/>
                <a:gd name="connsiteY20" fmla="*/ 187495 h 848078"/>
                <a:gd name="connsiteX21" fmla="*/ 144536 w 712791"/>
                <a:gd name="connsiteY21" fmla="*/ 196149 h 848078"/>
                <a:gd name="connsiteX22" fmla="*/ 104152 w 712791"/>
                <a:gd name="connsiteY22" fmla="*/ 207687 h 848078"/>
                <a:gd name="connsiteX23" fmla="*/ 95499 w 712791"/>
                <a:gd name="connsiteY23" fmla="*/ 210572 h 848078"/>
                <a:gd name="connsiteX24" fmla="*/ 75307 w 712791"/>
                <a:gd name="connsiteY24" fmla="*/ 222110 h 848078"/>
                <a:gd name="connsiteX25" fmla="*/ 58000 w 712791"/>
                <a:gd name="connsiteY25" fmla="*/ 227879 h 848078"/>
                <a:gd name="connsiteX26" fmla="*/ 43577 w 712791"/>
                <a:gd name="connsiteY26" fmla="*/ 242302 h 848078"/>
                <a:gd name="connsiteX27" fmla="*/ 40692 w 712791"/>
                <a:gd name="connsiteY27" fmla="*/ 259609 h 848078"/>
                <a:gd name="connsiteX28" fmla="*/ 23385 w 712791"/>
                <a:gd name="connsiteY28" fmla="*/ 271147 h 848078"/>
                <a:gd name="connsiteX29" fmla="*/ 14732 w 712791"/>
                <a:gd name="connsiteY29" fmla="*/ 279801 h 848078"/>
                <a:gd name="connsiteX30" fmla="*/ 11847 w 712791"/>
                <a:gd name="connsiteY30" fmla="*/ 291339 h 848078"/>
                <a:gd name="connsiteX31" fmla="*/ 309 w 712791"/>
                <a:gd name="connsiteY31" fmla="*/ 308646 h 848078"/>
                <a:gd name="connsiteX32" fmla="*/ 3193 w 712791"/>
                <a:gd name="connsiteY32" fmla="*/ 328838 h 848078"/>
                <a:gd name="connsiteX33" fmla="*/ 6078 w 712791"/>
                <a:gd name="connsiteY33" fmla="*/ 374991 h 848078"/>
                <a:gd name="connsiteX34" fmla="*/ 14732 w 712791"/>
                <a:gd name="connsiteY34" fmla="*/ 380760 h 848078"/>
                <a:gd name="connsiteX35" fmla="*/ 29154 w 712791"/>
                <a:gd name="connsiteY35" fmla="*/ 395183 h 848078"/>
                <a:gd name="connsiteX36" fmla="*/ 37808 w 712791"/>
                <a:gd name="connsiteY36" fmla="*/ 412490 h 848078"/>
                <a:gd name="connsiteX37" fmla="*/ 43577 w 712791"/>
                <a:gd name="connsiteY37" fmla="*/ 421143 h 848078"/>
                <a:gd name="connsiteX38" fmla="*/ 69538 w 712791"/>
                <a:gd name="connsiteY38" fmla="*/ 441335 h 848078"/>
                <a:gd name="connsiteX39" fmla="*/ 78192 w 712791"/>
                <a:gd name="connsiteY39" fmla="*/ 444220 h 848078"/>
                <a:gd name="connsiteX40" fmla="*/ 86846 w 712791"/>
                <a:gd name="connsiteY40" fmla="*/ 536526 h 848078"/>
                <a:gd name="connsiteX41" fmla="*/ 89730 w 712791"/>
                <a:gd name="connsiteY41" fmla="*/ 585562 h 848078"/>
                <a:gd name="connsiteX42" fmla="*/ 95499 w 712791"/>
                <a:gd name="connsiteY42" fmla="*/ 597101 h 848078"/>
                <a:gd name="connsiteX43" fmla="*/ 104152 w 712791"/>
                <a:gd name="connsiteY43" fmla="*/ 614408 h 848078"/>
                <a:gd name="connsiteX44" fmla="*/ 107037 w 712791"/>
                <a:gd name="connsiteY44" fmla="*/ 623061 h 848078"/>
                <a:gd name="connsiteX45" fmla="*/ 121460 w 712791"/>
                <a:gd name="connsiteY45" fmla="*/ 640369 h 848078"/>
                <a:gd name="connsiteX46" fmla="*/ 132998 w 712791"/>
                <a:gd name="connsiteY46" fmla="*/ 646138 h 848078"/>
                <a:gd name="connsiteX47" fmla="*/ 141651 w 712791"/>
                <a:gd name="connsiteY47" fmla="*/ 649022 h 848078"/>
                <a:gd name="connsiteX48" fmla="*/ 167612 w 712791"/>
                <a:gd name="connsiteY48" fmla="*/ 651907 h 848078"/>
                <a:gd name="connsiteX49" fmla="*/ 176266 w 712791"/>
                <a:gd name="connsiteY49" fmla="*/ 657676 h 848078"/>
                <a:gd name="connsiteX50" fmla="*/ 182035 w 712791"/>
                <a:gd name="connsiteY50" fmla="*/ 674983 h 848078"/>
                <a:gd name="connsiteX51" fmla="*/ 184920 w 712791"/>
                <a:gd name="connsiteY51" fmla="*/ 683637 h 848078"/>
                <a:gd name="connsiteX52" fmla="*/ 190689 w 712791"/>
                <a:gd name="connsiteY52" fmla="*/ 692290 h 848078"/>
                <a:gd name="connsiteX53" fmla="*/ 202227 w 712791"/>
                <a:gd name="connsiteY53" fmla="*/ 709598 h 848078"/>
                <a:gd name="connsiteX54" fmla="*/ 216650 w 712791"/>
                <a:gd name="connsiteY54" fmla="*/ 724020 h 848078"/>
                <a:gd name="connsiteX55" fmla="*/ 225303 w 712791"/>
                <a:gd name="connsiteY55" fmla="*/ 729789 h 848078"/>
                <a:gd name="connsiteX56" fmla="*/ 231072 w 712791"/>
                <a:gd name="connsiteY56" fmla="*/ 738443 h 848078"/>
                <a:gd name="connsiteX57" fmla="*/ 239726 w 712791"/>
                <a:gd name="connsiteY57" fmla="*/ 741328 h 848078"/>
                <a:gd name="connsiteX58" fmla="*/ 248380 w 712791"/>
                <a:gd name="connsiteY58" fmla="*/ 749981 h 848078"/>
                <a:gd name="connsiteX59" fmla="*/ 265687 w 712791"/>
                <a:gd name="connsiteY59" fmla="*/ 755750 h 848078"/>
                <a:gd name="connsiteX60" fmla="*/ 274340 w 712791"/>
                <a:gd name="connsiteY60" fmla="*/ 758635 h 848078"/>
                <a:gd name="connsiteX61" fmla="*/ 311839 w 712791"/>
                <a:gd name="connsiteY61" fmla="*/ 764404 h 848078"/>
                <a:gd name="connsiteX62" fmla="*/ 332031 w 712791"/>
                <a:gd name="connsiteY62" fmla="*/ 770173 h 848078"/>
                <a:gd name="connsiteX63" fmla="*/ 334916 w 712791"/>
                <a:gd name="connsiteY63" fmla="*/ 778827 h 848078"/>
                <a:gd name="connsiteX64" fmla="*/ 352223 w 712791"/>
                <a:gd name="connsiteY64" fmla="*/ 787480 h 848078"/>
                <a:gd name="connsiteX65" fmla="*/ 378184 w 712791"/>
                <a:gd name="connsiteY65" fmla="*/ 793249 h 848078"/>
                <a:gd name="connsiteX66" fmla="*/ 404144 w 712791"/>
                <a:gd name="connsiteY66" fmla="*/ 796134 h 848078"/>
                <a:gd name="connsiteX67" fmla="*/ 430106 w 712791"/>
                <a:gd name="connsiteY67" fmla="*/ 793249 h 848078"/>
                <a:gd name="connsiteX68" fmla="*/ 444529 w 712791"/>
                <a:gd name="connsiteY68" fmla="*/ 778827 h 848078"/>
                <a:gd name="connsiteX69" fmla="*/ 473374 w 712791"/>
                <a:gd name="connsiteY69" fmla="*/ 793249 h 848078"/>
                <a:gd name="connsiteX70" fmla="*/ 479143 w 712791"/>
                <a:gd name="connsiteY70" fmla="*/ 799019 h 848078"/>
                <a:gd name="connsiteX71" fmla="*/ 487797 w 712791"/>
                <a:gd name="connsiteY71" fmla="*/ 804788 h 848078"/>
                <a:gd name="connsiteX72" fmla="*/ 505104 w 712791"/>
                <a:gd name="connsiteY72" fmla="*/ 810557 h 848078"/>
                <a:gd name="connsiteX73" fmla="*/ 513757 w 712791"/>
                <a:gd name="connsiteY73" fmla="*/ 813441 h 848078"/>
                <a:gd name="connsiteX74" fmla="*/ 522411 w 712791"/>
                <a:gd name="connsiteY74" fmla="*/ 816326 h 848078"/>
                <a:gd name="connsiteX75" fmla="*/ 554141 w 712791"/>
                <a:gd name="connsiteY75" fmla="*/ 822095 h 848078"/>
                <a:gd name="connsiteX76" fmla="*/ 571448 w 712791"/>
                <a:gd name="connsiteY76" fmla="*/ 827864 h 848078"/>
                <a:gd name="connsiteX77" fmla="*/ 594525 w 712791"/>
                <a:gd name="connsiteY77" fmla="*/ 833633 h 848078"/>
                <a:gd name="connsiteX78" fmla="*/ 603178 w 712791"/>
                <a:gd name="connsiteY78" fmla="*/ 836518 h 848078"/>
                <a:gd name="connsiteX79" fmla="*/ 626255 w 712791"/>
                <a:gd name="connsiteY79" fmla="*/ 848056 h 848078"/>
                <a:gd name="connsiteX0" fmla="*/ 709692 w 709692"/>
                <a:gd name="connsiteY0" fmla="*/ 0 h 848078"/>
                <a:gd name="connsiteX1" fmla="*/ 701038 w 709692"/>
                <a:gd name="connsiteY1" fmla="*/ 14423 h 848078"/>
                <a:gd name="connsiteX2" fmla="*/ 683731 w 709692"/>
                <a:gd name="connsiteY2" fmla="*/ 20192 h 848078"/>
                <a:gd name="connsiteX3" fmla="*/ 680846 w 709692"/>
                <a:gd name="connsiteY3" fmla="*/ 46153 h 848078"/>
                <a:gd name="connsiteX4" fmla="*/ 672193 w 709692"/>
                <a:gd name="connsiteY4" fmla="*/ 49037 h 848078"/>
                <a:gd name="connsiteX5" fmla="*/ 654886 w 709692"/>
                <a:gd name="connsiteY5" fmla="*/ 46153 h 848078"/>
                <a:gd name="connsiteX6" fmla="*/ 594310 w 709692"/>
                <a:gd name="connsiteY6" fmla="*/ 49037 h 848078"/>
                <a:gd name="connsiteX7" fmla="*/ 588541 w 709692"/>
                <a:gd name="connsiteY7" fmla="*/ 66345 h 848078"/>
                <a:gd name="connsiteX8" fmla="*/ 582772 w 709692"/>
                <a:gd name="connsiteY8" fmla="*/ 74998 h 848078"/>
                <a:gd name="connsiteX9" fmla="*/ 574118 w 709692"/>
                <a:gd name="connsiteY9" fmla="*/ 77883 h 848078"/>
                <a:gd name="connsiteX10" fmla="*/ 556811 w 709692"/>
                <a:gd name="connsiteY10" fmla="*/ 89421 h 848078"/>
                <a:gd name="connsiteX11" fmla="*/ 553927 w 709692"/>
                <a:gd name="connsiteY11" fmla="*/ 112497 h 848078"/>
                <a:gd name="connsiteX12" fmla="*/ 542388 w 709692"/>
                <a:gd name="connsiteY12" fmla="*/ 126920 h 848078"/>
                <a:gd name="connsiteX13" fmla="*/ 530850 w 709692"/>
                <a:gd name="connsiteY13" fmla="*/ 144227 h 848078"/>
                <a:gd name="connsiteX14" fmla="*/ 522197 w 709692"/>
                <a:gd name="connsiteY14" fmla="*/ 152881 h 848078"/>
                <a:gd name="connsiteX15" fmla="*/ 504889 w 709692"/>
                <a:gd name="connsiteY15" fmla="*/ 161535 h 848078"/>
                <a:gd name="connsiteX16" fmla="*/ 305856 w 709692"/>
                <a:gd name="connsiteY16" fmla="*/ 164419 h 848078"/>
                <a:gd name="connsiteX17" fmla="*/ 297202 w 709692"/>
                <a:gd name="connsiteY17" fmla="*/ 170188 h 848078"/>
                <a:gd name="connsiteX18" fmla="*/ 268357 w 709692"/>
                <a:gd name="connsiteY18" fmla="*/ 178842 h 848078"/>
                <a:gd name="connsiteX19" fmla="*/ 213551 w 709692"/>
                <a:gd name="connsiteY19" fmla="*/ 181726 h 848078"/>
                <a:gd name="connsiteX20" fmla="*/ 170282 w 709692"/>
                <a:gd name="connsiteY20" fmla="*/ 187495 h 848078"/>
                <a:gd name="connsiteX21" fmla="*/ 141437 w 709692"/>
                <a:gd name="connsiteY21" fmla="*/ 196149 h 848078"/>
                <a:gd name="connsiteX22" fmla="*/ 101053 w 709692"/>
                <a:gd name="connsiteY22" fmla="*/ 207687 h 848078"/>
                <a:gd name="connsiteX23" fmla="*/ 92400 w 709692"/>
                <a:gd name="connsiteY23" fmla="*/ 210572 h 848078"/>
                <a:gd name="connsiteX24" fmla="*/ 72208 w 709692"/>
                <a:gd name="connsiteY24" fmla="*/ 222110 h 848078"/>
                <a:gd name="connsiteX25" fmla="*/ 54901 w 709692"/>
                <a:gd name="connsiteY25" fmla="*/ 227879 h 848078"/>
                <a:gd name="connsiteX26" fmla="*/ 40478 w 709692"/>
                <a:gd name="connsiteY26" fmla="*/ 242302 h 848078"/>
                <a:gd name="connsiteX27" fmla="*/ 37593 w 709692"/>
                <a:gd name="connsiteY27" fmla="*/ 259609 h 848078"/>
                <a:gd name="connsiteX28" fmla="*/ 20286 w 709692"/>
                <a:gd name="connsiteY28" fmla="*/ 271147 h 848078"/>
                <a:gd name="connsiteX29" fmla="*/ 11633 w 709692"/>
                <a:gd name="connsiteY29" fmla="*/ 279801 h 848078"/>
                <a:gd name="connsiteX30" fmla="*/ 8748 w 709692"/>
                <a:gd name="connsiteY30" fmla="*/ 291339 h 848078"/>
                <a:gd name="connsiteX31" fmla="*/ 5863 w 709692"/>
                <a:gd name="connsiteY31" fmla="*/ 311531 h 848078"/>
                <a:gd name="connsiteX32" fmla="*/ 94 w 709692"/>
                <a:gd name="connsiteY32" fmla="*/ 328838 h 848078"/>
                <a:gd name="connsiteX33" fmla="*/ 2979 w 709692"/>
                <a:gd name="connsiteY33" fmla="*/ 374991 h 848078"/>
                <a:gd name="connsiteX34" fmla="*/ 11633 w 709692"/>
                <a:gd name="connsiteY34" fmla="*/ 380760 h 848078"/>
                <a:gd name="connsiteX35" fmla="*/ 26055 w 709692"/>
                <a:gd name="connsiteY35" fmla="*/ 395183 h 848078"/>
                <a:gd name="connsiteX36" fmla="*/ 34709 w 709692"/>
                <a:gd name="connsiteY36" fmla="*/ 412490 h 848078"/>
                <a:gd name="connsiteX37" fmla="*/ 40478 w 709692"/>
                <a:gd name="connsiteY37" fmla="*/ 421143 h 848078"/>
                <a:gd name="connsiteX38" fmla="*/ 66439 w 709692"/>
                <a:gd name="connsiteY38" fmla="*/ 441335 h 848078"/>
                <a:gd name="connsiteX39" fmla="*/ 75093 w 709692"/>
                <a:gd name="connsiteY39" fmla="*/ 444220 h 848078"/>
                <a:gd name="connsiteX40" fmla="*/ 83747 w 709692"/>
                <a:gd name="connsiteY40" fmla="*/ 536526 h 848078"/>
                <a:gd name="connsiteX41" fmla="*/ 86631 w 709692"/>
                <a:gd name="connsiteY41" fmla="*/ 585562 h 848078"/>
                <a:gd name="connsiteX42" fmla="*/ 92400 w 709692"/>
                <a:gd name="connsiteY42" fmla="*/ 597101 h 848078"/>
                <a:gd name="connsiteX43" fmla="*/ 101053 w 709692"/>
                <a:gd name="connsiteY43" fmla="*/ 614408 h 848078"/>
                <a:gd name="connsiteX44" fmla="*/ 103938 w 709692"/>
                <a:gd name="connsiteY44" fmla="*/ 623061 h 848078"/>
                <a:gd name="connsiteX45" fmla="*/ 118361 w 709692"/>
                <a:gd name="connsiteY45" fmla="*/ 640369 h 848078"/>
                <a:gd name="connsiteX46" fmla="*/ 129899 w 709692"/>
                <a:gd name="connsiteY46" fmla="*/ 646138 h 848078"/>
                <a:gd name="connsiteX47" fmla="*/ 138552 w 709692"/>
                <a:gd name="connsiteY47" fmla="*/ 649022 h 848078"/>
                <a:gd name="connsiteX48" fmla="*/ 164513 w 709692"/>
                <a:gd name="connsiteY48" fmla="*/ 651907 h 848078"/>
                <a:gd name="connsiteX49" fmla="*/ 173167 w 709692"/>
                <a:gd name="connsiteY49" fmla="*/ 657676 h 848078"/>
                <a:gd name="connsiteX50" fmla="*/ 178936 w 709692"/>
                <a:gd name="connsiteY50" fmla="*/ 674983 h 848078"/>
                <a:gd name="connsiteX51" fmla="*/ 181821 w 709692"/>
                <a:gd name="connsiteY51" fmla="*/ 683637 h 848078"/>
                <a:gd name="connsiteX52" fmla="*/ 187590 w 709692"/>
                <a:gd name="connsiteY52" fmla="*/ 692290 h 848078"/>
                <a:gd name="connsiteX53" fmla="*/ 199128 w 709692"/>
                <a:gd name="connsiteY53" fmla="*/ 709598 h 848078"/>
                <a:gd name="connsiteX54" fmla="*/ 213551 w 709692"/>
                <a:gd name="connsiteY54" fmla="*/ 724020 h 848078"/>
                <a:gd name="connsiteX55" fmla="*/ 222204 w 709692"/>
                <a:gd name="connsiteY55" fmla="*/ 729789 h 848078"/>
                <a:gd name="connsiteX56" fmla="*/ 227973 w 709692"/>
                <a:gd name="connsiteY56" fmla="*/ 738443 h 848078"/>
                <a:gd name="connsiteX57" fmla="*/ 236627 w 709692"/>
                <a:gd name="connsiteY57" fmla="*/ 741328 h 848078"/>
                <a:gd name="connsiteX58" fmla="*/ 245281 w 709692"/>
                <a:gd name="connsiteY58" fmla="*/ 749981 h 848078"/>
                <a:gd name="connsiteX59" fmla="*/ 262588 w 709692"/>
                <a:gd name="connsiteY59" fmla="*/ 755750 h 848078"/>
                <a:gd name="connsiteX60" fmla="*/ 271241 w 709692"/>
                <a:gd name="connsiteY60" fmla="*/ 758635 h 848078"/>
                <a:gd name="connsiteX61" fmla="*/ 308740 w 709692"/>
                <a:gd name="connsiteY61" fmla="*/ 764404 h 848078"/>
                <a:gd name="connsiteX62" fmla="*/ 328932 w 709692"/>
                <a:gd name="connsiteY62" fmla="*/ 770173 h 848078"/>
                <a:gd name="connsiteX63" fmla="*/ 331817 w 709692"/>
                <a:gd name="connsiteY63" fmla="*/ 778827 h 848078"/>
                <a:gd name="connsiteX64" fmla="*/ 349124 w 709692"/>
                <a:gd name="connsiteY64" fmla="*/ 787480 h 848078"/>
                <a:gd name="connsiteX65" fmla="*/ 375085 w 709692"/>
                <a:gd name="connsiteY65" fmla="*/ 793249 h 848078"/>
                <a:gd name="connsiteX66" fmla="*/ 401045 w 709692"/>
                <a:gd name="connsiteY66" fmla="*/ 796134 h 848078"/>
                <a:gd name="connsiteX67" fmla="*/ 427007 w 709692"/>
                <a:gd name="connsiteY67" fmla="*/ 793249 h 848078"/>
                <a:gd name="connsiteX68" fmla="*/ 441430 w 709692"/>
                <a:gd name="connsiteY68" fmla="*/ 778827 h 848078"/>
                <a:gd name="connsiteX69" fmla="*/ 470275 w 709692"/>
                <a:gd name="connsiteY69" fmla="*/ 793249 h 848078"/>
                <a:gd name="connsiteX70" fmla="*/ 476044 w 709692"/>
                <a:gd name="connsiteY70" fmla="*/ 799019 h 848078"/>
                <a:gd name="connsiteX71" fmla="*/ 484698 w 709692"/>
                <a:gd name="connsiteY71" fmla="*/ 804788 h 848078"/>
                <a:gd name="connsiteX72" fmla="*/ 502005 w 709692"/>
                <a:gd name="connsiteY72" fmla="*/ 810557 h 848078"/>
                <a:gd name="connsiteX73" fmla="*/ 510658 w 709692"/>
                <a:gd name="connsiteY73" fmla="*/ 813441 h 848078"/>
                <a:gd name="connsiteX74" fmla="*/ 519312 w 709692"/>
                <a:gd name="connsiteY74" fmla="*/ 816326 h 848078"/>
                <a:gd name="connsiteX75" fmla="*/ 551042 w 709692"/>
                <a:gd name="connsiteY75" fmla="*/ 822095 h 848078"/>
                <a:gd name="connsiteX76" fmla="*/ 568349 w 709692"/>
                <a:gd name="connsiteY76" fmla="*/ 827864 h 848078"/>
                <a:gd name="connsiteX77" fmla="*/ 591426 w 709692"/>
                <a:gd name="connsiteY77" fmla="*/ 833633 h 848078"/>
                <a:gd name="connsiteX78" fmla="*/ 600079 w 709692"/>
                <a:gd name="connsiteY78" fmla="*/ 836518 h 848078"/>
                <a:gd name="connsiteX79" fmla="*/ 623156 w 709692"/>
                <a:gd name="connsiteY79" fmla="*/ 848056 h 848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709692" h="848078">
                  <a:moveTo>
                    <a:pt x="709692" y="0"/>
                  </a:moveTo>
                  <a:cubicBezTo>
                    <a:pt x="706807" y="4808"/>
                    <a:pt x="705464" y="10981"/>
                    <a:pt x="701038" y="14423"/>
                  </a:cubicBezTo>
                  <a:cubicBezTo>
                    <a:pt x="696238" y="18156"/>
                    <a:pt x="683731" y="20192"/>
                    <a:pt x="683731" y="20192"/>
                  </a:cubicBezTo>
                  <a:cubicBezTo>
                    <a:pt x="682769" y="28846"/>
                    <a:pt x="684080" y="38069"/>
                    <a:pt x="680846" y="46153"/>
                  </a:cubicBezTo>
                  <a:cubicBezTo>
                    <a:pt x="679717" y="48976"/>
                    <a:pt x="675233" y="49037"/>
                    <a:pt x="672193" y="49037"/>
                  </a:cubicBezTo>
                  <a:cubicBezTo>
                    <a:pt x="666344" y="49037"/>
                    <a:pt x="660655" y="47114"/>
                    <a:pt x="654886" y="46153"/>
                  </a:cubicBezTo>
                  <a:cubicBezTo>
                    <a:pt x="634694" y="47114"/>
                    <a:pt x="613649" y="43151"/>
                    <a:pt x="594310" y="49037"/>
                  </a:cubicBezTo>
                  <a:cubicBezTo>
                    <a:pt x="588492" y="50808"/>
                    <a:pt x="591914" y="61285"/>
                    <a:pt x="588541" y="66345"/>
                  </a:cubicBezTo>
                  <a:cubicBezTo>
                    <a:pt x="586618" y="69229"/>
                    <a:pt x="585479" y="72832"/>
                    <a:pt x="582772" y="74998"/>
                  </a:cubicBezTo>
                  <a:cubicBezTo>
                    <a:pt x="580398" y="76897"/>
                    <a:pt x="576776" y="76406"/>
                    <a:pt x="574118" y="77883"/>
                  </a:cubicBezTo>
                  <a:cubicBezTo>
                    <a:pt x="568057" y="81250"/>
                    <a:pt x="556811" y="89421"/>
                    <a:pt x="556811" y="89421"/>
                  </a:cubicBezTo>
                  <a:cubicBezTo>
                    <a:pt x="555850" y="97113"/>
                    <a:pt x="555967" y="105018"/>
                    <a:pt x="553927" y="112497"/>
                  </a:cubicBezTo>
                  <a:cubicBezTo>
                    <a:pt x="551909" y="119896"/>
                    <a:pt x="546483" y="121460"/>
                    <a:pt x="542388" y="126920"/>
                  </a:cubicBezTo>
                  <a:cubicBezTo>
                    <a:pt x="538228" y="132467"/>
                    <a:pt x="535752" y="139324"/>
                    <a:pt x="530850" y="144227"/>
                  </a:cubicBezTo>
                  <a:cubicBezTo>
                    <a:pt x="527966" y="147112"/>
                    <a:pt x="525331" y="150269"/>
                    <a:pt x="522197" y="152881"/>
                  </a:cubicBezTo>
                  <a:cubicBezTo>
                    <a:pt x="518493" y="155968"/>
                    <a:pt x="510271" y="161385"/>
                    <a:pt x="504889" y="161535"/>
                  </a:cubicBezTo>
                  <a:cubicBezTo>
                    <a:pt x="438563" y="163377"/>
                    <a:pt x="372200" y="163458"/>
                    <a:pt x="305856" y="164419"/>
                  </a:cubicBezTo>
                  <a:cubicBezTo>
                    <a:pt x="302971" y="166342"/>
                    <a:pt x="300370" y="168780"/>
                    <a:pt x="297202" y="170188"/>
                  </a:cubicBezTo>
                  <a:cubicBezTo>
                    <a:pt x="294884" y="171218"/>
                    <a:pt x="273571" y="178389"/>
                    <a:pt x="268357" y="178842"/>
                  </a:cubicBezTo>
                  <a:cubicBezTo>
                    <a:pt x="250132" y="180427"/>
                    <a:pt x="231820" y="180765"/>
                    <a:pt x="213551" y="181726"/>
                  </a:cubicBezTo>
                  <a:cubicBezTo>
                    <a:pt x="205536" y="182728"/>
                    <a:pt x="179021" y="185906"/>
                    <a:pt x="170282" y="187495"/>
                  </a:cubicBezTo>
                  <a:cubicBezTo>
                    <a:pt x="153507" y="190545"/>
                    <a:pt x="161489" y="191136"/>
                    <a:pt x="141437" y="196149"/>
                  </a:cubicBezTo>
                  <a:cubicBezTo>
                    <a:pt x="112474" y="203390"/>
                    <a:pt x="125873" y="199413"/>
                    <a:pt x="101053" y="207687"/>
                  </a:cubicBezTo>
                  <a:cubicBezTo>
                    <a:pt x="98169" y="208649"/>
                    <a:pt x="94930" y="208886"/>
                    <a:pt x="92400" y="210572"/>
                  </a:cubicBezTo>
                  <a:cubicBezTo>
                    <a:pt x="84595" y="215775"/>
                    <a:pt x="81356" y="218451"/>
                    <a:pt x="72208" y="222110"/>
                  </a:cubicBezTo>
                  <a:cubicBezTo>
                    <a:pt x="66562" y="224368"/>
                    <a:pt x="54901" y="227879"/>
                    <a:pt x="54901" y="227879"/>
                  </a:cubicBezTo>
                  <a:cubicBezTo>
                    <a:pt x="48307" y="232275"/>
                    <a:pt x="43226" y="234059"/>
                    <a:pt x="40478" y="242302"/>
                  </a:cubicBezTo>
                  <a:cubicBezTo>
                    <a:pt x="38628" y="247850"/>
                    <a:pt x="39968" y="254264"/>
                    <a:pt x="37593" y="259609"/>
                  </a:cubicBezTo>
                  <a:cubicBezTo>
                    <a:pt x="33835" y="268066"/>
                    <a:pt x="27559" y="268723"/>
                    <a:pt x="20286" y="271147"/>
                  </a:cubicBezTo>
                  <a:cubicBezTo>
                    <a:pt x="17402" y="274032"/>
                    <a:pt x="13556" y="276436"/>
                    <a:pt x="11633" y="279801"/>
                  </a:cubicBezTo>
                  <a:cubicBezTo>
                    <a:pt x="9710" y="283166"/>
                    <a:pt x="36359" y="263728"/>
                    <a:pt x="8748" y="291339"/>
                  </a:cubicBezTo>
                  <a:cubicBezTo>
                    <a:pt x="9710" y="297108"/>
                    <a:pt x="7305" y="305281"/>
                    <a:pt x="5863" y="311531"/>
                  </a:cubicBezTo>
                  <a:cubicBezTo>
                    <a:pt x="4421" y="317781"/>
                    <a:pt x="575" y="318261"/>
                    <a:pt x="94" y="328838"/>
                  </a:cubicBezTo>
                  <a:cubicBezTo>
                    <a:pt x="-387" y="339415"/>
                    <a:pt x="1056" y="366337"/>
                    <a:pt x="2979" y="374991"/>
                  </a:cubicBezTo>
                  <a:cubicBezTo>
                    <a:pt x="4902" y="383645"/>
                    <a:pt x="9024" y="378477"/>
                    <a:pt x="11633" y="380760"/>
                  </a:cubicBezTo>
                  <a:cubicBezTo>
                    <a:pt x="16750" y="385237"/>
                    <a:pt x="22284" y="389526"/>
                    <a:pt x="26055" y="395183"/>
                  </a:cubicBezTo>
                  <a:cubicBezTo>
                    <a:pt x="42587" y="419980"/>
                    <a:pt x="22766" y="388606"/>
                    <a:pt x="34709" y="412490"/>
                  </a:cubicBezTo>
                  <a:cubicBezTo>
                    <a:pt x="36259" y="415591"/>
                    <a:pt x="38195" y="418534"/>
                    <a:pt x="40478" y="421143"/>
                  </a:cubicBezTo>
                  <a:cubicBezTo>
                    <a:pt x="51664" y="433926"/>
                    <a:pt x="52790" y="435485"/>
                    <a:pt x="66439" y="441335"/>
                  </a:cubicBezTo>
                  <a:cubicBezTo>
                    <a:pt x="69234" y="442533"/>
                    <a:pt x="72208" y="443258"/>
                    <a:pt x="75093" y="444220"/>
                  </a:cubicBezTo>
                  <a:cubicBezTo>
                    <a:pt x="91541" y="493570"/>
                    <a:pt x="68393" y="432828"/>
                    <a:pt x="83747" y="536526"/>
                  </a:cubicBezTo>
                  <a:cubicBezTo>
                    <a:pt x="83973" y="539985"/>
                    <a:pt x="85189" y="575466"/>
                    <a:pt x="86631" y="585562"/>
                  </a:cubicBezTo>
                  <a:cubicBezTo>
                    <a:pt x="88073" y="595658"/>
                    <a:pt x="90706" y="593148"/>
                    <a:pt x="92400" y="597101"/>
                  </a:cubicBezTo>
                  <a:cubicBezTo>
                    <a:pt x="114129" y="647807"/>
                    <a:pt x="73358" y="559022"/>
                    <a:pt x="101053" y="614408"/>
                  </a:cubicBezTo>
                  <a:cubicBezTo>
                    <a:pt x="102413" y="617127"/>
                    <a:pt x="102578" y="620342"/>
                    <a:pt x="103938" y="623061"/>
                  </a:cubicBezTo>
                  <a:cubicBezTo>
                    <a:pt x="106750" y="628684"/>
                    <a:pt x="113398" y="636824"/>
                    <a:pt x="118361" y="640369"/>
                  </a:cubicBezTo>
                  <a:cubicBezTo>
                    <a:pt x="121860" y="642868"/>
                    <a:pt x="125947" y="644444"/>
                    <a:pt x="129899" y="646138"/>
                  </a:cubicBezTo>
                  <a:cubicBezTo>
                    <a:pt x="132694" y="647336"/>
                    <a:pt x="135553" y="648522"/>
                    <a:pt x="138552" y="649022"/>
                  </a:cubicBezTo>
                  <a:cubicBezTo>
                    <a:pt x="147140" y="650453"/>
                    <a:pt x="155859" y="650945"/>
                    <a:pt x="164513" y="651907"/>
                  </a:cubicBezTo>
                  <a:cubicBezTo>
                    <a:pt x="167398" y="653830"/>
                    <a:pt x="171330" y="654736"/>
                    <a:pt x="173167" y="657676"/>
                  </a:cubicBezTo>
                  <a:cubicBezTo>
                    <a:pt x="176390" y="662833"/>
                    <a:pt x="177013" y="669214"/>
                    <a:pt x="178936" y="674983"/>
                  </a:cubicBezTo>
                  <a:cubicBezTo>
                    <a:pt x="179898" y="677868"/>
                    <a:pt x="180134" y="681107"/>
                    <a:pt x="181821" y="683637"/>
                  </a:cubicBezTo>
                  <a:lnTo>
                    <a:pt x="187590" y="692290"/>
                  </a:lnTo>
                  <a:cubicBezTo>
                    <a:pt x="193776" y="710852"/>
                    <a:pt x="185624" y="690693"/>
                    <a:pt x="199128" y="709598"/>
                  </a:cubicBezTo>
                  <a:cubicBezTo>
                    <a:pt x="210267" y="725192"/>
                    <a:pt x="197982" y="718832"/>
                    <a:pt x="213551" y="724020"/>
                  </a:cubicBezTo>
                  <a:cubicBezTo>
                    <a:pt x="216435" y="725943"/>
                    <a:pt x="219753" y="727338"/>
                    <a:pt x="222204" y="729789"/>
                  </a:cubicBezTo>
                  <a:cubicBezTo>
                    <a:pt x="224655" y="732241"/>
                    <a:pt x="225266" y="736277"/>
                    <a:pt x="227973" y="738443"/>
                  </a:cubicBezTo>
                  <a:cubicBezTo>
                    <a:pt x="230347" y="740343"/>
                    <a:pt x="233742" y="740366"/>
                    <a:pt x="236627" y="741328"/>
                  </a:cubicBezTo>
                  <a:cubicBezTo>
                    <a:pt x="239512" y="744212"/>
                    <a:pt x="241715" y="748000"/>
                    <a:pt x="245281" y="749981"/>
                  </a:cubicBezTo>
                  <a:cubicBezTo>
                    <a:pt x="250597" y="752934"/>
                    <a:pt x="256819" y="753827"/>
                    <a:pt x="262588" y="755750"/>
                  </a:cubicBezTo>
                  <a:cubicBezTo>
                    <a:pt x="265472" y="756712"/>
                    <a:pt x="268231" y="758205"/>
                    <a:pt x="271241" y="758635"/>
                  </a:cubicBezTo>
                  <a:cubicBezTo>
                    <a:pt x="280955" y="760022"/>
                    <a:pt x="298720" y="762400"/>
                    <a:pt x="308740" y="764404"/>
                  </a:cubicBezTo>
                  <a:cubicBezTo>
                    <a:pt x="317793" y="766215"/>
                    <a:pt x="320686" y="767425"/>
                    <a:pt x="328932" y="770173"/>
                  </a:cubicBezTo>
                  <a:cubicBezTo>
                    <a:pt x="329894" y="773058"/>
                    <a:pt x="329918" y="776453"/>
                    <a:pt x="331817" y="778827"/>
                  </a:cubicBezTo>
                  <a:cubicBezTo>
                    <a:pt x="335884" y="783911"/>
                    <a:pt x="343422" y="785580"/>
                    <a:pt x="349124" y="787480"/>
                  </a:cubicBezTo>
                  <a:cubicBezTo>
                    <a:pt x="368961" y="800706"/>
                    <a:pt x="359853" y="788173"/>
                    <a:pt x="375085" y="793249"/>
                  </a:cubicBezTo>
                  <a:cubicBezTo>
                    <a:pt x="392018" y="804537"/>
                    <a:pt x="392391" y="796134"/>
                    <a:pt x="401045" y="796134"/>
                  </a:cubicBezTo>
                  <a:cubicBezTo>
                    <a:pt x="409699" y="796134"/>
                    <a:pt x="420276" y="796134"/>
                    <a:pt x="427007" y="793249"/>
                  </a:cubicBezTo>
                  <a:cubicBezTo>
                    <a:pt x="433738" y="790365"/>
                    <a:pt x="438546" y="779788"/>
                    <a:pt x="441430" y="778827"/>
                  </a:cubicBezTo>
                  <a:cubicBezTo>
                    <a:pt x="452968" y="779788"/>
                    <a:pt x="464506" y="789884"/>
                    <a:pt x="470275" y="793249"/>
                  </a:cubicBezTo>
                  <a:cubicBezTo>
                    <a:pt x="476044" y="796614"/>
                    <a:pt x="473920" y="797320"/>
                    <a:pt x="476044" y="799019"/>
                  </a:cubicBezTo>
                  <a:cubicBezTo>
                    <a:pt x="478751" y="801185"/>
                    <a:pt x="481530" y="803380"/>
                    <a:pt x="484698" y="804788"/>
                  </a:cubicBezTo>
                  <a:cubicBezTo>
                    <a:pt x="490255" y="807258"/>
                    <a:pt x="496236" y="808634"/>
                    <a:pt x="502005" y="810557"/>
                  </a:cubicBezTo>
                  <a:lnTo>
                    <a:pt x="510658" y="813441"/>
                  </a:lnTo>
                  <a:cubicBezTo>
                    <a:pt x="513543" y="814403"/>
                    <a:pt x="516313" y="815826"/>
                    <a:pt x="519312" y="816326"/>
                  </a:cubicBezTo>
                  <a:cubicBezTo>
                    <a:pt x="524977" y="817270"/>
                    <a:pt x="544698" y="820365"/>
                    <a:pt x="551042" y="822095"/>
                  </a:cubicBezTo>
                  <a:cubicBezTo>
                    <a:pt x="556909" y="823695"/>
                    <a:pt x="562449" y="826389"/>
                    <a:pt x="568349" y="827864"/>
                  </a:cubicBezTo>
                  <a:cubicBezTo>
                    <a:pt x="576041" y="829787"/>
                    <a:pt x="583904" y="831125"/>
                    <a:pt x="591426" y="833633"/>
                  </a:cubicBezTo>
                  <a:cubicBezTo>
                    <a:pt x="594310" y="834595"/>
                    <a:pt x="597421" y="835041"/>
                    <a:pt x="600079" y="836518"/>
                  </a:cubicBezTo>
                  <a:cubicBezTo>
                    <a:pt x="622767" y="849123"/>
                    <a:pt x="609405" y="848056"/>
                    <a:pt x="623156" y="848056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4" name="Forma livre 403"/>
            <p:cNvSpPr/>
            <p:nvPr/>
          </p:nvSpPr>
          <p:spPr bwMode="auto">
            <a:xfrm>
              <a:off x="4305301" y="1394951"/>
              <a:ext cx="212725" cy="569913"/>
            </a:xfrm>
            <a:custGeom>
              <a:avLst/>
              <a:gdLst>
                <a:gd name="connsiteX0" fmla="*/ 0 w 198601"/>
                <a:gd name="connsiteY0" fmla="*/ 0 h 569343"/>
                <a:gd name="connsiteX1" fmla="*/ 43132 w 198601"/>
                <a:gd name="connsiteY1" fmla="*/ 34505 h 569343"/>
                <a:gd name="connsiteX2" fmla="*/ 51759 w 198601"/>
                <a:gd name="connsiteY2" fmla="*/ 60385 h 569343"/>
                <a:gd name="connsiteX3" fmla="*/ 103517 w 198601"/>
                <a:gd name="connsiteY3" fmla="*/ 86264 h 569343"/>
                <a:gd name="connsiteX4" fmla="*/ 138023 w 198601"/>
                <a:gd name="connsiteY4" fmla="*/ 138022 h 569343"/>
                <a:gd name="connsiteX5" fmla="*/ 181155 w 198601"/>
                <a:gd name="connsiteY5" fmla="*/ 189781 h 569343"/>
                <a:gd name="connsiteX6" fmla="*/ 198408 w 198601"/>
                <a:gd name="connsiteY6" fmla="*/ 250166 h 569343"/>
                <a:gd name="connsiteX7" fmla="*/ 189781 w 198601"/>
                <a:gd name="connsiteY7" fmla="*/ 327803 h 569343"/>
                <a:gd name="connsiteX8" fmla="*/ 172528 w 198601"/>
                <a:gd name="connsiteY8" fmla="*/ 379562 h 569343"/>
                <a:gd name="connsiteX9" fmla="*/ 181155 w 198601"/>
                <a:gd name="connsiteY9" fmla="*/ 465826 h 569343"/>
                <a:gd name="connsiteX10" fmla="*/ 189781 w 198601"/>
                <a:gd name="connsiteY10" fmla="*/ 491705 h 569343"/>
                <a:gd name="connsiteX11" fmla="*/ 198408 w 198601"/>
                <a:gd name="connsiteY11" fmla="*/ 569343 h 569343"/>
                <a:gd name="connsiteX0" fmla="*/ 0 w 198601"/>
                <a:gd name="connsiteY0" fmla="*/ 0 h 569343"/>
                <a:gd name="connsiteX1" fmla="*/ 43132 w 198601"/>
                <a:gd name="connsiteY1" fmla="*/ 34505 h 569343"/>
                <a:gd name="connsiteX2" fmla="*/ 51759 w 198601"/>
                <a:gd name="connsiteY2" fmla="*/ 60385 h 569343"/>
                <a:gd name="connsiteX3" fmla="*/ 103517 w 198601"/>
                <a:gd name="connsiteY3" fmla="*/ 86264 h 569343"/>
                <a:gd name="connsiteX4" fmla="*/ 148996 w 198601"/>
                <a:gd name="connsiteY4" fmla="*/ 119734 h 569343"/>
                <a:gd name="connsiteX5" fmla="*/ 181155 w 198601"/>
                <a:gd name="connsiteY5" fmla="*/ 189781 h 569343"/>
                <a:gd name="connsiteX6" fmla="*/ 198408 w 198601"/>
                <a:gd name="connsiteY6" fmla="*/ 250166 h 569343"/>
                <a:gd name="connsiteX7" fmla="*/ 189781 w 198601"/>
                <a:gd name="connsiteY7" fmla="*/ 327803 h 569343"/>
                <a:gd name="connsiteX8" fmla="*/ 172528 w 198601"/>
                <a:gd name="connsiteY8" fmla="*/ 379562 h 569343"/>
                <a:gd name="connsiteX9" fmla="*/ 181155 w 198601"/>
                <a:gd name="connsiteY9" fmla="*/ 465826 h 569343"/>
                <a:gd name="connsiteX10" fmla="*/ 189781 w 198601"/>
                <a:gd name="connsiteY10" fmla="*/ 491705 h 569343"/>
                <a:gd name="connsiteX11" fmla="*/ 198408 w 198601"/>
                <a:gd name="connsiteY11" fmla="*/ 569343 h 569343"/>
                <a:gd name="connsiteX0" fmla="*/ 0 w 198601"/>
                <a:gd name="connsiteY0" fmla="*/ 0 h 569343"/>
                <a:gd name="connsiteX1" fmla="*/ 43132 w 198601"/>
                <a:gd name="connsiteY1" fmla="*/ 34505 h 569343"/>
                <a:gd name="connsiteX2" fmla="*/ 51759 w 198601"/>
                <a:gd name="connsiteY2" fmla="*/ 60385 h 569343"/>
                <a:gd name="connsiteX3" fmla="*/ 121805 w 198601"/>
                <a:gd name="connsiteY3" fmla="*/ 86264 h 569343"/>
                <a:gd name="connsiteX4" fmla="*/ 148996 w 198601"/>
                <a:gd name="connsiteY4" fmla="*/ 119734 h 569343"/>
                <a:gd name="connsiteX5" fmla="*/ 181155 w 198601"/>
                <a:gd name="connsiteY5" fmla="*/ 189781 h 569343"/>
                <a:gd name="connsiteX6" fmla="*/ 198408 w 198601"/>
                <a:gd name="connsiteY6" fmla="*/ 250166 h 569343"/>
                <a:gd name="connsiteX7" fmla="*/ 189781 w 198601"/>
                <a:gd name="connsiteY7" fmla="*/ 327803 h 569343"/>
                <a:gd name="connsiteX8" fmla="*/ 172528 w 198601"/>
                <a:gd name="connsiteY8" fmla="*/ 379562 h 569343"/>
                <a:gd name="connsiteX9" fmla="*/ 181155 w 198601"/>
                <a:gd name="connsiteY9" fmla="*/ 465826 h 569343"/>
                <a:gd name="connsiteX10" fmla="*/ 189781 w 198601"/>
                <a:gd name="connsiteY10" fmla="*/ 491705 h 569343"/>
                <a:gd name="connsiteX11" fmla="*/ 198408 w 198601"/>
                <a:gd name="connsiteY11" fmla="*/ 569343 h 569343"/>
                <a:gd name="connsiteX0" fmla="*/ 0 w 198601"/>
                <a:gd name="connsiteY0" fmla="*/ 0 h 569343"/>
                <a:gd name="connsiteX1" fmla="*/ 43132 w 198601"/>
                <a:gd name="connsiteY1" fmla="*/ 34505 h 569343"/>
                <a:gd name="connsiteX2" fmla="*/ 77362 w 198601"/>
                <a:gd name="connsiteY2" fmla="*/ 82331 h 569343"/>
                <a:gd name="connsiteX3" fmla="*/ 121805 w 198601"/>
                <a:gd name="connsiteY3" fmla="*/ 86264 h 569343"/>
                <a:gd name="connsiteX4" fmla="*/ 148996 w 198601"/>
                <a:gd name="connsiteY4" fmla="*/ 119734 h 569343"/>
                <a:gd name="connsiteX5" fmla="*/ 181155 w 198601"/>
                <a:gd name="connsiteY5" fmla="*/ 189781 h 569343"/>
                <a:gd name="connsiteX6" fmla="*/ 198408 w 198601"/>
                <a:gd name="connsiteY6" fmla="*/ 250166 h 569343"/>
                <a:gd name="connsiteX7" fmla="*/ 189781 w 198601"/>
                <a:gd name="connsiteY7" fmla="*/ 327803 h 569343"/>
                <a:gd name="connsiteX8" fmla="*/ 172528 w 198601"/>
                <a:gd name="connsiteY8" fmla="*/ 379562 h 569343"/>
                <a:gd name="connsiteX9" fmla="*/ 181155 w 198601"/>
                <a:gd name="connsiteY9" fmla="*/ 465826 h 569343"/>
                <a:gd name="connsiteX10" fmla="*/ 189781 w 198601"/>
                <a:gd name="connsiteY10" fmla="*/ 491705 h 569343"/>
                <a:gd name="connsiteX11" fmla="*/ 198408 w 198601"/>
                <a:gd name="connsiteY11" fmla="*/ 569343 h 569343"/>
                <a:gd name="connsiteX0" fmla="*/ 0 w 201341"/>
                <a:gd name="connsiteY0" fmla="*/ 0 h 569343"/>
                <a:gd name="connsiteX1" fmla="*/ 43132 w 201341"/>
                <a:gd name="connsiteY1" fmla="*/ 34505 h 569343"/>
                <a:gd name="connsiteX2" fmla="*/ 77362 w 201341"/>
                <a:gd name="connsiteY2" fmla="*/ 82331 h 569343"/>
                <a:gd name="connsiteX3" fmla="*/ 121805 w 201341"/>
                <a:gd name="connsiteY3" fmla="*/ 86264 h 569343"/>
                <a:gd name="connsiteX4" fmla="*/ 148996 w 201341"/>
                <a:gd name="connsiteY4" fmla="*/ 119734 h 569343"/>
                <a:gd name="connsiteX5" fmla="*/ 199443 w 201341"/>
                <a:gd name="connsiteY5" fmla="*/ 189781 h 569343"/>
                <a:gd name="connsiteX6" fmla="*/ 198408 w 201341"/>
                <a:gd name="connsiteY6" fmla="*/ 250166 h 569343"/>
                <a:gd name="connsiteX7" fmla="*/ 189781 w 201341"/>
                <a:gd name="connsiteY7" fmla="*/ 327803 h 569343"/>
                <a:gd name="connsiteX8" fmla="*/ 172528 w 201341"/>
                <a:gd name="connsiteY8" fmla="*/ 379562 h 569343"/>
                <a:gd name="connsiteX9" fmla="*/ 181155 w 201341"/>
                <a:gd name="connsiteY9" fmla="*/ 465826 h 569343"/>
                <a:gd name="connsiteX10" fmla="*/ 189781 w 201341"/>
                <a:gd name="connsiteY10" fmla="*/ 491705 h 569343"/>
                <a:gd name="connsiteX11" fmla="*/ 198408 w 201341"/>
                <a:gd name="connsiteY11" fmla="*/ 569343 h 569343"/>
                <a:gd name="connsiteX0" fmla="*/ 0 w 213195"/>
                <a:gd name="connsiteY0" fmla="*/ 0 h 569343"/>
                <a:gd name="connsiteX1" fmla="*/ 43132 w 213195"/>
                <a:gd name="connsiteY1" fmla="*/ 34505 h 569343"/>
                <a:gd name="connsiteX2" fmla="*/ 77362 w 213195"/>
                <a:gd name="connsiteY2" fmla="*/ 82331 h 569343"/>
                <a:gd name="connsiteX3" fmla="*/ 121805 w 213195"/>
                <a:gd name="connsiteY3" fmla="*/ 86264 h 569343"/>
                <a:gd name="connsiteX4" fmla="*/ 148996 w 213195"/>
                <a:gd name="connsiteY4" fmla="*/ 119734 h 569343"/>
                <a:gd name="connsiteX5" fmla="*/ 199443 w 213195"/>
                <a:gd name="connsiteY5" fmla="*/ 189781 h 569343"/>
                <a:gd name="connsiteX6" fmla="*/ 213038 w 213195"/>
                <a:gd name="connsiteY6" fmla="*/ 253824 h 569343"/>
                <a:gd name="connsiteX7" fmla="*/ 189781 w 213195"/>
                <a:gd name="connsiteY7" fmla="*/ 327803 h 569343"/>
                <a:gd name="connsiteX8" fmla="*/ 172528 w 213195"/>
                <a:gd name="connsiteY8" fmla="*/ 379562 h 569343"/>
                <a:gd name="connsiteX9" fmla="*/ 181155 w 213195"/>
                <a:gd name="connsiteY9" fmla="*/ 465826 h 569343"/>
                <a:gd name="connsiteX10" fmla="*/ 189781 w 213195"/>
                <a:gd name="connsiteY10" fmla="*/ 491705 h 569343"/>
                <a:gd name="connsiteX11" fmla="*/ 198408 w 213195"/>
                <a:gd name="connsiteY11" fmla="*/ 569343 h 569343"/>
                <a:gd name="connsiteX0" fmla="*/ 0 w 213044"/>
                <a:gd name="connsiteY0" fmla="*/ 0 h 569343"/>
                <a:gd name="connsiteX1" fmla="*/ 43132 w 213044"/>
                <a:gd name="connsiteY1" fmla="*/ 34505 h 569343"/>
                <a:gd name="connsiteX2" fmla="*/ 77362 w 213044"/>
                <a:gd name="connsiteY2" fmla="*/ 82331 h 569343"/>
                <a:gd name="connsiteX3" fmla="*/ 121805 w 213044"/>
                <a:gd name="connsiteY3" fmla="*/ 86264 h 569343"/>
                <a:gd name="connsiteX4" fmla="*/ 148996 w 213044"/>
                <a:gd name="connsiteY4" fmla="*/ 119734 h 569343"/>
                <a:gd name="connsiteX5" fmla="*/ 199443 w 213044"/>
                <a:gd name="connsiteY5" fmla="*/ 189781 h 569343"/>
                <a:gd name="connsiteX6" fmla="*/ 213038 w 213044"/>
                <a:gd name="connsiteY6" fmla="*/ 253824 h 569343"/>
                <a:gd name="connsiteX7" fmla="*/ 200754 w 213044"/>
                <a:gd name="connsiteY7" fmla="*/ 327803 h 569343"/>
                <a:gd name="connsiteX8" fmla="*/ 172528 w 213044"/>
                <a:gd name="connsiteY8" fmla="*/ 379562 h 569343"/>
                <a:gd name="connsiteX9" fmla="*/ 181155 w 213044"/>
                <a:gd name="connsiteY9" fmla="*/ 465826 h 569343"/>
                <a:gd name="connsiteX10" fmla="*/ 189781 w 213044"/>
                <a:gd name="connsiteY10" fmla="*/ 491705 h 569343"/>
                <a:gd name="connsiteX11" fmla="*/ 198408 w 213044"/>
                <a:gd name="connsiteY11" fmla="*/ 569343 h 569343"/>
                <a:gd name="connsiteX0" fmla="*/ 0 w 213042"/>
                <a:gd name="connsiteY0" fmla="*/ 0 h 569343"/>
                <a:gd name="connsiteX1" fmla="*/ 43132 w 213042"/>
                <a:gd name="connsiteY1" fmla="*/ 34505 h 569343"/>
                <a:gd name="connsiteX2" fmla="*/ 77362 w 213042"/>
                <a:gd name="connsiteY2" fmla="*/ 82331 h 569343"/>
                <a:gd name="connsiteX3" fmla="*/ 121805 w 213042"/>
                <a:gd name="connsiteY3" fmla="*/ 86264 h 569343"/>
                <a:gd name="connsiteX4" fmla="*/ 148996 w 213042"/>
                <a:gd name="connsiteY4" fmla="*/ 119734 h 569343"/>
                <a:gd name="connsiteX5" fmla="*/ 199443 w 213042"/>
                <a:gd name="connsiteY5" fmla="*/ 189781 h 569343"/>
                <a:gd name="connsiteX6" fmla="*/ 213038 w 213042"/>
                <a:gd name="connsiteY6" fmla="*/ 253824 h 569343"/>
                <a:gd name="connsiteX7" fmla="*/ 200754 w 213042"/>
                <a:gd name="connsiteY7" fmla="*/ 327803 h 569343"/>
                <a:gd name="connsiteX8" fmla="*/ 190816 w 213042"/>
                <a:gd name="connsiteY8" fmla="*/ 379562 h 569343"/>
                <a:gd name="connsiteX9" fmla="*/ 181155 w 213042"/>
                <a:gd name="connsiteY9" fmla="*/ 465826 h 569343"/>
                <a:gd name="connsiteX10" fmla="*/ 189781 w 213042"/>
                <a:gd name="connsiteY10" fmla="*/ 491705 h 569343"/>
                <a:gd name="connsiteX11" fmla="*/ 198408 w 213042"/>
                <a:gd name="connsiteY11" fmla="*/ 569343 h 569343"/>
                <a:gd name="connsiteX0" fmla="*/ 0 w 213042"/>
                <a:gd name="connsiteY0" fmla="*/ 0 h 569343"/>
                <a:gd name="connsiteX1" fmla="*/ 43132 w 213042"/>
                <a:gd name="connsiteY1" fmla="*/ 34505 h 569343"/>
                <a:gd name="connsiteX2" fmla="*/ 77362 w 213042"/>
                <a:gd name="connsiteY2" fmla="*/ 82331 h 569343"/>
                <a:gd name="connsiteX3" fmla="*/ 121805 w 213042"/>
                <a:gd name="connsiteY3" fmla="*/ 86264 h 569343"/>
                <a:gd name="connsiteX4" fmla="*/ 148996 w 213042"/>
                <a:gd name="connsiteY4" fmla="*/ 119734 h 569343"/>
                <a:gd name="connsiteX5" fmla="*/ 199443 w 213042"/>
                <a:gd name="connsiteY5" fmla="*/ 189781 h 569343"/>
                <a:gd name="connsiteX6" fmla="*/ 213038 w 213042"/>
                <a:gd name="connsiteY6" fmla="*/ 253824 h 569343"/>
                <a:gd name="connsiteX7" fmla="*/ 200754 w 213042"/>
                <a:gd name="connsiteY7" fmla="*/ 327803 h 569343"/>
                <a:gd name="connsiteX8" fmla="*/ 190816 w 213042"/>
                <a:gd name="connsiteY8" fmla="*/ 379562 h 569343"/>
                <a:gd name="connsiteX9" fmla="*/ 188470 w 213042"/>
                <a:gd name="connsiteY9" fmla="*/ 454853 h 569343"/>
                <a:gd name="connsiteX10" fmla="*/ 189781 w 213042"/>
                <a:gd name="connsiteY10" fmla="*/ 491705 h 569343"/>
                <a:gd name="connsiteX11" fmla="*/ 198408 w 213042"/>
                <a:gd name="connsiteY11" fmla="*/ 569343 h 56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3042" h="569343">
                  <a:moveTo>
                    <a:pt x="0" y="0"/>
                  </a:moveTo>
                  <a:cubicBezTo>
                    <a:pt x="14377" y="11502"/>
                    <a:pt x="30238" y="20783"/>
                    <a:pt x="43132" y="34505"/>
                  </a:cubicBezTo>
                  <a:cubicBezTo>
                    <a:pt x="56026" y="48227"/>
                    <a:pt x="64250" y="73705"/>
                    <a:pt x="77362" y="82331"/>
                  </a:cubicBezTo>
                  <a:cubicBezTo>
                    <a:pt x="90474" y="90957"/>
                    <a:pt x="104759" y="80581"/>
                    <a:pt x="121805" y="86264"/>
                  </a:cubicBezTo>
                  <a:cubicBezTo>
                    <a:pt x="133307" y="103517"/>
                    <a:pt x="136056" y="102481"/>
                    <a:pt x="148996" y="119734"/>
                  </a:cubicBezTo>
                  <a:cubicBezTo>
                    <a:pt x="161936" y="136987"/>
                    <a:pt x="175423" y="153751"/>
                    <a:pt x="199443" y="189781"/>
                  </a:cubicBezTo>
                  <a:cubicBezTo>
                    <a:pt x="203510" y="201983"/>
                    <a:pt x="212820" y="230820"/>
                    <a:pt x="213038" y="253824"/>
                  </a:cubicBezTo>
                  <a:cubicBezTo>
                    <a:pt x="213257" y="276828"/>
                    <a:pt x="204458" y="306847"/>
                    <a:pt x="200754" y="327803"/>
                  </a:cubicBezTo>
                  <a:cubicBezTo>
                    <a:pt x="197050" y="348759"/>
                    <a:pt x="192863" y="358387"/>
                    <a:pt x="190816" y="379562"/>
                  </a:cubicBezTo>
                  <a:cubicBezTo>
                    <a:pt x="188769" y="400737"/>
                    <a:pt x="188643" y="436163"/>
                    <a:pt x="188470" y="454853"/>
                  </a:cubicBezTo>
                  <a:cubicBezTo>
                    <a:pt x="188298" y="473544"/>
                    <a:pt x="188125" y="472623"/>
                    <a:pt x="189781" y="491705"/>
                  </a:cubicBezTo>
                  <a:cubicBezTo>
                    <a:pt x="191437" y="510787"/>
                    <a:pt x="198408" y="528710"/>
                    <a:pt x="198408" y="569343"/>
                  </a:cubicBezTo>
                </a:path>
              </a:pathLst>
            </a:cu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cxnSp>
          <p:nvCxnSpPr>
            <p:cNvPr id="465" name="Conector reto 340"/>
            <p:cNvCxnSpPr/>
            <p:nvPr/>
          </p:nvCxnSpPr>
          <p:spPr>
            <a:xfrm>
              <a:off x="6793200" y="5833729"/>
              <a:ext cx="354013" cy="0"/>
            </a:xfrm>
            <a:prstGeom prst="line">
              <a:avLst/>
            </a:prstGeom>
            <a:ln w="38100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6" name="Retângulo 7"/>
            <p:cNvSpPr/>
            <p:nvPr/>
          </p:nvSpPr>
          <p:spPr>
            <a:xfrm>
              <a:off x="7215822" y="5617700"/>
              <a:ext cx="1928179" cy="332142"/>
            </a:xfrm>
            <a:prstGeom prst="rect">
              <a:avLst/>
            </a:prstGeom>
            <a:ln w="38100" cmpd="sng">
              <a:noFill/>
            </a:ln>
          </p:spPr>
          <p:txBody>
            <a:bodyPr wrap="square">
              <a:spAutoFit/>
            </a:bodyPr>
            <a:lstStyle/>
            <a:p>
              <a:pPr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pt-BR" sz="1100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Malha - PIL </a:t>
              </a:r>
            </a:p>
          </p:txBody>
        </p:sp>
        <p:sp>
          <p:nvSpPr>
            <p:cNvPr id="2" name="Forma livre 1"/>
            <p:cNvSpPr/>
            <p:nvPr/>
          </p:nvSpPr>
          <p:spPr>
            <a:xfrm>
              <a:off x="5531868" y="2460292"/>
              <a:ext cx="310203" cy="703403"/>
            </a:xfrm>
            <a:custGeom>
              <a:avLst/>
              <a:gdLst>
                <a:gd name="connsiteX0" fmla="*/ 128789 w 296214"/>
                <a:gd name="connsiteY0" fmla="*/ 0 h 721217"/>
                <a:gd name="connsiteX1" fmla="*/ 64395 w 296214"/>
                <a:gd name="connsiteY1" fmla="*/ 25758 h 721217"/>
                <a:gd name="connsiteX2" fmla="*/ 0 w 296214"/>
                <a:gd name="connsiteY2" fmla="*/ 141668 h 721217"/>
                <a:gd name="connsiteX3" fmla="*/ 12879 w 296214"/>
                <a:gd name="connsiteY3" fmla="*/ 360608 h 721217"/>
                <a:gd name="connsiteX4" fmla="*/ 38637 w 296214"/>
                <a:gd name="connsiteY4" fmla="*/ 437882 h 721217"/>
                <a:gd name="connsiteX5" fmla="*/ 77273 w 296214"/>
                <a:gd name="connsiteY5" fmla="*/ 463639 h 721217"/>
                <a:gd name="connsiteX6" fmla="*/ 103031 w 296214"/>
                <a:gd name="connsiteY6" fmla="*/ 502276 h 721217"/>
                <a:gd name="connsiteX7" fmla="*/ 180304 w 296214"/>
                <a:gd name="connsiteY7" fmla="*/ 553791 h 721217"/>
                <a:gd name="connsiteX8" fmla="*/ 206062 w 296214"/>
                <a:gd name="connsiteY8" fmla="*/ 592428 h 721217"/>
                <a:gd name="connsiteX9" fmla="*/ 218941 w 296214"/>
                <a:gd name="connsiteY9" fmla="*/ 631065 h 721217"/>
                <a:gd name="connsiteX10" fmla="*/ 257578 w 296214"/>
                <a:gd name="connsiteY10" fmla="*/ 656822 h 721217"/>
                <a:gd name="connsiteX11" fmla="*/ 296214 w 296214"/>
                <a:gd name="connsiteY11" fmla="*/ 721217 h 721217"/>
                <a:gd name="connsiteX0" fmla="*/ 116151 w 283576"/>
                <a:gd name="connsiteY0" fmla="*/ 0 h 721217"/>
                <a:gd name="connsiteX1" fmla="*/ 51757 w 283576"/>
                <a:gd name="connsiteY1" fmla="*/ 25758 h 721217"/>
                <a:gd name="connsiteX2" fmla="*/ 11113 w 283576"/>
                <a:gd name="connsiteY2" fmla="*/ 218857 h 721217"/>
                <a:gd name="connsiteX3" fmla="*/ 241 w 283576"/>
                <a:gd name="connsiteY3" fmla="*/ 360608 h 721217"/>
                <a:gd name="connsiteX4" fmla="*/ 25999 w 283576"/>
                <a:gd name="connsiteY4" fmla="*/ 437882 h 721217"/>
                <a:gd name="connsiteX5" fmla="*/ 64635 w 283576"/>
                <a:gd name="connsiteY5" fmla="*/ 463639 h 721217"/>
                <a:gd name="connsiteX6" fmla="*/ 90393 w 283576"/>
                <a:gd name="connsiteY6" fmla="*/ 502276 h 721217"/>
                <a:gd name="connsiteX7" fmla="*/ 167666 w 283576"/>
                <a:gd name="connsiteY7" fmla="*/ 553791 h 721217"/>
                <a:gd name="connsiteX8" fmla="*/ 193424 w 283576"/>
                <a:gd name="connsiteY8" fmla="*/ 592428 h 721217"/>
                <a:gd name="connsiteX9" fmla="*/ 206303 w 283576"/>
                <a:gd name="connsiteY9" fmla="*/ 631065 h 721217"/>
                <a:gd name="connsiteX10" fmla="*/ 244940 w 283576"/>
                <a:gd name="connsiteY10" fmla="*/ 656822 h 721217"/>
                <a:gd name="connsiteX11" fmla="*/ 283576 w 283576"/>
                <a:gd name="connsiteY11" fmla="*/ 721217 h 721217"/>
                <a:gd name="connsiteX0" fmla="*/ 116151 w 283576"/>
                <a:gd name="connsiteY0" fmla="*/ 0 h 721217"/>
                <a:gd name="connsiteX1" fmla="*/ 57695 w 283576"/>
                <a:gd name="connsiteY1" fmla="*/ 85134 h 721217"/>
                <a:gd name="connsiteX2" fmla="*/ 11113 w 283576"/>
                <a:gd name="connsiteY2" fmla="*/ 218857 h 721217"/>
                <a:gd name="connsiteX3" fmla="*/ 241 w 283576"/>
                <a:gd name="connsiteY3" fmla="*/ 360608 h 721217"/>
                <a:gd name="connsiteX4" fmla="*/ 25999 w 283576"/>
                <a:gd name="connsiteY4" fmla="*/ 437882 h 721217"/>
                <a:gd name="connsiteX5" fmla="*/ 64635 w 283576"/>
                <a:gd name="connsiteY5" fmla="*/ 463639 h 721217"/>
                <a:gd name="connsiteX6" fmla="*/ 90393 w 283576"/>
                <a:gd name="connsiteY6" fmla="*/ 502276 h 721217"/>
                <a:gd name="connsiteX7" fmla="*/ 167666 w 283576"/>
                <a:gd name="connsiteY7" fmla="*/ 553791 h 721217"/>
                <a:gd name="connsiteX8" fmla="*/ 193424 w 283576"/>
                <a:gd name="connsiteY8" fmla="*/ 592428 h 721217"/>
                <a:gd name="connsiteX9" fmla="*/ 206303 w 283576"/>
                <a:gd name="connsiteY9" fmla="*/ 631065 h 721217"/>
                <a:gd name="connsiteX10" fmla="*/ 244940 w 283576"/>
                <a:gd name="connsiteY10" fmla="*/ 656822 h 721217"/>
                <a:gd name="connsiteX11" fmla="*/ 283576 w 283576"/>
                <a:gd name="connsiteY11" fmla="*/ 721217 h 721217"/>
                <a:gd name="connsiteX0" fmla="*/ 176290 w 343715"/>
                <a:gd name="connsiteY0" fmla="*/ 0 h 721217"/>
                <a:gd name="connsiteX1" fmla="*/ 117834 w 343715"/>
                <a:gd name="connsiteY1" fmla="*/ 85134 h 721217"/>
                <a:gd name="connsiteX2" fmla="*/ 0 w 343715"/>
                <a:gd name="connsiteY2" fmla="*/ 242608 h 721217"/>
                <a:gd name="connsiteX3" fmla="*/ 60380 w 343715"/>
                <a:gd name="connsiteY3" fmla="*/ 360608 h 721217"/>
                <a:gd name="connsiteX4" fmla="*/ 86138 w 343715"/>
                <a:gd name="connsiteY4" fmla="*/ 437882 h 721217"/>
                <a:gd name="connsiteX5" fmla="*/ 124774 w 343715"/>
                <a:gd name="connsiteY5" fmla="*/ 463639 h 721217"/>
                <a:gd name="connsiteX6" fmla="*/ 150532 w 343715"/>
                <a:gd name="connsiteY6" fmla="*/ 502276 h 721217"/>
                <a:gd name="connsiteX7" fmla="*/ 227805 w 343715"/>
                <a:gd name="connsiteY7" fmla="*/ 553791 h 721217"/>
                <a:gd name="connsiteX8" fmla="*/ 253563 w 343715"/>
                <a:gd name="connsiteY8" fmla="*/ 592428 h 721217"/>
                <a:gd name="connsiteX9" fmla="*/ 266442 w 343715"/>
                <a:gd name="connsiteY9" fmla="*/ 631065 h 721217"/>
                <a:gd name="connsiteX10" fmla="*/ 305079 w 343715"/>
                <a:gd name="connsiteY10" fmla="*/ 656822 h 721217"/>
                <a:gd name="connsiteX11" fmla="*/ 343715 w 343715"/>
                <a:gd name="connsiteY11" fmla="*/ 721217 h 721217"/>
                <a:gd name="connsiteX0" fmla="*/ 188165 w 355590"/>
                <a:gd name="connsiteY0" fmla="*/ 0 h 721217"/>
                <a:gd name="connsiteX1" fmla="*/ 129709 w 355590"/>
                <a:gd name="connsiteY1" fmla="*/ 85134 h 721217"/>
                <a:gd name="connsiteX2" fmla="*/ 0 w 355590"/>
                <a:gd name="connsiteY2" fmla="*/ 296047 h 721217"/>
                <a:gd name="connsiteX3" fmla="*/ 72255 w 355590"/>
                <a:gd name="connsiteY3" fmla="*/ 360608 h 721217"/>
                <a:gd name="connsiteX4" fmla="*/ 98013 w 355590"/>
                <a:gd name="connsiteY4" fmla="*/ 437882 h 721217"/>
                <a:gd name="connsiteX5" fmla="*/ 136649 w 355590"/>
                <a:gd name="connsiteY5" fmla="*/ 463639 h 721217"/>
                <a:gd name="connsiteX6" fmla="*/ 162407 w 355590"/>
                <a:gd name="connsiteY6" fmla="*/ 502276 h 721217"/>
                <a:gd name="connsiteX7" fmla="*/ 239680 w 355590"/>
                <a:gd name="connsiteY7" fmla="*/ 553791 h 721217"/>
                <a:gd name="connsiteX8" fmla="*/ 265438 w 355590"/>
                <a:gd name="connsiteY8" fmla="*/ 592428 h 721217"/>
                <a:gd name="connsiteX9" fmla="*/ 278317 w 355590"/>
                <a:gd name="connsiteY9" fmla="*/ 631065 h 721217"/>
                <a:gd name="connsiteX10" fmla="*/ 316954 w 355590"/>
                <a:gd name="connsiteY10" fmla="*/ 656822 h 721217"/>
                <a:gd name="connsiteX11" fmla="*/ 355590 w 355590"/>
                <a:gd name="connsiteY11" fmla="*/ 721217 h 721217"/>
                <a:gd name="connsiteX0" fmla="*/ 188165 w 355590"/>
                <a:gd name="connsiteY0" fmla="*/ 0 h 721217"/>
                <a:gd name="connsiteX1" fmla="*/ 129709 w 355590"/>
                <a:gd name="connsiteY1" fmla="*/ 85134 h 721217"/>
                <a:gd name="connsiteX2" fmla="*/ 0 w 355590"/>
                <a:gd name="connsiteY2" fmla="*/ 296047 h 721217"/>
                <a:gd name="connsiteX3" fmla="*/ 42567 w 355590"/>
                <a:gd name="connsiteY3" fmla="*/ 384358 h 721217"/>
                <a:gd name="connsiteX4" fmla="*/ 98013 w 355590"/>
                <a:gd name="connsiteY4" fmla="*/ 437882 h 721217"/>
                <a:gd name="connsiteX5" fmla="*/ 136649 w 355590"/>
                <a:gd name="connsiteY5" fmla="*/ 463639 h 721217"/>
                <a:gd name="connsiteX6" fmla="*/ 162407 w 355590"/>
                <a:gd name="connsiteY6" fmla="*/ 502276 h 721217"/>
                <a:gd name="connsiteX7" fmla="*/ 239680 w 355590"/>
                <a:gd name="connsiteY7" fmla="*/ 553791 h 721217"/>
                <a:gd name="connsiteX8" fmla="*/ 265438 w 355590"/>
                <a:gd name="connsiteY8" fmla="*/ 592428 h 721217"/>
                <a:gd name="connsiteX9" fmla="*/ 278317 w 355590"/>
                <a:gd name="connsiteY9" fmla="*/ 631065 h 721217"/>
                <a:gd name="connsiteX10" fmla="*/ 316954 w 355590"/>
                <a:gd name="connsiteY10" fmla="*/ 656822 h 721217"/>
                <a:gd name="connsiteX11" fmla="*/ 355590 w 355590"/>
                <a:gd name="connsiteY11" fmla="*/ 721217 h 721217"/>
                <a:gd name="connsiteX0" fmla="*/ 146217 w 313642"/>
                <a:gd name="connsiteY0" fmla="*/ 0 h 721217"/>
                <a:gd name="connsiteX1" fmla="*/ 87761 w 313642"/>
                <a:gd name="connsiteY1" fmla="*/ 85134 h 721217"/>
                <a:gd name="connsiteX2" fmla="*/ 23366 w 313642"/>
                <a:gd name="connsiteY2" fmla="*/ 248545 h 721217"/>
                <a:gd name="connsiteX3" fmla="*/ 619 w 313642"/>
                <a:gd name="connsiteY3" fmla="*/ 384358 h 721217"/>
                <a:gd name="connsiteX4" fmla="*/ 56065 w 313642"/>
                <a:gd name="connsiteY4" fmla="*/ 437882 h 721217"/>
                <a:gd name="connsiteX5" fmla="*/ 94701 w 313642"/>
                <a:gd name="connsiteY5" fmla="*/ 463639 h 721217"/>
                <a:gd name="connsiteX6" fmla="*/ 120459 w 313642"/>
                <a:gd name="connsiteY6" fmla="*/ 502276 h 721217"/>
                <a:gd name="connsiteX7" fmla="*/ 197732 w 313642"/>
                <a:gd name="connsiteY7" fmla="*/ 553791 h 721217"/>
                <a:gd name="connsiteX8" fmla="*/ 223490 w 313642"/>
                <a:gd name="connsiteY8" fmla="*/ 592428 h 721217"/>
                <a:gd name="connsiteX9" fmla="*/ 236369 w 313642"/>
                <a:gd name="connsiteY9" fmla="*/ 631065 h 721217"/>
                <a:gd name="connsiteX10" fmla="*/ 275006 w 313642"/>
                <a:gd name="connsiteY10" fmla="*/ 656822 h 721217"/>
                <a:gd name="connsiteX11" fmla="*/ 313642 w 313642"/>
                <a:gd name="connsiteY11" fmla="*/ 721217 h 721217"/>
                <a:gd name="connsiteX0" fmla="*/ 146217 w 313642"/>
                <a:gd name="connsiteY0" fmla="*/ 0 h 721217"/>
                <a:gd name="connsiteX1" fmla="*/ 87761 w 313642"/>
                <a:gd name="connsiteY1" fmla="*/ 120760 h 721217"/>
                <a:gd name="connsiteX2" fmla="*/ 23366 w 313642"/>
                <a:gd name="connsiteY2" fmla="*/ 248545 h 721217"/>
                <a:gd name="connsiteX3" fmla="*/ 619 w 313642"/>
                <a:gd name="connsiteY3" fmla="*/ 384358 h 721217"/>
                <a:gd name="connsiteX4" fmla="*/ 56065 w 313642"/>
                <a:gd name="connsiteY4" fmla="*/ 437882 h 721217"/>
                <a:gd name="connsiteX5" fmla="*/ 94701 w 313642"/>
                <a:gd name="connsiteY5" fmla="*/ 463639 h 721217"/>
                <a:gd name="connsiteX6" fmla="*/ 120459 w 313642"/>
                <a:gd name="connsiteY6" fmla="*/ 502276 h 721217"/>
                <a:gd name="connsiteX7" fmla="*/ 197732 w 313642"/>
                <a:gd name="connsiteY7" fmla="*/ 553791 h 721217"/>
                <a:gd name="connsiteX8" fmla="*/ 223490 w 313642"/>
                <a:gd name="connsiteY8" fmla="*/ 592428 h 721217"/>
                <a:gd name="connsiteX9" fmla="*/ 236369 w 313642"/>
                <a:gd name="connsiteY9" fmla="*/ 631065 h 721217"/>
                <a:gd name="connsiteX10" fmla="*/ 275006 w 313642"/>
                <a:gd name="connsiteY10" fmla="*/ 656822 h 721217"/>
                <a:gd name="connsiteX11" fmla="*/ 313642 w 313642"/>
                <a:gd name="connsiteY11" fmla="*/ 721217 h 721217"/>
                <a:gd name="connsiteX0" fmla="*/ 163824 w 331249"/>
                <a:gd name="connsiteY0" fmla="*/ 0 h 721217"/>
                <a:gd name="connsiteX1" fmla="*/ 105368 w 331249"/>
                <a:gd name="connsiteY1" fmla="*/ 120760 h 721217"/>
                <a:gd name="connsiteX2" fmla="*/ 40973 w 331249"/>
                <a:gd name="connsiteY2" fmla="*/ 248545 h 721217"/>
                <a:gd name="connsiteX3" fmla="*/ 413 w 331249"/>
                <a:gd name="connsiteY3" fmla="*/ 372483 h 721217"/>
                <a:gd name="connsiteX4" fmla="*/ 73672 w 331249"/>
                <a:gd name="connsiteY4" fmla="*/ 437882 h 721217"/>
                <a:gd name="connsiteX5" fmla="*/ 112308 w 331249"/>
                <a:gd name="connsiteY5" fmla="*/ 463639 h 721217"/>
                <a:gd name="connsiteX6" fmla="*/ 138066 w 331249"/>
                <a:gd name="connsiteY6" fmla="*/ 502276 h 721217"/>
                <a:gd name="connsiteX7" fmla="*/ 215339 w 331249"/>
                <a:gd name="connsiteY7" fmla="*/ 553791 h 721217"/>
                <a:gd name="connsiteX8" fmla="*/ 241097 w 331249"/>
                <a:gd name="connsiteY8" fmla="*/ 592428 h 721217"/>
                <a:gd name="connsiteX9" fmla="*/ 253976 w 331249"/>
                <a:gd name="connsiteY9" fmla="*/ 631065 h 721217"/>
                <a:gd name="connsiteX10" fmla="*/ 292613 w 331249"/>
                <a:gd name="connsiteY10" fmla="*/ 656822 h 721217"/>
                <a:gd name="connsiteX11" fmla="*/ 331249 w 331249"/>
                <a:gd name="connsiteY11" fmla="*/ 721217 h 721217"/>
                <a:gd name="connsiteX0" fmla="*/ 164291 w 331716"/>
                <a:gd name="connsiteY0" fmla="*/ 0 h 721217"/>
                <a:gd name="connsiteX1" fmla="*/ 105835 w 331716"/>
                <a:gd name="connsiteY1" fmla="*/ 120760 h 721217"/>
                <a:gd name="connsiteX2" fmla="*/ 41440 w 331716"/>
                <a:gd name="connsiteY2" fmla="*/ 248545 h 721217"/>
                <a:gd name="connsiteX3" fmla="*/ 880 w 331716"/>
                <a:gd name="connsiteY3" fmla="*/ 372483 h 721217"/>
                <a:gd name="connsiteX4" fmla="*/ 74139 w 331716"/>
                <a:gd name="connsiteY4" fmla="*/ 437882 h 721217"/>
                <a:gd name="connsiteX5" fmla="*/ 112775 w 331716"/>
                <a:gd name="connsiteY5" fmla="*/ 463639 h 721217"/>
                <a:gd name="connsiteX6" fmla="*/ 138533 w 331716"/>
                <a:gd name="connsiteY6" fmla="*/ 502276 h 721217"/>
                <a:gd name="connsiteX7" fmla="*/ 215806 w 331716"/>
                <a:gd name="connsiteY7" fmla="*/ 553791 h 721217"/>
                <a:gd name="connsiteX8" fmla="*/ 241564 w 331716"/>
                <a:gd name="connsiteY8" fmla="*/ 592428 h 721217"/>
                <a:gd name="connsiteX9" fmla="*/ 254443 w 331716"/>
                <a:gd name="connsiteY9" fmla="*/ 631065 h 721217"/>
                <a:gd name="connsiteX10" fmla="*/ 293080 w 331716"/>
                <a:gd name="connsiteY10" fmla="*/ 656822 h 721217"/>
                <a:gd name="connsiteX11" fmla="*/ 331716 w 331716"/>
                <a:gd name="connsiteY11" fmla="*/ 721217 h 721217"/>
                <a:gd name="connsiteX0" fmla="*/ 27725 w 331716"/>
                <a:gd name="connsiteY0" fmla="*/ 0 h 727154"/>
                <a:gd name="connsiteX1" fmla="*/ 105835 w 331716"/>
                <a:gd name="connsiteY1" fmla="*/ 126697 h 727154"/>
                <a:gd name="connsiteX2" fmla="*/ 41440 w 331716"/>
                <a:gd name="connsiteY2" fmla="*/ 254482 h 727154"/>
                <a:gd name="connsiteX3" fmla="*/ 880 w 331716"/>
                <a:gd name="connsiteY3" fmla="*/ 378420 h 727154"/>
                <a:gd name="connsiteX4" fmla="*/ 74139 w 331716"/>
                <a:gd name="connsiteY4" fmla="*/ 443819 h 727154"/>
                <a:gd name="connsiteX5" fmla="*/ 112775 w 331716"/>
                <a:gd name="connsiteY5" fmla="*/ 469576 h 727154"/>
                <a:gd name="connsiteX6" fmla="*/ 138533 w 331716"/>
                <a:gd name="connsiteY6" fmla="*/ 508213 h 727154"/>
                <a:gd name="connsiteX7" fmla="*/ 215806 w 331716"/>
                <a:gd name="connsiteY7" fmla="*/ 559728 h 727154"/>
                <a:gd name="connsiteX8" fmla="*/ 241564 w 331716"/>
                <a:gd name="connsiteY8" fmla="*/ 598365 h 727154"/>
                <a:gd name="connsiteX9" fmla="*/ 254443 w 331716"/>
                <a:gd name="connsiteY9" fmla="*/ 637002 h 727154"/>
                <a:gd name="connsiteX10" fmla="*/ 293080 w 331716"/>
                <a:gd name="connsiteY10" fmla="*/ 662759 h 727154"/>
                <a:gd name="connsiteX11" fmla="*/ 331716 w 331716"/>
                <a:gd name="connsiteY11" fmla="*/ 727154 h 727154"/>
                <a:gd name="connsiteX0" fmla="*/ 111936 w 415927"/>
                <a:gd name="connsiteY0" fmla="*/ 0 h 727154"/>
                <a:gd name="connsiteX1" fmla="*/ 41 w 415927"/>
                <a:gd name="connsiteY1" fmla="*/ 138572 h 727154"/>
                <a:gd name="connsiteX2" fmla="*/ 125651 w 415927"/>
                <a:gd name="connsiteY2" fmla="*/ 254482 h 727154"/>
                <a:gd name="connsiteX3" fmla="*/ 85091 w 415927"/>
                <a:gd name="connsiteY3" fmla="*/ 378420 h 727154"/>
                <a:gd name="connsiteX4" fmla="*/ 158350 w 415927"/>
                <a:gd name="connsiteY4" fmla="*/ 443819 h 727154"/>
                <a:gd name="connsiteX5" fmla="*/ 196986 w 415927"/>
                <a:gd name="connsiteY5" fmla="*/ 469576 h 727154"/>
                <a:gd name="connsiteX6" fmla="*/ 222744 w 415927"/>
                <a:gd name="connsiteY6" fmla="*/ 508213 h 727154"/>
                <a:gd name="connsiteX7" fmla="*/ 300017 w 415927"/>
                <a:gd name="connsiteY7" fmla="*/ 559728 h 727154"/>
                <a:gd name="connsiteX8" fmla="*/ 325775 w 415927"/>
                <a:gd name="connsiteY8" fmla="*/ 598365 h 727154"/>
                <a:gd name="connsiteX9" fmla="*/ 338654 w 415927"/>
                <a:gd name="connsiteY9" fmla="*/ 637002 h 727154"/>
                <a:gd name="connsiteX10" fmla="*/ 377291 w 415927"/>
                <a:gd name="connsiteY10" fmla="*/ 662759 h 727154"/>
                <a:gd name="connsiteX11" fmla="*/ 415927 w 415927"/>
                <a:gd name="connsiteY11" fmla="*/ 727154 h 727154"/>
                <a:gd name="connsiteX0" fmla="*/ 167727 w 471718"/>
                <a:gd name="connsiteY0" fmla="*/ 0 h 727154"/>
                <a:gd name="connsiteX1" fmla="*/ 55832 w 471718"/>
                <a:gd name="connsiteY1" fmla="*/ 138572 h 727154"/>
                <a:gd name="connsiteX2" fmla="*/ 3312 w 471718"/>
                <a:gd name="connsiteY2" fmla="*/ 248544 h 727154"/>
                <a:gd name="connsiteX3" fmla="*/ 140882 w 471718"/>
                <a:gd name="connsiteY3" fmla="*/ 378420 h 727154"/>
                <a:gd name="connsiteX4" fmla="*/ 214141 w 471718"/>
                <a:gd name="connsiteY4" fmla="*/ 443819 h 727154"/>
                <a:gd name="connsiteX5" fmla="*/ 252777 w 471718"/>
                <a:gd name="connsiteY5" fmla="*/ 469576 h 727154"/>
                <a:gd name="connsiteX6" fmla="*/ 278535 w 471718"/>
                <a:gd name="connsiteY6" fmla="*/ 508213 h 727154"/>
                <a:gd name="connsiteX7" fmla="*/ 355808 w 471718"/>
                <a:gd name="connsiteY7" fmla="*/ 559728 h 727154"/>
                <a:gd name="connsiteX8" fmla="*/ 381566 w 471718"/>
                <a:gd name="connsiteY8" fmla="*/ 598365 h 727154"/>
                <a:gd name="connsiteX9" fmla="*/ 394445 w 471718"/>
                <a:gd name="connsiteY9" fmla="*/ 637002 h 727154"/>
                <a:gd name="connsiteX10" fmla="*/ 433082 w 471718"/>
                <a:gd name="connsiteY10" fmla="*/ 662759 h 727154"/>
                <a:gd name="connsiteX11" fmla="*/ 471718 w 471718"/>
                <a:gd name="connsiteY11" fmla="*/ 727154 h 727154"/>
                <a:gd name="connsiteX0" fmla="*/ 190158 w 494149"/>
                <a:gd name="connsiteY0" fmla="*/ 0 h 727154"/>
                <a:gd name="connsiteX1" fmla="*/ 78263 w 494149"/>
                <a:gd name="connsiteY1" fmla="*/ 138572 h 727154"/>
                <a:gd name="connsiteX2" fmla="*/ 25743 w 494149"/>
                <a:gd name="connsiteY2" fmla="*/ 248544 h 727154"/>
                <a:gd name="connsiteX3" fmla="*/ 20809 w 494149"/>
                <a:gd name="connsiteY3" fmla="*/ 390296 h 727154"/>
                <a:gd name="connsiteX4" fmla="*/ 236572 w 494149"/>
                <a:gd name="connsiteY4" fmla="*/ 443819 h 727154"/>
                <a:gd name="connsiteX5" fmla="*/ 275208 w 494149"/>
                <a:gd name="connsiteY5" fmla="*/ 469576 h 727154"/>
                <a:gd name="connsiteX6" fmla="*/ 300966 w 494149"/>
                <a:gd name="connsiteY6" fmla="*/ 508213 h 727154"/>
                <a:gd name="connsiteX7" fmla="*/ 378239 w 494149"/>
                <a:gd name="connsiteY7" fmla="*/ 559728 h 727154"/>
                <a:gd name="connsiteX8" fmla="*/ 403997 w 494149"/>
                <a:gd name="connsiteY8" fmla="*/ 598365 h 727154"/>
                <a:gd name="connsiteX9" fmla="*/ 416876 w 494149"/>
                <a:gd name="connsiteY9" fmla="*/ 637002 h 727154"/>
                <a:gd name="connsiteX10" fmla="*/ 455513 w 494149"/>
                <a:gd name="connsiteY10" fmla="*/ 662759 h 727154"/>
                <a:gd name="connsiteX11" fmla="*/ 494149 w 494149"/>
                <a:gd name="connsiteY11" fmla="*/ 727154 h 727154"/>
                <a:gd name="connsiteX0" fmla="*/ 191460 w 495451"/>
                <a:gd name="connsiteY0" fmla="*/ 0 h 727154"/>
                <a:gd name="connsiteX1" fmla="*/ 79565 w 495451"/>
                <a:gd name="connsiteY1" fmla="*/ 138572 h 727154"/>
                <a:gd name="connsiteX2" fmla="*/ 27045 w 495451"/>
                <a:gd name="connsiteY2" fmla="*/ 248544 h 727154"/>
                <a:gd name="connsiteX3" fmla="*/ 22111 w 495451"/>
                <a:gd name="connsiteY3" fmla="*/ 390296 h 727154"/>
                <a:gd name="connsiteX4" fmla="*/ 18180 w 495451"/>
                <a:gd name="connsiteY4" fmla="*/ 473507 h 727154"/>
                <a:gd name="connsiteX5" fmla="*/ 276510 w 495451"/>
                <a:gd name="connsiteY5" fmla="*/ 469576 h 727154"/>
                <a:gd name="connsiteX6" fmla="*/ 302268 w 495451"/>
                <a:gd name="connsiteY6" fmla="*/ 508213 h 727154"/>
                <a:gd name="connsiteX7" fmla="*/ 379541 w 495451"/>
                <a:gd name="connsiteY7" fmla="*/ 559728 h 727154"/>
                <a:gd name="connsiteX8" fmla="*/ 405299 w 495451"/>
                <a:gd name="connsiteY8" fmla="*/ 598365 h 727154"/>
                <a:gd name="connsiteX9" fmla="*/ 418178 w 495451"/>
                <a:gd name="connsiteY9" fmla="*/ 637002 h 727154"/>
                <a:gd name="connsiteX10" fmla="*/ 456815 w 495451"/>
                <a:gd name="connsiteY10" fmla="*/ 662759 h 727154"/>
                <a:gd name="connsiteX11" fmla="*/ 495451 w 495451"/>
                <a:gd name="connsiteY11" fmla="*/ 727154 h 727154"/>
                <a:gd name="connsiteX0" fmla="*/ 201180 w 505171"/>
                <a:gd name="connsiteY0" fmla="*/ 0 h 727154"/>
                <a:gd name="connsiteX1" fmla="*/ 89285 w 505171"/>
                <a:gd name="connsiteY1" fmla="*/ 138572 h 727154"/>
                <a:gd name="connsiteX2" fmla="*/ 36765 w 505171"/>
                <a:gd name="connsiteY2" fmla="*/ 248544 h 727154"/>
                <a:gd name="connsiteX3" fmla="*/ 8080 w 505171"/>
                <a:gd name="connsiteY3" fmla="*/ 360608 h 727154"/>
                <a:gd name="connsiteX4" fmla="*/ 27900 w 505171"/>
                <a:gd name="connsiteY4" fmla="*/ 473507 h 727154"/>
                <a:gd name="connsiteX5" fmla="*/ 286230 w 505171"/>
                <a:gd name="connsiteY5" fmla="*/ 469576 h 727154"/>
                <a:gd name="connsiteX6" fmla="*/ 311988 w 505171"/>
                <a:gd name="connsiteY6" fmla="*/ 508213 h 727154"/>
                <a:gd name="connsiteX7" fmla="*/ 389261 w 505171"/>
                <a:gd name="connsiteY7" fmla="*/ 559728 h 727154"/>
                <a:gd name="connsiteX8" fmla="*/ 415019 w 505171"/>
                <a:gd name="connsiteY8" fmla="*/ 598365 h 727154"/>
                <a:gd name="connsiteX9" fmla="*/ 427898 w 505171"/>
                <a:gd name="connsiteY9" fmla="*/ 637002 h 727154"/>
                <a:gd name="connsiteX10" fmla="*/ 466535 w 505171"/>
                <a:gd name="connsiteY10" fmla="*/ 662759 h 727154"/>
                <a:gd name="connsiteX11" fmla="*/ 505171 w 505171"/>
                <a:gd name="connsiteY11" fmla="*/ 727154 h 727154"/>
                <a:gd name="connsiteX0" fmla="*/ 222516 w 526507"/>
                <a:gd name="connsiteY0" fmla="*/ 0 h 727154"/>
                <a:gd name="connsiteX1" fmla="*/ 110621 w 526507"/>
                <a:gd name="connsiteY1" fmla="*/ 138572 h 727154"/>
                <a:gd name="connsiteX2" fmla="*/ 58101 w 526507"/>
                <a:gd name="connsiteY2" fmla="*/ 248544 h 727154"/>
                <a:gd name="connsiteX3" fmla="*/ 29416 w 526507"/>
                <a:gd name="connsiteY3" fmla="*/ 360608 h 727154"/>
                <a:gd name="connsiteX4" fmla="*/ 19547 w 526507"/>
                <a:gd name="connsiteY4" fmla="*/ 461632 h 727154"/>
                <a:gd name="connsiteX5" fmla="*/ 307566 w 526507"/>
                <a:gd name="connsiteY5" fmla="*/ 469576 h 727154"/>
                <a:gd name="connsiteX6" fmla="*/ 333324 w 526507"/>
                <a:gd name="connsiteY6" fmla="*/ 508213 h 727154"/>
                <a:gd name="connsiteX7" fmla="*/ 410597 w 526507"/>
                <a:gd name="connsiteY7" fmla="*/ 559728 h 727154"/>
                <a:gd name="connsiteX8" fmla="*/ 436355 w 526507"/>
                <a:gd name="connsiteY8" fmla="*/ 598365 h 727154"/>
                <a:gd name="connsiteX9" fmla="*/ 449234 w 526507"/>
                <a:gd name="connsiteY9" fmla="*/ 637002 h 727154"/>
                <a:gd name="connsiteX10" fmla="*/ 487871 w 526507"/>
                <a:gd name="connsiteY10" fmla="*/ 662759 h 727154"/>
                <a:gd name="connsiteX11" fmla="*/ 526507 w 526507"/>
                <a:gd name="connsiteY11" fmla="*/ 727154 h 727154"/>
                <a:gd name="connsiteX0" fmla="*/ 202972 w 506963"/>
                <a:gd name="connsiteY0" fmla="*/ 0 h 727154"/>
                <a:gd name="connsiteX1" fmla="*/ 91077 w 506963"/>
                <a:gd name="connsiteY1" fmla="*/ 138572 h 727154"/>
                <a:gd name="connsiteX2" fmla="*/ 38557 w 506963"/>
                <a:gd name="connsiteY2" fmla="*/ 248544 h 727154"/>
                <a:gd name="connsiteX3" fmla="*/ 9872 w 506963"/>
                <a:gd name="connsiteY3" fmla="*/ 360608 h 727154"/>
                <a:gd name="connsiteX4" fmla="*/ 3 w 506963"/>
                <a:gd name="connsiteY4" fmla="*/ 461632 h 727154"/>
                <a:gd name="connsiteX5" fmla="*/ 288022 w 506963"/>
                <a:gd name="connsiteY5" fmla="*/ 469576 h 727154"/>
                <a:gd name="connsiteX6" fmla="*/ 313780 w 506963"/>
                <a:gd name="connsiteY6" fmla="*/ 508213 h 727154"/>
                <a:gd name="connsiteX7" fmla="*/ 391053 w 506963"/>
                <a:gd name="connsiteY7" fmla="*/ 559728 h 727154"/>
                <a:gd name="connsiteX8" fmla="*/ 416811 w 506963"/>
                <a:gd name="connsiteY8" fmla="*/ 598365 h 727154"/>
                <a:gd name="connsiteX9" fmla="*/ 429690 w 506963"/>
                <a:gd name="connsiteY9" fmla="*/ 637002 h 727154"/>
                <a:gd name="connsiteX10" fmla="*/ 468327 w 506963"/>
                <a:gd name="connsiteY10" fmla="*/ 662759 h 727154"/>
                <a:gd name="connsiteX11" fmla="*/ 506963 w 506963"/>
                <a:gd name="connsiteY11" fmla="*/ 727154 h 727154"/>
                <a:gd name="connsiteX0" fmla="*/ 209371 w 513362"/>
                <a:gd name="connsiteY0" fmla="*/ 0 h 727154"/>
                <a:gd name="connsiteX1" fmla="*/ 97476 w 513362"/>
                <a:gd name="connsiteY1" fmla="*/ 138572 h 727154"/>
                <a:gd name="connsiteX2" fmla="*/ 44956 w 513362"/>
                <a:gd name="connsiteY2" fmla="*/ 248544 h 727154"/>
                <a:gd name="connsiteX3" fmla="*/ 16271 w 513362"/>
                <a:gd name="connsiteY3" fmla="*/ 360608 h 727154"/>
                <a:gd name="connsiteX4" fmla="*/ 6402 w 513362"/>
                <a:gd name="connsiteY4" fmla="*/ 461632 h 727154"/>
                <a:gd name="connsiteX5" fmla="*/ 294421 w 513362"/>
                <a:gd name="connsiteY5" fmla="*/ 469576 h 727154"/>
                <a:gd name="connsiteX6" fmla="*/ 320179 w 513362"/>
                <a:gd name="connsiteY6" fmla="*/ 508213 h 727154"/>
                <a:gd name="connsiteX7" fmla="*/ 397452 w 513362"/>
                <a:gd name="connsiteY7" fmla="*/ 559728 h 727154"/>
                <a:gd name="connsiteX8" fmla="*/ 423210 w 513362"/>
                <a:gd name="connsiteY8" fmla="*/ 598365 h 727154"/>
                <a:gd name="connsiteX9" fmla="*/ 436089 w 513362"/>
                <a:gd name="connsiteY9" fmla="*/ 637002 h 727154"/>
                <a:gd name="connsiteX10" fmla="*/ 474726 w 513362"/>
                <a:gd name="connsiteY10" fmla="*/ 662759 h 727154"/>
                <a:gd name="connsiteX11" fmla="*/ 513362 w 513362"/>
                <a:gd name="connsiteY11" fmla="*/ 727154 h 727154"/>
                <a:gd name="connsiteX0" fmla="*/ 213332 w 517323"/>
                <a:gd name="connsiteY0" fmla="*/ 0 h 727154"/>
                <a:gd name="connsiteX1" fmla="*/ 101437 w 517323"/>
                <a:gd name="connsiteY1" fmla="*/ 138572 h 727154"/>
                <a:gd name="connsiteX2" fmla="*/ 48917 w 517323"/>
                <a:gd name="connsiteY2" fmla="*/ 248544 h 727154"/>
                <a:gd name="connsiteX3" fmla="*/ 20232 w 517323"/>
                <a:gd name="connsiteY3" fmla="*/ 360608 h 727154"/>
                <a:gd name="connsiteX4" fmla="*/ 10363 w 517323"/>
                <a:gd name="connsiteY4" fmla="*/ 461632 h 727154"/>
                <a:gd name="connsiteX5" fmla="*/ 173691 w 517323"/>
                <a:gd name="connsiteY5" fmla="*/ 511140 h 727154"/>
                <a:gd name="connsiteX6" fmla="*/ 324140 w 517323"/>
                <a:gd name="connsiteY6" fmla="*/ 508213 h 727154"/>
                <a:gd name="connsiteX7" fmla="*/ 401413 w 517323"/>
                <a:gd name="connsiteY7" fmla="*/ 559728 h 727154"/>
                <a:gd name="connsiteX8" fmla="*/ 427171 w 517323"/>
                <a:gd name="connsiteY8" fmla="*/ 598365 h 727154"/>
                <a:gd name="connsiteX9" fmla="*/ 440050 w 517323"/>
                <a:gd name="connsiteY9" fmla="*/ 637002 h 727154"/>
                <a:gd name="connsiteX10" fmla="*/ 478687 w 517323"/>
                <a:gd name="connsiteY10" fmla="*/ 662759 h 727154"/>
                <a:gd name="connsiteX11" fmla="*/ 517323 w 517323"/>
                <a:gd name="connsiteY11" fmla="*/ 727154 h 727154"/>
                <a:gd name="connsiteX0" fmla="*/ 213332 w 517323"/>
                <a:gd name="connsiteY0" fmla="*/ 0 h 727154"/>
                <a:gd name="connsiteX1" fmla="*/ 101437 w 517323"/>
                <a:gd name="connsiteY1" fmla="*/ 138572 h 727154"/>
                <a:gd name="connsiteX2" fmla="*/ 48917 w 517323"/>
                <a:gd name="connsiteY2" fmla="*/ 248544 h 727154"/>
                <a:gd name="connsiteX3" fmla="*/ 20232 w 517323"/>
                <a:gd name="connsiteY3" fmla="*/ 360608 h 727154"/>
                <a:gd name="connsiteX4" fmla="*/ 10363 w 517323"/>
                <a:gd name="connsiteY4" fmla="*/ 461632 h 727154"/>
                <a:gd name="connsiteX5" fmla="*/ 173691 w 517323"/>
                <a:gd name="connsiteY5" fmla="*/ 511140 h 727154"/>
                <a:gd name="connsiteX6" fmla="*/ 282576 w 517323"/>
                <a:gd name="connsiteY6" fmla="*/ 561652 h 727154"/>
                <a:gd name="connsiteX7" fmla="*/ 401413 w 517323"/>
                <a:gd name="connsiteY7" fmla="*/ 559728 h 727154"/>
                <a:gd name="connsiteX8" fmla="*/ 427171 w 517323"/>
                <a:gd name="connsiteY8" fmla="*/ 598365 h 727154"/>
                <a:gd name="connsiteX9" fmla="*/ 440050 w 517323"/>
                <a:gd name="connsiteY9" fmla="*/ 637002 h 727154"/>
                <a:gd name="connsiteX10" fmla="*/ 478687 w 517323"/>
                <a:gd name="connsiteY10" fmla="*/ 662759 h 727154"/>
                <a:gd name="connsiteX11" fmla="*/ 517323 w 517323"/>
                <a:gd name="connsiteY11" fmla="*/ 727154 h 727154"/>
                <a:gd name="connsiteX0" fmla="*/ 213332 w 517323"/>
                <a:gd name="connsiteY0" fmla="*/ 0 h 727154"/>
                <a:gd name="connsiteX1" fmla="*/ 101437 w 517323"/>
                <a:gd name="connsiteY1" fmla="*/ 138572 h 727154"/>
                <a:gd name="connsiteX2" fmla="*/ 48917 w 517323"/>
                <a:gd name="connsiteY2" fmla="*/ 248544 h 727154"/>
                <a:gd name="connsiteX3" fmla="*/ 20232 w 517323"/>
                <a:gd name="connsiteY3" fmla="*/ 360608 h 727154"/>
                <a:gd name="connsiteX4" fmla="*/ 10363 w 517323"/>
                <a:gd name="connsiteY4" fmla="*/ 461632 h 727154"/>
                <a:gd name="connsiteX5" fmla="*/ 173691 w 517323"/>
                <a:gd name="connsiteY5" fmla="*/ 511140 h 727154"/>
                <a:gd name="connsiteX6" fmla="*/ 282576 w 517323"/>
                <a:gd name="connsiteY6" fmla="*/ 561652 h 727154"/>
                <a:gd name="connsiteX7" fmla="*/ 353912 w 517323"/>
                <a:gd name="connsiteY7" fmla="*/ 595354 h 727154"/>
                <a:gd name="connsiteX8" fmla="*/ 427171 w 517323"/>
                <a:gd name="connsiteY8" fmla="*/ 598365 h 727154"/>
                <a:gd name="connsiteX9" fmla="*/ 440050 w 517323"/>
                <a:gd name="connsiteY9" fmla="*/ 637002 h 727154"/>
                <a:gd name="connsiteX10" fmla="*/ 478687 w 517323"/>
                <a:gd name="connsiteY10" fmla="*/ 662759 h 727154"/>
                <a:gd name="connsiteX11" fmla="*/ 517323 w 517323"/>
                <a:gd name="connsiteY11" fmla="*/ 727154 h 727154"/>
                <a:gd name="connsiteX0" fmla="*/ 213332 w 517323"/>
                <a:gd name="connsiteY0" fmla="*/ 0 h 727154"/>
                <a:gd name="connsiteX1" fmla="*/ 101437 w 517323"/>
                <a:gd name="connsiteY1" fmla="*/ 138572 h 727154"/>
                <a:gd name="connsiteX2" fmla="*/ 48917 w 517323"/>
                <a:gd name="connsiteY2" fmla="*/ 248544 h 727154"/>
                <a:gd name="connsiteX3" fmla="*/ 20232 w 517323"/>
                <a:gd name="connsiteY3" fmla="*/ 360608 h 727154"/>
                <a:gd name="connsiteX4" fmla="*/ 10363 w 517323"/>
                <a:gd name="connsiteY4" fmla="*/ 461632 h 727154"/>
                <a:gd name="connsiteX5" fmla="*/ 173691 w 517323"/>
                <a:gd name="connsiteY5" fmla="*/ 511140 h 727154"/>
                <a:gd name="connsiteX6" fmla="*/ 282576 w 517323"/>
                <a:gd name="connsiteY6" fmla="*/ 561652 h 727154"/>
                <a:gd name="connsiteX7" fmla="*/ 353912 w 517323"/>
                <a:gd name="connsiteY7" fmla="*/ 595354 h 727154"/>
                <a:gd name="connsiteX8" fmla="*/ 415295 w 517323"/>
                <a:gd name="connsiteY8" fmla="*/ 622116 h 727154"/>
                <a:gd name="connsiteX9" fmla="*/ 440050 w 517323"/>
                <a:gd name="connsiteY9" fmla="*/ 637002 h 727154"/>
                <a:gd name="connsiteX10" fmla="*/ 478687 w 517323"/>
                <a:gd name="connsiteY10" fmla="*/ 662759 h 727154"/>
                <a:gd name="connsiteX11" fmla="*/ 517323 w 517323"/>
                <a:gd name="connsiteY11" fmla="*/ 727154 h 727154"/>
                <a:gd name="connsiteX0" fmla="*/ 213332 w 499510"/>
                <a:gd name="connsiteY0" fmla="*/ 0 h 703403"/>
                <a:gd name="connsiteX1" fmla="*/ 101437 w 499510"/>
                <a:gd name="connsiteY1" fmla="*/ 138572 h 703403"/>
                <a:gd name="connsiteX2" fmla="*/ 48917 w 499510"/>
                <a:gd name="connsiteY2" fmla="*/ 248544 h 703403"/>
                <a:gd name="connsiteX3" fmla="*/ 20232 w 499510"/>
                <a:gd name="connsiteY3" fmla="*/ 360608 h 703403"/>
                <a:gd name="connsiteX4" fmla="*/ 10363 w 499510"/>
                <a:gd name="connsiteY4" fmla="*/ 461632 h 703403"/>
                <a:gd name="connsiteX5" fmla="*/ 173691 w 499510"/>
                <a:gd name="connsiteY5" fmla="*/ 511140 h 703403"/>
                <a:gd name="connsiteX6" fmla="*/ 282576 w 499510"/>
                <a:gd name="connsiteY6" fmla="*/ 561652 h 703403"/>
                <a:gd name="connsiteX7" fmla="*/ 353912 w 499510"/>
                <a:gd name="connsiteY7" fmla="*/ 595354 h 703403"/>
                <a:gd name="connsiteX8" fmla="*/ 415295 w 499510"/>
                <a:gd name="connsiteY8" fmla="*/ 622116 h 703403"/>
                <a:gd name="connsiteX9" fmla="*/ 440050 w 499510"/>
                <a:gd name="connsiteY9" fmla="*/ 637002 h 703403"/>
                <a:gd name="connsiteX10" fmla="*/ 478687 w 499510"/>
                <a:gd name="connsiteY10" fmla="*/ 662759 h 703403"/>
                <a:gd name="connsiteX11" fmla="*/ 499510 w 499510"/>
                <a:gd name="connsiteY11" fmla="*/ 703403 h 703403"/>
                <a:gd name="connsiteX0" fmla="*/ 208321 w 494499"/>
                <a:gd name="connsiteY0" fmla="*/ 0 h 703403"/>
                <a:gd name="connsiteX1" fmla="*/ 96426 w 494499"/>
                <a:gd name="connsiteY1" fmla="*/ 138572 h 703403"/>
                <a:gd name="connsiteX2" fmla="*/ 43906 w 494499"/>
                <a:gd name="connsiteY2" fmla="*/ 248544 h 703403"/>
                <a:gd name="connsiteX3" fmla="*/ 15221 w 494499"/>
                <a:gd name="connsiteY3" fmla="*/ 360608 h 703403"/>
                <a:gd name="connsiteX4" fmla="*/ 269764 w 494499"/>
                <a:gd name="connsiteY4" fmla="*/ 271132 h 703403"/>
                <a:gd name="connsiteX5" fmla="*/ 168680 w 494499"/>
                <a:gd name="connsiteY5" fmla="*/ 511140 h 703403"/>
                <a:gd name="connsiteX6" fmla="*/ 277565 w 494499"/>
                <a:gd name="connsiteY6" fmla="*/ 561652 h 703403"/>
                <a:gd name="connsiteX7" fmla="*/ 348901 w 494499"/>
                <a:gd name="connsiteY7" fmla="*/ 595354 h 703403"/>
                <a:gd name="connsiteX8" fmla="*/ 410284 w 494499"/>
                <a:gd name="connsiteY8" fmla="*/ 622116 h 703403"/>
                <a:gd name="connsiteX9" fmla="*/ 435039 w 494499"/>
                <a:gd name="connsiteY9" fmla="*/ 637002 h 703403"/>
                <a:gd name="connsiteX10" fmla="*/ 473676 w 494499"/>
                <a:gd name="connsiteY10" fmla="*/ 662759 h 703403"/>
                <a:gd name="connsiteX11" fmla="*/ 494499 w 494499"/>
                <a:gd name="connsiteY11" fmla="*/ 703403 h 703403"/>
                <a:gd name="connsiteX0" fmla="*/ 164415 w 450593"/>
                <a:gd name="connsiteY0" fmla="*/ 0 h 703403"/>
                <a:gd name="connsiteX1" fmla="*/ 52520 w 450593"/>
                <a:gd name="connsiteY1" fmla="*/ 138572 h 703403"/>
                <a:gd name="connsiteX2" fmla="*/ 0 w 450593"/>
                <a:gd name="connsiteY2" fmla="*/ 248544 h 703403"/>
                <a:gd name="connsiteX3" fmla="*/ 225858 w 450593"/>
                <a:gd name="connsiteY3" fmla="*/ 271132 h 703403"/>
                <a:gd name="connsiteX4" fmla="*/ 124774 w 450593"/>
                <a:gd name="connsiteY4" fmla="*/ 511140 h 703403"/>
                <a:gd name="connsiteX5" fmla="*/ 233659 w 450593"/>
                <a:gd name="connsiteY5" fmla="*/ 561652 h 703403"/>
                <a:gd name="connsiteX6" fmla="*/ 304995 w 450593"/>
                <a:gd name="connsiteY6" fmla="*/ 595354 h 703403"/>
                <a:gd name="connsiteX7" fmla="*/ 366378 w 450593"/>
                <a:gd name="connsiteY7" fmla="*/ 622116 h 703403"/>
                <a:gd name="connsiteX8" fmla="*/ 391133 w 450593"/>
                <a:gd name="connsiteY8" fmla="*/ 637002 h 703403"/>
                <a:gd name="connsiteX9" fmla="*/ 429770 w 450593"/>
                <a:gd name="connsiteY9" fmla="*/ 662759 h 703403"/>
                <a:gd name="connsiteX10" fmla="*/ 450593 w 450593"/>
                <a:gd name="connsiteY10" fmla="*/ 703403 h 703403"/>
                <a:gd name="connsiteX0" fmla="*/ 112624 w 398802"/>
                <a:gd name="connsiteY0" fmla="*/ 0 h 703403"/>
                <a:gd name="connsiteX1" fmla="*/ 729 w 398802"/>
                <a:gd name="connsiteY1" fmla="*/ 138572 h 703403"/>
                <a:gd name="connsiteX2" fmla="*/ 174067 w 398802"/>
                <a:gd name="connsiteY2" fmla="*/ 271132 h 703403"/>
                <a:gd name="connsiteX3" fmla="*/ 72983 w 398802"/>
                <a:gd name="connsiteY3" fmla="*/ 511140 h 703403"/>
                <a:gd name="connsiteX4" fmla="*/ 181868 w 398802"/>
                <a:gd name="connsiteY4" fmla="*/ 561652 h 703403"/>
                <a:gd name="connsiteX5" fmla="*/ 253204 w 398802"/>
                <a:gd name="connsiteY5" fmla="*/ 595354 h 703403"/>
                <a:gd name="connsiteX6" fmla="*/ 314587 w 398802"/>
                <a:gd name="connsiteY6" fmla="*/ 622116 h 703403"/>
                <a:gd name="connsiteX7" fmla="*/ 339342 w 398802"/>
                <a:gd name="connsiteY7" fmla="*/ 637002 h 703403"/>
                <a:gd name="connsiteX8" fmla="*/ 377979 w 398802"/>
                <a:gd name="connsiteY8" fmla="*/ 662759 h 703403"/>
                <a:gd name="connsiteX9" fmla="*/ 398802 w 398802"/>
                <a:gd name="connsiteY9" fmla="*/ 703403 h 703403"/>
                <a:gd name="connsiteX0" fmla="*/ 40483 w 326661"/>
                <a:gd name="connsiteY0" fmla="*/ 0 h 703403"/>
                <a:gd name="connsiteX1" fmla="*/ 101926 w 326661"/>
                <a:gd name="connsiteY1" fmla="*/ 271132 h 703403"/>
                <a:gd name="connsiteX2" fmla="*/ 842 w 326661"/>
                <a:gd name="connsiteY2" fmla="*/ 511140 h 703403"/>
                <a:gd name="connsiteX3" fmla="*/ 109727 w 326661"/>
                <a:gd name="connsiteY3" fmla="*/ 561652 h 703403"/>
                <a:gd name="connsiteX4" fmla="*/ 181063 w 326661"/>
                <a:gd name="connsiteY4" fmla="*/ 595354 h 703403"/>
                <a:gd name="connsiteX5" fmla="*/ 242446 w 326661"/>
                <a:gd name="connsiteY5" fmla="*/ 622116 h 703403"/>
                <a:gd name="connsiteX6" fmla="*/ 267201 w 326661"/>
                <a:gd name="connsiteY6" fmla="*/ 637002 h 703403"/>
                <a:gd name="connsiteX7" fmla="*/ 305838 w 326661"/>
                <a:gd name="connsiteY7" fmla="*/ 662759 h 703403"/>
                <a:gd name="connsiteX8" fmla="*/ 326661 w 326661"/>
                <a:gd name="connsiteY8" fmla="*/ 703403 h 703403"/>
                <a:gd name="connsiteX0" fmla="*/ 40483 w 326661"/>
                <a:gd name="connsiteY0" fmla="*/ 0 h 703403"/>
                <a:gd name="connsiteX1" fmla="*/ 101926 w 326661"/>
                <a:gd name="connsiteY1" fmla="*/ 271132 h 703403"/>
                <a:gd name="connsiteX2" fmla="*/ 842 w 326661"/>
                <a:gd name="connsiteY2" fmla="*/ 511140 h 703403"/>
                <a:gd name="connsiteX3" fmla="*/ 181063 w 326661"/>
                <a:gd name="connsiteY3" fmla="*/ 595354 h 703403"/>
                <a:gd name="connsiteX4" fmla="*/ 242446 w 326661"/>
                <a:gd name="connsiteY4" fmla="*/ 622116 h 703403"/>
                <a:gd name="connsiteX5" fmla="*/ 267201 w 326661"/>
                <a:gd name="connsiteY5" fmla="*/ 637002 h 703403"/>
                <a:gd name="connsiteX6" fmla="*/ 305838 w 326661"/>
                <a:gd name="connsiteY6" fmla="*/ 662759 h 703403"/>
                <a:gd name="connsiteX7" fmla="*/ 326661 w 326661"/>
                <a:gd name="connsiteY7" fmla="*/ 703403 h 703403"/>
                <a:gd name="connsiteX0" fmla="*/ 0 w 286178"/>
                <a:gd name="connsiteY0" fmla="*/ 0 h 703403"/>
                <a:gd name="connsiteX1" fmla="*/ 61443 w 286178"/>
                <a:gd name="connsiteY1" fmla="*/ 271132 h 703403"/>
                <a:gd name="connsiteX2" fmla="*/ 140580 w 286178"/>
                <a:gd name="connsiteY2" fmla="*/ 595354 h 703403"/>
                <a:gd name="connsiteX3" fmla="*/ 201963 w 286178"/>
                <a:gd name="connsiteY3" fmla="*/ 622116 h 703403"/>
                <a:gd name="connsiteX4" fmla="*/ 226718 w 286178"/>
                <a:gd name="connsiteY4" fmla="*/ 637002 h 703403"/>
                <a:gd name="connsiteX5" fmla="*/ 265355 w 286178"/>
                <a:gd name="connsiteY5" fmla="*/ 662759 h 703403"/>
                <a:gd name="connsiteX6" fmla="*/ 286178 w 286178"/>
                <a:gd name="connsiteY6" fmla="*/ 703403 h 703403"/>
                <a:gd name="connsiteX0" fmla="*/ 0 w 286178"/>
                <a:gd name="connsiteY0" fmla="*/ 0 h 703403"/>
                <a:gd name="connsiteX1" fmla="*/ 61443 w 286178"/>
                <a:gd name="connsiteY1" fmla="*/ 271132 h 703403"/>
                <a:gd name="connsiteX2" fmla="*/ 140580 w 286178"/>
                <a:gd name="connsiteY2" fmla="*/ 595354 h 703403"/>
                <a:gd name="connsiteX3" fmla="*/ 226718 w 286178"/>
                <a:gd name="connsiteY3" fmla="*/ 637002 h 703403"/>
                <a:gd name="connsiteX4" fmla="*/ 265355 w 286178"/>
                <a:gd name="connsiteY4" fmla="*/ 662759 h 703403"/>
                <a:gd name="connsiteX5" fmla="*/ 286178 w 286178"/>
                <a:gd name="connsiteY5" fmla="*/ 703403 h 703403"/>
                <a:gd name="connsiteX0" fmla="*/ 0 w 286178"/>
                <a:gd name="connsiteY0" fmla="*/ 0 h 703403"/>
                <a:gd name="connsiteX1" fmla="*/ 61443 w 286178"/>
                <a:gd name="connsiteY1" fmla="*/ 271132 h 703403"/>
                <a:gd name="connsiteX2" fmla="*/ 226718 w 286178"/>
                <a:gd name="connsiteY2" fmla="*/ 637002 h 703403"/>
                <a:gd name="connsiteX3" fmla="*/ 265355 w 286178"/>
                <a:gd name="connsiteY3" fmla="*/ 662759 h 703403"/>
                <a:gd name="connsiteX4" fmla="*/ 286178 w 286178"/>
                <a:gd name="connsiteY4" fmla="*/ 703403 h 703403"/>
                <a:gd name="connsiteX0" fmla="*/ 26894 w 313072"/>
                <a:gd name="connsiteY0" fmla="*/ 0 h 703403"/>
                <a:gd name="connsiteX1" fmla="*/ 88337 w 313072"/>
                <a:gd name="connsiteY1" fmla="*/ 271132 h 703403"/>
                <a:gd name="connsiteX2" fmla="*/ 253612 w 313072"/>
                <a:gd name="connsiteY2" fmla="*/ 637002 h 703403"/>
                <a:gd name="connsiteX3" fmla="*/ 292249 w 313072"/>
                <a:gd name="connsiteY3" fmla="*/ 662759 h 703403"/>
                <a:gd name="connsiteX4" fmla="*/ 313072 w 313072"/>
                <a:gd name="connsiteY4" fmla="*/ 703403 h 703403"/>
                <a:gd name="connsiteX0" fmla="*/ 862 w 287040"/>
                <a:gd name="connsiteY0" fmla="*/ 0 h 703403"/>
                <a:gd name="connsiteX1" fmla="*/ 115716 w 287040"/>
                <a:gd name="connsiteY1" fmla="*/ 290376 h 703403"/>
                <a:gd name="connsiteX2" fmla="*/ 227580 w 287040"/>
                <a:gd name="connsiteY2" fmla="*/ 637002 h 703403"/>
                <a:gd name="connsiteX3" fmla="*/ 266217 w 287040"/>
                <a:gd name="connsiteY3" fmla="*/ 662759 h 703403"/>
                <a:gd name="connsiteX4" fmla="*/ 287040 w 287040"/>
                <a:gd name="connsiteY4" fmla="*/ 703403 h 703403"/>
                <a:gd name="connsiteX0" fmla="*/ 862 w 287040"/>
                <a:gd name="connsiteY0" fmla="*/ 0 h 703403"/>
                <a:gd name="connsiteX1" fmla="*/ 115716 w 287040"/>
                <a:gd name="connsiteY1" fmla="*/ 271132 h 703403"/>
                <a:gd name="connsiteX2" fmla="*/ 227580 w 287040"/>
                <a:gd name="connsiteY2" fmla="*/ 637002 h 703403"/>
                <a:gd name="connsiteX3" fmla="*/ 266217 w 287040"/>
                <a:gd name="connsiteY3" fmla="*/ 662759 h 703403"/>
                <a:gd name="connsiteX4" fmla="*/ 287040 w 287040"/>
                <a:gd name="connsiteY4" fmla="*/ 703403 h 703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7040" h="703403">
                  <a:moveTo>
                    <a:pt x="862" y="0"/>
                  </a:moveTo>
                  <a:cubicBezTo>
                    <a:pt x="13663" y="56486"/>
                    <a:pt x="-46696" y="49503"/>
                    <a:pt x="115716" y="271132"/>
                  </a:cubicBezTo>
                  <a:cubicBezTo>
                    <a:pt x="278128" y="492761"/>
                    <a:pt x="202497" y="571731"/>
                    <a:pt x="227580" y="637002"/>
                  </a:cubicBezTo>
                  <a:cubicBezTo>
                    <a:pt x="252664" y="702273"/>
                    <a:pt x="253338" y="654173"/>
                    <a:pt x="266217" y="662759"/>
                  </a:cubicBezTo>
                  <a:cubicBezTo>
                    <a:pt x="282936" y="712915"/>
                    <a:pt x="251684" y="668045"/>
                    <a:pt x="287040" y="703403"/>
                  </a:cubicBezTo>
                </a:path>
              </a:pathLst>
            </a:custGeom>
            <a:ln w="38100">
              <a:solidFill>
                <a:srgbClr val="05891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467" name="Grupo 12"/>
          <p:cNvGrpSpPr/>
          <p:nvPr/>
        </p:nvGrpSpPr>
        <p:grpSpPr>
          <a:xfrm>
            <a:off x="3324225" y="1569412"/>
            <a:ext cx="5739308" cy="4729787"/>
            <a:chOff x="3324225" y="1569412"/>
            <a:chExt cx="5739308" cy="4729787"/>
          </a:xfrm>
        </p:grpSpPr>
        <p:sp>
          <p:nvSpPr>
            <p:cNvPr id="468" name="Forma livre 407"/>
            <p:cNvSpPr/>
            <p:nvPr/>
          </p:nvSpPr>
          <p:spPr bwMode="auto">
            <a:xfrm>
              <a:off x="4049698" y="1947626"/>
              <a:ext cx="503509" cy="184374"/>
            </a:xfrm>
            <a:custGeom>
              <a:avLst/>
              <a:gdLst>
                <a:gd name="connsiteX0" fmla="*/ 452176 w 452176"/>
                <a:gd name="connsiteY0" fmla="*/ 10049 h 160774"/>
                <a:gd name="connsiteX1" fmla="*/ 386861 w 452176"/>
                <a:gd name="connsiteY1" fmla="*/ 5024 h 160774"/>
                <a:gd name="connsiteX2" fmla="*/ 366765 w 452176"/>
                <a:gd name="connsiteY2" fmla="*/ 0 h 160774"/>
                <a:gd name="connsiteX3" fmla="*/ 316523 w 452176"/>
                <a:gd name="connsiteY3" fmla="*/ 5024 h 160774"/>
                <a:gd name="connsiteX4" fmla="*/ 271305 w 452176"/>
                <a:gd name="connsiteY4" fmla="*/ 20097 h 160774"/>
                <a:gd name="connsiteX5" fmla="*/ 256233 w 452176"/>
                <a:gd name="connsiteY5" fmla="*/ 25121 h 160774"/>
                <a:gd name="connsiteX6" fmla="*/ 236136 w 452176"/>
                <a:gd name="connsiteY6" fmla="*/ 30145 h 160774"/>
                <a:gd name="connsiteX7" fmla="*/ 205991 w 452176"/>
                <a:gd name="connsiteY7" fmla="*/ 40194 h 160774"/>
                <a:gd name="connsiteX8" fmla="*/ 190919 w 452176"/>
                <a:gd name="connsiteY8" fmla="*/ 50242 h 160774"/>
                <a:gd name="connsiteX9" fmla="*/ 170822 w 452176"/>
                <a:gd name="connsiteY9" fmla="*/ 60290 h 160774"/>
                <a:gd name="connsiteX10" fmla="*/ 150725 w 452176"/>
                <a:gd name="connsiteY10" fmla="*/ 85411 h 160774"/>
                <a:gd name="connsiteX11" fmla="*/ 140677 w 452176"/>
                <a:gd name="connsiteY11" fmla="*/ 95460 h 160774"/>
                <a:gd name="connsiteX12" fmla="*/ 110532 w 452176"/>
                <a:gd name="connsiteY12" fmla="*/ 105508 h 160774"/>
                <a:gd name="connsiteX13" fmla="*/ 95459 w 452176"/>
                <a:gd name="connsiteY13" fmla="*/ 110532 h 160774"/>
                <a:gd name="connsiteX14" fmla="*/ 65314 w 452176"/>
                <a:gd name="connsiteY14" fmla="*/ 130629 h 160774"/>
                <a:gd name="connsiteX15" fmla="*/ 50242 w 452176"/>
                <a:gd name="connsiteY15" fmla="*/ 140677 h 160774"/>
                <a:gd name="connsiteX16" fmla="*/ 5024 w 452176"/>
                <a:gd name="connsiteY16" fmla="*/ 160774 h 160774"/>
                <a:gd name="connsiteX17" fmla="*/ 0 w 452176"/>
                <a:gd name="connsiteY17" fmla="*/ 160774 h 160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2176" h="160774">
                  <a:moveTo>
                    <a:pt x="452176" y="10049"/>
                  </a:moveTo>
                  <a:cubicBezTo>
                    <a:pt x="430404" y="8374"/>
                    <a:pt x="408547" y="7576"/>
                    <a:pt x="386861" y="5024"/>
                  </a:cubicBezTo>
                  <a:cubicBezTo>
                    <a:pt x="380003" y="4217"/>
                    <a:pt x="373670" y="0"/>
                    <a:pt x="366765" y="0"/>
                  </a:cubicBezTo>
                  <a:cubicBezTo>
                    <a:pt x="349934" y="0"/>
                    <a:pt x="333270" y="3349"/>
                    <a:pt x="316523" y="5024"/>
                  </a:cubicBezTo>
                  <a:lnTo>
                    <a:pt x="271305" y="20097"/>
                  </a:lnTo>
                  <a:cubicBezTo>
                    <a:pt x="266281" y="21772"/>
                    <a:pt x="261371" y="23837"/>
                    <a:pt x="256233" y="25121"/>
                  </a:cubicBezTo>
                  <a:cubicBezTo>
                    <a:pt x="249534" y="26796"/>
                    <a:pt x="242750" y="28161"/>
                    <a:pt x="236136" y="30145"/>
                  </a:cubicBezTo>
                  <a:cubicBezTo>
                    <a:pt x="225991" y="33189"/>
                    <a:pt x="205991" y="40194"/>
                    <a:pt x="205991" y="40194"/>
                  </a:cubicBezTo>
                  <a:cubicBezTo>
                    <a:pt x="200967" y="43543"/>
                    <a:pt x="196162" y="47246"/>
                    <a:pt x="190919" y="50242"/>
                  </a:cubicBezTo>
                  <a:cubicBezTo>
                    <a:pt x="184416" y="53958"/>
                    <a:pt x="177054" y="56135"/>
                    <a:pt x="170822" y="60290"/>
                  </a:cubicBezTo>
                  <a:cubicBezTo>
                    <a:pt x="160429" y="67219"/>
                    <a:pt x="158400" y="75818"/>
                    <a:pt x="150725" y="85411"/>
                  </a:cubicBezTo>
                  <a:cubicBezTo>
                    <a:pt x="147766" y="89110"/>
                    <a:pt x="144914" y="93342"/>
                    <a:pt x="140677" y="95460"/>
                  </a:cubicBezTo>
                  <a:cubicBezTo>
                    <a:pt x="131203" y="100197"/>
                    <a:pt x="120580" y="102159"/>
                    <a:pt x="110532" y="105508"/>
                  </a:cubicBezTo>
                  <a:lnTo>
                    <a:pt x="95459" y="110532"/>
                  </a:lnTo>
                  <a:lnTo>
                    <a:pt x="65314" y="130629"/>
                  </a:lnTo>
                  <a:lnTo>
                    <a:pt x="50242" y="140677"/>
                  </a:lnTo>
                  <a:cubicBezTo>
                    <a:pt x="36581" y="149784"/>
                    <a:pt x="22962" y="160774"/>
                    <a:pt x="5024" y="160774"/>
                  </a:cubicBezTo>
                  <a:lnTo>
                    <a:pt x="0" y="160774"/>
                  </a:lnTo>
                </a:path>
              </a:pathLst>
            </a:custGeom>
            <a:ln w="381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69" name="Forma livre 408"/>
            <p:cNvSpPr/>
            <p:nvPr/>
          </p:nvSpPr>
          <p:spPr bwMode="auto">
            <a:xfrm>
              <a:off x="4656138" y="4783138"/>
              <a:ext cx="552450" cy="250825"/>
            </a:xfrm>
            <a:custGeom>
              <a:avLst/>
              <a:gdLst>
                <a:gd name="connsiteX0" fmla="*/ 0 w 552659"/>
                <a:gd name="connsiteY0" fmla="*/ 251209 h 251209"/>
                <a:gd name="connsiteX1" fmla="*/ 30145 w 552659"/>
                <a:gd name="connsiteY1" fmla="*/ 211016 h 251209"/>
                <a:gd name="connsiteX2" fmla="*/ 40193 w 552659"/>
                <a:gd name="connsiteY2" fmla="*/ 180871 h 251209"/>
                <a:gd name="connsiteX3" fmla="*/ 45217 w 552659"/>
                <a:gd name="connsiteY3" fmla="*/ 165798 h 251209"/>
                <a:gd name="connsiteX4" fmla="*/ 55266 w 552659"/>
                <a:gd name="connsiteY4" fmla="*/ 155750 h 251209"/>
                <a:gd name="connsiteX5" fmla="*/ 65314 w 552659"/>
                <a:gd name="connsiteY5" fmla="*/ 140677 h 251209"/>
                <a:gd name="connsiteX6" fmla="*/ 80387 w 552659"/>
                <a:gd name="connsiteY6" fmla="*/ 130629 h 251209"/>
                <a:gd name="connsiteX7" fmla="*/ 120580 w 552659"/>
                <a:gd name="connsiteY7" fmla="*/ 95460 h 251209"/>
                <a:gd name="connsiteX8" fmla="*/ 150725 w 552659"/>
                <a:gd name="connsiteY8" fmla="*/ 85411 h 251209"/>
                <a:gd name="connsiteX9" fmla="*/ 165798 w 552659"/>
                <a:gd name="connsiteY9" fmla="*/ 80387 h 251209"/>
                <a:gd name="connsiteX10" fmla="*/ 180870 w 552659"/>
                <a:gd name="connsiteY10" fmla="*/ 70339 h 251209"/>
                <a:gd name="connsiteX11" fmla="*/ 190918 w 552659"/>
                <a:gd name="connsiteY11" fmla="*/ 60290 h 251209"/>
                <a:gd name="connsiteX12" fmla="*/ 205991 w 552659"/>
                <a:gd name="connsiteY12" fmla="*/ 55266 h 251209"/>
                <a:gd name="connsiteX13" fmla="*/ 236136 w 552659"/>
                <a:gd name="connsiteY13" fmla="*/ 35170 h 251209"/>
                <a:gd name="connsiteX14" fmla="*/ 251209 w 552659"/>
                <a:gd name="connsiteY14" fmla="*/ 25121 h 251209"/>
                <a:gd name="connsiteX15" fmla="*/ 281354 w 552659"/>
                <a:gd name="connsiteY15" fmla="*/ 10049 h 251209"/>
                <a:gd name="connsiteX16" fmla="*/ 311499 w 552659"/>
                <a:gd name="connsiteY16" fmla="*/ 0 h 251209"/>
                <a:gd name="connsiteX17" fmla="*/ 411982 w 552659"/>
                <a:gd name="connsiteY17" fmla="*/ 5025 h 251209"/>
                <a:gd name="connsiteX18" fmla="*/ 442127 w 552659"/>
                <a:gd name="connsiteY18" fmla="*/ 20097 h 251209"/>
                <a:gd name="connsiteX19" fmla="*/ 452176 w 552659"/>
                <a:gd name="connsiteY19" fmla="*/ 30145 h 251209"/>
                <a:gd name="connsiteX20" fmla="*/ 477297 w 552659"/>
                <a:gd name="connsiteY20" fmla="*/ 35170 h 251209"/>
                <a:gd name="connsiteX21" fmla="*/ 512466 w 552659"/>
                <a:gd name="connsiteY21" fmla="*/ 45218 h 251209"/>
                <a:gd name="connsiteX22" fmla="*/ 527538 w 552659"/>
                <a:gd name="connsiteY22" fmla="*/ 55266 h 251209"/>
                <a:gd name="connsiteX23" fmla="*/ 552659 w 552659"/>
                <a:gd name="connsiteY23" fmla="*/ 80387 h 251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52659" h="251209">
                  <a:moveTo>
                    <a:pt x="0" y="251209"/>
                  </a:moveTo>
                  <a:cubicBezTo>
                    <a:pt x="2562" y="248007"/>
                    <a:pt x="26146" y="220014"/>
                    <a:pt x="30145" y="211016"/>
                  </a:cubicBezTo>
                  <a:cubicBezTo>
                    <a:pt x="34447" y="201337"/>
                    <a:pt x="36844" y="190919"/>
                    <a:pt x="40193" y="180871"/>
                  </a:cubicBezTo>
                  <a:cubicBezTo>
                    <a:pt x="41868" y="175847"/>
                    <a:pt x="41472" y="169543"/>
                    <a:pt x="45217" y="165798"/>
                  </a:cubicBezTo>
                  <a:cubicBezTo>
                    <a:pt x="48567" y="162449"/>
                    <a:pt x="52307" y="159449"/>
                    <a:pt x="55266" y="155750"/>
                  </a:cubicBezTo>
                  <a:cubicBezTo>
                    <a:pt x="59038" y="151035"/>
                    <a:pt x="61044" y="144947"/>
                    <a:pt x="65314" y="140677"/>
                  </a:cubicBezTo>
                  <a:cubicBezTo>
                    <a:pt x="69584" y="136407"/>
                    <a:pt x="75363" y="133978"/>
                    <a:pt x="80387" y="130629"/>
                  </a:cubicBezTo>
                  <a:cubicBezTo>
                    <a:pt x="92110" y="113043"/>
                    <a:pt x="95457" y="103835"/>
                    <a:pt x="120580" y="95460"/>
                  </a:cubicBezTo>
                  <a:lnTo>
                    <a:pt x="150725" y="85411"/>
                  </a:lnTo>
                  <a:lnTo>
                    <a:pt x="165798" y="80387"/>
                  </a:lnTo>
                  <a:cubicBezTo>
                    <a:pt x="170822" y="77038"/>
                    <a:pt x="176155" y="74111"/>
                    <a:pt x="180870" y="70339"/>
                  </a:cubicBezTo>
                  <a:cubicBezTo>
                    <a:pt x="184569" y="67380"/>
                    <a:pt x="186856" y="62727"/>
                    <a:pt x="190918" y="60290"/>
                  </a:cubicBezTo>
                  <a:cubicBezTo>
                    <a:pt x="195459" y="57565"/>
                    <a:pt x="201361" y="57838"/>
                    <a:pt x="205991" y="55266"/>
                  </a:cubicBezTo>
                  <a:cubicBezTo>
                    <a:pt x="216548" y="49401"/>
                    <a:pt x="226088" y="41869"/>
                    <a:pt x="236136" y="35170"/>
                  </a:cubicBezTo>
                  <a:cubicBezTo>
                    <a:pt x="241160" y="31820"/>
                    <a:pt x="245480" y="27031"/>
                    <a:pt x="251209" y="25121"/>
                  </a:cubicBezTo>
                  <a:cubicBezTo>
                    <a:pt x="306169" y="6801"/>
                    <a:pt x="222925" y="36018"/>
                    <a:pt x="281354" y="10049"/>
                  </a:cubicBezTo>
                  <a:cubicBezTo>
                    <a:pt x="291033" y="5747"/>
                    <a:pt x="311499" y="0"/>
                    <a:pt x="311499" y="0"/>
                  </a:cubicBezTo>
                  <a:cubicBezTo>
                    <a:pt x="344993" y="1675"/>
                    <a:pt x="378572" y="2120"/>
                    <a:pt x="411982" y="5025"/>
                  </a:cubicBezTo>
                  <a:cubicBezTo>
                    <a:pt x="422402" y="5931"/>
                    <a:pt x="434484" y="13983"/>
                    <a:pt x="442127" y="20097"/>
                  </a:cubicBezTo>
                  <a:cubicBezTo>
                    <a:pt x="445826" y="23056"/>
                    <a:pt x="447822" y="28279"/>
                    <a:pt x="452176" y="30145"/>
                  </a:cubicBezTo>
                  <a:cubicBezTo>
                    <a:pt x="460025" y="33509"/>
                    <a:pt x="468961" y="33317"/>
                    <a:pt x="477297" y="35170"/>
                  </a:cubicBezTo>
                  <a:cubicBezTo>
                    <a:pt x="496224" y="39376"/>
                    <a:pt x="495680" y="39623"/>
                    <a:pt x="512466" y="45218"/>
                  </a:cubicBezTo>
                  <a:cubicBezTo>
                    <a:pt x="517490" y="48567"/>
                    <a:pt x="522994" y="51290"/>
                    <a:pt x="527538" y="55266"/>
                  </a:cubicBezTo>
                  <a:cubicBezTo>
                    <a:pt x="536450" y="63064"/>
                    <a:pt x="552659" y="80387"/>
                    <a:pt x="552659" y="80387"/>
                  </a:cubicBezTo>
                </a:path>
              </a:pathLst>
            </a:custGeom>
            <a:ln w="381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0" name="Forma livre 409"/>
            <p:cNvSpPr/>
            <p:nvPr/>
          </p:nvSpPr>
          <p:spPr bwMode="auto">
            <a:xfrm>
              <a:off x="5043488" y="4375150"/>
              <a:ext cx="136525" cy="487363"/>
            </a:xfrm>
            <a:custGeom>
              <a:avLst/>
              <a:gdLst>
                <a:gd name="connsiteX0" fmla="*/ 0 w 137865"/>
                <a:gd name="connsiteY0" fmla="*/ 0 h 487415"/>
                <a:gd name="connsiteX1" fmla="*/ 5025 w 137865"/>
                <a:gd name="connsiteY1" fmla="*/ 25121 h 487415"/>
                <a:gd name="connsiteX2" fmla="*/ 15073 w 137865"/>
                <a:gd name="connsiteY2" fmla="*/ 55266 h 487415"/>
                <a:gd name="connsiteX3" fmla="*/ 25121 w 137865"/>
                <a:gd name="connsiteY3" fmla="*/ 85411 h 487415"/>
                <a:gd name="connsiteX4" fmla="*/ 35170 w 137865"/>
                <a:gd name="connsiteY4" fmla="*/ 115556 h 487415"/>
                <a:gd name="connsiteX5" fmla="*/ 45218 w 137865"/>
                <a:gd name="connsiteY5" fmla="*/ 125605 h 487415"/>
                <a:gd name="connsiteX6" fmla="*/ 50242 w 137865"/>
                <a:gd name="connsiteY6" fmla="*/ 140677 h 487415"/>
                <a:gd name="connsiteX7" fmla="*/ 70339 w 137865"/>
                <a:gd name="connsiteY7" fmla="*/ 165798 h 487415"/>
                <a:gd name="connsiteX8" fmla="*/ 80387 w 137865"/>
                <a:gd name="connsiteY8" fmla="*/ 180870 h 487415"/>
                <a:gd name="connsiteX9" fmla="*/ 95460 w 137865"/>
                <a:gd name="connsiteY9" fmla="*/ 226088 h 487415"/>
                <a:gd name="connsiteX10" fmla="*/ 100484 w 137865"/>
                <a:gd name="connsiteY10" fmla="*/ 241161 h 487415"/>
                <a:gd name="connsiteX11" fmla="*/ 120581 w 137865"/>
                <a:gd name="connsiteY11" fmla="*/ 271306 h 487415"/>
                <a:gd name="connsiteX12" fmla="*/ 130629 w 137865"/>
                <a:gd name="connsiteY12" fmla="*/ 286378 h 487415"/>
                <a:gd name="connsiteX13" fmla="*/ 130629 w 137865"/>
                <a:gd name="connsiteY13" fmla="*/ 356717 h 487415"/>
                <a:gd name="connsiteX14" fmla="*/ 95460 w 137865"/>
                <a:gd name="connsiteY14" fmla="*/ 371789 h 487415"/>
                <a:gd name="connsiteX15" fmla="*/ 85411 w 137865"/>
                <a:gd name="connsiteY15" fmla="*/ 381838 h 487415"/>
                <a:gd name="connsiteX16" fmla="*/ 70339 w 137865"/>
                <a:gd name="connsiteY16" fmla="*/ 391886 h 487415"/>
                <a:gd name="connsiteX17" fmla="*/ 85411 w 137865"/>
                <a:gd name="connsiteY17" fmla="*/ 442128 h 487415"/>
                <a:gd name="connsiteX18" fmla="*/ 80387 w 137865"/>
                <a:gd name="connsiteY18" fmla="*/ 462224 h 487415"/>
                <a:gd name="connsiteX19" fmla="*/ 55266 w 137865"/>
                <a:gd name="connsiteY19" fmla="*/ 467248 h 487415"/>
                <a:gd name="connsiteX20" fmla="*/ 40194 w 137865"/>
                <a:gd name="connsiteY20" fmla="*/ 472273 h 487415"/>
                <a:gd name="connsiteX21" fmla="*/ 30145 w 137865"/>
                <a:gd name="connsiteY21" fmla="*/ 482321 h 487415"/>
                <a:gd name="connsiteX22" fmla="*/ 5025 w 137865"/>
                <a:gd name="connsiteY22" fmla="*/ 487345 h 487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7865" h="487415">
                  <a:moveTo>
                    <a:pt x="0" y="0"/>
                  </a:moveTo>
                  <a:cubicBezTo>
                    <a:pt x="1675" y="8374"/>
                    <a:pt x="2778" y="16882"/>
                    <a:pt x="5025" y="25121"/>
                  </a:cubicBezTo>
                  <a:cubicBezTo>
                    <a:pt x="7812" y="35340"/>
                    <a:pt x="11724" y="45218"/>
                    <a:pt x="15073" y="55266"/>
                  </a:cubicBezTo>
                  <a:lnTo>
                    <a:pt x="25121" y="85411"/>
                  </a:lnTo>
                  <a:lnTo>
                    <a:pt x="35170" y="115556"/>
                  </a:lnTo>
                  <a:lnTo>
                    <a:pt x="45218" y="125605"/>
                  </a:lnTo>
                  <a:cubicBezTo>
                    <a:pt x="46893" y="130629"/>
                    <a:pt x="47874" y="135940"/>
                    <a:pt x="50242" y="140677"/>
                  </a:cubicBezTo>
                  <a:cubicBezTo>
                    <a:pt x="60553" y="161300"/>
                    <a:pt x="57875" y="150218"/>
                    <a:pt x="70339" y="165798"/>
                  </a:cubicBezTo>
                  <a:cubicBezTo>
                    <a:pt x="74111" y="170513"/>
                    <a:pt x="77038" y="175846"/>
                    <a:pt x="80387" y="180870"/>
                  </a:cubicBezTo>
                  <a:lnTo>
                    <a:pt x="95460" y="226088"/>
                  </a:lnTo>
                  <a:cubicBezTo>
                    <a:pt x="97135" y="231112"/>
                    <a:pt x="97546" y="236754"/>
                    <a:pt x="100484" y="241161"/>
                  </a:cubicBezTo>
                  <a:lnTo>
                    <a:pt x="120581" y="271306"/>
                  </a:lnTo>
                  <a:lnTo>
                    <a:pt x="130629" y="286378"/>
                  </a:lnTo>
                  <a:cubicBezTo>
                    <a:pt x="136952" y="311673"/>
                    <a:pt x="143122" y="326734"/>
                    <a:pt x="130629" y="356717"/>
                  </a:cubicBezTo>
                  <a:cubicBezTo>
                    <a:pt x="128627" y="361523"/>
                    <a:pt x="101494" y="369778"/>
                    <a:pt x="95460" y="371789"/>
                  </a:cubicBezTo>
                  <a:cubicBezTo>
                    <a:pt x="92110" y="375139"/>
                    <a:pt x="89110" y="378879"/>
                    <a:pt x="85411" y="381838"/>
                  </a:cubicBezTo>
                  <a:cubicBezTo>
                    <a:pt x="80696" y="385610"/>
                    <a:pt x="71523" y="385965"/>
                    <a:pt x="70339" y="391886"/>
                  </a:cubicBezTo>
                  <a:cubicBezTo>
                    <a:pt x="63792" y="424620"/>
                    <a:pt x="70082" y="426797"/>
                    <a:pt x="85411" y="442128"/>
                  </a:cubicBezTo>
                  <a:cubicBezTo>
                    <a:pt x="83736" y="448827"/>
                    <a:pt x="85692" y="457804"/>
                    <a:pt x="80387" y="462224"/>
                  </a:cubicBezTo>
                  <a:cubicBezTo>
                    <a:pt x="73827" y="467691"/>
                    <a:pt x="63550" y="465177"/>
                    <a:pt x="55266" y="467248"/>
                  </a:cubicBezTo>
                  <a:cubicBezTo>
                    <a:pt x="50128" y="468533"/>
                    <a:pt x="45218" y="470598"/>
                    <a:pt x="40194" y="472273"/>
                  </a:cubicBezTo>
                  <a:cubicBezTo>
                    <a:pt x="36844" y="475622"/>
                    <a:pt x="34207" y="479884"/>
                    <a:pt x="30145" y="482321"/>
                  </a:cubicBezTo>
                  <a:cubicBezTo>
                    <a:pt x="20006" y="488404"/>
                    <a:pt x="15239" y="487345"/>
                    <a:pt x="5025" y="487345"/>
                  </a:cubicBezTo>
                </a:path>
              </a:pathLst>
            </a:custGeom>
            <a:ln w="381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1" name="Forma livre 410"/>
            <p:cNvSpPr/>
            <p:nvPr/>
          </p:nvSpPr>
          <p:spPr bwMode="auto">
            <a:xfrm>
              <a:off x="4986338" y="4502150"/>
              <a:ext cx="87312" cy="290513"/>
            </a:xfrm>
            <a:custGeom>
              <a:avLst/>
              <a:gdLst>
                <a:gd name="connsiteX0" fmla="*/ 85855 w 85855"/>
                <a:gd name="connsiteY0" fmla="*/ 0 h 291402"/>
                <a:gd name="connsiteX1" fmla="*/ 60735 w 85855"/>
                <a:gd name="connsiteY1" fmla="*/ 20096 h 291402"/>
                <a:gd name="connsiteX2" fmla="*/ 40638 w 85855"/>
                <a:gd name="connsiteY2" fmla="*/ 65314 h 291402"/>
                <a:gd name="connsiteX3" fmla="*/ 25565 w 85855"/>
                <a:gd name="connsiteY3" fmla="*/ 75362 h 291402"/>
                <a:gd name="connsiteX4" fmla="*/ 10493 w 85855"/>
                <a:gd name="connsiteY4" fmla="*/ 80386 h 291402"/>
                <a:gd name="connsiteX5" fmla="*/ 444 w 85855"/>
                <a:gd name="connsiteY5" fmla="*/ 110531 h 291402"/>
                <a:gd name="connsiteX6" fmla="*/ 15517 w 85855"/>
                <a:gd name="connsiteY6" fmla="*/ 145701 h 291402"/>
                <a:gd name="connsiteX7" fmla="*/ 30589 w 85855"/>
                <a:gd name="connsiteY7" fmla="*/ 170822 h 291402"/>
                <a:gd name="connsiteX8" fmla="*/ 40638 w 85855"/>
                <a:gd name="connsiteY8" fmla="*/ 200967 h 291402"/>
                <a:gd name="connsiteX9" fmla="*/ 45662 w 85855"/>
                <a:gd name="connsiteY9" fmla="*/ 216039 h 291402"/>
                <a:gd name="connsiteX10" fmla="*/ 35614 w 85855"/>
                <a:gd name="connsiteY10" fmla="*/ 291402 h 291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5855" h="291402">
                  <a:moveTo>
                    <a:pt x="85855" y="0"/>
                  </a:moveTo>
                  <a:cubicBezTo>
                    <a:pt x="77482" y="6699"/>
                    <a:pt x="66884" y="11311"/>
                    <a:pt x="60735" y="20096"/>
                  </a:cubicBezTo>
                  <a:cubicBezTo>
                    <a:pt x="37525" y="53252"/>
                    <a:pt x="62975" y="42977"/>
                    <a:pt x="40638" y="65314"/>
                  </a:cubicBezTo>
                  <a:cubicBezTo>
                    <a:pt x="36368" y="69584"/>
                    <a:pt x="30966" y="72662"/>
                    <a:pt x="25565" y="75362"/>
                  </a:cubicBezTo>
                  <a:cubicBezTo>
                    <a:pt x="20828" y="77730"/>
                    <a:pt x="15517" y="78711"/>
                    <a:pt x="10493" y="80386"/>
                  </a:cubicBezTo>
                  <a:cubicBezTo>
                    <a:pt x="7143" y="90434"/>
                    <a:pt x="-2125" y="100255"/>
                    <a:pt x="444" y="110531"/>
                  </a:cubicBezTo>
                  <a:cubicBezTo>
                    <a:pt x="10902" y="152358"/>
                    <a:pt x="-1832" y="111003"/>
                    <a:pt x="15517" y="145701"/>
                  </a:cubicBezTo>
                  <a:cubicBezTo>
                    <a:pt x="28561" y="171789"/>
                    <a:pt x="10963" y="151194"/>
                    <a:pt x="30589" y="170822"/>
                  </a:cubicBezTo>
                  <a:lnTo>
                    <a:pt x="40638" y="200967"/>
                  </a:lnTo>
                  <a:lnTo>
                    <a:pt x="45662" y="216039"/>
                  </a:lnTo>
                  <a:lnTo>
                    <a:pt x="35614" y="291402"/>
                  </a:lnTo>
                </a:path>
              </a:pathLst>
            </a:custGeom>
            <a:ln w="508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472" name="Forma livre 411"/>
            <p:cNvSpPr/>
            <p:nvPr/>
          </p:nvSpPr>
          <p:spPr bwMode="auto">
            <a:xfrm>
              <a:off x="3565525" y="3943350"/>
              <a:ext cx="1139825" cy="1081088"/>
            </a:xfrm>
            <a:custGeom>
              <a:avLst/>
              <a:gdLst>
                <a:gd name="connsiteX0" fmla="*/ 1140488 w 1140488"/>
                <a:gd name="connsiteY0" fmla="*/ 1080198 h 1080198"/>
                <a:gd name="connsiteX1" fmla="*/ 1130439 w 1140488"/>
                <a:gd name="connsiteY1" fmla="*/ 1055077 h 1080198"/>
                <a:gd name="connsiteX2" fmla="*/ 1125415 w 1140488"/>
                <a:gd name="connsiteY2" fmla="*/ 1040004 h 1080198"/>
                <a:gd name="connsiteX3" fmla="*/ 1105318 w 1140488"/>
                <a:gd name="connsiteY3" fmla="*/ 1014884 h 1080198"/>
                <a:gd name="connsiteX4" fmla="*/ 1065125 w 1140488"/>
                <a:gd name="connsiteY4" fmla="*/ 964642 h 1080198"/>
                <a:gd name="connsiteX5" fmla="*/ 1055077 w 1140488"/>
                <a:gd name="connsiteY5" fmla="*/ 954593 h 1080198"/>
                <a:gd name="connsiteX6" fmla="*/ 1024932 w 1140488"/>
                <a:gd name="connsiteY6" fmla="*/ 944545 h 1080198"/>
                <a:gd name="connsiteX7" fmla="*/ 999811 w 1140488"/>
                <a:gd name="connsiteY7" fmla="*/ 924448 h 1080198"/>
                <a:gd name="connsiteX8" fmla="*/ 974690 w 1140488"/>
                <a:gd name="connsiteY8" fmla="*/ 899327 h 1080198"/>
                <a:gd name="connsiteX9" fmla="*/ 954593 w 1140488"/>
                <a:gd name="connsiteY9" fmla="*/ 879231 h 1080198"/>
                <a:gd name="connsiteX10" fmla="*/ 949569 w 1140488"/>
                <a:gd name="connsiteY10" fmla="*/ 864158 h 1080198"/>
                <a:gd name="connsiteX11" fmla="*/ 909375 w 1140488"/>
                <a:gd name="connsiteY11" fmla="*/ 828989 h 1080198"/>
                <a:gd name="connsiteX12" fmla="*/ 899327 w 1140488"/>
                <a:gd name="connsiteY12" fmla="*/ 813917 h 1080198"/>
                <a:gd name="connsiteX13" fmla="*/ 869182 w 1140488"/>
                <a:gd name="connsiteY13" fmla="*/ 803868 h 1080198"/>
                <a:gd name="connsiteX14" fmla="*/ 854110 w 1140488"/>
                <a:gd name="connsiteY14" fmla="*/ 773723 h 1080198"/>
                <a:gd name="connsiteX15" fmla="*/ 849085 w 1140488"/>
                <a:gd name="connsiteY15" fmla="*/ 758651 h 1080198"/>
                <a:gd name="connsiteX16" fmla="*/ 834013 w 1140488"/>
                <a:gd name="connsiteY16" fmla="*/ 753626 h 1080198"/>
                <a:gd name="connsiteX17" fmla="*/ 798844 w 1140488"/>
                <a:gd name="connsiteY17" fmla="*/ 718457 h 1080198"/>
                <a:gd name="connsiteX18" fmla="*/ 788795 w 1140488"/>
                <a:gd name="connsiteY18" fmla="*/ 708409 h 1080198"/>
                <a:gd name="connsiteX19" fmla="*/ 768699 w 1140488"/>
                <a:gd name="connsiteY19" fmla="*/ 678264 h 1080198"/>
                <a:gd name="connsiteX20" fmla="*/ 753626 w 1140488"/>
                <a:gd name="connsiteY20" fmla="*/ 668215 h 1080198"/>
                <a:gd name="connsiteX21" fmla="*/ 723481 w 1140488"/>
                <a:gd name="connsiteY21" fmla="*/ 643095 h 1080198"/>
                <a:gd name="connsiteX22" fmla="*/ 693336 w 1140488"/>
                <a:gd name="connsiteY22" fmla="*/ 628022 h 1080198"/>
                <a:gd name="connsiteX23" fmla="*/ 678263 w 1140488"/>
                <a:gd name="connsiteY23" fmla="*/ 612949 h 1080198"/>
                <a:gd name="connsiteX24" fmla="*/ 633046 w 1140488"/>
                <a:gd name="connsiteY24" fmla="*/ 587829 h 1080198"/>
                <a:gd name="connsiteX25" fmla="*/ 607925 w 1140488"/>
                <a:gd name="connsiteY25" fmla="*/ 567732 h 1080198"/>
                <a:gd name="connsiteX26" fmla="*/ 592852 w 1140488"/>
                <a:gd name="connsiteY26" fmla="*/ 562708 h 1080198"/>
                <a:gd name="connsiteX27" fmla="*/ 562707 w 1140488"/>
                <a:gd name="connsiteY27" fmla="*/ 532563 h 1080198"/>
                <a:gd name="connsiteX28" fmla="*/ 537586 w 1140488"/>
                <a:gd name="connsiteY28" fmla="*/ 512466 h 1080198"/>
                <a:gd name="connsiteX29" fmla="*/ 507441 w 1140488"/>
                <a:gd name="connsiteY29" fmla="*/ 502418 h 1080198"/>
                <a:gd name="connsiteX30" fmla="*/ 492369 w 1140488"/>
                <a:gd name="connsiteY30" fmla="*/ 492369 h 1080198"/>
                <a:gd name="connsiteX31" fmla="*/ 437103 w 1140488"/>
                <a:gd name="connsiteY31" fmla="*/ 482321 h 1080198"/>
                <a:gd name="connsiteX32" fmla="*/ 391885 w 1140488"/>
                <a:gd name="connsiteY32" fmla="*/ 477297 h 1080198"/>
                <a:gd name="connsiteX33" fmla="*/ 361740 w 1140488"/>
                <a:gd name="connsiteY33" fmla="*/ 462224 h 1080198"/>
                <a:gd name="connsiteX34" fmla="*/ 341644 w 1140488"/>
                <a:gd name="connsiteY34" fmla="*/ 437103 h 1080198"/>
                <a:gd name="connsiteX35" fmla="*/ 286378 w 1140488"/>
                <a:gd name="connsiteY35" fmla="*/ 427055 h 1080198"/>
                <a:gd name="connsiteX36" fmla="*/ 271305 w 1140488"/>
                <a:gd name="connsiteY36" fmla="*/ 422031 h 1080198"/>
                <a:gd name="connsiteX37" fmla="*/ 231112 w 1140488"/>
                <a:gd name="connsiteY37" fmla="*/ 371789 h 1080198"/>
                <a:gd name="connsiteX38" fmla="*/ 226088 w 1140488"/>
                <a:gd name="connsiteY38" fmla="*/ 356717 h 1080198"/>
                <a:gd name="connsiteX39" fmla="*/ 216039 w 1140488"/>
                <a:gd name="connsiteY39" fmla="*/ 316523 h 1080198"/>
                <a:gd name="connsiteX40" fmla="*/ 185894 w 1140488"/>
                <a:gd name="connsiteY40" fmla="*/ 281354 h 1080198"/>
                <a:gd name="connsiteX41" fmla="*/ 145701 w 1140488"/>
                <a:gd name="connsiteY41" fmla="*/ 246185 h 1080198"/>
                <a:gd name="connsiteX42" fmla="*/ 135652 w 1140488"/>
                <a:gd name="connsiteY42" fmla="*/ 236136 h 1080198"/>
                <a:gd name="connsiteX43" fmla="*/ 105507 w 1140488"/>
                <a:gd name="connsiteY43" fmla="*/ 221064 h 1080198"/>
                <a:gd name="connsiteX44" fmla="*/ 75362 w 1140488"/>
                <a:gd name="connsiteY44" fmla="*/ 211015 h 1080198"/>
                <a:gd name="connsiteX45" fmla="*/ 60290 w 1140488"/>
                <a:gd name="connsiteY45" fmla="*/ 205991 h 1080198"/>
                <a:gd name="connsiteX46" fmla="*/ 50241 w 1140488"/>
                <a:gd name="connsiteY46" fmla="*/ 195943 h 1080198"/>
                <a:gd name="connsiteX47" fmla="*/ 40193 w 1140488"/>
                <a:gd name="connsiteY47" fmla="*/ 125604 h 1080198"/>
                <a:gd name="connsiteX48" fmla="*/ 35169 w 1140488"/>
                <a:gd name="connsiteY48" fmla="*/ 105508 h 1080198"/>
                <a:gd name="connsiteX49" fmla="*/ 25121 w 1140488"/>
                <a:gd name="connsiteY49" fmla="*/ 75363 h 1080198"/>
                <a:gd name="connsiteX50" fmla="*/ 10048 w 1140488"/>
                <a:gd name="connsiteY50" fmla="*/ 65314 h 1080198"/>
                <a:gd name="connsiteX51" fmla="*/ 0 w 1140488"/>
                <a:gd name="connsiteY51" fmla="*/ 0 h 1080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140488" h="1080198">
                  <a:moveTo>
                    <a:pt x="1140488" y="1080198"/>
                  </a:moveTo>
                  <a:cubicBezTo>
                    <a:pt x="1137138" y="1071824"/>
                    <a:pt x="1133606" y="1063522"/>
                    <a:pt x="1130439" y="1055077"/>
                  </a:cubicBezTo>
                  <a:cubicBezTo>
                    <a:pt x="1128579" y="1050118"/>
                    <a:pt x="1127783" y="1044741"/>
                    <a:pt x="1125415" y="1040004"/>
                  </a:cubicBezTo>
                  <a:cubicBezTo>
                    <a:pt x="1119077" y="1027328"/>
                    <a:pt x="1114665" y="1024230"/>
                    <a:pt x="1105318" y="1014884"/>
                  </a:cubicBezTo>
                  <a:cubicBezTo>
                    <a:pt x="1085755" y="956190"/>
                    <a:pt x="1110578" y="1010100"/>
                    <a:pt x="1065125" y="964642"/>
                  </a:cubicBezTo>
                  <a:cubicBezTo>
                    <a:pt x="1061776" y="961292"/>
                    <a:pt x="1059314" y="956711"/>
                    <a:pt x="1055077" y="954593"/>
                  </a:cubicBezTo>
                  <a:cubicBezTo>
                    <a:pt x="1045603" y="949856"/>
                    <a:pt x="1024932" y="944545"/>
                    <a:pt x="1024932" y="944545"/>
                  </a:cubicBezTo>
                  <a:cubicBezTo>
                    <a:pt x="985733" y="905350"/>
                    <a:pt x="1050539" y="968837"/>
                    <a:pt x="999811" y="924448"/>
                  </a:cubicBezTo>
                  <a:cubicBezTo>
                    <a:pt x="990899" y="916650"/>
                    <a:pt x="974690" y="899327"/>
                    <a:pt x="974690" y="899327"/>
                  </a:cubicBezTo>
                  <a:cubicBezTo>
                    <a:pt x="961292" y="859134"/>
                    <a:pt x="981389" y="906027"/>
                    <a:pt x="954593" y="879231"/>
                  </a:cubicBezTo>
                  <a:cubicBezTo>
                    <a:pt x="950848" y="875486"/>
                    <a:pt x="952747" y="868395"/>
                    <a:pt x="949569" y="864158"/>
                  </a:cubicBezTo>
                  <a:cubicBezTo>
                    <a:pt x="934873" y="844563"/>
                    <a:pt x="926808" y="840611"/>
                    <a:pt x="909375" y="828989"/>
                  </a:cubicBezTo>
                  <a:cubicBezTo>
                    <a:pt x="906026" y="823965"/>
                    <a:pt x="904447" y="817117"/>
                    <a:pt x="899327" y="813917"/>
                  </a:cubicBezTo>
                  <a:cubicBezTo>
                    <a:pt x="890345" y="808303"/>
                    <a:pt x="869182" y="803868"/>
                    <a:pt x="869182" y="803868"/>
                  </a:cubicBezTo>
                  <a:cubicBezTo>
                    <a:pt x="856557" y="765992"/>
                    <a:pt x="873586" y="812673"/>
                    <a:pt x="854110" y="773723"/>
                  </a:cubicBezTo>
                  <a:cubicBezTo>
                    <a:pt x="851742" y="768986"/>
                    <a:pt x="852830" y="762396"/>
                    <a:pt x="849085" y="758651"/>
                  </a:cubicBezTo>
                  <a:cubicBezTo>
                    <a:pt x="845340" y="754906"/>
                    <a:pt x="839037" y="755301"/>
                    <a:pt x="834013" y="753626"/>
                  </a:cubicBezTo>
                  <a:lnTo>
                    <a:pt x="798844" y="718457"/>
                  </a:lnTo>
                  <a:cubicBezTo>
                    <a:pt x="795494" y="715107"/>
                    <a:pt x="791423" y="712350"/>
                    <a:pt x="788795" y="708409"/>
                  </a:cubicBezTo>
                  <a:cubicBezTo>
                    <a:pt x="782096" y="698361"/>
                    <a:pt x="778747" y="684963"/>
                    <a:pt x="768699" y="678264"/>
                  </a:cubicBezTo>
                  <a:cubicBezTo>
                    <a:pt x="763675" y="674914"/>
                    <a:pt x="758265" y="672081"/>
                    <a:pt x="753626" y="668215"/>
                  </a:cubicBezTo>
                  <a:cubicBezTo>
                    <a:pt x="736960" y="654327"/>
                    <a:pt x="742190" y="652450"/>
                    <a:pt x="723481" y="643095"/>
                  </a:cubicBezTo>
                  <a:cubicBezTo>
                    <a:pt x="700824" y="631766"/>
                    <a:pt x="714931" y="646018"/>
                    <a:pt x="693336" y="628022"/>
                  </a:cubicBezTo>
                  <a:cubicBezTo>
                    <a:pt x="687877" y="623473"/>
                    <a:pt x="683872" y="617311"/>
                    <a:pt x="678263" y="612949"/>
                  </a:cubicBezTo>
                  <a:cubicBezTo>
                    <a:pt x="652350" y="592795"/>
                    <a:pt x="655786" y="595409"/>
                    <a:pt x="633046" y="587829"/>
                  </a:cubicBezTo>
                  <a:cubicBezTo>
                    <a:pt x="623700" y="578483"/>
                    <a:pt x="620600" y="574069"/>
                    <a:pt x="607925" y="567732"/>
                  </a:cubicBezTo>
                  <a:cubicBezTo>
                    <a:pt x="603188" y="565364"/>
                    <a:pt x="597876" y="564383"/>
                    <a:pt x="592852" y="562708"/>
                  </a:cubicBezTo>
                  <a:cubicBezTo>
                    <a:pt x="575912" y="537296"/>
                    <a:pt x="590752" y="555934"/>
                    <a:pt x="562707" y="532563"/>
                  </a:cubicBezTo>
                  <a:cubicBezTo>
                    <a:pt x="550772" y="522617"/>
                    <a:pt x="553563" y="519567"/>
                    <a:pt x="537586" y="512466"/>
                  </a:cubicBezTo>
                  <a:cubicBezTo>
                    <a:pt x="527907" y="508164"/>
                    <a:pt x="507441" y="502418"/>
                    <a:pt x="507441" y="502418"/>
                  </a:cubicBezTo>
                  <a:cubicBezTo>
                    <a:pt x="502417" y="499068"/>
                    <a:pt x="497770" y="495069"/>
                    <a:pt x="492369" y="492369"/>
                  </a:cubicBezTo>
                  <a:cubicBezTo>
                    <a:pt x="476986" y="484677"/>
                    <a:pt x="450687" y="483919"/>
                    <a:pt x="437103" y="482321"/>
                  </a:cubicBezTo>
                  <a:lnTo>
                    <a:pt x="391885" y="477297"/>
                  </a:lnTo>
                  <a:cubicBezTo>
                    <a:pt x="379625" y="473210"/>
                    <a:pt x="371480" y="471964"/>
                    <a:pt x="361740" y="462224"/>
                  </a:cubicBezTo>
                  <a:cubicBezTo>
                    <a:pt x="351474" y="451958"/>
                    <a:pt x="354071" y="444559"/>
                    <a:pt x="341644" y="437103"/>
                  </a:cubicBezTo>
                  <a:cubicBezTo>
                    <a:pt x="329417" y="429766"/>
                    <a:pt x="291916" y="427747"/>
                    <a:pt x="286378" y="427055"/>
                  </a:cubicBezTo>
                  <a:cubicBezTo>
                    <a:pt x="281354" y="425380"/>
                    <a:pt x="275615" y="425109"/>
                    <a:pt x="271305" y="422031"/>
                  </a:cubicBezTo>
                  <a:cubicBezTo>
                    <a:pt x="259299" y="413455"/>
                    <a:pt x="235264" y="384245"/>
                    <a:pt x="231112" y="371789"/>
                  </a:cubicBezTo>
                  <a:cubicBezTo>
                    <a:pt x="229437" y="366765"/>
                    <a:pt x="227481" y="361826"/>
                    <a:pt x="226088" y="356717"/>
                  </a:cubicBezTo>
                  <a:cubicBezTo>
                    <a:pt x="222454" y="343393"/>
                    <a:pt x="223700" y="328014"/>
                    <a:pt x="216039" y="316523"/>
                  </a:cubicBezTo>
                  <a:cubicBezTo>
                    <a:pt x="206948" y="302886"/>
                    <a:pt x="200514" y="291101"/>
                    <a:pt x="185894" y="281354"/>
                  </a:cubicBezTo>
                  <a:cubicBezTo>
                    <a:pt x="160969" y="264737"/>
                    <a:pt x="175092" y="275576"/>
                    <a:pt x="145701" y="246185"/>
                  </a:cubicBezTo>
                  <a:cubicBezTo>
                    <a:pt x="142351" y="242835"/>
                    <a:pt x="140146" y="237634"/>
                    <a:pt x="135652" y="236136"/>
                  </a:cubicBezTo>
                  <a:cubicBezTo>
                    <a:pt x="80692" y="217816"/>
                    <a:pt x="163936" y="247033"/>
                    <a:pt x="105507" y="221064"/>
                  </a:cubicBezTo>
                  <a:cubicBezTo>
                    <a:pt x="95828" y="216762"/>
                    <a:pt x="85410" y="214365"/>
                    <a:pt x="75362" y="211015"/>
                  </a:cubicBezTo>
                  <a:lnTo>
                    <a:pt x="60290" y="205991"/>
                  </a:lnTo>
                  <a:cubicBezTo>
                    <a:pt x="56940" y="202642"/>
                    <a:pt x="52678" y="200005"/>
                    <a:pt x="50241" y="195943"/>
                  </a:cubicBezTo>
                  <a:cubicBezTo>
                    <a:pt x="40908" y="180388"/>
                    <a:pt x="40317" y="126532"/>
                    <a:pt x="40193" y="125604"/>
                  </a:cubicBezTo>
                  <a:cubicBezTo>
                    <a:pt x="39280" y="118760"/>
                    <a:pt x="37153" y="112122"/>
                    <a:pt x="35169" y="105508"/>
                  </a:cubicBezTo>
                  <a:cubicBezTo>
                    <a:pt x="32126" y="95363"/>
                    <a:pt x="33934" y="81238"/>
                    <a:pt x="25121" y="75363"/>
                  </a:cubicBezTo>
                  <a:lnTo>
                    <a:pt x="10048" y="65314"/>
                  </a:lnTo>
                  <a:cubicBezTo>
                    <a:pt x="4685" y="6319"/>
                    <a:pt x="13297" y="26593"/>
                    <a:pt x="0" y="0"/>
                  </a:cubicBezTo>
                </a:path>
              </a:pathLst>
            </a:custGeom>
            <a:ln w="381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>
                <a:ln w="19050"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473" name="Grupo 3"/>
            <p:cNvGrpSpPr/>
            <p:nvPr/>
          </p:nvGrpSpPr>
          <p:grpSpPr>
            <a:xfrm>
              <a:off x="3324225" y="3764820"/>
              <a:ext cx="5739308" cy="2534379"/>
              <a:chOff x="3324225" y="3764820"/>
              <a:chExt cx="5739308" cy="2534379"/>
            </a:xfrm>
          </p:grpSpPr>
          <p:grpSp>
            <p:nvGrpSpPr>
              <p:cNvPr id="475" name="Grupo 10"/>
              <p:cNvGrpSpPr>
                <a:grpSpLocks/>
              </p:cNvGrpSpPr>
              <p:nvPr/>
            </p:nvGrpSpPr>
            <p:grpSpPr bwMode="auto">
              <a:xfrm>
                <a:off x="3324225" y="3764820"/>
                <a:ext cx="2355850" cy="2534379"/>
                <a:chOff x="3863591" y="3764211"/>
                <a:chExt cx="2356339" cy="2534276"/>
              </a:xfrm>
            </p:grpSpPr>
            <p:sp>
              <p:nvSpPr>
                <p:cNvPr id="478" name="Forma livre 330"/>
                <p:cNvSpPr/>
                <p:nvPr/>
              </p:nvSpPr>
              <p:spPr>
                <a:xfrm>
                  <a:off x="4769530" y="3764211"/>
                  <a:ext cx="370676" cy="1073835"/>
                </a:xfrm>
                <a:custGeom>
                  <a:avLst/>
                  <a:gdLst>
                    <a:gd name="connsiteX0" fmla="*/ 291402 w 336620"/>
                    <a:gd name="connsiteY0" fmla="*/ 1040004 h 1040004"/>
                    <a:gd name="connsiteX1" fmla="*/ 326572 w 336620"/>
                    <a:gd name="connsiteY1" fmla="*/ 1004835 h 1040004"/>
                    <a:gd name="connsiteX2" fmla="*/ 336620 w 336620"/>
                    <a:gd name="connsiteY2" fmla="*/ 974690 h 1040004"/>
                    <a:gd name="connsiteX3" fmla="*/ 331596 w 336620"/>
                    <a:gd name="connsiteY3" fmla="*/ 914400 h 1040004"/>
                    <a:gd name="connsiteX4" fmla="*/ 326572 w 336620"/>
                    <a:gd name="connsiteY4" fmla="*/ 899327 h 1040004"/>
                    <a:gd name="connsiteX5" fmla="*/ 301451 w 336620"/>
                    <a:gd name="connsiteY5" fmla="*/ 879231 h 1040004"/>
                    <a:gd name="connsiteX6" fmla="*/ 281354 w 336620"/>
                    <a:gd name="connsiteY6" fmla="*/ 869182 h 1040004"/>
                    <a:gd name="connsiteX7" fmla="*/ 241161 w 336620"/>
                    <a:gd name="connsiteY7" fmla="*/ 839037 h 1040004"/>
                    <a:gd name="connsiteX8" fmla="*/ 221064 w 336620"/>
                    <a:gd name="connsiteY8" fmla="*/ 813916 h 1040004"/>
                    <a:gd name="connsiteX9" fmla="*/ 211015 w 336620"/>
                    <a:gd name="connsiteY9" fmla="*/ 798844 h 1040004"/>
                    <a:gd name="connsiteX10" fmla="*/ 205991 w 336620"/>
                    <a:gd name="connsiteY10" fmla="*/ 783771 h 1040004"/>
                    <a:gd name="connsiteX11" fmla="*/ 195943 w 336620"/>
                    <a:gd name="connsiteY11" fmla="*/ 768699 h 1040004"/>
                    <a:gd name="connsiteX12" fmla="*/ 175846 w 336620"/>
                    <a:gd name="connsiteY12" fmla="*/ 728505 h 1040004"/>
                    <a:gd name="connsiteX13" fmla="*/ 170822 w 336620"/>
                    <a:gd name="connsiteY13" fmla="*/ 713433 h 1040004"/>
                    <a:gd name="connsiteX14" fmla="*/ 180870 w 336620"/>
                    <a:gd name="connsiteY14" fmla="*/ 622998 h 1040004"/>
                    <a:gd name="connsiteX15" fmla="*/ 175846 w 336620"/>
                    <a:gd name="connsiteY15" fmla="*/ 597877 h 1040004"/>
                    <a:gd name="connsiteX16" fmla="*/ 170822 w 336620"/>
                    <a:gd name="connsiteY16" fmla="*/ 582804 h 1040004"/>
                    <a:gd name="connsiteX17" fmla="*/ 165798 w 336620"/>
                    <a:gd name="connsiteY17" fmla="*/ 507442 h 1040004"/>
                    <a:gd name="connsiteX18" fmla="*/ 160774 w 336620"/>
                    <a:gd name="connsiteY18" fmla="*/ 492369 h 1040004"/>
                    <a:gd name="connsiteX19" fmla="*/ 150725 w 336620"/>
                    <a:gd name="connsiteY19" fmla="*/ 482321 h 1040004"/>
                    <a:gd name="connsiteX20" fmla="*/ 145701 w 336620"/>
                    <a:gd name="connsiteY20" fmla="*/ 467248 h 1040004"/>
                    <a:gd name="connsiteX21" fmla="*/ 135653 w 336620"/>
                    <a:gd name="connsiteY21" fmla="*/ 452176 h 1040004"/>
                    <a:gd name="connsiteX22" fmla="*/ 130629 w 336620"/>
                    <a:gd name="connsiteY22" fmla="*/ 432079 h 1040004"/>
                    <a:gd name="connsiteX23" fmla="*/ 135653 w 336620"/>
                    <a:gd name="connsiteY23" fmla="*/ 346668 h 1040004"/>
                    <a:gd name="connsiteX24" fmla="*/ 140677 w 336620"/>
                    <a:gd name="connsiteY24" fmla="*/ 326571 h 1040004"/>
                    <a:gd name="connsiteX25" fmla="*/ 130629 w 336620"/>
                    <a:gd name="connsiteY25" fmla="*/ 205991 h 1040004"/>
                    <a:gd name="connsiteX26" fmla="*/ 120580 w 336620"/>
                    <a:gd name="connsiteY26" fmla="*/ 175846 h 1040004"/>
                    <a:gd name="connsiteX27" fmla="*/ 115556 w 336620"/>
                    <a:gd name="connsiteY27" fmla="*/ 160774 h 1040004"/>
                    <a:gd name="connsiteX28" fmla="*/ 110532 w 336620"/>
                    <a:gd name="connsiteY28" fmla="*/ 145701 h 1040004"/>
                    <a:gd name="connsiteX29" fmla="*/ 100484 w 336620"/>
                    <a:gd name="connsiteY29" fmla="*/ 105508 h 1040004"/>
                    <a:gd name="connsiteX30" fmla="*/ 95459 w 336620"/>
                    <a:gd name="connsiteY30" fmla="*/ 90435 h 1040004"/>
                    <a:gd name="connsiteX31" fmla="*/ 75363 w 336620"/>
                    <a:gd name="connsiteY31" fmla="*/ 60290 h 1040004"/>
                    <a:gd name="connsiteX32" fmla="*/ 60290 w 336620"/>
                    <a:gd name="connsiteY32" fmla="*/ 50242 h 1040004"/>
                    <a:gd name="connsiteX33" fmla="*/ 50242 w 336620"/>
                    <a:gd name="connsiteY33" fmla="*/ 40193 h 1040004"/>
                    <a:gd name="connsiteX34" fmla="*/ 20097 w 336620"/>
                    <a:gd name="connsiteY34" fmla="*/ 20097 h 1040004"/>
                    <a:gd name="connsiteX35" fmla="*/ 0 w 336620"/>
                    <a:gd name="connsiteY35" fmla="*/ 0 h 10400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</a:cxnLst>
                  <a:rect l="l" t="t" r="r" b="b"/>
                  <a:pathLst>
                    <a:path w="336620" h="1040004">
                      <a:moveTo>
                        <a:pt x="291402" y="1040004"/>
                      </a:moveTo>
                      <a:cubicBezTo>
                        <a:pt x="306544" y="1027891"/>
                        <a:pt x="318849" y="1022211"/>
                        <a:pt x="326572" y="1004835"/>
                      </a:cubicBezTo>
                      <a:cubicBezTo>
                        <a:pt x="330874" y="995156"/>
                        <a:pt x="336620" y="974690"/>
                        <a:pt x="336620" y="974690"/>
                      </a:cubicBezTo>
                      <a:cubicBezTo>
                        <a:pt x="334945" y="954593"/>
                        <a:pt x="334261" y="934389"/>
                        <a:pt x="331596" y="914400"/>
                      </a:cubicBezTo>
                      <a:cubicBezTo>
                        <a:pt x="330896" y="909150"/>
                        <a:pt x="329297" y="903868"/>
                        <a:pt x="326572" y="899327"/>
                      </a:cubicBezTo>
                      <a:cubicBezTo>
                        <a:pt x="322267" y="892152"/>
                        <a:pt x="307700" y="882802"/>
                        <a:pt x="301451" y="879231"/>
                      </a:cubicBezTo>
                      <a:cubicBezTo>
                        <a:pt x="294948" y="875515"/>
                        <a:pt x="287266" y="873780"/>
                        <a:pt x="281354" y="869182"/>
                      </a:cubicBezTo>
                      <a:cubicBezTo>
                        <a:pt x="238056" y="835506"/>
                        <a:pt x="273921" y="849957"/>
                        <a:pt x="241161" y="839037"/>
                      </a:cubicBezTo>
                      <a:cubicBezTo>
                        <a:pt x="210231" y="792647"/>
                        <a:pt x="249700" y="849711"/>
                        <a:pt x="221064" y="813916"/>
                      </a:cubicBezTo>
                      <a:cubicBezTo>
                        <a:pt x="217292" y="809201"/>
                        <a:pt x="214365" y="803868"/>
                        <a:pt x="211015" y="798844"/>
                      </a:cubicBezTo>
                      <a:cubicBezTo>
                        <a:pt x="209340" y="793820"/>
                        <a:pt x="208359" y="788508"/>
                        <a:pt x="205991" y="783771"/>
                      </a:cubicBezTo>
                      <a:cubicBezTo>
                        <a:pt x="203291" y="778370"/>
                        <a:pt x="198395" y="774217"/>
                        <a:pt x="195943" y="768699"/>
                      </a:cubicBezTo>
                      <a:cubicBezTo>
                        <a:pt x="177469" y="727132"/>
                        <a:pt x="196483" y="749142"/>
                        <a:pt x="175846" y="728505"/>
                      </a:cubicBezTo>
                      <a:cubicBezTo>
                        <a:pt x="174171" y="723481"/>
                        <a:pt x="170822" y="718729"/>
                        <a:pt x="170822" y="713433"/>
                      </a:cubicBezTo>
                      <a:cubicBezTo>
                        <a:pt x="170822" y="689047"/>
                        <a:pt x="177133" y="649160"/>
                        <a:pt x="180870" y="622998"/>
                      </a:cubicBezTo>
                      <a:cubicBezTo>
                        <a:pt x="179195" y="614624"/>
                        <a:pt x="177917" y="606162"/>
                        <a:pt x="175846" y="597877"/>
                      </a:cubicBezTo>
                      <a:cubicBezTo>
                        <a:pt x="174562" y="592739"/>
                        <a:pt x="171407" y="588068"/>
                        <a:pt x="170822" y="582804"/>
                      </a:cubicBezTo>
                      <a:cubicBezTo>
                        <a:pt x="168042" y="557782"/>
                        <a:pt x="168578" y="532464"/>
                        <a:pt x="165798" y="507442"/>
                      </a:cubicBezTo>
                      <a:cubicBezTo>
                        <a:pt x="165213" y="502178"/>
                        <a:pt x="163499" y="496910"/>
                        <a:pt x="160774" y="492369"/>
                      </a:cubicBezTo>
                      <a:cubicBezTo>
                        <a:pt x="158337" y="488307"/>
                        <a:pt x="154075" y="485670"/>
                        <a:pt x="150725" y="482321"/>
                      </a:cubicBezTo>
                      <a:cubicBezTo>
                        <a:pt x="149050" y="477297"/>
                        <a:pt x="148069" y="471985"/>
                        <a:pt x="145701" y="467248"/>
                      </a:cubicBezTo>
                      <a:cubicBezTo>
                        <a:pt x="143001" y="461847"/>
                        <a:pt x="138031" y="457726"/>
                        <a:pt x="135653" y="452176"/>
                      </a:cubicBezTo>
                      <a:cubicBezTo>
                        <a:pt x="132933" y="445829"/>
                        <a:pt x="132304" y="438778"/>
                        <a:pt x="130629" y="432079"/>
                      </a:cubicBezTo>
                      <a:cubicBezTo>
                        <a:pt x="132304" y="403609"/>
                        <a:pt x="132949" y="375059"/>
                        <a:pt x="135653" y="346668"/>
                      </a:cubicBezTo>
                      <a:cubicBezTo>
                        <a:pt x="136308" y="339794"/>
                        <a:pt x="140677" y="333476"/>
                        <a:pt x="140677" y="326571"/>
                      </a:cubicBezTo>
                      <a:cubicBezTo>
                        <a:pt x="140677" y="315461"/>
                        <a:pt x="136033" y="231207"/>
                        <a:pt x="130629" y="205991"/>
                      </a:cubicBezTo>
                      <a:cubicBezTo>
                        <a:pt x="128410" y="195634"/>
                        <a:pt x="123930" y="185894"/>
                        <a:pt x="120580" y="175846"/>
                      </a:cubicBezTo>
                      <a:lnTo>
                        <a:pt x="115556" y="160774"/>
                      </a:lnTo>
                      <a:cubicBezTo>
                        <a:pt x="113881" y="155750"/>
                        <a:pt x="111816" y="150839"/>
                        <a:pt x="110532" y="145701"/>
                      </a:cubicBezTo>
                      <a:cubicBezTo>
                        <a:pt x="107183" y="132303"/>
                        <a:pt x="104852" y="118609"/>
                        <a:pt x="100484" y="105508"/>
                      </a:cubicBezTo>
                      <a:cubicBezTo>
                        <a:pt x="98809" y="100484"/>
                        <a:pt x="98031" y="95065"/>
                        <a:pt x="95459" y="90435"/>
                      </a:cubicBezTo>
                      <a:cubicBezTo>
                        <a:pt x="89594" y="79878"/>
                        <a:pt x="85411" y="66989"/>
                        <a:pt x="75363" y="60290"/>
                      </a:cubicBezTo>
                      <a:cubicBezTo>
                        <a:pt x="70339" y="56941"/>
                        <a:pt x="65005" y="54014"/>
                        <a:pt x="60290" y="50242"/>
                      </a:cubicBezTo>
                      <a:cubicBezTo>
                        <a:pt x="56591" y="47283"/>
                        <a:pt x="54032" y="43035"/>
                        <a:pt x="50242" y="40193"/>
                      </a:cubicBezTo>
                      <a:cubicBezTo>
                        <a:pt x="40581" y="32947"/>
                        <a:pt x="28636" y="28636"/>
                        <a:pt x="20097" y="20097"/>
                      </a:cubicBezTo>
                      <a:lnTo>
                        <a:pt x="0" y="0"/>
                      </a:lnTo>
                    </a:path>
                  </a:pathLst>
                </a:custGeom>
                <a:ln w="19050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ln w="12700" cmpd="dbl">
                      <a:solidFill>
                        <a:srgbClr val="C00000"/>
                      </a:solidFill>
                    </a:ln>
                  </a:endParaRPr>
                </a:p>
              </p:txBody>
            </p:sp>
            <p:sp>
              <p:nvSpPr>
                <p:cNvPr id="479" name="Forma livre 331"/>
                <p:cNvSpPr/>
                <p:nvPr/>
              </p:nvSpPr>
              <p:spPr>
                <a:xfrm>
                  <a:off x="4928124" y="4136718"/>
                  <a:ext cx="1291806" cy="283833"/>
                </a:xfrm>
                <a:custGeom>
                  <a:avLst/>
                  <a:gdLst>
                    <a:gd name="connsiteX0" fmla="*/ 1276141 w 1276141"/>
                    <a:gd name="connsiteY0" fmla="*/ 256233 h 256233"/>
                    <a:gd name="connsiteX1" fmla="*/ 1230923 w 1276141"/>
                    <a:gd name="connsiteY1" fmla="*/ 231112 h 256233"/>
                    <a:gd name="connsiteX2" fmla="*/ 1235947 w 1276141"/>
                    <a:gd name="connsiteY2" fmla="*/ 216039 h 256233"/>
                    <a:gd name="connsiteX3" fmla="*/ 1225899 w 1276141"/>
                    <a:gd name="connsiteY3" fmla="*/ 160773 h 256233"/>
                    <a:gd name="connsiteX4" fmla="*/ 1205802 w 1276141"/>
                    <a:gd name="connsiteY4" fmla="*/ 155749 h 256233"/>
                    <a:gd name="connsiteX5" fmla="*/ 1170633 w 1276141"/>
                    <a:gd name="connsiteY5" fmla="*/ 150725 h 256233"/>
                    <a:gd name="connsiteX6" fmla="*/ 1155560 w 1276141"/>
                    <a:gd name="connsiteY6" fmla="*/ 140677 h 256233"/>
                    <a:gd name="connsiteX7" fmla="*/ 1140488 w 1276141"/>
                    <a:gd name="connsiteY7" fmla="*/ 135653 h 256233"/>
                    <a:gd name="connsiteX8" fmla="*/ 1130440 w 1276141"/>
                    <a:gd name="connsiteY8" fmla="*/ 120580 h 256233"/>
                    <a:gd name="connsiteX9" fmla="*/ 1120391 w 1276141"/>
                    <a:gd name="connsiteY9" fmla="*/ 110532 h 256233"/>
                    <a:gd name="connsiteX10" fmla="*/ 1105319 w 1276141"/>
                    <a:gd name="connsiteY10" fmla="*/ 100483 h 256233"/>
                    <a:gd name="connsiteX11" fmla="*/ 1095270 w 1276141"/>
                    <a:gd name="connsiteY11" fmla="*/ 90435 h 256233"/>
                    <a:gd name="connsiteX12" fmla="*/ 1080198 w 1276141"/>
                    <a:gd name="connsiteY12" fmla="*/ 80387 h 256233"/>
                    <a:gd name="connsiteX13" fmla="*/ 1070149 w 1276141"/>
                    <a:gd name="connsiteY13" fmla="*/ 70338 h 256233"/>
                    <a:gd name="connsiteX14" fmla="*/ 1040004 w 1276141"/>
                    <a:gd name="connsiteY14" fmla="*/ 55266 h 256233"/>
                    <a:gd name="connsiteX15" fmla="*/ 1029956 w 1276141"/>
                    <a:gd name="connsiteY15" fmla="*/ 45217 h 256233"/>
                    <a:gd name="connsiteX16" fmla="*/ 959618 w 1276141"/>
                    <a:gd name="connsiteY16" fmla="*/ 50242 h 256233"/>
                    <a:gd name="connsiteX17" fmla="*/ 949569 w 1276141"/>
                    <a:gd name="connsiteY17" fmla="*/ 60290 h 256233"/>
                    <a:gd name="connsiteX18" fmla="*/ 934497 w 1276141"/>
                    <a:gd name="connsiteY18" fmla="*/ 70338 h 256233"/>
                    <a:gd name="connsiteX19" fmla="*/ 909376 w 1276141"/>
                    <a:gd name="connsiteY19" fmla="*/ 90435 h 256233"/>
                    <a:gd name="connsiteX20" fmla="*/ 889279 w 1276141"/>
                    <a:gd name="connsiteY20" fmla="*/ 120580 h 256233"/>
                    <a:gd name="connsiteX21" fmla="*/ 884255 w 1276141"/>
                    <a:gd name="connsiteY21" fmla="*/ 135653 h 256233"/>
                    <a:gd name="connsiteX22" fmla="*/ 839037 w 1276141"/>
                    <a:gd name="connsiteY22" fmla="*/ 160773 h 256233"/>
                    <a:gd name="connsiteX23" fmla="*/ 813916 w 1276141"/>
                    <a:gd name="connsiteY23" fmla="*/ 180870 h 256233"/>
                    <a:gd name="connsiteX24" fmla="*/ 803868 w 1276141"/>
                    <a:gd name="connsiteY24" fmla="*/ 195943 h 256233"/>
                    <a:gd name="connsiteX25" fmla="*/ 773723 w 1276141"/>
                    <a:gd name="connsiteY25" fmla="*/ 205991 h 256233"/>
                    <a:gd name="connsiteX26" fmla="*/ 673240 w 1276141"/>
                    <a:gd name="connsiteY26" fmla="*/ 195943 h 256233"/>
                    <a:gd name="connsiteX27" fmla="*/ 607925 w 1276141"/>
                    <a:gd name="connsiteY27" fmla="*/ 200967 h 256233"/>
                    <a:gd name="connsiteX28" fmla="*/ 577780 w 1276141"/>
                    <a:gd name="connsiteY28" fmla="*/ 216039 h 256233"/>
                    <a:gd name="connsiteX29" fmla="*/ 547635 w 1276141"/>
                    <a:gd name="connsiteY29" fmla="*/ 231112 h 256233"/>
                    <a:gd name="connsiteX30" fmla="*/ 472273 w 1276141"/>
                    <a:gd name="connsiteY30" fmla="*/ 226088 h 256233"/>
                    <a:gd name="connsiteX31" fmla="*/ 457200 w 1276141"/>
                    <a:gd name="connsiteY31" fmla="*/ 221063 h 256233"/>
                    <a:gd name="connsiteX32" fmla="*/ 417007 w 1276141"/>
                    <a:gd name="connsiteY32" fmla="*/ 226088 h 256233"/>
                    <a:gd name="connsiteX33" fmla="*/ 401934 w 1276141"/>
                    <a:gd name="connsiteY33" fmla="*/ 231112 h 256233"/>
                    <a:gd name="connsiteX34" fmla="*/ 391886 w 1276141"/>
                    <a:gd name="connsiteY34" fmla="*/ 246184 h 256233"/>
                    <a:gd name="connsiteX35" fmla="*/ 376813 w 1276141"/>
                    <a:gd name="connsiteY35" fmla="*/ 241160 h 256233"/>
                    <a:gd name="connsiteX36" fmla="*/ 366765 w 1276141"/>
                    <a:gd name="connsiteY36" fmla="*/ 226088 h 256233"/>
                    <a:gd name="connsiteX37" fmla="*/ 351692 w 1276141"/>
                    <a:gd name="connsiteY37" fmla="*/ 200967 h 256233"/>
                    <a:gd name="connsiteX38" fmla="*/ 336620 w 1276141"/>
                    <a:gd name="connsiteY38" fmla="*/ 195943 h 256233"/>
                    <a:gd name="connsiteX39" fmla="*/ 326571 w 1276141"/>
                    <a:gd name="connsiteY39" fmla="*/ 185894 h 256233"/>
                    <a:gd name="connsiteX40" fmla="*/ 296426 w 1276141"/>
                    <a:gd name="connsiteY40" fmla="*/ 165798 h 256233"/>
                    <a:gd name="connsiteX41" fmla="*/ 286378 w 1276141"/>
                    <a:gd name="connsiteY41" fmla="*/ 155749 h 256233"/>
                    <a:gd name="connsiteX42" fmla="*/ 271306 w 1276141"/>
                    <a:gd name="connsiteY42" fmla="*/ 145701 h 256233"/>
                    <a:gd name="connsiteX43" fmla="*/ 251209 w 1276141"/>
                    <a:gd name="connsiteY43" fmla="*/ 125604 h 256233"/>
                    <a:gd name="connsiteX44" fmla="*/ 241160 w 1276141"/>
                    <a:gd name="connsiteY44" fmla="*/ 115556 h 256233"/>
                    <a:gd name="connsiteX45" fmla="*/ 231112 w 1276141"/>
                    <a:gd name="connsiteY45" fmla="*/ 105507 h 256233"/>
                    <a:gd name="connsiteX46" fmla="*/ 211015 w 1276141"/>
                    <a:gd name="connsiteY46" fmla="*/ 65314 h 256233"/>
                    <a:gd name="connsiteX47" fmla="*/ 195943 w 1276141"/>
                    <a:gd name="connsiteY47" fmla="*/ 55266 h 256233"/>
                    <a:gd name="connsiteX48" fmla="*/ 180870 w 1276141"/>
                    <a:gd name="connsiteY48" fmla="*/ 50242 h 256233"/>
                    <a:gd name="connsiteX49" fmla="*/ 115556 w 1276141"/>
                    <a:gd name="connsiteY49" fmla="*/ 55266 h 256233"/>
                    <a:gd name="connsiteX50" fmla="*/ 95459 w 1276141"/>
                    <a:gd name="connsiteY50" fmla="*/ 60290 h 256233"/>
                    <a:gd name="connsiteX51" fmla="*/ 65314 w 1276141"/>
                    <a:gd name="connsiteY51" fmla="*/ 55266 h 256233"/>
                    <a:gd name="connsiteX52" fmla="*/ 55266 w 1276141"/>
                    <a:gd name="connsiteY52" fmla="*/ 45217 h 256233"/>
                    <a:gd name="connsiteX53" fmla="*/ 20097 w 1276141"/>
                    <a:gd name="connsiteY53" fmla="*/ 5024 h 256233"/>
                    <a:gd name="connsiteX54" fmla="*/ 0 w 1276141"/>
                    <a:gd name="connsiteY54" fmla="*/ 0 h 2562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276141" h="256233">
                      <a:moveTo>
                        <a:pt x="1276141" y="256233"/>
                      </a:moveTo>
                      <a:cubicBezTo>
                        <a:pt x="1245322" y="252381"/>
                        <a:pt x="1230923" y="263271"/>
                        <a:pt x="1230923" y="231112"/>
                      </a:cubicBezTo>
                      <a:cubicBezTo>
                        <a:pt x="1230923" y="225816"/>
                        <a:pt x="1234272" y="221063"/>
                        <a:pt x="1235947" y="216039"/>
                      </a:cubicBezTo>
                      <a:cubicBezTo>
                        <a:pt x="1232598" y="197617"/>
                        <a:pt x="1234273" y="177520"/>
                        <a:pt x="1225899" y="160773"/>
                      </a:cubicBezTo>
                      <a:cubicBezTo>
                        <a:pt x="1222811" y="154597"/>
                        <a:pt x="1212596" y="156984"/>
                        <a:pt x="1205802" y="155749"/>
                      </a:cubicBezTo>
                      <a:cubicBezTo>
                        <a:pt x="1194151" y="153631"/>
                        <a:pt x="1182356" y="152400"/>
                        <a:pt x="1170633" y="150725"/>
                      </a:cubicBezTo>
                      <a:cubicBezTo>
                        <a:pt x="1165609" y="147376"/>
                        <a:pt x="1160961" y="143377"/>
                        <a:pt x="1155560" y="140677"/>
                      </a:cubicBezTo>
                      <a:cubicBezTo>
                        <a:pt x="1150823" y="138309"/>
                        <a:pt x="1144623" y="138961"/>
                        <a:pt x="1140488" y="135653"/>
                      </a:cubicBezTo>
                      <a:cubicBezTo>
                        <a:pt x="1135773" y="131881"/>
                        <a:pt x="1134212" y="125295"/>
                        <a:pt x="1130440" y="120580"/>
                      </a:cubicBezTo>
                      <a:cubicBezTo>
                        <a:pt x="1127481" y="116881"/>
                        <a:pt x="1124090" y="113491"/>
                        <a:pt x="1120391" y="110532"/>
                      </a:cubicBezTo>
                      <a:cubicBezTo>
                        <a:pt x="1115676" y="106760"/>
                        <a:pt x="1110034" y="104255"/>
                        <a:pt x="1105319" y="100483"/>
                      </a:cubicBezTo>
                      <a:cubicBezTo>
                        <a:pt x="1101620" y="97524"/>
                        <a:pt x="1098969" y="93394"/>
                        <a:pt x="1095270" y="90435"/>
                      </a:cubicBezTo>
                      <a:cubicBezTo>
                        <a:pt x="1090555" y="86663"/>
                        <a:pt x="1084913" y="84159"/>
                        <a:pt x="1080198" y="80387"/>
                      </a:cubicBezTo>
                      <a:cubicBezTo>
                        <a:pt x="1076499" y="77428"/>
                        <a:pt x="1073848" y="73297"/>
                        <a:pt x="1070149" y="70338"/>
                      </a:cubicBezTo>
                      <a:cubicBezTo>
                        <a:pt x="1056236" y="59207"/>
                        <a:pt x="1055924" y="60572"/>
                        <a:pt x="1040004" y="55266"/>
                      </a:cubicBezTo>
                      <a:cubicBezTo>
                        <a:pt x="1036655" y="51916"/>
                        <a:pt x="1034684" y="45512"/>
                        <a:pt x="1029956" y="45217"/>
                      </a:cubicBezTo>
                      <a:cubicBezTo>
                        <a:pt x="1006496" y="43751"/>
                        <a:pt x="982721" y="45910"/>
                        <a:pt x="959618" y="50242"/>
                      </a:cubicBezTo>
                      <a:cubicBezTo>
                        <a:pt x="954962" y="51115"/>
                        <a:pt x="953268" y="57331"/>
                        <a:pt x="949569" y="60290"/>
                      </a:cubicBezTo>
                      <a:cubicBezTo>
                        <a:pt x="944854" y="64062"/>
                        <a:pt x="939212" y="66566"/>
                        <a:pt x="934497" y="70338"/>
                      </a:cubicBezTo>
                      <a:cubicBezTo>
                        <a:pt x="898703" y="98974"/>
                        <a:pt x="955763" y="59510"/>
                        <a:pt x="909376" y="90435"/>
                      </a:cubicBezTo>
                      <a:cubicBezTo>
                        <a:pt x="902677" y="100483"/>
                        <a:pt x="893098" y="109123"/>
                        <a:pt x="889279" y="120580"/>
                      </a:cubicBezTo>
                      <a:cubicBezTo>
                        <a:pt x="887604" y="125604"/>
                        <a:pt x="888000" y="131908"/>
                        <a:pt x="884255" y="135653"/>
                      </a:cubicBezTo>
                      <a:cubicBezTo>
                        <a:pt x="866980" y="152928"/>
                        <a:pt x="857990" y="154456"/>
                        <a:pt x="839037" y="160773"/>
                      </a:cubicBezTo>
                      <a:cubicBezTo>
                        <a:pt x="827850" y="168232"/>
                        <a:pt x="822095" y="170646"/>
                        <a:pt x="813916" y="180870"/>
                      </a:cubicBezTo>
                      <a:cubicBezTo>
                        <a:pt x="810144" y="185585"/>
                        <a:pt x="808989" y="192743"/>
                        <a:pt x="803868" y="195943"/>
                      </a:cubicBezTo>
                      <a:cubicBezTo>
                        <a:pt x="794886" y="201557"/>
                        <a:pt x="773723" y="205991"/>
                        <a:pt x="773723" y="205991"/>
                      </a:cubicBezTo>
                      <a:cubicBezTo>
                        <a:pt x="733398" y="197926"/>
                        <a:pt x="729161" y="195943"/>
                        <a:pt x="673240" y="195943"/>
                      </a:cubicBezTo>
                      <a:cubicBezTo>
                        <a:pt x="651404" y="195943"/>
                        <a:pt x="629697" y="199292"/>
                        <a:pt x="607925" y="200967"/>
                      </a:cubicBezTo>
                      <a:cubicBezTo>
                        <a:pt x="564723" y="229768"/>
                        <a:pt x="619389" y="195234"/>
                        <a:pt x="577780" y="216039"/>
                      </a:cubicBezTo>
                      <a:cubicBezTo>
                        <a:pt x="538822" y="235519"/>
                        <a:pt x="585522" y="218484"/>
                        <a:pt x="547635" y="231112"/>
                      </a:cubicBezTo>
                      <a:cubicBezTo>
                        <a:pt x="522514" y="229437"/>
                        <a:pt x="497295" y="228868"/>
                        <a:pt x="472273" y="226088"/>
                      </a:cubicBezTo>
                      <a:cubicBezTo>
                        <a:pt x="467009" y="225503"/>
                        <a:pt x="462496" y="221063"/>
                        <a:pt x="457200" y="221063"/>
                      </a:cubicBezTo>
                      <a:cubicBezTo>
                        <a:pt x="443698" y="221063"/>
                        <a:pt x="430405" y="224413"/>
                        <a:pt x="417007" y="226088"/>
                      </a:cubicBezTo>
                      <a:cubicBezTo>
                        <a:pt x="411983" y="227763"/>
                        <a:pt x="406070" y="227804"/>
                        <a:pt x="401934" y="231112"/>
                      </a:cubicBezTo>
                      <a:cubicBezTo>
                        <a:pt x="397219" y="234884"/>
                        <a:pt x="397492" y="243942"/>
                        <a:pt x="391886" y="246184"/>
                      </a:cubicBezTo>
                      <a:cubicBezTo>
                        <a:pt x="386969" y="248151"/>
                        <a:pt x="381837" y="242835"/>
                        <a:pt x="376813" y="241160"/>
                      </a:cubicBezTo>
                      <a:cubicBezTo>
                        <a:pt x="373464" y="236136"/>
                        <a:pt x="369465" y="231489"/>
                        <a:pt x="366765" y="226088"/>
                      </a:cubicBezTo>
                      <a:cubicBezTo>
                        <a:pt x="359990" y="212537"/>
                        <a:pt x="365713" y="209379"/>
                        <a:pt x="351692" y="200967"/>
                      </a:cubicBezTo>
                      <a:cubicBezTo>
                        <a:pt x="347151" y="198242"/>
                        <a:pt x="341644" y="197618"/>
                        <a:pt x="336620" y="195943"/>
                      </a:cubicBezTo>
                      <a:cubicBezTo>
                        <a:pt x="333270" y="192593"/>
                        <a:pt x="330361" y="188736"/>
                        <a:pt x="326571" y="185894"/>
                      </a:cubicBezTo>
                      <a:cubicBezTo>
                        <a:pt x="316910" y="178648"/>
                        <a:pt x="304965" y="174338"/>
                        <a:pt x="296426" y="165798"/>
                      </a:cubicBezTo>
                      <a:cubicBezTo>
                        <a:pt x="293077" y="162448"/>
                        <a:pt x="290077" y="158708"/>
                        <a:pt x="286378" y="155749"/>
                      </a:cubicBezTo>
                      <a:cubicBezTo>
                        <a:pt x="281663" y="151977"/>
                        <a:pt x="275890" y="149631"/>
                        <a:pt x="271306" y="145701"/>
                      </a:cubicBezTo>
                      <a:cubicBezTo>
                        <a:pt x="264113" y="139536"/>
                        <a:pt x="257908" y="132303"/>
                        <a:pt x="251209" y="125604"/>
                      </a:cubicBezTo>
                      <a:lnTo>
                        <a:pt x="241160" y="115556"/>
                      </a:lnTo>
                      <a:lnTo>
                        <a:pt x="231112" y="105507"/>
                      </a:lnTo>
                      <a:cubicBezTo>
                        <a:pt x="223130" y="81560"/>
                        <a:pt x="226960" y="78070"/>
                        <a:pt x="211015" y="65314"/>
                      </a:cubicBezTo>
                      <a:cubicBezTo>
                        <a:pt x="206300" y="61542"/>
                        <a:pt x="201344" y="57966"/>
                        <a:pt x="195943" y="55266"/>
                      </a:cubicBezTo>
                      <a:cubicBezTo>
                        <a:pt x="191206" y="52898"/>
                        <a:pt x="185894" y="51917"/>
                        <a:pt x="180870" y="50242"/>
                      </a:cubicBezTo>
                      <a:cubicBezTo>
                        <a:pt x="159099" y="51917"/>
                        <a:pt x="137242" y="52715"/>
                        <a:pt x="115556" y="55266"/>
                      </a:cubicBezTo>
                      <a:cubicBezTo>
                        <a:pt x="108698" y="56073"/>
                        <a:pt x="102364" y="60290"/>
                        <a:pt x="95459" y="60290"/>
                      </a:cubicBezTo>
                      <a:cubicBezTo>
                        <a:pt x="85272" y="60290"/>
                        <a:pt x="75362" y="56941"/>
                        <a:pt x="65314" y="55266"/>
                      </a:cubicBezTo>
                      <a:cubicBezTo>
                        <a:pt x="61965" y="51916"/>
                        <a:pt x="58225" y="48916"/>
                        <a:pt x="55266" y="45217"/>
                      </a:cubicBezTo>
                      <a:cubicBezTo>
                        <a:pt x="45735" y="33303"/>
                        <a:pt x="35591" y="8897"/>
                        <a:pt x="20097" y="5024"/>
                      </a:cubicBezTo>
                      <a:lnTo>
                        <a:pt x="0" y="0"/>
                      </a:lnTo>
                    </a:path>
                  </a:pathLst>
                </a:custGeom>
                <a:ln w="19050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ln w="12700" cmpd="dbl">
                      <a:solidFill>
                        <a:srgbClr val="C00000"/>
                      </a:solidFill>
                    </a:ln>
                  </a:endParaRPr>
                </a:p>
              </p:txBody>
            </p:sp>
            <p:sp>
              <p:nvSpPr>
                <p:cNvPr id="480" name="Forma livre 332"/>
                <p:cNvSpPr/>
                <p:nvPr/>
              </p:nvSpPr>
              <p:spPr>
                <a:xfrm>
                  <a:off x="4400277" y="4914243"/>
                  <a:ext cx="487464" cy="371460"/>
                </a:xfrm>
                <a:custGeom>
                  <a:avLst/>
                  <a:gdLst>
                    <a:gd name="connsiteX0" fmla="*/ 487625 w 487625"/>
                    <a:gd name="connsiteY0" fmla="*/ 351692 h 371789"/>
                    <a:gd name="connsiteX1" fmla="*/ 422311 w 487625"/>
                    <a:gd name="connsiteY1" fmla="*/ 346668 h 371789"/>
                    <a:gd name="connsiteX2" fmla="*/ 397190 w 487625"/>
                    <a:gd name="connsiteY2" fmla="*/ 341644 h 371789"/>
                    <a:gd name="connsiteX3" fmla="*/ 362021 w 487625"/>
                    <a:gd name="connsiteY3" fmla="*/ 346668 h 371789"/>
                    <a:gd name="connsiteX4" fmla="*/ 321827 w 487625"/>
                    <a:gd name="connsiteY4" fmla="*/ 371789 h 371789"/>
                    <a:gd name="connsiteX5" fmla="*/ 256513 w 487625"/>
                    <a:gd name="connsiteY5" fmla="*/ 366765 h 371789"/>
                    <a:gd name="connsiteX6" fmla="*/ 246465 w 487625"/>
                    <a:gd name="connsiteY6" fmla="*/ 356716 h 371789"/>
                    <a:gd name="connsiteX7" fmla="*/ 226368 w 487625"/>
                    <a:gd name="connsiteY7" fmla="*/ 311499 h 371789"/>
                    <a:gd name="connsiteX8" fmla="*/ 211295 w 487625"/>
                    <a:gd name="connsiteY8" fmla="*/ 286378 h 371789"/>
                    <a:gd name="connsiteX9" fmla="*/ 201247 w 487625"/>
                    <a:gd name="connsiteY9" fmla="*/ 271305 h 371789"/>
                    <a:gd name="connsiteX10" fmla="*/ 186175 w 487625"/>
                    <a:gd name="connsiteY10" fmla="*/ 261257 h 371789"/>
                    <a:gd name="connsiteX11" fmla="*/ 176126 w 487625"/>
                    <a:gd name="connsiteY11" fmla="*/ 251209 h 371789"/>
                    <a:gd name="connsiteX12" fmla="*/ 151005 w 487625"/>
                    <a:gd name="connsiteY12" fmla="*/ 256233 h 371789"/>
                    <a:gd name="connsiteX13" fmla="*/ 135933 w 487625"/>
                    <a:gd name="connsiteY13" fmla="*/ 261257 h 371789"/>
                    <a:gd name="connsiteX14" fmla="*/ 100764 w 487625"/>
                    <a:gd name="connsiteY14" fmla="*/ 256233 h 371789"/>
                    <a:gd name="connsiteX15" fmla="*/ 85691 w 487625"/>
                    <a:gd name="connsiteY15" fmla="*/ 155749 h 371789"/>
                    <a:gd name="connsiteX16" fmla="*/ 55546 w 487625"/>
                    <a:gd name="connsiteY16" fmla="*/ 120580 h 371789"/>
                    <a:gd name="connsiteX17" fmla="*/ 40473 w 487625"/>
                    <a:gd name="connsiteY17" fmla="*/ 105508 h 371789"/>
                    <a:gd name="connsiteX18" fmla="*/ 30425 w 487625"/>
                    <a:gd name="connsiteY18" fmla="*/ 95459 h 371789"/>
                    <a:gd name="connsiteX19" fmla="*/ 10328 w 487625"/>
                    <a:gd name="connsiteY19" fmla="*/ 70338 h 371789"/>
                    <a:gd name="connsiteX20" fmla="*/ 5304 w 487625"/>
                    <a:gd name="connsiteY20" fmla="*/ 15072 h 371789"/>
                    <a:gd name="connsiteX21" fmla="*/ 15353 w 487625"/>
                    <a:gd name="connsiteY21" fmla="*/ 5024 h 371789"/>
                    <a:gd name="connsiteX22" fmla="*/ 65594 w 487625"/>
                    <a:gd name="connsiteY22" fmla="*/ 0 h 3717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487625" h="371789">
                      <a:moveTo>
                        <a:pt x="487625" y="351692"/>
                      </a:moveTo>
                      <a:cubicBezTo>
                        <a:pt x="465854" y="350017"/>
                        <a:pt x="444013" y="349079"/>
                        <a:pt x="422311" y="346668"/>
                      </a:cubicBezTo>
                      <a:cubicBezTo>
                        <a:pt x="413824" y="345725"/>
                        <a:pt x="405729" y="341644"/>
                        <a:pt x="397190" y="341644"/>
                      </a:cubicBezTo>
                      <a:cubicBezTo>
                        <a:pt x="385348" y="341644"/>
                        <a:pt x="373744" y="344993"/>
                        <a:pt x="362021" y="346668"/>
                      </a:cubicBezTo>
                      <a:cubicBezTo>
                        <a:pt x="337041" y="371648"/>
                        <a:pt x="351115" y="364467"/>
                        <a:pt x="321827" y="371789"/>
                      </a:cubicBezTo>
                      <a:cubicBezTo>
                        <a:pt x="300056" y="370114"/>
                        <a:pt x="277925" y="371047"/>
                        <a:pt x="256513" y="366765"/>
                      </a:cubicBezTo>
                      <a:cubicBezTo>
                        <a:pt x="251868" y="365836"/>
                        <a:pt x="248583" y="360953"/>
                        <a:pt x="246465" y="356716"/>
                      </a:cubicBezTo>
                      <a:cubicBezTo>
                        <a:pt x="210594" y="284974"/>
                        <a:pt x="255923" y="355831"/>
                        <a:pt x="226368" y="311499"/>
                      </a:cubicBezTo>
                      <a:cubicBezTo>
                        <a:pt x="217642" y="285321"/>
                        <a:pt x="227060" y="306084"/>
                        <a:pt x="211295" y="286378"/>
                      </a:cubicBezTo>
                      <a:cubicBezTo>
                        <a:pt x="207523" y="281663"/>
                        <a:pt x="205517" y="275575"/>
                        <a:pt x="201247" y="271305"/>
                      </a:cubicBezTo>
                      <a:cubicBezTo>
                        <a:pt x="196978" y="267035"/>
                        <a:pt x="190890" y="265029"/>
                        <a:pt x="186175" y="261257"/>
                      </a:cubicBezTo>
                      <a:cubicBezTo>
                        <a:pt x="182476" y="258298"/>
                        <a:pt x="179476" y="254558"/>
                        <a:pt x="176126" y="251209"/>
                      </a:cubicBezTo>
                      <a:cubicBezTo>
                        <a:pt x="167752" y="252884"/>
                        <a:pt x="159290" y="254162"/>
                        <a:pt x="151005" y="256233"/>
                      </a:cubicBezTo>
                      <a:cubicBezTo>
                        <a:pt x="145867" y="257517"/>
                        <a:pt x="141229" y="261257"/>
                        <a:pt x="135933" y="261257"/>
                      </a:cubicBezTo>
                      <a:cubicBezTo>
                        <a:pt x="124091" y="261257"/>
                        <a:pt x="112487" y="257908"/>
                        <a:pt x="100764" y="256233"/>
                      </a:cubicBezTo>
                      <a:cubicBezTo>
                        <a:pt x="67844" y="223317"/>
                        <a:pt x="100670" y="260606"/>
                        <a:pt x="85691" y="155749"/>
                      </a:cubicBezTo>
                      <a:cubicBezTo>
                        <a:pt x="84416" y="146822"/>
                        <a:pt x="57903" y="122937"/>
                        <a:pt x="55546" y="120580"/>
                      </a:cubicBezTo>
                      <a:lnTo>
                        <a:pt x="40473" y="105508"/>
                      </a:lnTo>
                      <a:cubicBezTo>
                        <a:pt x="37123" y="102158"/>
                        <a:pt x="33053" y="99400"/>
                        <a:pt x="30425" y="95459"/>
                      </a:cubicBezTo>
                      <a:cubicBezTo>
                        <a:pt x="17749" y="76445"/>
                        <a:pt x="24647" y="84657"/>
                        <a:pt x="10328" y="70338"/>
                      </a:cubicBezTo>
                      <a:cubicBezTo>
                        <a:pt x="1984" y="45305"/>
                        <a:pt x="-5348" y="39926"/>
                        <a:pt x="5304" y="15072"/>
                      </a:cubicBezTo>
                      <a:cubicBezTo>
                        <a:pt x="7170" y="10718"/>
                        <a:pt x="10783" y="6270"/>
                        <a:pt x="15353" y="5024"/>
                      </a:cubicBezTo>
                      <a:cubicBezTo>
                        <a:pt x="34453" y="-185"/>
                        <a:pt x="48473" y="0"/>
                        <a:pt x="65594" y="0"/>
                      </a:cubicBezTo>
                    </a:path>
                  </a:pathLst>
                </a:custGeom>
                <a:ln w="19050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ln w="12700" cmpd="dbl">
                      <a:solidFill>
                        <a:srgbClr val="C00000"/>
                      </a:solidFill>
                    </a:ln>
                  </a:endParaRPr>
                </a:p>
              </p:txBody>
            </p:sp>
            <p:sp>
              <p:nvSpPr>
                <p:cNvPr id="481" name="Forma livre 333"/>
                <p:cNvSpPr/>
                <p:nvPr/>
              </p:nvSpPr>
              <p:spPr>
                <a:xfrm>
                  <a:off x="4320812" y="4933702"/>
                  <a:ext cx="81055" cy="24991"/>
                </a:xfrm>
                <a:custGeom>
                  <a:avLst/>
                  <a:gdLst>
                    <a:gd name="connsiteX0" fmla="*/ 105508 w 105508"/>
                    <a:gd name="connsiteY0" fmla="*/ 30145 h 35332"/>
                    <a:gd name="connsiteX1" fmla="*/ 80387 w 105508"/>
                    <a:gd name="connsiteY1" fmla="*/ 35170 h 35332"/>
                    <a:gd name="connsiteX2" fmla="*/ 65315 w 105508"/>
                    <a:gd name="connsiteY2" fmla="*/ 25121 h 35332"/>
                    <a:gd name="connsiteX3" fmla="*/ 45218 w 105508"/>
                    <a:gd name="connsiteY3" fmla="*/ 20097 h 35332"/>
                    <a:gd name="connsiteX4" fmla="*/ 25121 w 105508"/>
                    <a:gd name="connsiteY4" fmla="*/ 10049 h 35332"/>
                    <a:gd name="connsiteX5" fmla="*/ 0 w 105508"/>
                    <a:gd name="connsiteY5" fmla="*/ 0 h 35332"/>
                    <a:gd name="connsiteX0" fmla="*/ 80387 w 80387"/>
                    <a:gd name="connsiteY0" fmla="*/ 20096 h 25283"/>
                    <a:gd name="connsiteX1" fmla="*/ 55266 w 80387"/>
                    <a:gd name="connsiteY1" fmla="*/ 25121 h 25283"/>
                    <a:gd name="connsiteX2" fmla="*/ 40194 w 80387"/>
                    <a:gd name="connsiteY2" fmla="*/ 15072 h 25283"/>
                    <a:gd name="connsiteX3" fmla="*/ 20097 w 80387"/>
                    <a:gd name="connsiteY3" fmla="*/ 10048 h 25283"/>
                    <a:gd name="connsiteX4" fmla="*/ 0 w 80387"/>
                    <a:gd name="connsiteY4" fmla="*/ 0 h 252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0387" h="25283">
                      <a:moveTo>
                        <a:pt x="80387" y="20096"/>
                      </a:moveTo>
                      <a:cubicBezTo>
                        <a:pt x="72013" y="21771"/>
                        <a:pt x="63740" y="26180"/>
                        <a:pt x="55266" y="25121"/>
                      </a:cubicBezTo>
                      <a:cubicBezTo>
                        <a:pt x="49274" y="24372"/>
                        <a:pt x="45744" y="17451"/>
                        <a:pt x="40194" y="15072"/>
                      </a:cubicBezTo>
                      <a:cubicBezTo>
                        <a:pt x="33847" y="12352"/>
                        <a:pt x="26563" y="12472"/>
                        <a:pt x="20097" y="10048"/>
                      </a:cubicBezTo>
                      <a:cubicBezTo>
                        <a:pt x="13084" y="7418"/>
                        <a:pt x="6884" y="2950"/>
                        <a:pt x="0" y="0"/>
                      </a:cubicBezTo>
                    </a:path>
                  </a:pathLst>
                </a:custGeom>
                <a:ln w="25400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ln w="12700" cmpd="dbl">
                      <a:solidFill>
                        <a:srgbClr val="C00000"/>
                      </a:solidFill>
                    </a:ln>
                  </a:endParaRPr>
                </a:p>
              </p:txBody>
            </p:sp>
            <p:sp>
              <p:nvSpPr>
                <p:cNvPr id="482" name="Forma livre 334"/>
                <p:cNvSpPr/>
                <p:nvPr/>
              </p:nvSpPr>
              <p:spPr>
                <a:xfrm>
                  <a:off x="3863591" y="5773046"/>
                  <a:ext cx="401721" cy="525441"/>
                </a:xfrm>
                <a:custGeom>
                  <a:avLst/>
                  <a:gdLst>
                    <a:gd name="connsiteX0" fmla="*/ 401934 w 401934"/>
                    <a:gd name="connsiteY0" fmla="*/ 492369 h 525709"/>
                    <a:gd name="connsiteX1" fmla="*/ 371789 w 401934"/>
                    <a:gd name="connsiteY1" fmla="*/ 497393 h 525709"/>
                    <a:gd name="connsiteX2" fmla="*/ 341644 w 401934"/>
                    <a:gd name="connsiteY2" fmla="*/ 507442 h 525709"/>
                    <a:gd name="connsiteX3" fmla="*/ 276330 w 401934"/>
                    <a:gd name="connsiteY3" fmla="*/ 517490 h 525709"/>
                    <a:gd name="connsiteX4" fmla="*/ 246185 w 401934"/>
                    <a:gd name="connsiteY4" fmla="*/ 507442 h 525709"/>
                    <a:gd name="connsiteX5" fmla="*/ 221064 w 401934"/>
                    <a:gd name="connsiteY5" fmla="*/ 492369 h 525709"/>
                    <a:gd name="connsiteX6" fmla="*/ 190919 w 401934"/>
                    <a:gd name="connsiteY6" fmla="*/ 477297 h 525709"/>
                    <a:gd name="connsiteX7" fmla="*/ 160774 w 401934"/>
                    <a:gd name="connsiteY7" fmla="*/ 457200 h 525709"/>
                    <a:gd name="connsiteX8" fmla="*/ 150725 w 401934"/>
                    <a:gd name="connsiteY8" fmla="*/ 447152 h 525709"/>
                    <a:gd name="connsiteX9" fmla="*/ 120580 w 401934"/>
                    <a:gd name="connsiteY9" fmla="*/ 437103 h 525709"/>
                    <a:gd name="connsiteX10" fmla="*/ 110532 w 401934"/>
                    <a:gd name="connsiteY10" fmla="*/ 422031 h 525709"/>
                    <a:gd name="connsiteX11" fmla="*/ 100484 w 401934"/>
                    <a:gd name="connsiteY11" fmla="*/ 361741 h 525709"/>
                    <a:gd name="connsiteX12" fmla="*/ 80387 w 401934"/>
                    <a:gd name="connsiteY12" fmla="*/ 331596 h 525709"/>
                    <a:gd name="connsiteX13" fmla="*/ 70339 w 401934"/>
                    <a:gd name="connsiteY13" fmla="*/ 301451 h 525709"/>
                    <a:gd name="connsiteX14" fmla="*/ 65314 w 401934"/>
                    <a:gd name="connsiteY14" fmla="*/ 286378 h 525709"/>
                    <a:gd name="connsiteX15" fmla="*/ 60290 w 401934"/>
                    <a:gd name="connsiteY15" fmla="*/ 256233 h 525709"/>
                    <a:gd name="connsiteX16" fmla="*/ 30145 w 401934"/>
                    <a:gd name="connsiteY16" fmla="*/ 246185 h 525709"/>
                    <a:gd name="connsiteX17" fmla="*/ 0 w 401934"/>
                    <a:gd name="connsiteY17" fmla="*/ 205991 h 525709"/>
                    <a:gd name="connsiteX18" fmla="*/ 40194 w 401934"/>
                    <a:gd name="connsiteY18" fmla="*/ 195943 h 525709"/>
                    <a:gd name="connsiteX19" fmla="*/ 55266 w 401934"/>
                    <a:gd name="connsiteY19" fmla="*/ 190919 h 525709"/>
                    <a:gd name="connsiteX20" fmla="*/ 80387 w 401934"/>
                    <a:gd name="connsiteY20" fmla="*/ 185895 h 525709"/>
                    <a:gd name="connsiteX21" fmla="*/ 110532 w 401934"/>
                    <a:gd name="connsiteY21" fmla="*/ 175846 h 525709"/>
                    <a:gd name="connsiteX22" fmla="*/ 125605 w 401934"/>
                    <a:gd name="connsiteY22" fmla="*/ 170822 h 525709"/>
                    <a:gd name="connsiteX23" fmla="*/ 140677 w 401934"/>
                    <a:gd name="connsiteY23" fmla="*/ 160774 h 525709"/>
                    <a:gd name="connsiteX24" fmla="*/ 150725 w 401934"/>
                    <a:gd name="connsiteY24" fmla="*/ 150725 h 525709"/>
                    <a:gd name="connsiteX25" fmla="*/ 165798 w 401934"/>
                    <a:gd name="connsiteY25" fmla="*/ 145701 h 525709"/>
                    <a:gd name="connsiteX26" fmla="*/ 180871 w 401934"/>
                    <a:gd name="connsiteY26" fmla="*/ 130629 h 525709"/>
                    <a:gd name="connsiteX27" fmla="*/ 170822 w 401934"/>
                    <a:gd name="connsiteY27" fmla="*/ 70338 h 525709"/>
                    <a:gd name="connsiteX28" fmla="*/ 180871 w 401934"/>
                    <a:gd name="connsiteY28" fmla="*/ 30145 h 525709"/>
                    <a:gd name="connsiteX29" fmla="*/ 195943 w 401934"/>
                    <a:gd name="connsiteY29" fmla="*/ 20097 h 525709"/>
                    <a:gd name="connsiteX30" fmla="*/ 205991 w 401934"/>
                    <a:gd name="connsiteY30" fmla="*/ 0 h 5257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401934" h="525709">
                      <a:moveTo>
                        <a:pt x="401934" y="492369"/>
                      </a:moveTo>
                      <a:cubicBezTo>
                        <a:pt x="391886" y="494044"/>
                        <a:pt x="381672" y="494922"/>
                        <a:pt x="371789" y="497393"/>
                      </a:cubicBezTo>
                      <a:cubicBezTo>
                        <a:pt x="361513" y="499962"/>
                        <a:pt x="341644" y="507442"/>
                        <a:pt x="341644" y="507442"/>
                      </a:cubicBezTo>
                      <a:cubicBezTo>
                        <a:pt x="316453" y="532633"/>
                        <a:pt x="329419" y="527444"/>
                        <a:pt x="276330" y="517490"/>
                      </a:cubicBezTo>
                      <a:cubicBezTo>
                        <a:pt x="265920" y="515538"/>
                        <a:pt x="246185" y="507442"/>
                        <a:pt x="246185" y="507442"/>
                      </a:cubicBezTo>
                      <a:cubicBezTo>
                        <a:pt x="226558" y="487815"/>
                        <a:pt x="247151" y="505412"/>
                        <a:pt x="221064" y="492369"/>
                      </a:cubicBezTo>
                      <a:cubicBezTo>
                        <a:pt x="182106" y="472891"/>
                        <a:pt x="228802" y="489925"/>
                        <a:pt x="190919" y="477297"/>
                      </a:cubicBezTo>
                      <a:cubicBezTo>
                        <a:pt x="180871" y="470598"/>
                        <a:pt x="169314" y="465739"/>
                        <a:pt x="160774" y="457200"/>
                      </a:cubicBezTo>
                      <a:cubicBezTo>
                        <a:pt x="157424" y="453851"/>
                        <a:pt x="154962" y="449270"/>
                        <a:pt x="150725" y="447152"/>
                      </a:cubicBezTo>
                      <a:cubicBezTo>
                        <a:pt x="141251" y="442415"/>
                        <a:pt x="120580" y="437103"/>
                        <a:pt x="120580" y="437103"/>
                      </a:cubicBezTo>
                      <a:cubicBezTo>
                        <a:pt x="117231" y="432079"/>
                        <a:pt x="111996" y="427889"/>
                        <a:pt x="110532" y="422031"/>
                      </a:cubicBezTo>
                      <a:cubicBezTo>
                        <a:pt x="107514" y="409959"/>
                        <a:pt x="109399" y="377788"/>
                        <a:pt x="100484" y="361741"/>
                      </a:cubicBezTo>
                      <a:cubicBezTo>
                        <a:pt x="94619" y="351184"/>
                        <a:pt x="80387" y="331596"/>
                        <a:pt x="80387" y="331596"/>
                      </a:cubicBezTo>
                      <a:lnTo>
                        <a:pt x="70339" y="301451"/>
                      </a:lnTo>
                      <a:lnTo>
                        <a:pt x="65314" y="286378"/>
                      </a:lnTo>
                      <a:cubicBezTo>
                        <a:pt x="63639" y="276330"/>
                        <a:pt x="66998" y="263899"/>
                        <a:pt x="60290" y="256233"/>
                      </a:cubicBezTo>
                      <a:cubicBezTo>
                        <a:pt x="53315" y="248262"/>
                        <a:pt x="30145" y="246185"/>
                        <a:pt x="30145" y="246185"/>
                      </a:cubicBezTo>
                      <a:cubicBezTo>
                        <a:pt x="1279" y="217319"/>
                        <a:pt x="8769" y="232299"/>
                        <a:pt x="0" y="205991"/>
                      </a:cubicBezTo>
                      <a:cubicBezTo>
                        <a:pt x="34457" y="194506"/>
                        <a:pt x="-8313" y="208069"/>
                        <a:pt x="40194" y="195943"/>
                      </a:cubicBezTo>
                      <a:cubicBezTo>
                        <a:pt x="45332" y="194659"/>
                        <a:pt x="50128" y="192203"/>
                        <a:pt x="55266" y="190919"/>
                      </a:cubicBezTo>
                      <a:cubicBezTo>
                        <a:pt x="63551" y="188848"/>
                        <a:pt x="72148" y="188142"/>
                        <a:pt x="80387" y="185895"/>
                      </a:cubicBezTo>
                      <a:cubicBezTo>
                        <a:pt x="90606" y="183108"/>
                        <a:pt x="100484" y="179196"/>
                        <a:pt x="110532" y="175846"/>
                      </a:cubicBezTo>
                      <a:lnTo>
                        <a:pt x="125605" y="170822"/>
                      </a:lnTo>
                      <a:cubicBezTo>
                        <a:pt x="130629" y="167473"/>
                        <a:pt x="135962" y="164546"/>
                        <a:pt x="140677" y="160774"/>
                      </a:cubicBezTo>
                      <a:cubicBezTo>
                        <a:pt x="144376" y="157815"/>
                        <a:pt x="146663" y="153162"/>
                        <a:pt x="150725" y="150725"/>
                      </a:cubicBezTo>
                      <a:cubicBezTo>
                        <a:pt x="155266" y="148000"/>
                        <a:pt x="160774" y="147376"/>
                        <a:pt x="165798" y="145701"/>
                      </a:cubicBezTo>
                      <a:cubicBezTo>
                        <a:pt x="170822" y="140677"/>
                        <a:pt x="179703" y="137638"/>
                        <a:pt x="180871" y="130629"/>
                      </a:cubicBezTo>
                      <a:cubicBezTo>
                        <a:pt x="184610" y="108195"/>
                        <a:pt x="177377" y="90003"/>
                        <a:pt x="170822" y="70338"/>
                      </a:cubicBezTo>
                      <a:cubicBezTo>
                        <a:pt x="171073" y="69083"/>
                        <a:pt x="176750" y="35296"/>
                        <a:pt x="180871" y="30145"/>
                      </a:cubicBezTo>
                      <a:cubicBezTo>
                        <a:pt x="184643" y="25430"/>
                        <a:pt x="190919" y="23446"/>
                        <a:pt x="195943" y="20097"/>
                      </a:cubicBezTo>
                      <a:cubicBezTo>
                        <a:pt x="206920" y="3631"/>
                        <a:pt x="205991" y="11062"/>
                        <a:pt x="205991" y="0"/>
                      </a:cubicBezTo>
                    </a:path>
                  </a:pathLst>
                </a:custGeom>
                <a:ln w="19050" cmpd="sng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ln w="12700" cmpd="dbl">
                      <a:solidFill>
                        <a:srgbClr val="C00000"/>
                      </a:solidFill>
                    </a:ln>
                  </a:endParaRPr>
                </a:p>
              </p:txBody>
            </p:sp>
          </p:grpSp>
          <p:cxnSp>
            <p:nvCxnSpPr>
              <p:cNvPr id="476" name="Conector reto 339"/>
              <p:cNvCxnSpPr/>
              <p:nvPr/>
            </p:nvCxnSpPr>
            <p:spPr>
              <a:xfrm>
                <a:off x="6793200" y="5220604"/>
                <a:ext cx="358775" cy="0"/>
              </a:xfrm>
              <a:prstGeom prst="line">
                <a:avLst/>
              </a:prstGeom>
              <a:ln w="38100" cmpd="sng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77" name="Retângulo 8"/>
              <p:cNvSpPr/>
              <p:nvPr/>
            </p:nvSpPr>
            <p:spPr>
              <a:xfrm>
                <a:off x="7210419" y="5079260"/>
                <a:ext cx="1853114" cy="261610"/>
              </a:xfrm>
              <a:prstGeom prst="rect">
                <a:avLst/>
              </a:prstGeom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1100" dirty="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rPr>
                  <a:t>Malha Explorada</a:t>
                </a:r>
              </a:p>
            </p:txBody>
          </p:sp>
        </p:grpSp>
        <p:sp>
          <p:nvSpPr>
            <p:cNvPr id="474" name="Forma livre 6"/>
            <p:cNvSpPr/>
            <p:nvPr/>
          </p:nvSpPr>
          <p:spPr>
            <a:xfrm>
              <a:off x="4543540" y="1569412"/>
              <a:ext cx="593400" cy="405691"/>
            </a:xfrm>
            <a:custGeom>
              <a:avLst/>
              <a:gdLst>
                <a:gd name="connsiteX0" fmla="*/ 0 w 490119"/>
                <a:gd name="connsiteY0" fmla="*/ 373075 h 373075"/>
                <a:gd name="connsiteX1" fmla="*/ 29261 w 490119"/>
                <a:gd name="connsiteY1" fmla="*/ 336499 h 373075"/>
                <a:gd name="connsiteX2" fmla="*/ 73152 w 490119"/>
                <a:gd name="connsiteY2" fmla="*/ 321869 h 373075"/>
                <a:gd name="connsiteX3" fmla="*/ 95098 w 490119"/>
                <a:gd name="connsiteY3" fmla="*/ 307238 h 373075"/>
                <a:gd name="connsiteX4" fmla="*/ 117044 w 490119"/>
                <a:gd name="connsiteY4" fmla="*/ 299923 h 373075"/>
                <a:gd name="connsiteX5" fmla="*/ 153620 w 490119"/>
                <a:gd name="connsiteY5" fmla="*/ 263347 h 373075"/>
                <a:gd name="connsiteX6" fmla="*/ 197511 w 490119"/>
                <a:gd name="connsiteY6" fmla="*/ 212141 h 373075"/>
                <a:gd name="connsiteX7" fmla="*/ 219456 w 490119"/>
                <a:gd name="connsiteY7" fmla="*/ 197510 h 373075"/>
                <a:gd name="connsiteX8" fmla="*/ 248717 w 490119"/>
                <a:gd name="connsiteY8" fmla="*/ 190195 h 373075"/>
                <a:gd name="connsiteX9" fmla="*/ 270663 w 490119"/>
                <a:gd name="connsiteY9" fmla="*/ 182880 h 373075"/>
                <a:gd name="connsiteX10" fmla="*/ 329184 w 490119"/>
                <a:gd name="connsiteY10" fmla="*/ 168250 h 373075"/>
                <a:gd name="connsiteX11" fmla="*/ 358445 w 490119"/>
                <a:gd name="connsiteY11" fmla="*/ 160934 h 373075"/>
                <a:gd name="connsiteX12" fmla="*/ 409652 w 490119"/>
                <a:gd name="connsiteY12" fmla="*/ 153619 h 373075"/>
                <a:gd name="connsiteX13" fmla="*/ 431597 w 490119"/>
                <a:gd name="connsiteY13" fmla="*/ 146304 h 373075"/>
                <a:gd name="connsiteX14" fmla="*/ 460858 w 490119"/>
                <a:gd name="connsiteY14" fmla="*/ 117043 h 373075"/>
                <a:gd name="connsiteX15" fmla="*/ 482804 w 490119"/>
                <a:gd name="connsiteY15" fmla="*/ 29261 h 373075"/>
                <a:gd name="connsiteX16" fmla="*/ 490119 w 490119"/>
                <a:gd name="connsiteY16" fmla="*/ 0 h 373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90119" h="373075">
                  <a:moveTo>
                    <a:pt x="0" y="373075"/>
                  </a:moveTo>
                  <a:cubicBezTo>
                    <a:pt x="9754" y="360883"/>
                    <a:pt x="16470" y="345453"/>
                    <a:pt x="29261" y="336499"/>
                  </a:cubicBezTo>
                  <a:cubicBezTo>
                    <a:pt x="41895" y="327655"/>
                    <a:pt x="73152" y="321869"/>
                    <a:pt x="73152" y="321869"/>
                  </a:cubicBezTo>
                  <a:cubicBezTo>
                    <a:pt x="80467" y="316992"/>
                    <a:pt x="87234" y="311170"/>
                    <a:pt x="95098" y="307238"/>
                  </a:cubicBezTo>
                  <a:cubicBezTo>
                    <a:pt x="101995" y="303790"/>
                    <a:pt x="110875" y="304550"/>
                    <a:pt x="117044" y="299923"/>
                  </a:cubicBezTo>
                  <a:cubicBezTo>
                    <a:pt x="130838" y="289578"/>
                    <a:pt x="144056" y="277693"/>
                    <a:pt x="153620" y="263347"/>
                  </a:cubicBezTo>
                  <a:cubicBezTo>
                    <a:pt x="166857" y="243491"/>
                    <a:pt x="176223" y="226334"/>
                    <a:pt x="197511" y="212141"/>
                  </a:cubicBezTo>
                  <a:cubicBezTo>
                    <a:pt x="204826" y="207264"/>
                    <a:pt x="211375" y="200973"/>
                    <a:pt x="219456" y="197510"/>
                  </a:cubicBezTo>
                  <a:cubicBezTo>
                    <a:pt x="228697" y="193550"/>
                    <a:pt x="239050" y="192957"/>
                    <a:pt x="248717" y="190195"/>
                  </a:cubicBezTo>
                  <a:cubicBezTo>
                    <a:pt x="256131" y="188077"/>
                    <a:pt x="263224" y="184909"/>
                    <a:pt x="270663" y="182880"/>
                  </a:cubicBezTo>
                  <a:cubicBezTo>
                    <a:pt x="290062" y="177590"/>
                    <a:pt x="309677" y="173127"/>
                    <a:pt x="329184" y="168250"/>
                  </a:cubicBezTo>
                  <a:cubicBezTo>
                    <a:pt x="338938" y="165812"/>
                    <a:pt x="348492" y="162356"/>
                    <a:pt x="358445" y="160934"/>
                  </a:cubicBezTo>
                  <a:lnTo>
                    <a:pt x="409652" y="153619"/>
                  </a:lnTo>
                  <a:cubicBezTo>
                    <a:pt x="416967" y="151181"/>
                    <a:pt x="425323" y="150786"/>
                    <a:pt x="431597" y="146304"/>
                  </a:cubicBezTo>
                  <a:cubicBezTo>
                    <a:pt x="442821" y="138286"/>
                    <a:pt x="460858" y="117043"/>
                    <a:pt x="460858" y="117043"/>
                  </a:cubicBezTo>
                  <a:cubicBezTo>
                    <a:pt x="485298" y="43721"/>
                    <a:pt x="468028" y="103136"/>
                    <a:pt x="482804" y="29261"/>
                  </a:cubicBezTo>
                  <a:cubicBezTo>
                    <a:pt x="484776" y="19402"/>
                    <a:pt x="490119" y="0"/>
                    <a:pt x="490119" y="0"/>
                  </a:cubicBezTo>
                </a:path>
              </a:pathLst>
            </a:custGeom>
            <a:ln w="38100" cmpd="sng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 lang="pt-BR">
                <a:solidFill>
                  <a:schemeClr val="tx1"/>
                </a:solidFill>
              </a:endParaRPr>
            </a:p>
          </p:txBody>
        </p:sp>
      </p:grpSp>
      <p:sp>
        <p:nvSpPr>
          <p:cNvPr id="374" name="Elipse 419"/>
          <p:cNvSpPr>
            <a:spLocks/>
          </p:cNvSpPr>
          <p:nvPr/>
        </p:nvSpPr>
        <p:spPr bwMode="auto">
          <a:xfrm>
            <a:off x="4229976" y="3027395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6" name="Elipse 419"/>
          <p:cNvSpPr>
            <a:spLocks/>
          </p:cNvSpPr>
          <p:nvPr/>
        </p:nvSpPr>
        <p:spPr bwMode="auto">
          <a:xfrm>
            <a:off x="4382376" y="2246429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8" name="Elipse 419"/>
          <p:cNvSpPr>
            <a:spLocks/>
          </p:cNvSpPr>
          <p:nvPr/>
        </p:nvSpPr>
        <p:spPr bwMode="auto">
          <a:xfrm>
            <a:off x="5076056" y="2393178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0" name="Elipse 419"/>
          <p:cNvSpPr>
            <a:spLocks/>
          </p:cNvSpPr>
          <p:nvPr/>
        </p:nvSpPr>
        <p:spPr bwMode="auto">
          <a:xfrm>
            <a:off x="4801879" y="3131274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2" name="Elipse 419"/>
          <p:cNvSpPr/>
          <p:nvPr/>
        </p:nvSpPr>
        <p:spPr bwMode="auto">
          <a:xfrm>
            <a:off x="3322451" y="3764821"/>
            <a:ext cx="110474" cy="11305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4" name="Elipse 419"/>
          <p:cNvSpPr>
            <a:spLocks/>
          </p:cNvSpPr>
          <p:nvPr/>
        </p:nvSpPr>
        <p:spPr bwMode="auto">
          <a:xfrm>
            <a:off x="4455694" y="1858679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8" name="Elipse 419"/>
          <p:cNvSpPr>
            <a:spLocks/>
          </p:cNvSpPr>
          <p:nvPr/>
        </p:nvSpPr>
        <p:spPr bwMode="auto">
          <a:xfrm>
            <a:off x="5814152" y="2362735"/>
            <a:ext cx="116034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0" name="Elipse 419"/>
          <p:cNvSpPr>
            <a:spLocks/>
          </p:cNvSpPr>
          <p:nvPr/>
        </p:nvSpPr>
        <p:spPr bwMode="auto">
          <a:xfrm>
            <a:off x="4918185" y="3919201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>
              <a:defRPr/>
            </a:pPr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2" name="Elipse 419"/>
          <p:cNvSpPr>
            <a:spLocks/>
          </p:cNvSpPr>
          <p:nvPr/>
        </p:nvSpPr>
        <p:spPr bwMode="auto">
          <a:xfrm>
            <a:off x="4160724" y="3401294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4" name="Elipse 419"/>
          <p:cNvSpPr/>
          <p:nvPr/>
        </p:nvSpPr>
        <p:spPr bwMode="auto">
          <a:xfrm>
            <a:off x="3944999" y="4409917"/>
            <a:ext cx="109296" cy="113058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6" name="Elipse 419"/>
          <p:cNvSpPr/>
          <p:nvPr/>
        </p:nvSpPr>
        <p:spPr bwMode="auto">
          <a:xfrm>
            <a:off x="3150178" y="4588344"/>
            <a:ext cx="136800" cy="1368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8" name="Elipse 419"/>
          <p:cNvSpPr/>
          <p:nvPr/>
        </p:nvSpPr>
        <p:spPr bwMode="auto">
          <a:xfrm>
            <a:off x="3101646" y="3249366"/>
            <a:ext cx="125428" cy="123319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0" name="Elipse 419"/>
          <p:cNvSpPr>
            <a:spLocks/>
          </p:cNvSpPr>
          <p:nvPr/>
        </p:nvSpPr>
        <p:spPr bwMode="auto">
          <a:xfrm>
            <a:off x="5475890" y="2384208"/>
            <a:ext cx="126000" cy="126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5" tIns="45718" rIns="91435" bIns="45718"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13" name="Group 512"/>
          <p:cNvGrpSpPr/>
          <p:nvPr/>
        </p:nvGrpSpPr>
        <p:grpSpPr>
          <a:xfrm>
            <a:off x="1721197" y="1410526"/>
            <a:ext cx="1691731" cy="1208080"/>
            <a:chOff x="1632852" y="1543042"/>
            <a:chExt cx="1691731" cy="1208080"/>
          </a:xfrm>
          <a:solidFill>
            <a:srgbClr val="000090"/>
          </a:solidFill>
        </p:grpSpPr>
        <p:sp>
          <p:nvSpPr>
            <p:cNvPr id="514" name="Elipse 419"/>
            <p:cNvSpPr>
              <a:spLocks/>
            </p:cNvSpPr>
            <p:nvPr/>
          </p:nvSpPr>
          <p:spPr bwMode="auto">
            <a:xfrm>
              <a:off x="2287460" y="1838067"/>
              <a:ext cx="126000" cy="126000"/>
            </a:xfrm>
            <a:prstGeom prst="ellipse">
              <a:avLst/>
            </a:prstGeom>
            <a:grpFill/>
            <a:ln w="28575">
              <a:solidFill>
                <a:srgbClr val="00009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pt-BR" sz="10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5" name="Elipse 419"/>
            <p:cNvSpPr>
              <a:spLocks/>
            </p:cNvSpPr>
            <p:nvPr/>
          </p:nvSpPr>
          <p:spPr bwMode="auto">
            <a:xfrm>
              <a:off x="3198583" y="1543042"/>
              <a:ext cx="126000" cy="126000"/>
            </a:xfrm>
            <a:prstGeom prst="ellipse">
              <a:avLst/>
            </a:prstGeom>
            <a:grpFill/>
            <a:ln w="28575">
              <a:solidFill>
                <a:srgbClr val="00009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pt-BR" sz="10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6" name="Elipse 419"/>
            <p:cNvSpPr/>
            <p:nvPr/>
          </p:nvSpPr>
          <p:spPr bwMode="auto">
            <a:xfrm>
              <a:off x="1632852" y="2614322"/>
              <a:ext cx="136800" cy="136800"/>
            </a:xfrm>
            <a:prstGeom prst="ellipse">
              <a:avLst/>
            </a:prstGeom>
            <a:grpFill/>
            <a:ln w="28575">
              <a:solidFill>
                <a:srgbClr val="00009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pt-BR" sz="10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94" name="Group 493"/>
          <p:cNvGrpSpPr/>
          <p:nvPr/>
        </p:nvGrpSpPr>
        <p:grpSpPr>
          <a:xfrm>
            <a:off x="1779599" y="844978"/>
            <a:ext cx="5145985" cy="5697066"/>
            <a:chOff x="1779599" y="844978"/>
            <a:chExt cx="5145985" cy="5697066"/>
          </a:xfrm>
        </p:grpSpPr>
        <p:sp>
          <p:nvSpPr>
            <p:cNvPr id="495" name="TextBox 494"/>
            <p:cNvSpPr txBox="1"/>
            <p:nvPr/>
          </p:nvSpPr>
          <p:spPr>
            <a:xfrm>
              <a:off x="3050582" y="1229719"/>
              <a:ext cx="57449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antarém</a:t>
              </a:r>
            </a:p>
          </p:txBody>
        </p:sp>
        <p:sp>
          <p:nvSpPr>
            <p:cNvPr id="496" name="TextBox 495"/>
            <p:cNvSpPr txBox="1"/>
            <p:nvPr/>
          </p:nvSpPr>
          <p:spPr>
            <a:xfrm>
              <a:off x="1783648" y="1602914"/>
              <a:ext cx="6321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Manaus</a:t>
              </a:r>
            </a:p>
          </p:txBody>
        </p:sp>
        <p:sp>
          <p:nvSpPr>
            <p:cNvPr id="497" name="TextBox 496"/>
            <p:cNvSpPr txBox="1">
              <a:spLocks/>
            </p:cNvSpPr>
            <p:nvPr/>
          </p:nvSpPr>
          <p:spPr>
            <a:xfrm>
              <a:off x="1779599" y="2319802"/>
              <a:ext cx="102528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Porto Velho</a:t>
              </a:r>
            </a:p>
          </p:txBody>
        </p:sp>
        <p:sp>
          <p:nvSpPr>
            <p:cNvPr id="498" name="TextBox 497"/>
            <p:cNvSpPr txBox="1"/>
            <p:nvPr/>
          </p:nvSpPr>
          <p:spPr>
            <a:xfrm>
              <a:off x="4296853" y="844978"/>
              <a:ext cx="46791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Belém / V. Conde</a:t>
              </a:r>
            </a:p>
          </p:txBody>
        </p:sp>
        <p:sp>
          <p:nvSpPr>
            <p:cNvPr id="499" name="TextBox 498"/>
            <p:cNvSpPr txBox="1"/>
            <p:nvPr/>
          </p:nvSpPr>
          <p:spPr>
            <a:xfrm>
              <a:off x="3829406" y="6388156"/>
              <a:ext cx="62701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>
                <a:defRPr sz="600" b="1">
                  <a:solidFill>
                    <a:schemeClr val="accent6"/>
                  </a:solidFill>
                  <a:latin typeface="Calibri" pitchFamily="34" charset="0"/>
                  <a:cs typeface="Arial" pitchFamily="34" charset="0"/>
                </a:defRPr>
              </a:lvl1pPr>
            </a:lstStyle>
            <a:p>
              <a:pPr algn="ctr"/>
              <a:r>
                <a:rPr lang="pt-BR" sz="1000" b="0" dirty="0">
                  <a:solidFill>
                    <a:srgbClr val="000090"/>
                  </a:solidFill>
                  <a:latin typeface="Arial Narrow" pitchFamily="34" charset="0"/>
                </a:rPr>
                <a:t>Rio Grande</a:t>
              </a:r>
            </a:p>
          </p:txBody>
        </p:sp>
        <p:sp>
          <p:nvSpPr>
            <p:cNvPr id="500" name="TextBox 499"/>
            <p:cNvSpPr txBox="1"/>
            <p:nvPr/>
          </p:nvSpPr>
          <p:spPr>
            <a:xfrm>
              <a:off x="4776497" y="5110315"/>
              <a:ext cx="32541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antos</a:t>
              </a:r>
            </a:p>
          </p:txBody>
        </p:sp>
        <p:sp>
          <p:nvSpPr>
            <p:cNvPr id="501" name="TextBox 500"/>
            <p:cNvSpPr txBox="1"/>
            <p:nvPr/>
          </p:nvSpPr>
          <p:spPr>
            <a:xfrm>
              <a:off x="5053464" y="5016902"/>
              <a:ext cx="32166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Itaguaí</a:t>
              </a:r>
            </a:p>
          </p:txBody>
        </p:sp>
        <p:sp>
          <p:nvSpPr>
            <p:cNvPr id="502" name="TextBox 501"/>
            <p:cNvSpPr txBox="1"/>
            <p:nvPr/>
          </p:nvSpPr>
          <p:spPr>
            <a:xfrm>
              <a:off x="5147044" y="4910861"/>
              <a:ext cx="67326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Rio de Janeiro</a:t>
              </a:r>
            </a:p>
          </p:txBody>
        </p:sp>
        <p:sp>
          <p:nvSpPr>
            <p:cNvPr id="503" name="TextBox 502"/>
            <p:cNvSpPr txBox="1"/>
            <p:nvPr/>
          </p:nvSpPr>
          <p:spPr>
            <a:xfrm>
              <a:off x="5745584" y="4473138"/>
              <a:ext cx="296242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defRPr sz="100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defRPr>
              </a:lvl1pPr>
            </a:lstStyle>
            <a:p>
              <a:r>
                <a:rPr lang="pt-BR" dirty="0"/>
                <a:t>Vitória</a:t>
              </a:r>
            </a:p>
          </p:txBody>
        </p:sp>
        <p:sp>
          <p:nvSpPr>
            <p:cNvPr id="504" name="TextBox 503"/>
            <p:cNvSpPr txBox="1"/>
            <p:nvPr/>
          </p:nvSpPr>
          <p:spPr>
            <a:xfrm>
              <a:off x="6092683" y="3627820"/>
              <a:ext cx="27892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Ilhéus</a:t>
              </a:r>
            </a:p>
          </p:txBody>
        </p:sp>
        <p:sp>
          <p:nvSpPr>
            <p:cNvPr id="505" name="TextBox 504"/>
            <p:cNvSpPr txBox="1"/>
            <p:nvPr/>
          </p:nvSpPr>
          <p:spPr>
            <a:xfrm>
              <a:off x="6082653" y="3218874"/>
              <a:ext cx="423193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alvador</a:t>
              </a:r>
            </a:p>
          </p:txBody>
        </p:sp>
        <p:sp>
          <p:nvSpPr>
            <p:cNvPr id="506" name="TextBox 505"/>
            <p:cNvSpPr txBox="1"/>
            <p:nvPr/>
          </p:nvSpPr>
          <p:spPr>
            <a:xfrm>
              <a:off x="6624219" y="2577753"/>
              <a:ext cx="30136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uape</a:t>
              </a:r>
            </a:p>
          </p:txBody>
        </p:sp>
        <p:sp>
          <p:nvSpPr>
            <p:cNvPr id="507" name="TextBox 506"/>
            <p:cNvSpPr txBox="1"/>
            <p:nvPr/>
          </p:nvSpPr>
          <p:spPr>
            <a:xfrm>
              <a:off x="5927445" y="1454602"/>
              <a:ext cx="327301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 err="1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Pecém</a:t>
              </a:r>
              <a:endParaRPr lang="pt-BR" sz="1000" dirty="0">
                <a:solidFill>
                  <a:srgbClr val="000090"/>
                </a:solidFill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508" name="TextBox 507"/>
            <p:cNvSpPr txBox="1"/>
            <p:nvPr/>
          </p:nvSpPr>
          <p:spPr>
            <a:xfrm>
              <a:off x="5162388" y="1319741"/>
              <a:ext cx="400972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Itaqui</a:t>
              </a:r>
            </a:p>
          </p:txBody>
        </p:sp>
        <p:sp>
          <p:nvSpPr>
            <p:cNvPr id="509" name="TextBox 508"/>
            <p:cNvSpPr txBox="1"/>
            <p:nvPr/>
          </p:nvSpPr>
          <p:spPr>
            <a:xfrm>
              <a:off x="6007129" y="3339349"/>
              <a:ext cx="2500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Aratu</a:t>
              </a:r>
            </a:p>
          </p:txBody>
        </p:sp>
        <p:sp>
          <p:nvSpPr>
            <p:cNvPr id="510" name="TextBox 509"/>
            <p:cNvSpPr txBox="1"/>
            <p:nvPr/>
          </p:nvSpPr>
          <p:spPr>
            <a:xfrm>
              <a:off x="4475825" y="5494326"/>
              <a:ext cx="3624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 F. Sul</a:t>
              </a:r>
            </a:p>
          </p:txBody>
        </p:sp>
        <p:sp>
          <p:nvSpPr>
            <p:cNvPr id="511" name="TextBox 510"/>
            <p:cNvSpPr txBox="1"/>
            <p:nvPr/>
          </p:nvSpPr>
          <p:spPr>
            <a:xfrm>
              <a:off x="4441256" y="5311367"/>
              <a:ext cx="509755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Paranaguá</a:t>
              </a:r>
            </a:p>
          </p:txBody>
        </p:sp>
        <p:sp>
          <p:nvSpPr>
            <p:cNvPr id="512" name="TextBox 511"/>
            <p:cNvSpPr txBox="1"/>
            <p:nvPr/>
          </p:nvSpPr>
          <p:spPr>
            <a:xfrm>
              <a:off x="4454559" y="5670866"/>
              <a:ext cx="86882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>
                <a:defRPr sz="600" b="1" i="1">
                  <a:solidFill>
                    <a:srgbClr val="FF0000"/>
                  </a:solidFill>
                  <a:latin typeface="Calibri" pitchFamily="34" charset="0"/>
                  <a:cs typeface="Arial" pitchFamily="34" charset="0"/>
                </a:defRPr>
              </a:lvl1pPr>
            </a:lstStyle>
            <a:p>
              <a:r>
                <a:rPr lang="pt-BR" sz="1000" b="0" i="0" dirty="0">
                  <a:solidFill>
                    <a:srgbClr val="000090"/>
                  </a:solidFill>
                  <a:latin typeface="Arial Narrow" pitchFamily="34" charset="0"/>
                </a:rPr>
                <a:t>Itajaí / Navegantes</a:t>
              </a:r>
            </a:p>
          </p:txBody>
        </p:sp>
      </p:grpSp>
      <p:grpSp>
        <p:nvGrpSpPr>
          <p:cNvPr id="8" name="Grupo 7"/>
          <p:cNvGrpSpPr/>
          <p:nvPr/>
        </p:nvGrpSpPr>
        <p:grpSpPr>
          <a:xfrm>
            <a:off x="2464046" y="1797419"/>
            <a:ext cx="3677085" cy="2680108"/>
            <a:chOff x="2464046" y="1797419"/>
            <a:chExt cx="3677085" cy="2680108"/>
          </a:xfrm>
        </p:grpSpPr>
        <p:sp>
          <p:nvSpPr>
            <p:cNvPr id="404" name="TextBox 245"/>
            <p:cNvSpPr txBox="1"/>
            <p:nvPr/>
          </p:nvSpPr>
          <p:spPr>
            <a:xfrm>
              <a:off x="3961434" y="4196200"/>
              <a:ext cx="632161" cy="2813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Estrela d’Oeste</a:t>
              </a:r>
            </a:p>
          </p:txBody>
        </p:sp>
        <p:sp>
          <p:nvSpPr>
            <p:cNvPr id="408" name="TextBox 245"/>
            <p:cNvSpPr txBox="1"/>
            <p:nvPr/>
          </p:nvSpPr>
          <p:spPr>
            <a:xfrm>
              <a:off x="3587583" y="3003504"/>
              <a:ext cx="6321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Figueirópolis</a:t>
              </a:r>
            </a:p>
          </p:txBody>
        </p:sp>
        <p:sp>
          <p:nvSpPr>
            <p:cNvPr id="409" name="TextBox 245"/>
            <p:cNvSpPr txBox="1"/>
            <p:nvPr/>
          </p:nvSpPr>
          <p:spPr>
            <a:xfrm>
              <a:off x="3864519" y="2254545"/>
              <a:ext cx="51350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Estreito</a:t>
              </a:r>
            </a:p>
          </p:txBody>
        </p:sp>
        <p:sp>
          <p:nvSpPr>
            <p:cNvPr id="410" name="TextBox 245"/>
            <p:cNvSpPr txBox="1"/>
            <p:nvPr/>
          </p:nvSpPr>
          <p:spPr>
            <a:xfrm>
              <a:off x="2464046" y="3310407"/>
              <a:ext cx="632161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Lucas do Rio Verde</a:t>
              </a:r>
            </a:p>
          </p:txBody>
        </p:sp>
        <p:sp>
          <p:nvSpPr>
            <p:cNvPr id="411" name="TextBox 245"/>
            <p:cNvSpPr txBox="1"/>
            <p:nvPr/>
          </p:nvSpPr>
          <p:spPr>
            <a:xfrm>
              <a:off x="4140337" y="3349561"/>
              <a:ext cx="6321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Uruaçu</a:t>
              </a:r>
            </a:p>
          </p:txBody>
        </p:sp>
        <p:sp>
          <p:nvSpPr>
            <p:cNvPr id="412" name="TextBox 245"/>
            <p:cNvSpPr txBox="1"/>
            <p:nvPr/>
          </p:nvSpPr>
          <p:spPr>
            <a:xfrm>
              <a:off x="5041901" y="3906703"/>
              <a:ext cx="632161" cy="140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Belo Horizonte</a:t>
              </a:r>
            </a:p>
          </p:txBody>
        </p:sp>
        <p:sp>
          <p:nvSpPr>
            <p:cNvPr id="455" name="TextBox 245"/>
            <p:cNvSpPr txBox="1"/>
            <p:nvPr/>
          </p:nvSpPr>
          <p:spPr>
            <a:xfrm>
              <a:off x="4822937" y="2520892"/>
              <a:ext cx="461055" cy="2813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Eliseu Martins</a:t>
              </a:r>
            </a:p>
          </p:txBody>
        </p:sp>
        <p:sp>
          <p:nvSpPr>
            <p:cNvPr id="456" name="TextBox 245"/>
            <p:cNvSpPr txBox="1"/>
            <p:nvPr/>
          </p:nvSpPr>
          <p:spPr>
            <a:xfrm>
              <a:off x="4873071" y="3035671"/>
              <a:ext cx="461055" cy="140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 Barreiras</a:t>
              </a:r>
            </a:p>
          </p:txBody>
        </p:sp>
        <p:sp>
          <p:nvSpPr>
            <p:cNvPr id="457" name="TextBox 245"/>
            <p:cNvSpPr txBox="1"/>
            <p:nvPr/>
          </p:nvSpPr>
          <p:spPr>
            <a:xfrm>
              <a:off x="2752627" y="3859945"/>
              <a:ext cx="632161" cy="140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Rondonópolis</a:t>
              </a:r>
            </a:p>
          </p:txBody>
        </p:sp>
        <p:sp>
          <p:nvSpPr>
            <p:cNvPr id="458" name="TextBox 245"/>
            <p:cNvSpPr txBox="1"/>
            <p:nvPr/>
          </p:nvSpPr>
          <p:spPr>
            <a:xfrm>
              <a:off x="3850729" y="1797419"/>
              <a:ext cx="632161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Açailândia</a:t>
              </a:r>
            </a:p>
          </p:txBody>
        </p:sp>
        <p:sp>
          <p:nvSpPr>
            <p:cNvPr id="459" name="TextBox 245"/>
            <p:cNvSpPr txBox="1"/>
            <p:nvPr/>
          </p:nvSpPr>
          <p:spPr>
            <a:xfrm>
              <a:off x="5680076" y="2520893"/>
              <a:ext cx="461055" cy="140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Salgueiro</a:t>
              </a:r>
            </a:p>
          </p:txBody>
        </p:sp>
        <p:sp>
          <p:nvSpPr>
            <p:cNvPr id="460" name="TextBox 245"/>
            <p:cNvSpPr txBox="1"/>
            <p:nvPr/>
          </p:nvSpPr>
          <p:spPr>
            <a:xfrm>
              <a:off x="5143964" y="2199941"/>
              <a:ext cx="557393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pt-BR" sz="900" dirty="0" smtClean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rPr>
                <a:t>Parnamirim</a:t>
              </a:r>
              <a:endParaRPr lang="pt-BR" sz="900" dirty="0">
                <a:solidFill>
                  <a:srgbClr val="000090"/>
                </a:solidFill>
                <a:latin typeface="Arial Narrow" pitchFamily="34" charset="0"/>
                <a:cs typeface="Arial" pitchFamily="34" charset="0"/>
              </a:endParaRPr>
            </a:p>
          </p:txBody>
        </p:sp>
      </p:grpSp>
      <p:sp>
        <p:nvSpPr>
          <p:cNvPr id="321" name="Elipse 419"/>
          <p:cNvSpPr>
            <a:spLocks/>
          </p:cNvSpPr>
          <p:nvPr/>
        </p:nvSpPr>
        <p:spPr bwMode="auto">
          <a:xfrm>
            <a:off x="4198821" y="1258424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2" name="Elipse 419"/>
          <p:cNvSpPr>
            <a:spLocks/>
          </p:cNvSpPr>
          <p:nvPr/>
        </p:nvSpPr>
        <p:spPr bwMode="auto">
          <a:xfrm>
            <a:off x="3734196" y="6312422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3" name="Elipse 419"/>
          <p:cNvSpPr>
            <a:spLocks/>
          </p:cNvSpPr>
          <p:nvPr/>
        </p:nvSpPr>
        <p:spPr bwMode="auto">
          <a:xfrm>
            <a:off x="5066108" y="1462215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7" name="Elipse 419"/>
          <p:cNvSpPr>
            <a:spLocks/>
          </p:cNvSpPr>
          <p:nvPr/>
        </p:nvSpPr>
        <p:spPr bwMode="auto">
          <a:xfrm>
            <a:off x="5916888" y="1669830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2" name="Elipse 419"/>
          <p:cNvSpPr>
            <a:spLocks/>
          </p:cNvSpPr>
          <p:nvPr/>
        </p:nvSpPr>
        <p:spPr bwMode="auto">
          <a:xfrm>
            <a:off x="6544702" y="2429663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4" name="Elipse 419"/>
          <p:cNvSpPr>
            <a:spLocks/>
          </p:cNvSpPr>
          <p:nvPr/>
        </p:nvSpPr>
        <p:spPr bwMode="auto">
          <a:xfrm>
            <a:off x="5922538" y="3175727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6" name="Elipse 419"/>
          <p:cNvSpPr>
            <a:spLocks/>
          </p:cNvSpPr>
          <p:nvPr/>
        </p:nvSpPr>
        <p:spPr bwMode="auto">
          <a:xfrm>
            <a:off x="5901035" y="3684833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0" name="Elipse 419"/>
          <p:cNvSpPr>
            <a:spLocks/>
          </p:cNvSpPr>
          <p:nvPr/>
        </p:nvSpPr>
        <p:spPr bwMode="auto">
          <a:xfrm>
            <a:off x="5676303" y="4315636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1" name="Elipse 419"/>
          <p:cNvSpPr>
            <a:spLocks/>
          </p:cNvSpPr>
          <p:nvPr/>
        </p:nvSpPr>
        <p:spPr bwMode="auto">
          <a:xfrm>
            <a:off x="5082775" y="4815266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3" name="Elipse 419"/>
          <p:cNvSpPr>
            <a:spLocks/>
          </p:cNvSpPr>
          <p:nvPr/>
        </p:nvSpPr>
        <p:spPr bwMode="auto">
          <a:xfrm>
            <a:off x="4643604" y="5028304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0" name="Elipse 419"/>
          <p:cNvSpPr>
            <a:spLocks/>
          </p:cNvSpPr>
          <p:nvPr/>
        </p:nvSpPr>
        <p:spPr bwMode="auto">
          <a:xfrm>
            <a:off x="4328445" y="5189934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1" name="Elipse 419"/>
          <p:cNvSpPr>
            <a:spLocks/>
          </p:cNvSpPr>
          <p:nvPr/>
        </p:nvSpPr>
        <p:spPr bwMode="auto">
          <a:xfrm>
            <a:off x="4296148" y="5452681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2" name="Elipse 419"/>
          <p:cNvSpPr>
            <a:spLocks/>
          </p:cNvSpPr>
          <p:nvPr/>
        </p:nvSpPr>
        <p:spPr bwMode="auto">
          <a:xfrm>
            <a:off x="4314595" y="5617788"/>
            <a:ext cx="126000" cy="126000"/>
          </a:xfrm>
          <a:prstGeom prst="ellipse">
            <a:avLst/>
          </a:prstGeom>
          <a:solidFill>
            <a:srgbClr val="000090"/>
          </a:solidFill>
          <a:ln w="28575">
            <a:solidFill>
              <a:srgbClr val="00009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pt-BR" sz="100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7" name="TextBox 245"/>
          <p:cNvSpPr txBox="1"/>
          <p:nvPr/>
        </p:nvSpPr>
        <p:spPr>
          <a:xfrm>
            <a:off x="2560063" y="4570463"/>
            <a:ext cx="63216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000" dirty="0">
                <a:solidFill>
                  <a:srgbClr val="000090"/>
                </a:solidFill>
                <a:latin typeface="Arial Narrow" pitchFamily="34" charset="0"/>
                <a:cs typeface="Arial" pitchFamily="34" charset="0"/>
              </a:rPr>
              <a:t>Maracaju</a:t>
            </a:r>
          </a:p>
        </p:txBody>
      </p:sp>
      <p:pic>
        <p:nvPicPr>
          <p:cNvPr id="319" name="Picture 6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32" y="261265"/>
            <a:ext cx="6454775" cy="6427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36611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4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5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Título 1"/>
          <p:cNvSpPr>
            <a:spLocks noGrp="1"/>
          </p:cNvSpPr>
          <p:nvPr>
            <p:ph type="title"/>
          </p:nvPr>
        </p:nvSpPr>
        <p:spPr>
          <a:xfrm>
            <a:off x="529431" y="0"/>
            <a:ext cx="8229600" cy="1143000"/>
          </a:xfrm>
        </p:spPr>
        <p:txBody>
          <a:bodyPr>
            <a:normAutofit/>
          </a:bodyPr>
          <a:lstStyle/>
          <a:p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Novo Modelo de Concessão</a:t>
            </a:r>
            <a:b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</a:b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Ferrovia Aberta – “Open Access”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323528" y="1274930"/>
            <a:ext cx="8568952" cy="3357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400" dirty="0" smtClean="0"/>
              <a:t>Separação entre quem gere a </a:t>
            </a:r>
            <a:r>
              <a:rPr lang="pt-BR" sz="2400" dirty="0" err="1" smtClean="0"/>
              <a:t>infraestrutura</a:t>
            </a:r>
            <a:r>
              <a:rPr lang="pt-BR" sz="2400" dirty="0" smtClean="0"/>
              <a:t> ferroviária e quem faz a operação de transporte ferroviário: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000" b="1" i="1" dirty="0" smtClean="0"/>
              <a:t>Concessionário</a:t>
            </a:r>
            <a:r>
              <a:rPr lang="pt-BR" sz="2000" i="1" dirty="0" smtClean="0"/>
              <a:t>: constrói e mantém a </a:t>
            </a:r>
            <a:r>
              <a:rPr lang="pt-BR" sz="2000" i="1" dirty="0" err="1" smtClean="0"/>
              <a:t>infraestrutura</a:t>
            </a:r>
            <a:endParaRPr lang="pt-BR" sz="2000" i="1" dirty="0" smtClean="0"/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000" b="1" i="1" dirty="0" smtClean="0"/>
              <a:t>Operador</a:t>
            </a:r>
            <a:r>
              <a:rPr lang="pt-BR" sz="2000" i="1" dirty="0" smtClean="0"/>
              <a:t>: compra capacidade e opera o transporte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endParaRPr lang="pt-BR" sz="2000" i="1" dirty="0" smtClean="0"/>
          </a:p>
          <a:p>
            <a:pPr marL="342900" indent="-342900">
              <a:lnSpc>
                <a:spcPct val="120000"/>
              </a:lnSpc>
              <a:spcAft>
                <a:spcPts val="1200"/>
              </a:spcAft>
              <a:buFont typeface="Arial" pitchFamily="34" charset="0"/>
              <a:buChar char="•"/>
              <a:tabLst>
                <a:tab pos="6813550" algn="l"/>
                <a:tab pos="7804150" algn="l"/>
              </a:tabLst>
            </a:pPr>
            <a:r>
              <a:rPr lang="pt-BR" sz="2400" dirty="0" smtClean="0"/>
              <a:t>VALEC: compra do concessionário a capacidade de transporte da ferrovia e revende aos diversos operadores.</a:t>
            </a: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968025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64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6" name="Título 1"/>
          <p:cNvSpPr>
            <a:spLocks noGrp="1"/>
          </p:cNvSpPr>
          <p:nvPr>
            <p:ph type="title"/>
          </p:nvPr>
        </p:nvSpPr>
        <p:spPr>
          <a:xfrm>
            <a:off x="529431" y="0"/>
            <a:ext cx="8229600" cy="1143000"/>
          </a:xfrm>
        </p:spPr>
        <p:txBody>
          <a:bodyPr>
            <a:normAutofit/>
          </a:bodyPr>
          <a:lstStyle/>
          <a:p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Novo Modelo de Concessão</a:t>
            </a:r>
            <a:b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</a:br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Ferrovia Aberta – “Open Access”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89328" y="1857364"/>
            <a:ext cx="8568952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20000"/>
              </a:lnSpc>
              <a:spcAft>
                <a:spcPts val="1200"/>
              </a:spcAft>
              <a:buFont typeface="Wingdings" pitchFamily="2" charset="2"/>
              <a:buChar char="Ø"/>
            </a:pPr>
            <a:r>
              <a:rPr lang="pt-BR" sz="2400" dirty="0" smtClean="0"/>
              <a:t>Novo modelo proporciona a integração nacional da malha e estimula maior concorrência e utilização das ferrovias: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000" i="1" dirty="0" smtClean="0"/>
              <a:t>Qualquer operador pode atuar em todas as ferrovias</a:t>
            </a:r>
          </a:p>
          <a:p>
            <a:pPr marL="800100" lvl="1" indent="-342900">
              <a:lnSpc>
                <a:spcPct val="12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pt-BR" sz="2000" i="1" dirty="0" smtClean="0"/>
              <a:t>Concorrência entre operadores deve reduzir os preços praticados</a:t>
            </a:r>
            <a:endParaRPr lang="pt-BR" sz="2000" i="1" dirty="0"/>
          </a:p>
        </p:txBody>
      </p:sp>
    </p:spTree>
    <p:extLst>
      <p:ext uri="{BB962C8B-B14F-4D97-AF65-F5344CB8AC3E}">
        <p14:creationId xmlns:p14="http://schemas.microsoft.com/office/powerpoint/2010/main" val="968025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1"/>
          <p:cNvSpPr>
            <a:spLocks/>
          </p:cNvSpPr>
          <p:nvPr/>
        </p:nvSpPr>
        <p:spPr bwMode="auto">
          <a:xfrm>
            <a:off x="1403648" y="2887663"/>
            <a:ext cx="7384752" cy="3300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92088" indent="-393700">
              <a:lnSpc>
                <a:spcPct val="110000"/>
              </a:lnSpc>
              <a:spcBef>
                <a:spcPts val="1475"/>
              </a:spcBef>
              <a:spcAft>
                <a:spcPts val="850"/>
              </a:spcAft>
              <a:buClr>
                <a:schemeClr val="tx1"/>
              </a:buClr>
              <a:buSzPct val="125000"/>
              <a:buFont typeface="Helvetica" pitchFamily="34" charset="0"/>
              <a:buChar char="•"/>
            </a:pP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Investimento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 total </a:t>
            </a: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estimado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: </a:t>
            </a:r>
            <a:r>
              <a:rPr lang="en-US" sz="2400" b="1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R$ </a:t>
            </a:r>
            <a:r>
              <a:rPr lang="en-US" sz="2400" b="1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99,6 </a:t>
            </a:r>
            <a:r>
              <a:rPr lang="en-US" sz="2400" b="1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bi</a:t>
            </a:r>
          </a:p>
          <a:p>
            <a:pPr marL="192088" indent="-393700">
              <a:lnSpc>
                <a:spcPct val="110000"/>
              </a:lnSpc>
              <a:spcBef>
                <a:spcPts val="1475"/>
              </a:spcBef>
              <a:spcAft>
                <a:spcPts val="850"/>
              </a:spcAft>
              <a:buClr>
                <a:schemeClr val="tx1"/>
              </a:buClr>
              <a:buSzPct val="125000"/>
              <a:buFont typeface="Helvetica" pitchFamily="34" charset="0"/>
              <a:buChar char="•"/>
            </a:pPr>
            <a:r>
              <a:rPr lang="en-US" sz="2400" b="1" dirty="0" err="1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Construção</a:t>
            </a:r>
            <a:r>
              <a:rPr lang="en-US" sz="2400" b="1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a </a:t>
            </a:r>
            <a:r>
              <a:rPr lang="en-US" sz="2400" dirty="0" err="1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ser</a:t>
            </a: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dirty="0" err="1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concluída</a:t>
            </a:r>
            <a:r>
              <a:rPr lang="en-US" sz="2400" b="1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nos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primeiros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b="1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5 </a:t>
            </a:r>
            <a:r>
              <a:rPr lang="en-US" sz="2400" b="1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anos</a:t>
            </a:r>
            <a:endParaRPr lang="en-US" sz="2400" b="1" dirty="0">
              <a:latin typeface="Helvetica" pitchFamily="34" charset="0"/>
              <a:ea typeface="MS PGothic" pitchFamily="34" charset="-128"/>
              <a:sym typeface="Helvetica" pitchFamily="34" charset="0"/>
            </a:endParaRPr>
          </a:p>
          <a:p>
            <a:pPr marL="192088" indent="-393700">
              <a:lnSpc>
                <a:spcPct val="110000"/>
              </a:lnSpc>
              <a:spcBef>
                <a:spcPts val="1475"/>
              </a:spcBef>
              <a:spcAft>
                <a:spcPts val="850"/>
              </a:spcAft>
              <a:buClr>
                <a:schemeClr val="tx1"/>
              </a:buClr>
              <a:buSzPct val="125000"/>
              <a:buFont typeface="Helvetica" pitchFamily="34" charset="0"/>
              <a:buChar char="•"/>
            </a:pP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Prazo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 de </a:t>
            </a:r>
            <a:r>
              <a:rPr lang="en-US" sz="2400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concessão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: </a:t>
            </a:r>
            <a:r>
              <a:rPr lang="en-US" sz="2400" b="1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35 </a:t>
            </a:r>
            <a:r>
              <a:rPr lang="en-US" sz="2400" b="1" dirty="0" err="1">
                <a:latin typeface="Helvetica" pitchFamily="34" charset="0"/>
                <a:ea typeface="MS PGothic" pitchFamily="34" charset="-128"/>
                <a:sym typeface="Helvetica" pitchFamily="34" charset="0"/>
              </a:rPr>
              <a:t>anos</a:t>
            </a:r>
            <a:endParaRPr lang="en-US" sz="2400" b="1" dirty="0">
              <a:latin typeface="Helvetica" pitchFamily="34" charset="0"/>
              <a:ea typeface="MS PGothic" pitchFamily="34" charset="-128"/>
              <a:sym typeface="Helvetica" pitchFamily="34" charset="0"/>
            </a:endParaRPr>
          </a:p>
          <a:p>
            <a:pPr marL="192088" indent="-393700">
              <a:lnSpc>
                <a:spcPct val="110000"/>
              </a:lnSpc>
              <a:spcBef>
                <a:spcPts val="1475"/>
              </a:spcBef>
              <a:spcAft>
                <a:spcPts val="850"/>
              </a:spcAft>
              <a:buClr>
                <a:schemeClr val="tx1"/>
              </a:buClr>
              <a:buSzPct val="125000"/>
              <a:buFont typeface="Helvetica" pitchFamily="34" charset="0"/>
              <a:buChar char="•"/>
            </a:pP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TIR</a:t>
            </a:r>
            <a:r>
              <a:rPr lang="en-US" sz="2400" dirty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de </a:t>
            </a:r>
            <a:r>
              <a:rPr lang="en-US" sz="2400" dirty="0" err="1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projeto</a:t>
            </a: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de 8,5% </a:t>
            </a:r>
            <a:r>
              <a:rPr lang="en-US" sz="2400" dirty="0" err="1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a.a</a:t>
            </a:r>
            <a:r>
              <a:rPr lang="en-US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.</a:t>
            </a:r>
            <a:endParaRPr lang="en-US" sz="2400" dirty="0">
              <a:latin typeface="Helvetica" pitchFamily="34" charset="0"/>
              <a:ea typeface="MS PGothic" pitchFamily="34" charset="-128"/>
              <a:sym typeface="Helvetica" pitchFamily="34" charset="0"/>
            </a:endParaRPr>
          </a:p>
          <a:p>
            <a:pPr marL="192088" indent="-393700">
              <a:lnSpc>
                <a:spcPct val="110000"/>
              </a:lnSpc>
              <a:spcBef>
                <a:spcPts val="1475"/>
              </a:spcBef>
              <a:spcAft>
                <a:spcPts val="850"/>
              </a:spcAft>
              <a:buClr>
                <a:schemeClr val="tx1"/>
              </a:buClr>
              <a:buSzPct val="125000"/>
              <a:buFont typeface="Helvetica" pitchFamily="34" charset="0"/>
              <a:buChar char="•"/>
            </a:pPr>
            <a:endParaRPr lang="en-US" sz="2400" dirty="0">
              <a:latin typeface="Helvetica" pitchFamily="34" charset="0"/>
              <a:ea typeface="MS PGothic" pitchFamily="34" charset="-128"/>
              <a:sym typeface="Helvetica" pitchFamily="34" charset="0"/>
            </a:endParaRPr>
          </a:p>
        </p:txBody>
      </p:sp>
      <p:sp>
        <p:nvSpPr>
          <p:cNvPr id="36867" name="Título 1"/>
          <p:cNvSpPr>
            <a:spLocks noGrp="1"/>
          </p:cNvSpPr>
          <p:nvPr>
            <p:ph type="title"/>
          </p:nvPr>
        </p:nvSpPr>
        <p:spPr>
          <a:xfrm>
            <a:off x="457200" y="0"/>
            <a:ext cx="8232775" cy="1019175"/>
          </a:xfrm>
        </p:spPr>
        <p:txBody>
          <a:bodyPr>
            <a:normAutofit/>
          </a:bodyPr>
          <a:lstStyle/>
          <a:p>
            <a:r>
              <a:rPr lang="pt-BR" sz="3200" b="1" dirty="0">
                <a:solidFill>
                  <a:schemeClr val="accent3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Concessões Ferroviárias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4283968" y="1282157"/>
            <a:ext cx="4302524" cy="1029000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lnSpc>
                <a:spcPct val="110000"/>
              </a:lnSpc>
              <a:spcAft>
                <a:spcPts val="425"/>
              </a:spcAft>
            </a:pPr>
            <a:r>
              <a:rPr lang="en-US" sz="28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Exploração</a:t>
            </a:r>
            <a:r>
              <a:rPr lang="en-US" sz="2800" b="1" dirty="0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 da </a:t>
            </a:r>
            <a:r>
              <a:rPr lang="en-US" sz="28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Infraestrutura</a:t>
            </a:r>
            <a:endParaRPr lang="en-US" sz="2800" b="1" dirty="0">
              <a:solidFill>
                <a:srgbClr val="4F6228"/>
              </a:solidFill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lnSpc>
                <a:spcPct val="110000"/>
              </a:lnSpc>
              <a:spcAft>
                <a:spcPts val="425"/>
              </a:spcAft>
            </a:pPr>
            <a:r>
              <a:rPr lang="en-US" sz="14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Construção</a:t>
            </a:r>
            <a:r>
              <a:rPr lang="en-US" sz="1400" b="1" dirty="0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, </a:t>
            </a:r>
            <a:r>
              <a:rPr lang="en-US" sz="14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manutenção</a:t>
            </a:r>
            <a:r>
              <a:rPr lang="en-US" sz="1400" b="1" dirty="0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 e </a:t>
            </a:r>
            <a:r>
              <a:rPr lang="en-US" sz="14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controle</a:t>
            </a:r>
            <a:r>
              <a:rPr lang="en-US" sz="1400" b="1" dirty="0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 da </a:t>
            </a:r>
            <a:r>
              <a:rPr lang="en-US" sz="14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circulação</a:t>
            </a:r>
            <a:r>
              <a:rPr lang="en-US" sz="1400" b="1" dirty="0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 de </a:t>
            </a:r>
            <a:r>
              <a:rPr lang="en-US" sz="1400" b="1" dirty="0" err="1">
                <a:solidFill>
                  <a:srgbClr val="4F6228"/>
                </a:solidFill>
                <a:latin typeface="+mj-lt"/>
                <a:ea typeface="MS PGothic" pitchFamily="34" charset="-128"/>
                <a:sym typeface="Helvetica" pitchFamily="34" charset="0"/>
              </a:rPr>
              <a:t>trens</a:t>
            </a:r>
            <a:endParaRPr lang="en-US" sz="1400" b="1" dirty="0">
              <a:solidFill>
                <a:srgbClr val="4F6228"/>
              </a:solidFill>
              <a:latin typeface="+mj-lt"/>
              <a:ea typeface="MS PGothic" pitchFamily="34" charset="-128"/>
              <a:sym typeface="Helvetica" pitchFamily="34" charset="0"/>
            </a:endParaRPr>
          </a:p>
          <a:p>
            <a:endParaRPr lang="pt-BR" sz="1400" dirty="0">
              <a:solidFill>
                <a:srgbClr val="4F622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892995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15262" y="1124744"/>
            <a:ext cx="83529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6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Portos</a:t>
            </a:r>
            <a:r>
              <a:rPr lang="pt-BR" sz="4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 </a:t>
            </a:r>
          </a:p>
          <a:p>
            <a:pPr lvl="0"/>
            <a:endParaRPr lang="pt-BR" sz="4000" b="1" dirty="0" smtClean="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3551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aixaDeTexto 43"/>
          <p:cNvSpPr txBox="1"/>
          <p:nvPr/>
        </p:nvSpPr>
        <p:spPr>
          <a:xfrm>
            <a:off x="755576" y="908720"/>
            <a:ext cx="8211061" cy="549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2800" b="1" dirty="0" smtClean="0">
                <a:latin typeface="Calibri" pitchFamily="34" charset="0"/>
              </a:rPr>
              <a:t>Pouca concorrência – Barreiras à entrada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endParaRPr lang="pt-BR" sz="240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Calibri" pitchFamily="34" charset="0"/>
              </a:rPr>
              <a:t>Restrição a portos privados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latin typeface="Calibri" pitchFamily="34" charset="0"/>
              </a:rPr>
              <a:t>Exigência de carga própria nos </a:t>
            </a:r>
            <a:r>
              <a:rPr lang="pt-BR" sz="2400" dirty="0" err="1" smtClean="0">
                <a:latin typeface="Calibri" pitchFamily="34" charset="0"/>
              </a:rPr>
              <a:t>TUPs</a:t>
            </a:r>
            <a:r>
              <a:rPr lang="pt-BR" sz="2400" dirty="0" smtClean="0">
                <a:latin typeface="Calibri" pitchFamily="34" charset="0"/>
              </a:rPr>
              <a:t> 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Calibri" pitchFamily="34" charset="0"/>
              </a:rPr>
              <a:t>Fechamento de mercado nos portos públicos 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r>
              <a:rPr lang="pt-BR" sz="2400" dirty="0" smtClean="0">
                <a:latin typeface="Calibri" pitchFamily="34" charset="0"/>
              </a:rPr>
              <a:t>Licitações descentralizadas</a:t>
            </a:r>
          </a:p>
          <a:p>
            <a:pPr marL="742950" lvl="1" indent="-285750">
              <a:spcAft>
                <a:spcPts val="600"/>
              </a:spcAft>
              <a:buFont typeface="Arial" pitchFamily="34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pt-BR" sz="2800" b="1" dirty="0" smtClean="0">
                <a:latin typeface="Calibri" pitchFamily="34" charset="0"/>
              </a:rPr>
              <a:t>Resultados</a:t>
            </a:r>
            <a:r>
              <a:rPr lang="pt-BR" sz="2400" dirty="0" smtClean="0">
                <a:latin typeface="Calibri" pitchFamily="34" charset="0"/>
              </a:rPr>
              <a:t>: </a:t>
            </a:r>
          </a:p>
          <a:p>
            <a:pPr marL="285750" indent="-285750">
              <a:spcAft>
                <a:spcPts val="600"/>
              </a:spcAft>
            </a:pPr>
            <a:r>
              <a:rPr lang="pt-BR" sz="2400" dirty="0" smtClean="0">
                <a:latin typeface="Calibri" pitchFamily="34" charset="0"/>
              </a:rPr>
              <a:t>			Apenas 11 licitações em 10 anos</a:t>
            </a:r>
          </a:p>
          <a:p>
            <a:pPr marL="285750" indent="-285750">
              <a:spcAft>
                <a:spcPts val="600"/>
              </a:spcAft>
            </a:pPr>
            <a:r>
              <a:rPr lang="pt-BR" sz="2400" dirty="0" smtClean="0">
                <a:latin typeface="Calibri" pitchFamily="34" charset="0"/>
              </a:rPr>
              <a:t>			Questionamentos judiciais aos </a:t>
            </a:r>
            <a:r>
              <a:rPr lang="pt-BR" sz="2400" dirty="0" err="1" smtClean="0">
                <a:latin typeface="Calibri" pitchFamily="34" charset="0"/>
              </a:rPr>
              <a:t>TUPs</a:t>
            </a:r>
            <a:endParaRPr lang="pt-BR" sz="2400" dirty="0" smtClean="0">
              <a:latin typeface="Calibri" pitchFamily="34" charset="0"/>
            </a:endParaRPr>
          </a:p>
          <a:p>
            <a:pPr marL="285750" indent="-285750">
              <a:spcAft>
                <a:spcPts val="600"/>
              </a:spcAft>
            </a:pPr>
            <a:r>
              <a:rPr lang="pt-BR" sz="2400" dirty="0" smtClean="0">
                <a:latin typeface="Calibri" pitchFamily="34" charset="0"/>
              </a:rPr>
              <a:t>			Portos pouco eficiente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C1AF86CB-E071-4B8A-84B9-ACB35CB17159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9" name="CaixaDeTexto 8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</a:rPr>
              <a:t>Marco Regulatório anterior</a:t>
            </a:r>
          </a:p>
        </p:txBody>
      </p:sp>
      <p:cxnSp>
        <p:nvCxnSpPr>
          <p:cNvPr id="10" name="Conector reto 9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98373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aixaDeTexto 43"/>
          <p:cNvSpPr txBox="1"/>
          <p:nvPr/>
        </p:nvSpPr>
        <p:spPr>
          <a:xfrm>
            <a:off x="714348" y="1394286"/>
            <a:ext cx="825228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Aproveitar a oportunidade e reorganizar os portos: 117 arrendamentos vencidos ou a vencer até 2017</a:t>
            </a:r>
          </a:p>
          <a:p>
            <a:pPr>
              <a:spcAft>
                <a:spcPts val="600"/>
              </a:spcAft>
              <a:buFont typeface="Arial" pitchFamily="34" charset="0"/>
              <a:buChar char="•"/>
            </a:pPr>
            <a:endParaRPr lang="pt-BR" sz="2400" dirty="0" smtClean="0">
              <a:latin typeface="Helvetica" pitchFamily="34" charset="0"/>
              <a:ea typeface="MS PGothic" pitchFamily="34" charset="-128"/>
              <a:sym typeface="Helvetica" pitchFamily="34" charset="0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Eliminação de restrições aos terminais privados</a:t>
            </a:r>
          </a:p>
          <a:p>
            <a:pPr>
              <a:spcAft>
                <a:spcPts val="600"/>
              </a:spcAft>
            </a:pPr>
            <a:r>
              <a:rPr lang="pt-BR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Helvetica" pitchFamily="34" charset="0"/>
                <a:ea typeface="MS PGothic" pitchFamily="34" charset="-128"/>
                <a:sym typeface="Helvetica" pitchFamily="34" charset="0"/>
              </a:rPr>
              <a:t> Eliminação das barreiras à entrada nos Portos Públicos</a:t>
            </a: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C1AF86CB-E071-4B8A-84B9-ACB35CB17159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9" name="CaixaDeTexto 8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solidFill>
                  <a:schemeClr val="tx2"/>
                </a:solidFill>
                <a:latin typeface="Calibri" pitchFamily="34" charset="0"/>
                <a:ea typeface="ＭＳ Ｐゴシック" pitchFamily="34" charset="-128"/>
              </a:rPr>
              <a:t>Novo Marco Regulatório – Lei 12.815</a:t>
            </a:r>
            <a:endParaRPr lang="pt-BR" sz="3200" b="1" dirty="0" smtClean="0">
              <a:solidFill>
                <a:schemeClr val="tx2"/>
              </a:solidFill>
            </a:endParaRPr>
          </a:p>
        </p:txBody>
      </p:sp>
      <p:cxnSp>
        <p:nvCxnSpPr>
          <p:cNvPr id="10" name="Conector reto 9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ixaDeTexto 5"/>
          <p:cNvSpPr txBox="1"/>
          <p:nvPr/>
        </p:nvSpPr>
        <p:spPr>
          <a:xfrm>
            <a:off x="714348" y="785794"/>
            <a:ext cx="82522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endParaRPr lang="pt-BR" sz="2400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7371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12"/>
          <p:cNvSpPr txBox="1"/>
          <p:nvPr/>
        </p:nvSpPr>
        <p:spPr>
          <a:xfrm>
            <a:off x="0" y="107921"/>
            <a:ext cx="7920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rgbClr val="002060"/>
                </a:solidFill>
              </a:rPr>
              <a:t>Retomada do Planejamento em Logística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214282" y="1000108"/>
            <a:ext cx="8786842" cy="69249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tabLst>
                <a:tab pos="177800" algn="l"/>
              </a:tabLst>
            </a:pPr>
            <a:r>
              <a:rPr lang="pt-BR" sz="2800" dirty="0" smtClean="0"/>
              <a:t>O Programa de Investimentos em Logística (PIL) é a integração de 2 ações de planejamento do Governo Federal nos últimos anos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800" dirty="0" smtClean="0"/>
              <a:t>Plano Nacional de Logística de Transportes (PNLT) - 2006/2009/2012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800" dirty="0" smtClean="0"/>
              <a:t>Plano Nacional de Logística Portuária (PNLP) - 2009/2010/2012 (</a:t>
            </a:r>
            <a:r>
              <a:rPr lang="pt-BR" sz="2800" dirty="0" err="1" smtClean="0"/>
              <a:t>Masterplan</a:t>
            </a:r>
            <a:r>
              <a:rPr lang="pt-BR" sz="2800" dirty="0" smtClean="0"/>
              <a:t>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pt-BR" sz="2800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</a:pPr>
            <a:r>
              <a:rPr lang="pt-BR" sz="2800" dirty="0" smtClean="0"/>
              <a:t>É complementar ao PAC – 2007/2011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800" dirty="0" smtClean="0"/>
              <a:t>Elevação do nível de investimentos da economia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800" u="sng" dirty="0" smtClean="0"/>
              <a:t>Estímulo ao investimento privado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pt-BR" sz="2800" dirty="0" smtClean="0"/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endParaRPr lang="pt-BR" sz="2800" dirty="0" smtClean="0"/>
          </a:p>
        </p:txBody>
      </p:sp>
    </p:spTree>
    <p:extLst>
      <p:ext uri="{BB962C8B-B14F-4D97-AF65-F5344CB8AC3E}">
        <p14:creationId xmlns:p14="http://schemas.microsoft.com/office/powerpoint/2010/main" val="49116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25"/>
          <a:stretch/>
        </p:blipFill>
        <p:spPr bwMode="auto">
          <a:xfrm>
            <a:off x="4078555" y="1668992"/>
            <a:ext cx="4912584" cy="376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68"/>
          <p:cNvGrpSpPr/>
          <p:nvPr/>
        </p:nvGrpSpPr>
        <p:grpSpPr>
          <a:xfrm>
            <a:off x="6437257" y="3026686"/>
            <a:ext cx="2228417" cy="2331892"/>
            <a:chOff x="3294348" y="2250558"/>
            <a:chExt cx="2228417" cy="2331892"/>
          </a:xfrm>
        </p:grpSpPr>
        <p:sp>
          <p:nvSpPr>
            <p:cNvPr id="31" name="Forma livre 44"/>
            <p:cNvSpPr/>
            <p:nvPr/>
          </p:nvSpPr>
          <p:spPr>
            <a:xfrm>
              <a:off x="3294348" y="2250558"/>
              <a:ext cx="2228417" cy="2331892"/>
            </a:xfrm>
            <a:custGeom>
              <a:avLst/>
              <a:gdLst>
                <a:gd name="connsiteX0" fmla="*/ 899886 w 2235200"/>
                <a:gd name="connsiteY0" fmla="*/ 0 h 2075543"/>
                <a:gd name="connsiteX1" fmla="*/ 0 w 2235200"/>
                <a:gd name="connsiteY1" fmla="*/ 711200 h 2075543"/>
                <a:gd name="connsiteX2" fmla="*/ 1175657 w 2235200"/>
                <a:gd name="connsiteY2" fmla="*/ 2075543 h 2075543"/>
                <a:gd name="connsiteX3" fmla="*/ 1915886 w 2235200"/>
                <a:gd name="connsiteY3" fmla="*/ 1886857 h 2075543"/>
                <a:gd name="connsiteX4" fmla="*/ 2235200 w 2235200"/>
                <a:gd name="connsiteY4" fmla="*/ 1596571 h 2075543"/>
                <a:gd name="connsiteX5" fmla="*/ 899886 w 2235200"/>
                <a:gd name="connsiteY5" fmla="*/ 0 h 2075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35200" h="2075543">
                  <a:moveTo>
                    <a:pt x="899886" y="0"/>
                  </a:moveTo>
                  <a:lnTo>
                    <a:pt x="0" y="711200"/>
                  </a:lnTo>
                  <a:lnTo>
                    <a:pt x="1175657" y="2075543"/>
                  </a:lnTo>
                  <a:lnTo>
                    <a:pt x="1915886" y="1886857"/>
                  </a:lnTo>
                  <a:lnTo>
                    <a:pt x="2235200" y="1596571"/>
                  </a:lnTo>
                  <a:lnTo>
                    <a:pt x="899886" y="0"/>
                  </a:lnTo>
                  <a:close/>
                </a:path>
              </a:pathLst>
            </a:custGeom>
            <a:solidFill>
              <a:srgbClr val="99CCFF">
                <a:alpha val="0"/>
              </a:srgbClr>
            </a:solidFill>
            <a:ln w="38100">
              <a:solidFill>
                <a:schemeClr val="bg1"/>
              </a:solidFill>
            </a:ln>
            <a:effectLst/>
          </p:spPr>
          <p:txBody>
            <a:bodyPr rtlCol="0" anchor="ctr"/>
            <a:lstStyle/>
            <a:p>
              <a:pPr marL="342900" indent="-342900" algn="r">
                <a:buFont typeface="Arial" pitchFamily="34" charset="0"/>
                <a:buChar char="•"/>
              </a:pPr>
              <a:endParaRPr lang="pt-BR" sz="1800" smtClean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73"/>
            <p:cNvCxnSpPr/>
            <p:nvPr/>
          </p:nvCxnSpPr>
          <p:spPr>
            <a:xfrm flipV="1">
              <a:off x="3908425" y="3095626"/>
              <a:ext cx="892175" cy="736599"/>
            </a:xfrm>
            <a:prstGeom prst="line">
              <a:avLst/>
            </a:prstGeom>
            <a:ln w="38100" cmpd="sng">
              <a:solidFill>
                <a:srgbClr val="FFFFFF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5"/>
          <p:cNvGrpSpPr/>
          <p:nvPr/>
        </p:nvGrpSpPr>
        <p:grpSpPr>
          <a:xfrm>
            <a:off x="6767679" y="2869217"/>
            <a:ext cx="1824972" cy="2473762"/>
            <a:chOff x="3624770" y="2093089"/>
            <a:chExt cx="1824972" cy="2473762"/>
          </a:xfrm>
        </p:grpSpPr>
        <p:sp>
          <p:nvSpPr>
            <p:cNvPr id="23" name="Retângulo 5"/>
            <p:cNvSpPr>
              <a:spLocks noChangeArrowheads="1"/>
            </p:cNvSpPr>
            <p:nvPr/>
          </p:nvSpPr>
          <p:spPr bwMode="auto">
            <a:xfrm rot="3233912">
              <a:off x="3661434" y="2530332"/>
              <a:ext cx="1225356" cy="350870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marL="142875" indent="-142875" algn="r">
                <a:spcAft>
                  <a:spcPts val="600"/>
                </a:spcAft>
                <a:buFont typeface="Arial" charset="0"/>
                <a:buChar char="•"/>
              </a:pPr>
              <a:endParaRPr lang="pt-BR" sz="1600"/>
            </a:p>
          </p:txBody>
        </p:sp>
        <p:sp>
          <p:nvSpPr>
            <p:cNvPr id="24" name="Retângulo 72"/>
            <p:cNvSpPr/>
            <p:nvPr/>
          </p:nvSpPr>
          <p:spPr bwMode="auto">
            <a:xfrm rot="3233912">
              <a:off x="3492749" y="2945722"/>
              <a:ext cx="937586" cy="274742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>
              <a:solidFill>
                <a:schemeClr val="bg1"/>
              </a:solidFill>
            </a:ln>
            <a:effectLst/>
          </p:spPr>
          <p:txBody>
            <a:bodyPr lIns="72000" tIns="72000" rIns="72000" bIns="72000" anchor="ctr"/>
            <a:lstStyle/>
            <a:p>
              <a:pPr marL="144000" indent="-144000" algn="r">
                <a:spcAft>
                  <a:spcPts val="600"/>
                </a:spcAft>
                <a:buFont typeface="Arial" pitchFamily="34" charset="0"/>
                <a:buChar char="•"/>
                <a:defRPr/>
              </a:pPr>
              <a:endParaRPr lang="pt-BR" sz="1600" dirty="0">
                <a:latin typeface="Arial" pitchFamily="34" charset="0"/>
              </a:endParaRPr>
            </a:p>
          </p:txBody>
        </p:sp>
        <p:sp>
          <p:nvSpPr>
            <p:cNvPr id="26" name="Retângulo 7"/>
            <p:cNvSpPr>
              <a:spLocks noChangeArrowheads="1"/>
            </p:cNvSpPr>
            <p:nvPr/>
          </p:nvSpPr>
          <p:spPr bwMode="auto">
            <a:xfrm rot="3233912">
              <a:off x="3292622" y="3154999"/>
              <a:ext cx="938184" cy="273887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 w="3810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72000" tIns="72000" rIns="72000" bIns="72000" anchor="ctr"/>
            <a:lstStyle/>
            <a:p>
              <a:pPr marL="142875" indent="-142875" algn="r">
                <a:spcAft>
                  <a:spcPts val="600"/>
                </a:spcAft>
                <a:buFont typeface="Arial" charset="0"/>
                <a:buChar char="•"/>
              </a:pPr>
              <a:endParaRPr lang="pt-BR" sz="1600"/>
            </a:p>
          </p:txBody>
        </p:sp>
        <p:sp>
          <p:nvSpPr>
            <p:cNvPr id="29" name="Forma livre 10"/>
            <p:cNvSpPr>
              <a:spLocks/>
            </p:cNvSpPr>
            <p:nvPr/>
          </p:nvSpPr>
          <p:spPr bwMode="auto">
            <a:xfrm rot="18622964">
              <a:off x="4111287" y="3228395"/>
              <a:ext cx="1284860" cy="1392051"/>
            </a:xfrm>
            <a:custGeom>
              <a:avLst/>
              <a:gdLst>
                <a:gd name="T0" fmla="*/ 258213 w 903485"/>
                <a:gd name="T1" fmla="*/ 0 h 1452563"/>
                <a:gd name="T2" fmla="*/ 1071693 w 903485"/>
                <a:gd name="T3" fmla="*/ 149310 h 1452563"/>
                <a:gd name="T4" fmla="*/ 727094 w 903485"/>
                <a:gd name="T5" fmla="*/ 1570328 h 1452563"/>
                <a:gd name="T6" fmla="*/ 348600 w 903485"/>
                <a:gd name="T7" fmla="*/ 1498247 h 1452563"/>
                <a:gd name="T8" fmla="*/ 0 w 903485"/>
                <a:gd name="T9" fmla="*/ 1150125 h 1452563"/>
                <a:gd name="T10" fmla="*/ 258213 w 903485"/>
                <a:gd name="T11" fmla="*/ 0 h 14525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connsiteX0" fmla="*/ 217685 w 903485"/>
                <a:gd name="connsiteY0" fmla="*/ 0 h 1760773"/>
                <a:gd name="connsiteX1" fmla="*/ 903485 w 903485"/>
                <a:gd name="connsiteY1" fmla="*/ 138113 h 1760773"/>
                <a:gd name="connsiteX2" fmla="*/ 524470 w 903485"/>
                <a:gd name="connsiteY2" fmla="*/ 1760773 h 1760773"/>
                <a:gd name="connsiteX3" fmla="*/ 612973 w 903485"/>
                <a:gd name="connsiteY3" fmla="*/ 1452563 h 1760773"/>
                <a:gd name="connsiteX4" fmla="*/ 293885 w 903485"/>
                <a:gd name="connsiteY4" fmla="*/ 1385888 h 1760773"/>
                <a:gd name="connsiteX5" fmla="*/ 0 w 903485"/>
                <a:gd name="connsiteY5" fmla="*/ 1063873 h 1760773"/>
                <a:gd name="connsiteX6" fmla="*/ 217685 w 903485"/>
                <a:gd name="connsiteY6" fmla="*/ 0 h 1760773"/>
                <a:gd name="connsiteX0" fmla="*/ 217685 w 1095435"/>
                <a:gd name="connsiteY0" fmla="*/ 0 h 1954932"/>
                <a:gd name="connsiteX1" fmla="*/ 903485 w 1095435"/>
                <a:gd name="connsiteY1" fmla="*/ 138113 h 1954932"/>
                <a:gd name="connsiteX2" fmla="*/ 1081745 w 1095435"/>
                <a:gd name="connsiteY2" fmla="*/ 1861005 h 1954932"/>
                <a:gd name="connsiteX3" fmla="*/ 524470 w 1095435"/>
                <a:gd name="connsiteY3" fmla="*/ 1760773 h 1954932"/>
                <a:gd name="connsiteX4" fmla="*/ 612973 w 1095435"/>
                <a:gd name="connsiteY4" fmla="*/ 1452563 h 1954932"/>
                <a:gd name="connsiteX5" fmla="*/ 293885 w 1095435"/>
                <a:gd name="connsiteY5" fmla="*/ 1385888 h 1954932"/>
                <a:gd name="connsiteX6" fmla="*/ 0 w 1095435"/>
                <a:gd name="connsiteY6" fmla="*/ 1063873 h 1954932"/>
                <a:gd name="connsiteX7" fmla="*/ 217685 w 1095435"/>
                <a:gd name="connsiteY7" fmla="*/ 0 h 1954932"/>
                <a:gd name="connsiteX0" fmla="*/ 217685 w 1101354"/>
                <a:gd name="connsiteY0" fmla="*/ 0 h 1954932"/>
                <a:gd name="connsiteX1" fmla="*/ 903485 w 1101354"/>
                <a:gd name="connsiteY1" fmla="*/ 138113 h 1954932"/>
                <a:gd name="connsiteX2" fmla="*/ 1081745 w 1101354"/>
                <a:gd name="connsiteY2" fmla="*/ 1861005 h 1954932"/>
                <a:gd name="connsiteX3" fmla="*/ 524470 w 1101354"/>
                <a:gd name="connsiteY3" fmla="*/ 1760773 h 1954932"/>
                <a:gd name="connsiteX4" fmla="*/ 612973 w 1101354"/>
                <a:gd name="connsiteY4" fmla="*/ 1452563 h 1954932"/>
                <a:gd name="connsiteX5" fmla="*/ 293885 w 1101354"/>
                <a:gd name="connsiteY5" fmla="*/ 1385888 h 1954932"/>
                <a:gd name="connsiteX6" fmla="*/ 0 w 1101354"/>
                <a:gd name="connsiteY6" fmla="*/ 1063873 h 1954932"/>
                <a:gd name="connsiteX7" fmla="*/ 217685 w 1101354"/>
                <a:gd name="connsiteY7" fmla="*/ 0 h 1954932"/>
                <a:gd name="connsiteX0" fmla="*/ 217685 w 1193062"/>
                <a:gd name="connsiteY0" fmla="*/ 0 h 1861005"/>
                <a:gd name="connsiteX1" fmla="*/ 903485 w 1193062"/>
                <a:gd name="connsiteY1" fmla="*/ 138113 h 1861005"/>
                <a:gd name="connsiteX2" fmla="*/ 1081745 w 1193062"/>
                <a:gd name="connsiteY2" fmla="*/ 1861005 h 1861005"/>
                <a:gd name="connsiteX3" fmla="*/ 524470 w 1193062"/>
                <a:gd name="connsiteY3" fmla="*/ 1760773 h 1861005"/>
                <a:gd name="connsiteX4" fmla="*/ 612973 w 1193062"/>
                <a:gd name="connsiteY4" fmla="*/ 1452563 h 1861005"/>
                <a:gd name="connsiteX5" fmla="*/ 293885 w 1193062"/>
                <a:gd name="connsiteY5" fmla="*/ 1385888 h 1861005"/>
                <a:gd name="connsiteX6" fmla="*/ 0 w 1193062"/>
                <a:gd name="connsiteY6" fmla="*/ 1063873 h 1861005"/>
                <a:gd name="connsiteX7" fmla="*/ 217685 w 1193062"/>
                <a:gd name="connsiteY7" fmla="*/ 0 h 1861005"/>
                <a:gd name="connsiteX0" fmla="*/ 217685 w 1180407"/>
                <a:gd name="connsiteY0" fmla="*/ 0 h 1950689"/>
                <a:gd name="connsiteX1" fmla="*/ 1095333 w 1180407"/>
                <a:gd name="connsiteY1" fmla="*/ 198255 h 1950689"/>
                <a:gd name="connsiteX2" fmla="*/ 1081745 w 1180407"/>
                <a:gd name="connsiteY2" fmla="*/ 1861005 h 1950689"/>
                <a:gd name="connsiteX3" fmla="*/ 524470 w 1180407"/>
                <a:gd name="connsiteY3" fmla="*/ 1760773 h 1950689"/>
                <a:gd name="connsiteX4" fmla="*/ 612973 w 1180407"/>
                <a:gd name="connsiteY4" fmla="*/ 1452563 h 1950689"/>
                <a:gd name="connsiteX5" fmla="*/ 293885 w 1180407"/>
                <a:gd name="connsiteY5" fmla="*/ 1385888 h 1950689"/>
                <a:gd name="connsiteX6" fmla="*/ 0 w 1180407"/>
                <a:gd name="connsiteY6" fmla="*/ 1063873 h 1950689"/>
                <a:gd name="connsiteX7" fmla="*/ 217685 w 1180407"/>
                <a:gd name="connsiteY7" fmla="*/ 0 h 1950689"/>
                <a:gd name="connsiteX0" fmla="*/ 217685 w 1428919"/>
                <a:gd name="connsiteY0" fmla="*/ 0 h 1942319"/>
                <a:gd name="connsiteX1" fmla="*/ 1095333 w 1428919"/>
                <a:gd name="connsiteY1" fmla="*/ 198255 h 1942319"/>
                <a:gd name="connsiteX2" fmla="*/ 1428898 w 1428919"/>
                <a:gd name="connsiteY2" fmla="*/ 317430 h 1942319"/>
                <a:gd name="connsiteX3" fmla="*/ 1081745 w 1428919"/>
                <a:gd name="connsiteY3" fmla="*/ 1861005 h 1942319"/>
                <a:gd name="connsiteX4" fmla="*/ 524470 w 1428919"/>
                <a:gd name="connsiteY4" fmla="*/ 1760773 h 1942319"/>
                <a:gd name="connsiteX5" fmla="*/ 612973 w 1428919"/>
                <a:gd name="connsiteY5" fmla="*/ 1452563 h 1942319"/>
                <a:gd name="connsiteX6" fmla="*/ 293885 w 1428919"/>
                <a:gd name="connsiteY6" fmla="*/ 1385888 h 1942319"/>
                <a:gd name="connsiteX7" fmla="*/ 0 w 1428919"/>
                <a:gd name="connsiteY7" fmla="*/ 1063873 h 1942319"/>
                <a:gd name="connsiteX8" fmla="*/ 217685 w 1428919"/>
                <a:gd name="connsiteY8" fmla="*/ 0 h 1942319"/>
                <a:gd name="connsiteX0" fmla="*/ 217685 w 1428898"/>
                <a:gd name="connsiteY0" fmla="*/ 0 h 1942319"/>
                <a:gd name="connsiteX1" fmla="*/ 1095333 w 1428898"/>
                <a:gd name="connsiteY1" fmla="*/ 198255 h 1942319"/>
                <a:gd name="connsiteX2" fmla="*/ 1428898 w 1428898"/>
                <a:gd name="connsiteY2" fmla="*/ 317430 h 1942319"/>
                <a:gd name="connsiteX3" fmla="*/ 1081745 w 1428898"/>
                <a:gd name="connsiteY3" fmla="*/ 1861005 h 1942319"/>
                <a:gd name="connsiteX4" fmla="*/ 524470 w 1428898"/>
                <a:gd name="connsiteY4" fmla="*/ 1760773 h 1942319"/>
                <a:gd name="connsiteX5" fmla="*/ 612973 w 1428898"/>
                <a:gd name="connsiteY5" fmla="*/ 1452563 h 1942319"/>
                <a:gd name="connsiteX6" fmla="*/ 293885 w 1428898"/>
                <a:gd name="connsiteY6" fmla="*/ 1385888 h 1942319"/>
                <a:gd name="connsiteX7" fmla="*/ 0 w 1428898"/>
                <a:gd name="connsiteY7" fmla="*/ 1063873 h 1942319"/>
                <a:gd name="connsiteX8" fmla="*/ 217685 w 1428898"/>
                <a:gd name="connsiteY8" fmla="*/ 0 h 1942319"/>
                <a:gd name="connsiteX0" fmla="*/ 217685 w 1428898"/>
                <a:gd name="connsiteY0" fmla="*/ 0 h 1942319"/>
                <a:gd name="connsiteX1" fmla="*/ 1095333 w 1428898"/>
                <a:gd name="connsiteY1" fmla="*/ 198255 h 1942319"/>
                <a:gd name="connsiteX2" fmla="*/ 1428898 w 1428898"/>
                <a:gd name="connsiteY2" fmla="*/ 317430 h 1942319"/>
                <a:gd name="connsiteX3" fmla="*/ 1081745 w 1428898"/>
                <a:gd name="connsiteY3" fmla="*/ 1861005 h 1942319"/>
                <a:gd name="connsiteX4" fmla="*/ 524470 w 1428898"/>
                <a:gd name="connsiteY4" fmla="*/ 1760773 h 1942319"/>
                <a:gd name="connsiteX5" fmla="*/ 612973 w 1428898"/>
                <a:gd name="connsiteY5" fmla="*/ 1452563 h 1942319"/>
                <a:gd name="connsiteX6" fmla="*/ 293885 w 1428898"/>
                <a:gd name="connsiteY6" fmla="*/ 1385888 h 1942319"/>
                <a:gd name="connsiteX7" fmla="*/ 0 w 1428898"/>
                <a:gd name="connsiteY7" fmla="*/ 1063873 h 1942319"/>
                <a:gd name="connsiteX8" fmla="*/ 217685 w 1428898"/>
                <a:gd name="connsiteY8" fmla="*/ 0 h 1942319"/>
                <a:gd name="connsiteX0" fmla="*/ 217685 w 1428898"/>
                <a:gd name="connsiteY0" fmla="*/ 0 h 1942319"/>
                <a:gd name="connsiteX1" fmla="*/ 1095333 w 1428898"/>
                <a:gd name="connsiteY1" fmla="*/ 198255 h 1942319"/>
                <a:gd name="connsiteX2" fmla="*/ 1428898 w 1428898"/>
                <a:gd name="connsiteY2" fmla="*/ 317430 h 1942319"/>
                <a:gd name="connsiteX3" fmla="*/ 1081745 w 1428898"/>
                <a:gd name="connsiteY3" fmla="*/ 1861005 h 1942319"/>
                <a:gd name="connsiteX4" fmla="*/ 524470 w 1428898"/>
                <a:gd name="connsiteY4" fmla="*/ 1760773 h 1942319"/>
                <a:gd name="connsiteX5" fmla="*/ 612973 w 1428898"/>
                <a:gd name="connsiteY5" fmla="*/ 1452563 h 1942319"/>
                <a:gd name="connsiteX6" fmla="*/ 293885 w 1428898"/>
                <a:gd name="connsiteY6" fmla="*/ 1385888 h 1942319"/>
                <a:gd name="connsiteX7" fmla="*/ 0 w 1428898"/>
                <a:gd name="connsiteY7" fmla="*/ 1063873 h 1942319"/>
                <a:gd name="connsiteX8" fmla="*/ 217685 w 1428898"/>
                <a:gd name="connsiteY8" fmla="*/ 0 h 1942319"/>
                <a:gd name="connsiteX0" fmla="*/ 217685 w 1428898"/>
                <a:gd name="connsiteY0" fmla="*/ 0 h 1942319"/>
                <a:gd name="connsiteX1" fmla="*/ 1095333 w 1428898"/>
                <a:gd name="connsiteY1" fmla="*/ 198255 h 1942319"/>
                <a:gd name="connsiteX2" fmla="*/ 1428898 w 1428898"/>
                <a:gd name="connsiteY2" fmla="*/ 317430 h 1942319"/>
                <a:gd name="connsiteX3" fmla="*/ 1081745 w 1428898"/>
                <a:gd name="connsiteY3" fmla="*/ 1861005 h 1942319"/>
                <a:gd name="connsiteX4" fmla="*/ 524470 w 1428898"/>
                <a:gd name="connsiteY4" fmla="*/ 1760773 h 1942319"/>
                <a:gd name="connsiteX5" fmla="*/ 612973 w 1428898"/>
                <a:gd name="connsiteY5" fmla="*/ 1452563 h 1942319"/>
                <a:gd name="connsiteX6" fmla="*/ 293885 w 1428898"/>
                <a:gd name="connsiteY6" fmla="*/ 1385888 h 1942319"/>
                <a:gd name="connsiteX7" fmla="*/ 0 w 1428898"/>
                <a:gd name="connsiteY7" fmla="*/ 1063873 h 1942319"/>
                <a:gd name="connsiteX8" fmla="*/ 217685 w 1428898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942319"/>
                <a:gd name="connsiteX1" fmla="*/ 1095333 w 1440317"/>
                <a:gd name="connsiteY1" fmla="*/ 198255 h 1942319"/>
                <a:gd name="connsiteX2" fmla="*/ 1440317 w 1440317"/>
                <a:gd name="connsiteY2" fmla="*/ 279842 h 1942319"/>
                <a:gd name="connsiteX3" fmla="*/ 1081745 w 1440317"/>
                <a:gd name="connsiteY3" fmla="*/ 1861005 h 1942319"/>
                <a:gd name="connsiteX4" fmla="*/ 524470 w 1440317"/>
                <a:gd name="connsiteY4" fmla="*/ 1760773 h 1942319"/>
                <a:gd name="connsiteX5" fmla="*/ 612973 w 1440317"/>
                <a:gd name="connsiteY5" fmla="*/ 1452563 h 1942319"/>
                <a:gd name="connsiteX6" fmla="*/ 293885 w 1440317"/>
                <a:gd name="connsiteY6" fmla="*/ 1385888 h 1942319"/>
                <a:gd name="connsiteX7" fmla="*/ 0 w 1440317"/>
                <a:gd name="connsiteY7" fmla="*/ 1063873 h 1942319"/>
                <a:gd name="connsiteX8" fmla="*/ 217685 w 1440317"/>
                <a:gd name="connsiteY8" fmla="*/ 0 h 1942319"/>
                <a:gd name="connsiteX0" fmla="*/ 217685 w 1440317"/>
                <a:gd name="connsiteY0" fmla="*/ 0 h 1861005"/>
                <a:gd name="connsiteX1" fmla="*/ 1095333 w 1440317"/>
                <a:gd name="connsiteY1" fmla="*/ 198255 h 1861005"/>
                <a:gd name="connsiteX2" fmla="*/ 1440317 w 1440317"/>
                <a:gd name="connsiteY2" fmla="*/ 279842 h 1861005"/>
                <a:gd name="connsiteX3" fmla="*/ 1081745 w 1440317"/>
                <a:gd name="connsiteY3" fmla="*/ 1861005 h 1861005"/>
                <a:gd name="connsiteX4" fmla="*/ 524470 w 1440317"/>
                <a:gd name="connsiteY4" fmla="*/ 1760773 h 1861005"/>
                <a:gd name="connsiteX5" fmla="*/ 612973 w 1440317"/>
                <a:gd name="connsiteY5" fmla="*/ 1452563 h 1861005"/>
                <a:gd name="connsiteX6" fmla="*/ 293885 w 1440317"/>
                <a:gd name="connsiteY6" fmla="*/ 1385888 h 1861005"/>
                <a:gd name="connsiteX7" fmla="*/ 0 w 1440317"/>
                <a:gd name="connsiteY7" fmla="*/ 1063873 h 1861005"/>
                <a:gd name="connsiteX8" fmla="*/ 217685 w 1440317"/>
                <a:gd name="connsiteY8" fmla="*/ 0 h 1861005"/>
                <a:gd name="connsiteX0" fmla="*/ 217685 w 1440317"/>
                <a:gd name="connsiteY0" fmla="*/ 0 h 1861005"/>
                <a:gd name="connsiteX1" fmla="*/ 1095333 w 1440317"/>
                <a:gd name="connsiteY1" fmla="*/ 198255 h 1861005"/>
                <a:gd name="connsiteX2" fmla="*/ 1440317 w 1440317"/>
                <a:gd name="connsiteY2" fmla="*/ 279842 h 1861005"/>
                <a:gd name="connsiteX3" fmla="*/ 1081745 w 1440317"/>
                <a:gd name="connsiteY3" fmla="*/ 1861005 h 1861005"/>
                <a:gd name="connsiteX4" fmla="*/ 524470 w 1440317"/>
                <a:gd name="connsiteY4" fmla="*/ 1760773 h 1861005"/>
                <a:gd name="connsiteX5" fmla="*/ 612973 w 1440317"/>
                <a:gd name="connsiteY5" fmla="*/ 1452563 h 1861005"/>
                <a:gd name="connsiteX6" fmla="*/ 293885 w 1440317"/>
                <a:gd name="connsiteY6" fmla="*/ 1385888 h 1861005"/>
                <a:gd name="connsiteX7" fmla="*/ 0 w 1440317"/>
                <a:gd name="connsiteY7" fmla="*/ 1063873 h 1861005"/>
                <a:gd name="connsiteX8" fmla="*/ 217685 w 1440317"/>
                <a:gd name="connsiteY8" fmla="*/ 0 h 1861005"/>
                <a:gd name="connsiteX0" fmla="*/ 217685 w 1440317"/>
                <a:gd name="connsiteY0" fmla="*/ 0 h 1861005"/>
                <a:gd name="connsiteX1" fmla="*/ 1095333 w 1440317"/>
                <a:gd name="connsiteY1" fmla="*/ 198255 h 1861005"/>
                <a:gd name="connsiteX2" fmla="*/ 1440317 w 1440317"/>
                <a:gd name="connsiteY2" fmla="*/ 279842 h 1861005"/>
                <a:gd name="connsiteX3" fmla="*/ 1081745 w 1440317"/>
                <a:gd name="connsiteY3" fmla="*/ 1861005 h 1861005"/>
                <a:gd name="connsiteX4" fmla="*/ 524470 w 1440317"/>
                <a:gd name="connsiteY4" fmla="*/ 1760773 h 1861005"/>
                <a:gd name="connsiteX5" fmla="*/ 612973 w 1440317"/>
                <a:gd name="connsiteY5" fmla="*/ 1452563 h 1861005"/>
                <a:gd name="connsiteX6" fmla="*/ 258131 w 1440317"/>
                <a:gd name="connsiteY6" fmla="*/ 1314902 h 1861005"/>
                <a:gd name="connsiteX7" fmla="*/ 0 w 1440317"/>
                <a:gd name="connsiteY7" fmla="*/ 1063873 h 1861005"/>
                <a:gd name="connsiteX8" fmla="*/ 217685 w 1440317"/>
                <a:gd name="connsiteY8" fmla="*/ 0 h 1861005"/>
                <a:gd name="connsiteX0" fmla="*/ 237268 w 1459900"/>
                <a:gd name="connsiteY0" fmla="*/ 0 h 1861005"/>
                <a:gd name="connsiteX1" fmla="*/ 1114916 w 1459900"/>
                <a:gd name="connsiteY1" fmla="*/ 198255 h 1861005"/>
                <a:gd name="connsiteX2" fmla="*/ 1459900 w 1459900"/>
                <a:gd name="connsiteY2" fmla="*/ 279842 h 1861005"/>
                <a:gd name="connsiteX3" fmla="*/ 1101328 w 1459900"/>
                <a:gd name="connsiteY3" fmla="*/ 1861005 h 1861005"/>
                <a:gd name="connsiteX4" fmla="*/ 544053 w 1459900"/>
                <a:gd name="connsiteY4" fmla="*/ 1760773 h 1861005"/>
                <a:gd name="connsiteX5" fmla="*/ 632556 w 1459900"/>
                <a:gd name="connsiteY5" fmla="*/ 1452563 h 1861005"/>
                <a:gd name="connsiteX6" fmla="*/ 277714 w 1459900"/>
                <a:gd name="connsiteY6" fmla="*/ 1314902 h 1861005"/>
                <a:gd name="connsiteX7" fmla="*/ 0 w 1459900"/>
                <a:gd name="connsiteY7" fmla="*/ 1144992 h 1861005"/>
                <a:gd name="connsiteX8" fmla="*/ 237268 w 1459900"/>
                <a:gd name="connsiteY8" fmla="*/ 0 h 1861005"/>
                <a:gd name="connsiteX0" fmla="*/ 237268 w 1459900"/>
                <a:gd name="connsiteY0" fmla="*/ 0 h 1861005"/>
                <a:gd name="connsiteX1" fmla="*/ 1114916 w 1459900"/>
                <a:gd name="connsiteY1" fmla="*/ 198255 h 1861005"/>
                <a:gd name="connsiteX2" fmla="*/ 1459900 w 1459900"/>
                <a:gd name="connsiteY2" fmla="*/ 279842 h 1861005"/>
                <a:gd name="connsiteX3" fmla="*/ 1101328 w 1459900"/>
                <a:gd name="connsiteY3" fmla="*/ 1861005 h 1861005"/>
                <a:gd name="connsiteX4" fmla="*/ 574082 w 1459900"/>
                <a:gd name="connsiteY4" fmla="*/ 1676820 h 1861005"/>
                <a:gd name="connsiteX5" fmla="*/ 632556 w 1459900"/>
                <a:gd name="connsiteY5" fmla="*/ 1452563 h 1861005"/>
                <a:gd name="connsiteX6" fmla="*/ 277714 w 1459900"/>
                <a:gd name="connsiteY6" fmla="*/ 1314902 h 1861005"/>
                <a:gd name="connsiteX7" fmla="*/ 0 w 1459900"/>
                <a:gd name="connsiteY7" fmla="*/ 1144992 h 1861005"/>
                <a:gd name="connsiteX8" fmla="*/ 237268 w 1459900"/>
                <a:gd name="connsiteY8" fmla="*/ 0 h 1861005"/>
                <a:gd name="connsiteX0" fmla="*/ 237268 w 1459900"/>
                <a:gd name="connsiteY0" fmla="*/ 0 h 1745904"/>
                <a:gd name="connsiteX1" fmla="*/ 1114916 w 1459900"/>
                <a:gd name="connsiteY1" fmla="*/ 198255 h 1745904"/>
                <a:gd name="connsiteX2" fmla="*/ 1459900 w 1459900"/>
                <a:gd name="connsiteY2" fmla="*/ 279842 h 1745904"/>
                <a:gd name="connsiteX3" fmla="*/ 1119986 w 1459900"/>
                <a:gd name="connsiteY3" fmla="*/ 1745904 h 1745904"/>
                <a:gd name="connsiteX4" fmla="*/ 574082 w 1459900"/>
                <a:gd name="connsiteY4" fmla="*/ 1676820 h 1745904"/>
                <a:gd name="connsiteX5" fmla="*/ 632556 w 1459900"/>
                <a:gd name="connsiteY5" fmla="*/ 1452563 h 1745904"/>
                <a:gd name="connsiteX6" fmla="*/ 277714 w 1459900"/>
                <a:gd name="connsiteY6" fmla="*/ 1314902 h 1745904"/>
                <a:gd name="connsiteX7" fmla="*/ 0 w 1459900"/>
                <a:gd name="connsiteY7" fmla="*/ 1144992 h 1745904"/>
                <a:gd name="connsiteX8" fmla="*/ 237268 w 1459900"/>
                <a:gd name="connsiteY8" fmla="*/ 0 h 1745904"/>
                <a:gd name="connsiteX0" fmla="*/ 237268 w 1459900"/>
                <a:gd name="connsiteY0" fmla="*/ 0 h 1745904"/>
                <a:gd name="connsiteX1" fmla="*/ 1114916 w 1459900"/>
                <a:gd name="connsiteY1" fmla="*/ 198255 h 1745904"/>
                <a:gd name="connsiteX2" fmla="*/ 1459900 w 1459900"/>
                <a:gd name="connsiteY2" fmla="*/ 279842 h 1745904"/>
                <a:gd name="connsiteX3" fmla="*/ 1119986 w 1459900"/>
                <a:gd name="connsiteY3" fmla="*/ 1745904 h 1745904"/>
                <a:gd name="connsiteX4" fmla="*/ 574082 w 1459900"/>
                <a:gd name="connsiteY4" fmla="*/ 1676820 h 1745904"/>
                <a:gd name="connsiteX5" fmla="*/ 632556 w 1459900"/>
                <a:gd name="connsiteY5" fmla="*/ 1452563 h 1745904"/>
                <a:gd name="connsiteX6" fmla="*/ 277714 w 1459900"/>
                <a:gd name="connsiteY6" fmla="*/ 1314902 h 1745904"/>
                <a:gd name="connsiteX7" fmla="*/ 0 w 1459900"/>
                <a:gd name="connsiteY7" fmla="*/ 1144992 h 1745904"/>
                <a:gd name="connsiteX8" fmla="*/ 237268 w 1459900"/>
                <a:gd name="connsiteY8" fmla="*/ 0 h 1745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9900" h="1745904">
                  <a:moveTo>
                    <a:pt x="237268" y="0"/>
                  </a:moveTo>
                  <a:lnTo>
                    <a:pt x="1114916" y="198255"/>
                  </a:lnTo>
                  <a:lnTo>
                    <a:pt x="1459900" y="279842"/>
                  </a:lnTo>
                  <a:cubicBezTo>
                    <a:pt x="1457635" y="556967"/>
                    <a:pt x="1248145" y="954531"/>
                    <a:pt x="1119986" y="1745904"/>
                  </a:cubicBezTo>
                  <a:cubicBezTo>
                    <a:pt x="923570" y="1704558"/>
                    <a:pt x="654685" y="1688513"/>
                    <a:pt x="574082" y="1676820"/>
                  </a:cubicBezTo>
                  <a:lnTo>
                    <a:pt x="632556" y="1452563"/>
                  </a:lnTo>
                  <a:lnTo>
                    <a:pt x="277714" y="1314902"/>
                  </a:lnTo>
                  <a:lnTo>
                    <a:pt x="0" y="1144992"/>
                  </a:lnTo>
                  <a:lnTo>
                    <a:pt x="237268" y="0"/>
                  </a:lnTo>
                  <a:close/>
                </a:path>
              </a:pathLst>
            </a:custGeom>
            <a:solidFill>
              <a:srgbClr val="FFFFFF">
                <a:alpha val="0"/>
              </a:srgbClr>
            </a:solidFill>
            <a:ln w="38100">
              <a:solidFill>
                <a:schemeClr val="bg1"/>
              </a:solidFill>
              <a:round/>
              <a:headEnd/>
              <a:tailEnd/>
            </a:ln>
          </p:spPr>
          <p:txBody>
            <a:bodyPr lIns="72000" tIns="72000" rIns="72000" bIns="72000" anchor="ctr"/>
            <a:lstStyle/>
            <a:p>
              <a:pPr algn="r"/>
              <a:endParaRPr lang="pt-BR"/>
            </a:p>
          </p:txBody>
        </p:sp>
      </p:grpSp>
      <p:sp>
        <p:nvSpPr>
          <p:cNvPr id="42" name="Retângulo de cantos arredondados 41"/>
          <p:cNvSpPr/>
          <p:nvPr/>
        </p:nvSpPr>
        <p:spPr>
          <a:xfrm>
            <a:off x="494556" y="1556792"/>
            <a:ext cx="3571900" cy="302647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342900" indent="-342900">
              <a:spcAft>
                <a:spcPts val="200"/>
              </a:spcAft>
              <a:buFont typeface="Arial" pitchFamily="34" charset="0"/>
              <a:buChar char="•"/>
            </a:pPr>
            <a:r>
              <a:rPr lang="pt-BR" sz="2400" b="1" dirty="0" smtClean="0">
                <a:solidFill>
                  <a:schemeClr val="tx1"/>
                </a:solidFill>
              </a:rPr>
              <a:t>Aumento de eficiência:</a:t>
            </a:r>
          </a:p>
          <a:p>
            <a:pPr marL="631825" lvl="1" indent="-174625">
              <a:spcAft>
                <a:spcPts val="200"/>
              </a:spcAft>
              <a:buFont typeface="Wingdings" pitchFamily="2" charset="2"/>
              <a:buChar char="Ø"/>
            </a:pPr>
            <a:r>
              <a:rPr lang="pt-BR" sz="2000" dirty="0" smtClean="0">
                <a:solidFill>
                  <a:schemeClr val="tx1"/>
                </a:solidFill>
              </a:rPr>
              <a:t>Reorganização da armazenagem</a:t>
            </a:r>
          </a:p>
          <a:p>
            <a:pPr marL="631825" lvl="1" indent="-174625">
              <a:spcAft>
                <a:spcPts val="200"/>
              </a:spcAft>
              <a:buFont typeface="Wingdings" pitchFamily="2" charset="2"/>
              <a:buChar char="Ø"/>
            </a:pPr>
            <a:r>
              <a:rPr lang="pt-BR" sz="2000" dirty="0" smtClean="0">
                <a:solidFill>
                  <a:schemeClr val="tx1"/>
                </a:solidFill>
              </a:rPr>
              <a:t>Melhorias nos acessos ferroviários</a:t>
            </a:r>
          </a:p>
          <a:p>
            <a:pPr marL="342900" indent="-342900">
              <a:spcAft>
                <a:spcPts val="200"/>
              </a:spcAft>
              <a:buFont typeface="Arial" pitchFamily="34" charset="0"/>
              <a:buChar char="•"/>
            </a:pPr>
            <a:endParaRPr lang="pt-BR" sz="2000" dirty="0" smtClean="0">
              <a:solidFill>
                <a:schemeClr val="tx1"/>
              </a:solidFill>
            </a:endParaRPr>
          </a:p>
          <a:p>
            <a:pPr marL="342900" indent="-342900">
              <a:spcAft>
                <a:spcPts val="200"/>
              </a:spcAft>
              <a:buFont typeface="Arial" pitchFamily="34" charset="0"/>
              <a:buChar char="•"/>
            </a:pPr>
            <a:r>
              <a:rPr lang="en-US" sz="2000" dirty="0" err="1" smtClean="0">
                <a:solidFill>
                  <a:schemeClr val="tx1"/>
                </a:solidFill>
              </a:rPr>
              <a:t>Soluçõe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ambientais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para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evitar</a:t>
            </a:r>
            <a:r>
              <a:rPr lang="en-US" sz="2000" dirty="0" smtClean="0">
                <a:solidFill>
                  <a:schemeClr val="tx1"/>
                </a:solidFill>
              </a:rPr>
              <a:t> </a:t>
            </a:r>
            <a:r>
              <a:rPr lang="en-US" sz="2000" dirty="0" err="1" smtClean="0">
                <a:solidFill>
                  <a:schemeClr val="tx1"/>
                </a:solidFill>
              </a:rPr>
              <a:t>emissão</a:t>
            </a:r>
            <a:r>
              <a:rPr lang="en-US" sz="2000" dirty="0" smtClean="0">
                <a:solidFill>
                  <a:schemeClr val="tx1"/>
                </a:solidFill>
              </a:rPr>
              <a:t> de </a:t>
            </a:r>
            <a:r>
              <a:rPr lang="en-US" sz="2000" dirty="0" err="1" smtClean="0">
                <a:solidFill>
                  <a:schemeClr val="tx1"/>
                </a:solidFill>
              </a:rPr>
              <a:t>particulado</a:t>
            </a:r>
            <a:endParaRPr lang="en-US" sz="2000" dirty="0" smtClean="0">
              <a:solidFill>
                <a:schemeClr val="tx1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latin typeface="Calibri" pitchFamily="34" charset="0"/>
                <a:ea typeface="ＭＳ Ｐゴシック" pitchFamily="34" charset="-128"/>
              </a:rPr>
              <a:t>Grãos em Santos</a:t>
            </a:r>
            <a:endParaRPr lang="pt-BR" sz="3200" b="1" dirty="0" smtClean="0">
              <a:solidFill>
                <a:schemeClr val="tx2"/>
              </a:solidFill>
            </a:endParaRPr>
          </a:p>
        </p:txBody>
      </p:sp>
      <p:cxnSp>
        <p:nvCxnSpPr>
          <p:cNvPr id="16" name="Conector reto 15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C1AF86CB-E071-4B8A-84B9-ACB35CB17159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535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aixaDeTexto 16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latin typeface="Calibri" pitchFamily="34" charset="0"/>
                <a:ea typeface="ＭＳ Ｐゴシック" pitchFamily="34" charset="-128"/>
              </a:rPr>
              <a:t>Combustíveis no Pará</a:t>
            </a:r>
            <a:endParaRPr lang="pt-BR" sz="3200" b="1" dirty="0" smtClean="0">
              <a:solidFill>
                <a:schemeClr val="tx2"/>
              </a:solidFill>
            </a:endParaRPr>
          </a:p>
        </p:txBody>
      </p:sp>
      <p:cxnSp>
        <p:nvCxnSpPr>
          <p:cNvPr id="18" name="Conector reto 17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C1AF86CB-E071-4B8A-84B9-ACB35CB17159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14" name="Picture 4" descr="C:\Users\felipebv\AppData\Local\Microsoft\Windows\Temporary Internet Files\Content.Outlook\SKXDF8NZ\131010 Vila do Conde lease boundarie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42" t="31113" b="16601"/>
          <a:stretch>
            <a:fillRect/>
          </a:stretch>
        </p:blipFill>
        <p:spPr bwMode="auto">
          <a:xfrm>
            <a:off x="2928926" y="4000504"/>
            <a:ext cx="5339029" cy="2786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Forma livre 14"/>
          <p:cNvSpPr/>
          <p:nvPr/>
        </p:nvSpPr>
        <p:spPr>
          <a:xfrm>
            <a:off x="3348037" y="5614993"/>
            <a:ext cx="1333500" cy="776288"/>
          </a:xfrm>
          <a:custGeom>
            <a:avLst/>
            <a:gdLst>
              <a:gd name="connsiteX0" fmla="*/ 0 w 1333500"/>
              <a:gd name="connsiteY0" fmla="*/ 723900 h 776288"/>
              <a:gd name="connsiteX1" fmla="*/ 1257300 w 1333500"/>
              <a:gd name="connsiteY1" fmla="*/ 776288 h 776288"/>
              <a:gd name="connsiteX2" fmla="*/ 1333500 w 1333500"/>
              <a:gd name="connsiteY2" fmla="*/ 0 h 776288"/>
              <a:gd name="connsiteX3" fmla="*/ 0 w 1333500"/>
              <a:gd name="connsiteY3" fmla="*/ 723900 h 7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33500" h="776288">
                <a:moveTo>
                  <a:pt x="0" y="723900"/>
                </a:moveTo>
                <a:lnTo>
                  <a:pt x="1257300" y="776288"/>
                </a:lnTo>
                <a:lnTo>
                  <a:pt x="1333500" y="0"/>
                </a:lnTo>
                <a:lnTo>
                  <a:pt x="0" y="7239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Forma livre 15"/>
          <p:cNvSpPr/>
          <p:nvPr/>
        </p:nvSpPr>
        <p:spPr>
          <a:xfrm>
            <a:off x="4629150" y="5605468"/>
            <a:ext cx="661987" cy="804863"/>
          </a:xfrm>
          <a:custGeom>
            <a:avLst/>
            <a:gdLst>
              <a:gd name="connsiteX0" fmla="*/ 61912 w 661987"/>
              <a:gd name="connsiteY0" fmla="*/ 0 h 804863"/>
              <a:gd name="connsiteX1" fmla="*/ 0 w 661987"/>
              <a:gd name="connsiteY1" fmla="*/ 795338 h 804863"/>
              <a:gd name="connsiteX2" fmla="*/ 633412 w 661987"/>
              <a:gd name="connsiteY2" fmla="*/ 804863 h 804863"/>
              <a:gd name="connsiteX3" fmla="*/ 661987 w 661987"/>
              <a:gd name="connsiteY3" fmla="*/ 209550 h 804863"/>
              <a:gd name="connsiteX4" fmla="*/ 61912 w 661987"/>
              <a:gd name="connsiteY4" fmla="*/ 0 h 80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1987" h="804863">
                <a:moveTo>
                  <a:pt x="61912" y="0"/>
                </a:moveTo>
                <a:lnTo>
                  <a:pt x="0" y="795338"/>
                </a:lnTo>
                <a:lnTo>
                  <a:pt x="633412" y="804863"/>
                </a:lnTo>
                <a:lnTo>
                  <a:pt x="661987" y="209550"/>
                </a:lnTo>
                <a:lnTo>
                  <a:pt x="61912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9" name="Forma livre 18"/>
          <p:cNvSpPr/>
          <p:nvPr/>
        </p:nvSpPr>
        <p:spPr>
          <a:xfrm>
            <a:off x="5257800" y="5614993"/>
            <a:ext cx="704850" cy="819150"/>
          </a:xfrm>
          <a:custGeom>
            <a:avLst/>
            <a:gdLst>
              <a:gd name="connsiteX0" fmla="*/ 28575 w 704850"/>
              <a:gd name="connsiteY0" fmla="*/ 190500 h 819150"/>
              <a:gd name="connsiteX1" fmla="*/ 0 w 704850"/>
              <a:gd name="connsiteY1" fmla="*/ 795338 h 819150"/>
              <a:gd name="connsiteX2" fmla="*/ 676275 w 704850"/>
              <a:gd name="connsiteY2" fmla="*/ 819150 h 819150"/>
              <a:gd name="connsiteX3" fmla="*/ 704850 w 704850"/>
              <a:gd name="connsiteY3" fmla="*/ 0 h 819150"/>
              <a:gd name="connsiteX4" fmla="*/ 28575 w 704850"/>
              <a:gd name="connsiteY4" fmla="*/ 190500 h 8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4850" h="819150">
                <a:moveTo>
                  <a:pt x="28575" y="190500"/>
                </a:moveTo>
                <a:lnTo>
                  <a:pt x="0" y="795338"/>
                </a:lnTo>
                <a:lnTo>
                  <a:pt x="676275" y="819150"/>
                </a:lnTo>
                <a:lnTo>
                  <a:pt x="704850" y="0"/>
                </a:lnTo>
                <a:lnTo>
                  <a:pt x="28575" y="1905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Forma livre 20"/>
          <p:cNvSpPr/>
          <p:nvPr/>
        </p:nvSpPr>
        <p:spPr>
          <a:xfrm>
            <a:off x="5934075" y="5529268"/>
            <a:ext cx="538162" cy="923925"/>
          </a:xfrm>
          <a:custGeom>
            <a:avLst/>
            <a:gdLst>
              <a:gd name="connsiteX0" fmla="*/ 33337 w 538162"/>
              <a:gd name="connsiteY0" fmla="*/ 76200 h 923925"/>
              <a:gd name="connsiteX1" fmla="*/ 0 w 538162"/>
              <a:gd name="connsiteY1" fmla="*/ 895350 h 923925"/>
              <a:gd name="connsiteX2" fmla="*/ 485775 w 538162"/>
              <a:gd name="connsiteY2" fmla="*/ 923925 h 923925"/>
              <a:gd name="connsiteX3" fmla="*/ 538162 w 538162"/>
              <a:gd name="connsiteY3" fmla="*/ 66675 h 923925"/>
              <a:gd name="connsiteX4" fmla="*/ 404812 w 538162"/>
              <a:gd name="connsiteY4" fmla="*/ 0 h 923925"/>
              <a:gd name="connsiteX5" fmla="*/ 33337 w 538162"/>
              <a:gd name="connsiteY5" fmla="*/ 7620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8162" h="923925">
                <a:moveTo>
                  <a:pt x="33337" y="76200"/>
                </a:moveTo>
                <a:lnTo>
                  <a:pt x="0" y="895350"/>
                </a:lnTo>
                <a:lnTo>
                  <a:pt x="485775" y="923925"/>
                </a:lnTo>
                <a:lnTo>
                  <a:pt x="538162" y="66675"/>
                </a:lnTo>
                <a:lnTo>
                  <a:pt x="404812" y="0"/>
                </a:lnTo>
                <a:lnTo>
                  <a:pt x="33337" y="7620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2" name="CaixaDeTexto 21"/>
          <p:cNvSpPr txBox="1"/>
          <p:nvPr/>
        </p:nvSpPr>
        <p:spPr>
          <a:xfrm>
            <a:off x="4390973" y="4853017"/>
            <a:ext cx="1295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</a:rPr>
              <a:t>Área nova 2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3582739" y="6087026"/>
            <a:ext cx="12058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</a:rPr>
              <a:t>Área nova 1</a:t>
            </a:r>
            <a:endParaRPr lang="pt-BR" sz="1400" b="1" dirty="0">
              <a:solidFill>
                <a:schemeClr val="bg1"/>
              </a:solidFill>
            </a:endParaRPr>
          </a:p>
        </p:txBody>
      </p:sp>
      <p:sp>
        <p:nvSpPr>
          <p:cNvPr id="26" name="CaixaDeTexto 25"/>
          <p:cNvSpPr txBox="1"/>
          <p:nvPr/>
        </p:nvSpPr>
        <p:spPr>
          <a:xfrm>
            <a:off x="5014279" y="6143764"/>
            <a:ext cx="1125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</a:rPr>
              <a:t>Área nova 3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5860169" y="4853017"/>
            <a:ext cx="12241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 smtClean="0">
                <a:solidFill>
                  <a:schemeClr val="bg1"/>
                </a:solidFill>
              </a:rPr>
              <a:t>Área nova 4</a:t>
            </a:r>
          </a:p>
        </p:txBody>
      </p:sp>
      <p:cxnSp>
        <p:nvCxnSpPr>
          <p:cNvPr id="28" name="Conector reto 27"/>
          <p:cNvCxnSpPr/>
          <p:nvPr/>
        </p:nvCxnSpPr>
        <p:spPr>
          <a:xfrm flipH="1">
            <a:off x="4960143" y="5160794"/>
            <a:ext cx="78567" cy="86377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to 34"/>
          <p:cNvCxnSpPr>
            <a:stCxn id="27" idx="2"/>
          </p:cNvCxnSpPr>
          <p:nvPr/>
        </p:nvCxnSpPr>
        <p:spPr>
          <a:xfrm flipH="1">
            <a:off x="6203156" y="5160794"/>
            <a:ext cx="269081" cy="86377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orma livre 35"/>
          <p:cNvSpPr/>
          <p:nvPr/>
        </p:nvSpPr>
        <p:spPr>
          <a:xfrm>
            <a:off x="6437312" y="5599118"/>
            <a:ext cx="1600200" cy="946150"/>
          </a:xfrm>
          <a:custGeom>
            <a:avLst/>
            <a:gdLst>
              <a:gd name="connsiteX0" fmla="*/ 38100 w 1600200"/>
              <a:gd name="connsiteY0" fmla="*/ 0 h 946150"/>
              <a:gd name="connsiteX1" fmla="*/ 0 w 1600200"/>
              <a:gd name="connsiteY1" fmla="*/ 857250 h 946150"/>
              <a:gd name="connsiteX2" fmla="*/ 1574800 w 1600200"/>
              <a:gd name="connsiteY2" fmla="*/ 946150 h 946150"/>
              <a:gd name="connsiteX3" fmla="*/ 1600200 w 1600200"/>
              <a:gd name="connsiteY3" fmla="*/ 584200 h 946150"/>
              <a:gd name="connsiteX4" fmla="*/ 723900 w 1600200"/>
              <a:gd name="connsiteY4" fmla="*/ 317500 h 946150"/>
              <a:gd name="connsiteX5" fmla="*/ 38100 w 1600200"/>
              <a:gd name="connsiteY5" fmla="*/ 0 h 946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00200" h="946150">
                <a:moveTo>
                  <a:pt x="38100" y="0"/>
                </a:moveTo>
                <a:lnTo>
                  <a:pt x="0" y="857250"/>
                </a:lnTo>
                <a:lnTo>
                  <a:pt x="1574800" y="946150"/>
                </a:lnTo>
                <a:lnTo>
                  <a:pt x="1600200" y="584200"/>
                </a:lnTo>
                <a:lnTo>
                  <a:pt x="723900" y="317500"/>
                </a:lnTo>
                <a:lnTo>
                  <a:pt x="3810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37" name="CaixaDeTexto 36"/>
          <p:cNvSpPr txBox="1"/>
          <p:nvPr/>
        </p:nvSpPr>
        <p:spPr>
          <a:xfrm>
            <a:off x="6588794" y="6015018"/>
            <a:ext cx="1368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 smtClean="0">
                <a:solidFill>
                  <a:schemeClr val="bg1"/>
                </a:solidFill>
              </a:rPr>
              <a:t>Área nova de operação</a:t>
            </a:r>
            <a:endParaRPr lang="pt-BR" b="1" dirty="0">
              <a:solidFill>
                <a:schemeClr val="bg1"/>
              </a:solidFill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7" t="8837" r="34250" b="22598"/>
          <a:stretch/>
        </p:blipFill>
        <p:spPr bwMode="auto">
          <a:xfrm>
            <a:off x="5429256" y="1214422"/>
            <a:ext cx="3571900" cy="2571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" name="Forma livre 40"/>
          <p:cNvSpPr/>
          <p:nvPr/>
        </p:nvSpPr>
        <p:spPr>
          <a:xfrm>
            <a:off x="5644395" y="1313242"/>
            <a:ext cx="2774260" cy="587534"/>
          </a:xfrm>
          <a:custGeom>
            <a:avLst/>
            <a:gdLst>
              <a:gd name="connsiteX0" fmla="*/ 0 w 3038475"/>
              <a:gd name="connsiteY0" fmla="*/ 0 h 642937"/>
              <a:gd name="connsiteX1" fmla="*/ 38100 w 3038475"/>
              <a:gd name="connsiteY1" fmla="*/ 228600 h 642937"/>
              <a:gd name="connsiteX2" fmla="*/ 185738 w 3038475"/>
              <a:gd name="connsiteY2" fmla="*/ 242887 h 642937"/>
              <a:gd name="connsiteX3" fmla="*/ 161925 w 3038475"/>
              <a:gd name="connsiteY3" fmla="*/ 390525 h 642937"/>
              <a:gd name="connsiteX4" fmla="*/ 2981325 w 3038475"/>
              <a:gd name="connsiteY4" fmla="*/ 642937 h 642937"/>
              <a:gd name="connsiteX5" fmla="*/ 3038475 w 3038475"/>
              <a:gd name="connsiteY5" fmla="*/ 200025 h 642937"/>
              <a:gd name="connsiteX6" fmla="*/ 1871663 w 3038475"/>
              <a:gd name="connsiteY6" fmla="*/ 90487 h 642937"/>
              <a:gd name="connsiteX7" fmla="*/ 1843088 w 3038475"/>
              <a:gd name="connsiteY7" fmla="*/ 304800 h 642937"/>
              <a:gd name="connsiteX8" fmla="*/ 1619250 w 3038475"/>
              <a:gd name="connsiteY8" fmla="*/ 285750 h 642937"/>
              <a:gd name="connsiteX9" fmla="*/ 1643063 w 3038475"/>
              <a:gd name="connsiteY9" fmla="*/ 123825 h 642937"/>
              <a:gd name="connsiteX10" fmla="*/ 0 w 3038475"/>
              <a:gd name="connsiteY10" fmla="*/ 0 h 642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038475" h="642937">
                <a:moveTo>
                  <a:pt x="0" y="0"/>
                </a:moveTo>
                <a:lnTo>
                  <a:pt x="38100" y="228600"/>
                </a:lnTo>
                <a:lnTo>
                  <a:pt x="185738" y="242887"/>
                </a:lnTo>
                <a:lnTo>
                  <a:pt x="161925" y="390525"/>
                </a:lnTo>
                <a:lnTo>
                  <a:pt x="2981325" y="642937"/>
                </a:lnTo>
                <a:lnTo>
                  <a:pt x="3038475" y="200025"/>
                </a:lnTo>
                <a:lnTo>
                  <a:pt x="1871663" y="90487"/>
                </a:lnTo>
                <a:lnTo>
                  <a:pt x="1843088" y="304800"/>
                </a:lnTo>
                <a:lnTo>
                  <a:pt x="1619250" y="285750"/>
                </a:lnTo>
                <a:lnTo>
                  <a:pt x="1643063" y="12382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Forma livre 41"/>
          <p:cNvSpPr/>
          <p:nvPr/>
        </p:nvSpPr>
        <p:spPr>
          <a:xfrm>
            <a:off x="5931387" y="1818087"/>
            <a:ext cx="2395952" cy="844309"/>
          </a:xfrm>
          <a:custGeom>
            <a:avLst/>
            <a:gdLst>
              <a:gd name="connsiteX0" fmla="*/ 47625 w 2624138"/>
              <a:gd name="connsiteY0" fmla="*/ 0 h 923925"/>
              <a:gd name="connsiteX1" fmla="*/ 0 w 2624138"/>
              <a:gd name="connsiteY1" fmla="*/ 371475 h 923925"/>
              <a:gd name="connsiteX2" fmla="*/ 1547813 w 2624138"/>
              <a:gd name="connsiteY2" fmla="*/ 490537 h 923925"/>
              <a:gd name="connsiteX3" fmla="*/ 1514475 w 2624138"/>
              <a:gd name="connsiteY3" fmla="*/ 833437 h 923925"/>
              <a:gd name="connsiteX4" fmla="*/ 2586038 w 2624138"/>
              <a:gd name="connsiteY4" fmla="*/ 923925 h 923925"/>
              <a:gd name="connsiteX5" fmla="*/ 2624138 w 2624138"/>
              <a:gd name="connsiteY5" fmla="*/ 352425 h 923925"/>
              <a:gd name="connsiteX6" fmla="*/ 2514600 w 2624138"/>
              <a:gd name="connsiteY6" fmla="*/ 342900 h 923925"/>
              <a:gd name="connsiteX7" fmla="*/ 2524125 w 2624138"/>
              <a:gd name="connsiteY7" fmla="*/ 204787 h 923925"/>
              <a:gd name="connsiteX8" fmla="*/ 47625 w 2624138"/>
              <a:gd name="connsiteY8" fmla="*/ 0 h 923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4138" h="923925">
                <a:moveTo>
                  <a:pt x="47625" y="0"/>
                </a:moveTo>
                <a:lnTo>
                  <a:pt x="0" y="371475"/>
                </a:lnTo>
                <a:lnTo>
                  <a:pt x="1547813" y="490537"/>
                </a:lnTo>
                <a:lnTo>
                  <a:pt x="1514475" y="833437"/>
                </a:lnTo>
                <a:lnTo>
                  <a:pt x="2586038" y="923925"/>
                </a:lnTo>
                <a:lnTo>
                  <a:pt x="2624138" y="352425"/>
                </a:lnTo>
                <a:lnTo>
                  <a:pt x="2514600" y="342900"/>
                </a:lnTo>
                <a:lnTo>
                  <a:pt x="2524125" y="204787"/>
                </a:lnTo>
                <a:lnTo>
                  <a:pt x="47625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3" name="Forma livre 42"/>
          <p:cNvSpPr/>
          <p:nvPr/>
        </p:nvSpPr>
        <p:spPr>
          <a:xfrm>
            <a:off x="5931387" y="2170608"/>
            <a:ext cx="1408872" cy="578831"/>
          </a:xfrm>
          <a:custGeom>
            <a:avLst/>
            <a:gdLst>
              <a:gd name="connsiteX0" fmla="*/ 0 w 1543050"/>
              <a:gd name="connsiteY0" fmla="*/ 0 h 633413"/>
              <a:gd name="connsiteX1" fmla="*/ 166688 w 1543050"/>
              <a:gd name="connsiteY1" fmla="*/ 533400 h 633413"/>
              <a:gd name="connsiteX2" fmla="*/ 1500188 w 1543050"/>
              <a:gd name="connsiteY2" fmla="*/ 633413 h 633413"/>
              <a:gd name="connsiteX3" fmla="*/ 1543050 w 1543050"/>
              <a:gd name="connsiteY3" fmla="*/ 104775 h 633413"/>
              <a:gd name="connsiteX4" fmla="*/ 0 w 1543050"/>
              <a:gd name="connsiteY4" fmla="*/ 0 h 633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3050" h="633413">
                <a:moveTo>
                  <a:pt x="0" y="0"/>
                </a:moveTo>
                <a:lnTo>
                  <a:pt x="166688" y="533400"/>
                </a:lnTo>
                <a:lnTo>
                  <a:pt x="1500188" y="633413"/>
                </a:lnTo>
                <a:lnTo>
                  <a:pt x="1543050" y="1047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Forma livre 43"/>
          <p:cNvSpPr/>
          <p:nvPr/>
        </p:nvSpPr>
        <p:spPr>
          <a:xfrm>
            <a:off x="6096625" y="2584059"/>
            <a:ext cx="1930676" cy="961816"/>
          </a:xfrm>
          <a:custGeom>
            <a:avLst/>
            <a:gdLst>
              <a:gd name="connsiteX0" fmla="*/ 0 w 2114550"/>
              <a:gd name="connsiteY0" fmla="*/ 80962 h 1052512"/>
              <a:gd name="connsiteX1" fmla="*/ 80963 w 2114550"/>
              <a:gd name="connsiteY1" fmla="*/ 357187 h 1052512"/>
              <a:gd name="connsiteX2" fmla="*/ 1376363 w 2114550"/>
              <a:gd name="connsiteY2" fmla="*/ 442912 h 1052512"/>
              <a:gd name="connsiteX3" fmla="*/ 1309688 w 2114550"/>
              <a:gd name="connsiteY3" fmla="*/ 981075 h 1052512"/>
              <a:gd name="connsiteX4" fmla="*/ 2081213 w 2114550"/>
              <a:gd name="connsiteY4" fmla="*/ 1052512 h 1052512"/>
              <a:gd name="connsiteX5" fmla="*/ 2109788 w 2114550"/>
              <a:gd name="connsiteY5" fmla="*/ 819150 h 1052512"/>
              <a:gd name="connsiteX6" fmla="*/ 2047875 w 2114550"/>
              <a:gd name="connsiteY6" fmla="*/ 762000 h 1052512"/>
              <a:gd name="connsiteX7" fmla="*/ 2081213 w 2114550"/>
              <a:gd name="connsiteY7" fmla="*/ 528637 h 1052512"/>
              <a:gd name="connsiteX8" fmla="*/ 2047875 w 2114550"/>
              <a:gd name="connsiteY8" fmla="*/ 523875 h 1052512"/>
              <a:gd name="connsiteX9" fmla="*/ 2114550 w 2114550"/>
              <a:gd name="connsiteY9" fmla="*/ 66675 h 1052512"/>
              <a:gd name="connsiteX10" fmla="*/ 1343025 w 2114550"/>
              <a:gd name="connsiteY10" fmla="*/ 0 h 1052512"/>
              <a:gd name="connsiteX11" fmla="*/ 1323975 w 2114550"/>
              <a:gd name="connsiteY11" fmla="*/ 195262 h 1052512"/>
              <a:gd name="connsiteX12" fmla="*/ 0 w 2114550"/>
              <a:gd name="connsiteY12" fmla="*/ 80962 h 105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114550" h="1052512">
                <a:moveTo>
                  <a:pt x="0" y="80962"/>
                </a:moveTo>
                <a:lnTo>
                  <a:pt x="80963" y="357187"/>
                </a:lnTo>
                <a:lnTo>
                  <a:pt x="1376363" y="442912"/>
                </a:lnTo>
                <a:lnTo>
                  <a:pt x="1309688" y="981075"/>
                </a:lnTo>
                <a:lnTo>
                  <a:pt x="2081213" y="1052512"/>
                </a:lnTo>
                <a:lnTo>
                  <a:pt x="2109788" y="819150"/>
                </a:lnTo>
                <a:lnTo>
                  <a:pt x="2047875" y="762000"/>
                </a:lnTo>
                <a:lnTo>
                  <a:pt x="2081213" y="528637"/>
                </a:lnTo>
                <a:lnTo>
                  <a:pt x="2047875" y="523875"/>
                </a:lnTo>
                <a:lnTo>
                  <a:pt x="2114550" y="66675"/>
                </a:lnTo>
                <a:lnTo>
                  <a:pt x="1343025" y="0"/>
                </a:lnTo>
                <a:lnTo>
                  <a:pt x="1323975" y="195262"/>
                </a:lnTo>
                <a:lnTo>
                  <a:pt x="0" y="80962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Forma livre 50"/>
          <p:cNvSpPr/>
          <p:nvPr/>
        </p:nvSpPr>
        <p:spPr>
          <a:xfrm>
            <a:off x="7096593" y="1571581"/>
            <a:ext cx="28575" cy="207169"/>
          </a:xfrm>
          <a:custGeom>
            <a:avLst/>
            <a:gdLst>
              <a:gd name="connsiteX0" fmla="*/ 28575 w 28575"/>
              <a:gd name="connsiteY0" fmla="*/ 0 h 207169"/>
              <a:gd name="connsiteX1" fmla="*/ 0 w 28575"/>
              <a:gd name="connsiteY1" fmla="*/ 207169 h 207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8575" h="207169">
                <a:moveTo>
                  <a:pt x="28575" y="0"/>
                </a:moveTo>
                <a:lnTo>
                  <a:pt x="0" y="207169"/>
                </a:lnTo>
              </a:path>
            </a:pathLst>
          </a:custGeom>
          <a:ln w="19050">
            <a:solidFill>
              <a:schemeClr val="tx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Forma livre 51"/>
          <p:cNvSpPr/>
          <p:nvPr/>
        </p:nvSpPr>
        <p:spPr>
          <a:xfrm>
            <a:off x="7121595" y="1928802"/>
            <a:ext cx="40481" cy="328612"/>
          </a:xfrm>
          <a:custGeom>
            <a:avLst/>
            <a:gdLst>
              <a:gd name="connsiteX0" fmla="*/ 40482 w 40482"/>
              <a:gd name="connsiteY0" fmla="*/ 0 h 333375"/>
              <a:gd name="connsiteX1" fmla="*/ 0 w 40482"/>
              <a:gd name="connsiteY1" fmla="*/ 333375 h 333375"/>
              <a:gd name="connsiteX0" fmla="*/ 26194 w 26194"/>
              <a:gd name="connsiteY0" fmla="*/ 0 h 328612"/>
              <a:gd name="connsiteX1" fmla="*/ 0 w 26194"/>
              <a:gd name="connsiteY1" fmla="*/ 328612 h 328612"/>
              <a:gd name="connsiteX0" fmla="*/ 40481 w 40481"/>
              <a:gd name="connsiteY0" fmla="*/ 0 h 328612"/>
              <a:gd name="connsiteX1" fmla="*/ 0 w 40481"/>
              <a:gd name="connsiteY1" fmla="*/ 328612 h 328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0481" h="328612">
                <a:moveTo>
                  <a:pt x="40481" y="0"/>
                </a:moveTo>
                <a:lnTo>
                  <a:pt x="0" y="328612"/>
                </a:lnTo>
              </a:path>
            </a:pathLst>
          </a:custGeom>
          <a:ln w="19050">
            <a:solidFill>
              <a:schemeClr val="tx2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3" name="Espaço Reservado para Conteúdo 9"/>
          <p:cNvSpPr txBox="1">
            <a:spLocks/>
          </p:cNvSpPr>
          <p:nvPr/>
        </p:nvSpPr>
        <p:spPr>
          <a:xfrm>
            <a:off x="642910" y="1125883"/>
            <a:ext cx="4429156" cy="21602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Transferência </a:t>
            </a:r>
            <a:r>
              <a:rPr lang="pt-BR" sz="2400" dirty="0" smtClean="0">
                <a:ea typeface="MS PGothic" pitchFamily="34" charset="-128"/>
                <a:sym typeface="Helvetica" pitchFamily="34" charset="0"/>
              </a:rPr>
              <a:t>da o</a:t>
            </a: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peração de combustíveis de Belém para Vila do Conde.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Redução do risco de acidentes</a:t>
            </a:r>
          </a:p>
          <a:p>
            <a:pPr lvl="1">
              <a:spcBef>
                <a:spcPct val="20000"/>
              </a:spcBef>
              <a:buFont typeface="Wingdings" pitchFamily="2" charset="2"/>
              <a:buChar char="Ø"/>
            </a:pPr>
            <a:r>
              <a:rPr lang="pt-BR" sz="2000" dirty="0" smtClean="0">
                <a:latin typeface="+mj-lt"/>
                <a:ea typeface="MS PGothic" pitchFamily="34" charset="-128"/>
                <a:sym typeface="Helvetica" pitchFamily="34" charset="0"/>
              </a:rPr>
              <a:t>Eficiência: menor custo operacional devido a calado maior</a:t>
            </a:r>
          </a:p>
        </p:txBody>
      </p:sp>
      <p:sp>
        <p:nvSpPr>
          <p:cNvPr id="54" name="Retângulo 53"/>
          <p:cNvSpPr/>
          <p:nvPr/>
        </p:nvSpPr>
        <p:spPr>
          <a:xfrm>
            <a:off x="6942769" y="785794"/>
            <a:ext cx="9153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u="sng" dirty="0" smtClean="0">
                <a:ea typeface="MS PGothic" pitchFamily="34" charset="-128"/>
                <a:sym typeface="Helvetica" pitchFamily="34" charset="0"/>
              </a:rPr>
              <a:t>Antes</a:t>
            </a:r>
            <a:endParaRPr lang="pt-BR" sz="2400" b="1" u="sng" dirty="0"/>
          </a:p>
        </p:txBody>
      </p:sp>
      <p:sp>
        <p:nvSpPr>
          <p:cNvPr id="55" name="Retângulo 54"/>
          <p:cNvSpPr/>
          <p:nvPr/>
        </p:nvSpPr>
        <p:spPr>
          <a:xfrm>
            <a:off x="1643042" y="5072074"/>
            <a:ext cx="10631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400" b="1" u="sng" dirty="0" smtClean="0">
                <a:ea typeface="MS PGothic" pitchFamily="34" charset="-128"/>
                <a:sym typeface="Helvetica" pitchFamily="34" charset="0"/>
              </a:rPr>
              <a:t>Depois</a:t>
            </a:r>
            <a:endParaRPr lang="pt-BR" sz="2400" b="1" u="sng" dirty="0"/>
          </a:p>
        </p:txBody>
      </p:sp>
    </p:spTree>
    <p:extLst>
      <p:ext uri="{BB962C8B-B14F-4D97-AF65-F5344CB8AC3E}">
        <p14:creationId xmlns:p14="http://schemas.microsoft.com/office/powerpoint/2010/main" val="1952887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aixaDeTexto 43"/>
          <p:cNvSpPr txBox="1"/>
          <p:nvPr/>
        </p:nvSpPr>
        <p:spPr>
          <a:xfrm>
            <a:off x="714348" y="908720"/>
            <a:ext cx="8252289" cy="5370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pt-BR" sz="2400" b="1" dirty="0" smtClean="0">
                <a:latin typeface="+mj-lt"/>
                <a:ea typeface="MS PGothic" pitchFamily="34" charset="-128"/>
                <a:sym typeface="Helvetica" pitchFamily="34" charset="0"/>
              </a:rPr>
              <a:t>Investimento total no Programa: R$ 54,6 bi</a:t>
            </a:r>
          </a:p>
          <a:p>
            <a:endParaRPr lang="pt-BR" sz="2400" b="1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spcAft>
                <a:spcPts val="600"/>
              </a:spcAft>
            </a:pPr>
            <a:r>
              <a:rPr lang="pt-BR" sz="2400" b="1" dirty="0" smtClean="0">
                <a:latin typeface="+mj-lt"/>
                <a:ea typeface="MS PGothic" pitchFamily="34" charset="-128"/>
                <a:sym typeface="Helvetica" pitchFamily="34" charset="0"/>
              </a:rPr>
              <a:t>Primeiros resultados do Programa: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 </a:t>
            </a:r>
            <a:r>
              <a:rPr lang="pt-BR" sz="2400" dirty="0" err="1" smtClean="0">
                <a:latin typeface="+mj-lt"/>
                <a:ea typeface="MS PGothic" pitchFamily="34" charset="-128"/>
                <a:sym typeface="Helvetica" pitchFamily="34" charset="0"/>
              </a:rPr>
              <a:t>TUPs</a:t>
            </a: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 em processo de autorização – investimentos de até R$ 10 bi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endParaRPr lang="pt-BR" sz="2400" b="1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 Editais e estudos dos arrendamentos de Santos e Pará entregues ao TCU em 11/10 – investimentos de R$ 5,7 bi</a:t>
            </a: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endParaRPr lang="pt-BR" sz="2400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 Editais e estudos dos arrendamentos de Paranaguá, Bahia e São Sebastião em consulta pública desde a semana passada – investimentos de R$ 4,7 bi</a:t>
            </a:r>
          </a:p>
          <a:p>
            <a:pPr marL="285750" indent="-285750">
              <a:spcAft>
                <a:spcPts val="600"/>
              </a:spcAft>
              <a:buFont typeface="Wingdings" pitchFamily="2" charset="2"/>
              <a:buChar char="Ø"/>
            </a:pPr>
            <a:endParaRPr lang="pt-BR" sz="2000" dirty="0" smtClean="0">
              <a:latin typeface="Calibri" pitchFamily="34" charset="0"/>
            </a:endParaRPr>
          </a:p>
        </p:txBody>
      </p:sp>
      <p:sp>
        <p:nvSpPr>
          <p:cNvPr id="3" name="Espaço Reservado para Número de Slide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C1AF86CB-E071-4B8A-84B9-ACB35CB1715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14348" y="107921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latin typeface="Calibri" pitchFamily="34" charset="0"/>
                <a:ea typeface="ＭＳ Ｐゴシック" pitchFamily="34" charset="-128"/>
              </a:rPr>
              <a:t>PIL Portos</a:t>
            </a:r>
            <a:endParaRPr lang="pt-BR" sz="3200" b="1" dirty="0" smtClean="0">
              <a:solidFill>
                <a:schemeClr val="tx2"/>
              </a:solidFill>
            </a:endParaRPr>
          </a:p>
        </p:txBody>
      </p:sp>
      <p:cxnSp>
        <p:nvCxnSpPr>
          <p:cNvPr id="11" name="Conector reto 10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7951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1015262" y="1124744"/>
            <a:ext cx="835292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6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Aeroportos</a:t>
            </a:r>
          </a:p>
          <a:p>
            <a:r>
              <a:rPr lang="pt-BR" sz="4000" dirty="0">
                <a:solidFill>
                  <a:schemeClr val="bg1"/>
                </a:solidFill>
                <a:ea typeface="ＭＳ Ｐゴシック" pitchFamily="34" charset="-128"/>
                <a:cs typeface="Helvetica" pitchFamily="34" charset="0"/>
              </a:rPr>
              <a:t>Concessões GIG e CNF</a:t>
            </a:r>
          </a:p>
          <a:p>
            <a:pPr lvl="0"/>
            <a:r>
              <a:rPr lang="pt-BR" sz="4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 </a:t>
            </a:r>
          </a:p>
          <a:p>
            <a:pPr lvl="0"/>
            <a:endParaRPr lang="pt-BR" sz="4000" b="1" dirty="0" smtClean="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71226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tângulo 4"/>
          <p:cNvSpPr>
            <a:spLocks noChangeArrowheads="1"/>
          </p:cNvSpPr>
          <p:nvPr/>
        </p:nvSpPr>
        <p:spPr bwMode="auto">
          <a:xfrm>
            <a:off x="611188" y="149151"/>
            <a:ext cx="829151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3400" b="1" dirty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Por que esses aeroportos? </a:t>
            </a:r>
          </a:p>
        </p:txBody>
      </p:sp>
      <p:sp>
        <p:nvSpPr>
          <p:cNvPr id="16387" name="Retângulo 1"/>
          <p:cNvSpPr>
            <a:spLocks noChangeArrowheads="1"/>
          </p:cNvSpPr>
          <p:nvPr/>
        </p:nvSpPr>
        <p:spPr bwMode="auto">
          <a:xfrm>
            <a:off x="4143372" y="1643050"/>
            <a:ext cx="461846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spcAft>
                <a:spcPts val="600"/>
              </a:spcAft>
            </a:pP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Crescimento médio anual de passageiros 2002-2011: 12% </a:t>
            </a:r>
            <a:r>
              <a:rPr lang="pt-BR" sz="2000" dirty="0" err="1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a.a.</a:t>
            </a:r>
            <a:endParaRPr lang="pt-BR" sz="2000" dirty="0">
              <a:solidFill>
                <a:schemeClr val="accent5">
                  <a:lumMod val="50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355421"/>
              </p:ext>
            </p:extLst>
          </p:nvPr>
        </p:nvGraphicFramePr>
        <p:xfrm>
          <a:off x="611188" y="981075"/>
          <a:ext cx="2532052" cy="3582547"/>
        </p:xfrm>
        <a:graphic>
          <a:graphicData uri="http://schemas.openxmlformats.org/drawingml/2006/table">
            <a:tbl>
              <a:tblPr/>
              <a:tblGrid>
                <a:gridCol w="1031854"/>
                <a:gridCol w="1500198"/>
              </a:tblGrid>
              <a:tr h="31705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no</a:t>
                      </a:r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Passageiros</a:t>
                      </a:r>
                      <a:r>
                        <a:rPr lang="pt-BR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 Transportados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3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37.202.749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4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1.213.400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7969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5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49.113.706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6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4.011.56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7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9.675.24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8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3.521.828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09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69.725.525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0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5.519.484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11</a:t>
                      </a:r>
                    </a:p>
                  </a:txBody>
                  <a:tcPr marL="0" marR="0" marT="0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9.941.497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Retângulo 5"/>
          <p:cNvSpPr/>
          <p:nvPr/>
        </p:nvSpPr>
        <p:spPr>
          <a:xfrm>
            <a:off x="500034" y="6121619"/>
            <a:ext cx="4572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pt-BR" sz="14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Fonte: ANAC</a:t>
            </a:r>
            <a:endParaRPr lang="pt-BR" sz="1400" dirty="0">
              <a:solidFill>
                <a:schemeClr val="accent5">
                  <a:lumMod val="50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7" name="Gráfico 6"/>
          <p:cNvGraphicFramePr/>
          <p:nvPr/>
        </p:nvGraphicFramePr>
        <p:xfrm>
          <a:off x="3857620" y="307181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543482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tângulo 4"/>
          <p:cNvSpPr>
            <a:spLocks noChangeArrowheads="1"/>
          </p:cNvSpPr>
          <p:nvPr/>
        </p:nvSpPr>
        <p:spPr bwMode="auto">
          <a:xfrm>
            <a:off x="611188" y="149151"/>
            <a:ext cx="829151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3400" b="1" dirty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Por que esses aeroportos? </a:t>
            </a:r>
          </a:p>
        </p:txBody>
      </p:sp>
      <p:sp>
        <p:nvSpPr>
          <p:cNvPr id="16387" name="Retângulo 1"/>
          <p:cNvSpPr>
            <a:spLocks noChangeArrowheads="1"/>
          </p:cNvSpPr>
          <p:nvPr/>
        </p:nvSpPr>
        <p:spPr bwMode="auto">
          <a:xfrm>
            <a:off x="190930" y="5013176"/>
            <a:ext cx="8856662" cy="149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1200"/>
              </a:spcBef>
              <a:spcAft>
                <a:spcPts val="600"/>
              </a:spcAft>
            </a:pPr>
            <a:r>
              <a:rPr lang="pt-BR" sz="2000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São os aeroportos que mais necessitam de investimentos no país. </a:t>
            </a: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/>
            </a:r>
            <a:b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</a:b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Juntos </a:t>
            </a:r>
            <a:r>
              <a:rPr lang="pt-BR" sz="2000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correspondem por cerca de 68% dos investimentos </a:t>
            </a: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/>
            </a:r>
            <a:b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</a:b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necessários </a:t>
            </a:r>
            <a:r>
              <a:rPr lang="pt-BR" sz="2000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no sistema aeroportuário nacional até </a:t>
            </a:r>
            <a:r>
              <a:rPr lang="pt-BR" sz="2000" dirty="0" smtClean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2030. </a:t>
            </a:r>
            <a:endParaRPr lang="pt-BR" sz="2000" dirty="0">
              <a:solidFill>
                <a:schemeClr val="accent5">
                  <a:lumMod val="50000"/>
                </a:schemeClr>
              </a:solidFill>
              <a:latin typeface="Calibri" pitchFamily="34" charset="0"/>
            </a:endParaRPr>
          </a:p>
          <a:p>
            <a:pPr algn="ctr">
              <a:spcBef>
                <a:spcPts val="1200"/>
              </a:spcBef>
              <a:spcAft>
                <a:spcPts val="600"/>
              </a:spcAft>
            </a:pPr>
            <a:r>
              <a:rPr lang="pt-BR" sz="1400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Fonte: Estudo do Setor de Transporte Aéreo do Brasil (</a:t>
            </a:r>
            <a:r>
              <a:rPr lang="pt-BR" sz="1400" dirty="0" err="1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McKinsey</a:t>
            </a:r>
            <a:r>
              <a:rPr lang="pt-BR" sz="1400" dirty="0">
                <a:solidFill>
                  <a:schemeClr val="accent5">
                    <a:lumMod val="50000"/>
                  </a:schemeClr>
                </a:solidFill>
                <a:latin typeface="Calibri" pitchFamily="34" charset="0"/>
              </a:rPr>
              <a:t>) </a:t>
            </a: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7355421"/>
              </p:ext>
            </p:extLst>
          </p:nvPr>
        </p:nvGraphicFramePr>
        <p:xfrm>
          <a:off x="611188" y="981075"/>
          <a:ext cx="3621087" cy="3743325"/>
        </p:xfrm>
        <a:graphic>
          <a:graphicData uri="http://schemas.openxmlformats.org/drawingml/2006/table">
            <a:tbl>
              <a:tblPr/>
              <a:tblGrid>
                <a:gridCol w="354186"/>
                <a:gridCol w="1610513"/>
                <a:gridCol w="1656388"/>
              </a:tblGrid>
              <a:tr h="317058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6" marR="9526" marT="95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Aeroportos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/>
                        </a:rPr>
                        <a:t>CAPEX (milhões)</a:t>
                      </a:r>
                    </a:p>
                  </a:txBody>
                  <a:tcPr marL="9526" marR="9526" marT="9522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Viracopos/SP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R$ 7.000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Guarulhos/SP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R$ 6.700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796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Brasília/DF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3">
                              <a:lumMod val="75000"/>
                            </a:schemeClr>
                          </a:solidFill>
                          <a:effectLst/>
                          <a:latin typeface="Calibri"/>
                        </a:rPr>
                        <a:t>R$ 2.670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6"/>
                          </a:solidFill>
                          <a:effectLst/>
                          <a:latin typeface="Calibri"/>
                        </a:rPr>
                        <a:t>Galeão/RJ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chemeClr val="accent6"/>
                          </a:solidFill>
                          <a:effectLst/>
                          <a:latin typeface="Calibri"/>
                        </a:rPr>
                        <a:t>R$ 2.168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lvador/BA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$ 1.518 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chemeClr val="accent6"/>
                          </a:solidFill>
                          <a:effectLst/>
                          <a:latin typeface="Calibri"/>
                        </a:rPr>
                        <a:t>Confins/MG</a:t>
                      </a:r>
                      <a:endParaRPr lang="pt-BR" sz="1600" b="0" i="0" u="none" strike="noStrike" dirty="0">
                        <a:solidFill>
                          <a:schemeClr val="accent6"/>
                        </a:solidFill>
                        <a:effectLst/>
                        <a:latin typeface="Calibri"/>
                      </a:endParaRP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0" i="0" u="none" strike="noStrike" dirty="0" smtClean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R$ 1.192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orto Alegre/RS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$ 1.152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cife/PE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$ 938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rtaleza/CE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$ 902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4092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9526" marR="9526" marT="9522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itória/ES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$ 804 </a:t>
                      </a:r>
                    </a:p>
                  </a:txBody>
                  <a:tcPr marL="9526" marR="9526" marT="9522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8803132"/>
              </p:ext>
            </p:extLst>
          </p:nvPr>
        </p:nvGraphicFramePr>
        <p:xfrm>
          <a:off x="4607719" y="1340768"/>
          <a:ext cx="4536281" cy="2850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543482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tângulo 4"/>
          <p:cNvSpPr>
            <a:spLocks noChangeArrowheads="1"/>
          </p:cNvSpPr>
          <p:nvPr/>
        </p:nvSpPr>
        <p:spPr bwMode="auto">
          <a:xfrm>
            <a:off x="199459" y="1124744"/>
            <a:ext cx="8353052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028700" lvl="1" indent="-571500" algn="just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 smtClean="0">
                <a:latin typeface="Calibri" pitchFamily="34" charset="0"/>
              </a:rPr>
              <a:t>Leilão simultâneo em </a:t>
            </a:r>
            <a:r>
              <a:rPr lang="pt-BR" sz="2000" b="1" dirty="0">
                <a:latin typeface="Calibri" pitchFamily="34" charset="0"/>
              </a:rPr>
              <a:t>duas etapas: </a:t>
            </a:r>
            <a:r>
              <a:rPr lang="pt-BR" sz="2000" dirty="0" smtClean="0">
                <a:latin typeface="Calibri" pitchFamily="34" charset="0"/>
              </a:rPr>
              <a:t>proposta </a:t>
            </a:r>
            <a:r>
              <a:rPr lang="pt-BR" sz="2000" dirty="0">
                <a:latin typeface="Calibri" pitchFamily="34" charset="0"/>
              </a:rPr>
              <a:t>fechada (envelopes</a:t>
            </a:r>
            <a:r>
              <a:rPr lang="pt-BR" sz="2000" dirty="0" smtClean="0">
                <a:latin typeface="Calibri" pitchFamily="34" charset="0"/>
              </a:rPr>
              <a:t>) + leilão </a:t>
            </a:r>
            <a:r>
              <a:rPr lang="pt-BR" sz="2000" dirty="0">
                <a:latin typeface="Calibri" pitchFamily="34" charset="0"/>
              </a:rPr>
              <a:t>aberto entre os 3 primeiros proponentes (e todos aqueles situados a 10% da primeira proposta) </a:t>
            </a:r>
          </a:p>
          <a:p>
            <a:pPr marL="1028700" lvl="1" indent="-571500" algn="just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>
                <a:latin typeface="Calibri" pitchFamily="34" charset="0"/>
              </a:rPr>
              <a:t>Critério de Seleção: </a:t>
            </a:r>
            <a:r>
              <a:rPr lang="pt-BR" sz="2000" dirty="0">
                <a:latin typeface="Calibri" pitchFamily="34" charset="0"/>
              </a:rPr>
              <a:t>maior outorga</a:t>
            </a:r>
          </a:p>
          <a:p>
            <a:pPr marL="1028700" lvl="1" indent="-571500" algn="just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>
                <a:latin typeface="Calibri" pitchFamily="34" charset="0"/>
              </a:rPr>
              <a:t>Além </a:t>
            </a:r>
            <a:r>
              <a:rPr lang="pt-BR" sz="2000" dirty="0" smtClean="0">
                <a:latin typeface="Calibri" pitchFamily="34" charset="0"/>
              </a:rPr>
              <a:t>da </a:t>
            </a:r>
            <a:r>
              <a:rPr lang="pt-BR" sz="2000" dirty="0">
                <a:latin typeface="Calibri" pitchFamily="34" charset="0"/>
              </a:rPr>
              <a:t>outorga </a:t>
            </a:r>
            <a:r>
              <a:rPr lang="pt-BR" sz="2000" dirty="0" smtClean="0">
                <a:latin typeface="Calibri" pitchFamily="34" charset="0"/>
              </a:rPr>
              <a:t>fixa (anual), contribuição </a:t>
            </a:r>
            <a:r>
              <a:rPr lang="pt-BR" sz="2000" dirty="0">
                <a:latin typeface="Calibri" pitchFamily="34" charset="0"/>
              </a:rPr>
              <a:t>variável sobre a receita </a:t>
            </a:r>
            <a:r>
              <a:rPr lang="pt-BR" sz="2000" dirty="0" smtClean="0">
                <a:latin typeface="Calibri" pitchFamily="34" charset="0"/>
              </a:rPr>
              <a:t>bruta</a:t>
            </a:r>
            <a:endParaRPr lang="pt-BR" sz="2000" dirty="0">
              <a:latin typeface="Calibri" pitchFamily="34" charset="0"/>
            </a:endParaRPr>
          </a:p>
          <a:p>
            <a:pPr marL="1028700" lvl="1" indent="-571500" algn="just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b="1" dirty="0">
                <a:latin typeface="Calibri" pitchFamily="34" charset="0"/>
              </a:rPr>
              <a:t>Subsídio cruzado com aeroportos menores: </a:t>
            </a:r>
            <a:r>
              <a:rPr lang="pt-BR" sz="2000" dirty="0" smtClean="0">
                <a:latin typeface="Calibri" pitchFamily="34" charset="0"/>
              </a:rPr>
              <a:t>valores </a:t>
            </a:r>
            <a:r>
              <a:rPr lang="pt-BR" sz="2000" dirty="0">
                <a:latin typeface="Calibri" pitchFamily="34" charset="0"/>
              </a:rPr>
              <a:t>de outorga destinados ao Fundo Nacional de Aviação Civil</a:t>
            </a:r>
          </a:p>
          <a:p>
            <a:pPr marL="1028700" lvl="1" indent="-571500" algn="just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000" dirty="0">
                <a:latin typeface="Calibri" pitchFamily="34" charset="0"/>
              </a:rPr>
              <a:t>Somente a outorga fixa anual de Brasília, Viracopos e Guarulhos gerará em torno de R$1,1 bilhão para serem utilizados em investimento no </a:t>
            </a:r>
            <a:r>
              <a:rPr lang="pt-BR" sz="2000" dirty="0" smtClean="0">
                <a:latin typeface="Calibri" pitchFamily="34" charset="0"/>
              </a:rPr>
              <a:t>sistema</a:t>
            </a:r>
            <a:endParaRPr lang="pt-BR" sz="2000" dirty="0">
              <a:latin typeface="Calibri" pitchFamily="34" charset="0"/>
            </a:endParaRPr>
          </a:p>
        </p:txBody>
      </p:sp>
      <p:sp>
        <p:nvSpPr>
          <p:cNvPr id="4" name="Retângulo 3"/>
          <p:cNvSpPr>
            <a:spLocks noChangeArrowheads="1"/>
          </p:cNvSpPr>
          <p:nvPr/>
        </p:nvSpPr>
        <p:spPr bwMode="auto">
          <a:xfrm>
            <a:off x="611188" y="221159"/>
            <a:ext cx="829151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3400" b="1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Principais Características Regulatórias</a:t>
            </a:r>
            <a:endParaRPr lang="pt-BR" sz="3400" b="1" dirty="0">
              <a:solidFill>
                <a:schemeClr val="accent5">
                  <a:lumMod val="75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982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tângulo 4"/>
          <p:cNvSpPr>
            <a:spLocks noChangeArrowheads="1"/>
          </p:cNvSpPr>
          <p:nvPr/>
        </p:nvSpPr>
        <p:spPr bwMode="auto">
          <a:xfrm>
            <a:off x="766803" y="1025514"/>
            <a:ext cx="95916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2800" b="1" dirty="0">
                <a:latin typeface="Calibri" pitchFamily="34" charset="0"/>
              </a:rPr>
              <a:t>O modelo societário foi mantido </a:t>
            </a:r>
          </a:p>
        </p:txBody>
      </p:sp>
      <p:cxnSp>
        <p:nvCxnSpPr>
          <p:cNvPr id="18435" name="AutoShape 6"/>
          <p:cNvCxnSpPr>
            <a:cxnSpLocks noChangeShapeType="1"/>
          </p:cNvCxnSpPr>
          <p:nvPr/>
        </p:nvCxnSpPr>
        <p:spPr bwMode="auto">
          <a:xfrm>
            <a:off x="3414713" y="2625725"/>
            <a:ext cx="6350" cy="766763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</p:cxnSp>
      <p:cxnSp>
        <p:nvCxnSpPr>
          <p:cNvPr id="18436" name="AutoShape 6"/>
          <p:cNvCxnSpPr>
            <a:cxnSpLocks noChangeShapeType="1"/>
          </p:cNvCxnSpPr>
          <p:nvPr/>
        </p:nvCxnSpPr>
        <p:spPr bwMode="auto">
          <a:xfrm>
            <a:off x="5170488" y="2632075"/>
            <a:ext cx="7937" cy="407988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sysDash"/>
            <a:round/>
            <a:headEnd/>
            <a:tailEnd/>
          </a:ln>
        </p:spPr>
      </p:cxnSp>
      <p:cxnSp>
        <p:nvCxnSpPr>
          <p:cNvPr id="18437" name="AutoShape 6"/>
          <p:cNvCxnSpPr>
            <a:cxnSpLocks noChangeShapeType="1"/>
          </p:cNvCxnSpPr>
          <p:nvPr/>
        </p:nvCxnSpPr>
        <p:spPr bwMode="auto">
          <a:xfrm>
            <a:off x="1624013" y="2636838"/>
            <a:ext cx="6350" cy="407987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sysDash"/>
            <a:round/>
            <a:headEnd/>
            <a:tailEnd/>
          </a:ln>
        </p:spPr>
      </p:cxnSp>
      <p:sp>
        <p:nvSpPr>
          <p:cNvPr id="15" name="Line 44"/>
          <p:cNvSpPr>
            <a:spLocks noChangeShapeType="1"/>
          </p:cNvSpPr>
          <p:nvPr/>
        </p:nvSpPr>
        <p:spPr bwMode="auto">
          <a:xfrm flipV="1">
            <a:off x="1624013" y="3040063"/>
            <a:ext cx="3554412" cy="0"/>
          </a:xfrm>
          <a:prstGeom prst="line">
            <a:avLst/>
          </a:prstGeom>
          <a:noFill/>
          <a:ln w="19050">
            <a:solidFill>
              <a:schemeClr val="accent5">
                <a:lumMod val="75000"/>
              </a:schemeClr>
            </a:solidFill>
            <a:prstDash val="sysDash"/>
            <a:round/>
            <a:headEnd/>
            <a:tailEnd/>
          </a:ln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black"/>
              </a:solidFill>
              <a:latin typeface="+mn-lt"/>
            </a:endParaRPr>
          </a:p>
        </p:txBody>
      </p:sp>
      <p:cxnSp>
        <p:nvCxnSpPr>
          <p:cNvPr id="18439" name="AutoShape 6"/>
          <p:cNvCxnSpPr>
            <a:cxnSpLocks noChangeShapeType="1"/>
          </p:cNvCxnSpPr>
          <p:nvPr/>
        </p:nvCxnSpPr>
        <p:spPr bwMode="auto">
          <a:xfrm>
            <a:off x="7361238" y="4014788"/>
            <a:ext cx="7937" cy="407987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</p:cxnSp>
      <p:cxnSp>
        <p:nvCxnSpPr>
          <p:cNvPr id="18440" name="AutoShape 6"/>
          <p:cNvCxnSpPr>
            <a:cxnSpLocks noChangeShapeType="1"/>
          </p:cNvCxnSpPr>
          <p:nvPr/>
        </p:nvCxnSpPr>
        <p:spPr bwMode="auto">
          <a:xfrm>
            <a:off x="3419475" y="4017963"/>
            <a:ext cx="6350" cy="407987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8" name="Line 44"/>
          <p:cNvSpPr>
            <a:spLocks noChangeShapeType="1"/>
          </p:cNvSpPr>
          <p:nvPr/>
        </p:nvSpPr>
        <p:spPr bwMode="auto">
          <a:xfrm>
            <a:off x="3419475" y="4422775"/>
            <a:ext cx="3949700" cy="3175"/>
          </a:xfrm>
          <a:prstGeom prst="line">
            <a:avLst/>
          </a:prstGeom>
          <a:noFill/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prstClr val="black"/>
              </a:solidFill>
              <a:latin typeface="+mn-lt"/>
            </a:endParaRPr>
          </a:p>
        </p:txBody>
      </p:sp>
      <p:cxnSp>
        <p:nvCxnSpPr>
          <p:cNvPr id="18442" name="AutoShape 6"/>
          <p:cNvCxnSpPr>
            <a:cxnSpLocks noChangeShapeType="1"/>
          </p:cNvCxnSpPr>
          <p:nvPr/>
        </p:nvCxnSpPr>
        <p:spPr bwMode="auto">
          <a:xfrm flipH="1">
            <a:off x="5270500" y="4437063"/>
            <a:ext cx="7938" cy="863600"/>
          </a:xfrm>
          <a:prstGeom prst="straightConnector1">
            <a:avLst/>
          </a:prstGeom>
          <a:noFill/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20" name="Rectangle 39"/>
          <p:cNvSpPr>
            <a:spLocks noChangeArrowheads="1"/>
          </p:cNvSpPr>
          <p:nvPr/>
        </p:nvSpPr>
        <p:spPr bwMode="auto">
          <a:xfrm>
            <a:off x="4500563" y="3625850"/>
            <a:ext cx="1766887" cy="30797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 cap="flat" cmpd="sng" algn="ctr">
            <a:noFill/>
            <a:prstDash val="solid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fontAlgn="auto">
              <a:spcBef>
                <a:spcPct val="50000"/>
              </a:spcBef>
              <a:spcAft>
                <a:spcPts val="0"/>
              </a:spcAft>
              <a:defRPr/>
            </a:pPr>
            <a:r>
              <a:rPr lang="pt-BR" sz="1400" b="1" kern="0">
                <a:solidFill>
                  <a:srgbClr val="1F497D"/>
                </a:solidFill>
                <a:latin typeface="+mn-lt"/>
              </a:rPr>
              <a:t>Acordo de Acionistas</a:t>
            </a:r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blackWhite">
          <a:xfrm>
            <a:off x="6659338" y="3429000"/>
            <a:ext cx="1441054" cy="719020"/>
          </a:xfrm>
          <a:prstGeom prst="rect">
            <a:avLst/>
          </a:prstGeom>
          <a:solidFill>
            <a:sysClr val="windowText" lastClr="000000">
              <a:lumMod val="50000"/>
              <a:lumOff val="50000"/>
            </a:sys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Infraero</a:t>
            </a:r>
          </a:p>
        </p:txBody>
      </p:sp>
      <p:sp>
        <p:nvSpPr>
          <p:cNvPr id="22" name="Rectangle 5"/>
          <p:cNvSpPr>
            <a:spLocks noChangeArrowheads="1"/>
          </p:cNvSpPr>
          <p:nvPr/>
        </p:nvSpPr>
        <p:spPr bwMode="blackWhite">
          <a:xfrm>
            <a:off x="4427090" y="1916832"/>
            <a:ext cx="1441054" cy="71902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+mn-lt"/>
              </a:rPr>
              <a:t>Empresa</a:t>
            </a:r>
          </a:p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C</a:t>
            </a:r>
            <a:endParaRPr lang="pt-BR" altLang="zh-CN" sz="1600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blackWhite">
          <a:xfrm>
            <a:off x="898698" y="1916832"/>
            <a:ext cx="1441054" cy="71902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Empresa</a:t>
            </a:r>
          </a:p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A</a:t>
            </a:r>
            <a:endParaRPr lang="pt-BR" altLang="zh-CN" sz="1600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blackWhite">
          <a:xfrm>
            <a:off x="2698004" y="1917892"/>
            <a:ext cx="1441054" cy="71902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+mn-lt"/>
              </a:rPr>
              <a:t>Empresa</a:t>
            </a:r>
          </a:p>
          <a:p>
            <a:pPr marL="447675" indent="-447675"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B</a:t>
            </a:r>
            <a:endParaRPr lang="pt-BR" altLang="zh-CN" sz="1600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blackWhite">
          <a:xfrm>
            <a:off x="2698898" y="3356992"/>
            <a:ext cx="1441054" cy="71902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Acionista Privado</a:t>
            </a:r>
          </a:p>
        </p:txBody>
      </p:sp>
      <p:sp>
        <p:nvSpPr>
          <p:cNvPr id="26" name="Rectangle 17"/>
          <p:cNvSpPr>
            <a:spLocks noChangeArrowheads="1"/>
          </p:cNvSpPr>
          <p:nvPr/>
        </p:nvSpPr>
        <p:spPr bwMode="blackWhite">
          <a:xfrm>
            <a:off x="4297789" y="5301208"/>
            <a:ext cx="1944215" cy="1008112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11955" tIns="21741" rIns="21741" bIns="21741" anchor="ctr">
            <a:flatTx/>
          </a:bodyPr>
          <a:lstStyle/>
          <a:p>
            <a:pPr algn="ctr" defTabSz="820738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zh-CN" sz="1600" b="1" kern="0">
                <a:solidFill>
                  <a:prstClr val="white"/>
                </a:solidFill>
                <a:latin typeface="Calibri"/>
              </a:rPr>
              <a:t>Concessionária</a:t>
            </a:r>
          </a:p>
        </p:txBody>
      </p:sp>
      <p:sp>
        <p:nvSpPr>
          <p:cNvPr id="27" name="TextBox 1"/>
          <p:cNvSpPr txBox="1"/>
          <p:nvPr/>
        </p:nvSpPr>
        <p:spPr>
          <a:xfrm>
            <a:off x="5926138" y="4292600"/>
            <a:ext cx="647700" cy="307975"/>
          </a:xfrm>
          <a:prstGeom prst="rect">
            <a:avLst/>
          </a:prstGeom>
          <a:solidFill>
            <a:sysClr val="window" lastClr="FFFFFF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>
                <a:solidFill>
                  <a:prstClr val="black"/>
                </a:solidFill>
                <a:latin typeface="+mn-lt"/>
              </a:rPr>
              <a:t>49%</a:t>
            </a:r>
          </a:p>
        </p:txBody>
      </p:sp>
      <p:sp>
        <p:nvSpPr>
          <p:cNvPr id="28" name="TextBox 20"/>
          <p:cNvSpPr txBox="1"/>
          <p:nvPr/>
        </p:nvSpPr>
        <p:spPr>
          <a:xfrm>
            <a:off x="3838575" y="4292600"/>
            <a:ext cx="669925" cy="307975"/>
          </a:xfrm>
          <a:prstGeom prst="rect">
            <a:avLst/>
          </a:prstGeom>
          <a:solidFill>
            <a:sysClr val="window" lastClr="FFFFFF"/>
          </a:solidFill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prstClr val="black"/>
                </a:solidFill>
                <a:latin typeface="+mn-lt"/>
              </a:rPr>
              <a:t>51%</a:t>
            </a:r>
          </a:p>
        </p:txBody>
      </p:sp>
      <p:sp>
        <p:nvSpPr>
          <p:cNvPr id="29" name="Retângulo 4"/>
          <p:cNvSpPr>
            <a:spLocks noChangeArrowheads="1"/>
          </p:cNvSpPr>
          <p:nvPr/>
        </p:nvSpPr>
        <p:spPr bwMode="auto">
          <a:xfrm>
            <a:off x="250825" y="188640"/>
            <a:ext cx="8785671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Galeão e Confins: </a:t>
            </a:r>
            <a:r>
              <a:rPr lang="pt-BR" sz="3600" b="1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premissas e resultados</a:t>
            </a:r>
            <a:endParaRPr lang="pt-BR" sz="3600" b="1" dirty="0">
              <a:solidFill>
                <a:schemeClr val="accent5">
                  <a:lumMod val="75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26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8708211"/>
              </p:ext>
            </p:extLst>
          </p:nvPr>
        </p:nvGraphicFramePr>
        <p:xfrm>
          <a:off x="899592" y="1344613"/>
          <a:ext cx="7848872" cy="2495013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24436"/>
                <a:gridCol w="3924436"/>
              </a:tblGrid>
              <a:tr h="370949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Categoria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Premissas da Modelagem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  <a:tr h="640268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Prazo da Concessão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25 anos para GIG</a:t>
                      </a:r>
                    </a:p>
                    <a:p>
                      <a:pPr algn="ctr"/>
                      <a:r>
                        <a:rPr lang="pt-BR" sz="1800" dirty="0" smtClean="0"/>
                        <a:t>30 anos para CNF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  <a:tr h="370949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Contribuição Variável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5%</a:t>
                      </a:r>
                      <a:r>
                        <a:rPr lang="pt-BR" sz="1800" baseline="0" dirty="0" smtClean="0"/>
                        <a:t> da Receita Bruta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  <a:tr h="370949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Fator X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0% para os 5 primeiros</a:t>
                      </a:r>
                      <a:r>
                        <a:rPr lang="pt-BR" sz="1800" baseline="0" dirty="0" smtClean="0"/>
                        <a:t> anos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  <a:tr h="370949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Fator Q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+2%</a:t>
                      </a:r>
                      <a:r>
                        <a:rPr lang="pt-BR" sz="1800" baseline="0" dirty="0" smtClean="0"/>
                        <a:t> a -7,5%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  <a:tr h="370949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WACC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6,46% (em valores</a:t>
                      </a:r>
                      <a:r>
                        <a:rPr lang="pt-BR" sz="1800" baseline="0" dirty="0" smtClean="0"/>
                        <a:t> reais)</a:t>
                      </a:r>
                      <a:endParaRPr lang="pt-BR" sz="1800" dirty="0"/>
                    </a:p>
                  </a:txBody>
                  <a:tcPr marL="91449" marR="91449" marT="45733" marB="45733"/>
                </a:tc>
              </a:tr>
            </a:tbl>
          </a:graphicData>
        </a:graphic>
      </p:graphicFrame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708049"/>
              </p:ext>
            </p:extLst>
          </p:nvPr>
        </p:nvGraphicFramePr>
        <p:xfrm>
          <a:off x="899593" y="4365625"/>
          <a:ext cx="7849119" cy="151769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16373"/>
                <a:gridCol w="2616373"/>
                <a:gridCol w="2616373"/>
              </a:tblGrid>
              <a:tr h="365703">
                <a:tc>
                  <a:txBody>
                    <a:bodyPr/>
                    <a:lstStyle/>
                    <a:p>
                      <a:pPr algn="ctr"/>
                      <a:endParaRPr lang="pt-BR" sz="1800" dirty="0"/>
                    </a:p>
                  </a:txBody>
                  <a:tcPr marL="91434" marR="91434" marT="45713" marB="4571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Valor Mínimo de Outorga</a:t>
                      </a:r>
                      <a:endParaRPr lang="pt-BR" sz="1800" dirty="0"/>
                    </a:p>
                  </a:txBody>
                  <a:tcPr marL="91434" marR="91434" marT="45713" marB="4571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err="1" smtClean="0"/>
                        <a:t>Capex</a:t>
                      </a:r>
                      <a:r>
                        <a:rPr lang="pt-BR" sz="1800" dirty="0" smtClean="0"/>
                        <a:t> Estimado </a:t>
                      </a:r>
                      <a:endParaRPr lang="pt-BR" sz="1800" dirty="0"/>
                    </a:p>
                  </a:txBody>
                  <a:tcPr marL="91434" marR="91434" marT="45713" marB="45713"/>
                </a:tc>
              </a:tr>
              <a:tr h="575974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Galeão</a:t>
                      </a:r>
                      <a:r>
                        <a:rPr lang="pt-BR" sz="1800" baseline="0" dirty="0" smtClean="0"/>
                        <a:t> 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R$ 4,8 bilhões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R$</a:t>
                      </a:r>
                      <a:r>
                        <a:rPr lang="pt-BR" sz="1800" baseline="0" dirty="0" smtClean="0"/>
                        <a:t> 5,7 bilhões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</a:tr>
              <a:tr h="575974"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Confins</a:t>
                      </a:r>
                      <a:r>
                        <a:rPr lang="pt-BR" sz="1800" baseline="0" dirty="0" smtClean="0"/>
                        <a:t> 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R$ 1,1 bilhão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800" dirty="0" smtClean="0"/>
                        <a:t>R$ 3,5</a:t>
                      </a:r>
                      <a:r>
                        <a:rPr lang="pt-BR" sz="1800" baseline="0" dirty="0" smtClean="0"/>
                        <a:t> bilhões</a:t>
                      </a:r>
                      <a:endParaRPr lang="pt-BR" sz="1800" dirty="0"/>
                    </a:p>
                  </a:txBody>
                  <a:tcPr marL="91434" marR="91434" marT="45713" marB="45713" anchor="ctr"/>
                </a:tc>
              </a:tr>
            </a:tbl>
          </a:graphicData>
        </a:graphic>
      </p:graphicFrame>
      <p:sp>
        <p:nvSpPr>
          <p:cNvPr id="5" name="Retângulo 4"/>
          <p:cNvSpPr>
            <a:spLocks noChangeArrowheads="1"/>
          </p:cNvSpPr>
          <p:nvPr/>
        </p:nvSpPr>
        <p:spPr bwMode="auto">
          <a:xfrm>
            <a:off x="250825" y="188640"/>
            <a:ext cx="8785671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pt-BR" sz="3600" b="1" dirty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Galeão e Confins: </a:t>
            </a:r>
            <a:r>
              <a:rPr lang="pt-BR" sz="3600" b="1" dirty="0" smtClean="0">
                <a:solidFill>
                  <a:schemeClr val="accent5">
                    <a:lumMod val="75000"/>
                  </a:schemeClr>
                </a:solidFill>
                <a:latin typeface="Calibri" pitchFamily="34" charset="0"/>
              </a:rPr>
              <a:t>premissas e resultados</a:t>
            </a:r>
            <a:endParaRPr lang="pt-BR" sz="3600" b="1" dirty="0">
              <a:solidFill>
                <a:schemeClr val="accent5">
                  <a:lumMod val="75000"/>
                </a:schemeClr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2233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1"/>
          <p:cNvGrpSpPr/>
          <p:nvPr/>
        </p:nvGrpSpPr>
        <p:grpSpPr>
          <a:xfrm>
            <a:off x="647565" y="1484784"/>
            <a:ext cx="7848871" cy="4392488"/>
            <a:chOff x="827585" y="1484784"/>
            <a:chExt cx="7848871" cy="4392488"/>
          </a:xfrm>
        </p:grpSpPr>
        <p:sp>
          <p:nvSpPr>
            <p:cNvPr id="9" name="Retângulo de cantos arredondados 8"/>
            <p:cNvSpPr/>
            <p:nvPr/>
          </p:nvSpPr>
          <p:spPr>
            <a:xfrm>
              <a:off x="827585" y="1484784"/>
              <a:ext cx="3514192" cy="4392488"/>
            </a:xfrm>
            <a:prstGeom prst="roundRect">
              <a:avLst>
                <a:gd name="adj" fmla="val 917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Aft>
                  <a:spcPts val="200"/>
                </a:spcAft>
              </a:pPr>
              <a:r>
                <a:rPr lang="pt-BR" sz="4800" dirty="0" smtClean="0">
                  <a:solidFill>
                    <a:schemeClr val="bg1"/>
                  </a:solidFill>
                </a:rPr>
                <a:t>PIL - 2012</a:t>
              </a:r>
            </a:p>
            <a:p>
              <a:pPr algn="ctr">
                <a:spcAft>
                  <a:spcPts val="200"/>
                </a:spcAft>
              </a:pPr>
              <a:r>
                <a:rPr lang="pt-BR" sz="2500" dirty="0">
                  <a:solidFill>
                    <a:schemeClr val="bg1"/>
                  </a:solidFill>
                </a:rPr>
                <a:t>P</a:t>
              </a:r>
              <a:r>
                <a:rPr lang="pt-BR" sz="2500" dirty="0" smtClean="0">
                  <a:solidFill>
                    <a:schemeClr val="bg1"/>
                  </a:solidFill>
                </a:rPr>
                <a:t>lanejamento integrado do sistema de transportes e articulação com as cadeias produtivas.</a:t>
              </a:r>
              <a:endParaRPr lang="pt-BR" sz="25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" name="Retângulo de cantos arredondados 4"/>
            <p:cNvSpPr/>
            <p:nvPr/>
          </p:nvSpPr>
          <p:spPr>
            <a:xfrm>
              <a:off x="4608714" y="1520788"/>
              <a:ext cx="4067742" cy="1404156"/>
            </a:xfrm>
            <a:prstGeom prst="roundRect">
              <a:avLst>
                <a:gd name="adj" fmla="val 9170"/>
              </a:avLst>
            </a:prstGeom>
            <a:solidFill>
              <a:srgbClr val="0020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Aft>
                  <a:spcPts val="200"/>
                </a:spcAft>
              </a:pPr>
              <a:r>
                <a:rPr lang="pt-BR" sz="3000" dirty="0" smtClean="0">
                  <a:solidFill>
                    <a:schemeClr val="bg1"/>
                  </a:solidFill>
                </a:rPr>
                <a:t>Investimento privado</a:t>
              </a:r>
              <a:endParaRPr lang="pt-BR" sz="55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Retângulo de cantos arredondados 15"/>
            <p:cNvSpPr/>
            <p:nvPr/>
          </p:nvSpPr>
          <p:spPr>
            <a:xfrm>
              <a:off x="4594515" y="2996952"/>
              <a:ext cx="4067742" cy="1404156"/>
            </a:xfrm>
            <a:prstGeom prst="roundRect">
              <a:avLst>
                <a:gd name="adj" fmla="val 9170"/>
              </a:avLst>
            </a:prstGeom>
            <a:solidFill>
              <a:srgbClr val="0020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Aft>
                  <a:spcPts val="200"/>
                </a:spcAft>
              </a:pPr>
              <a:r>
                <a:rPr lang="pt-BR" sz="3000" dirty="0" smtClean="0">
                  <a:solidFill>
                    <a:schemeClr val="bg1"/>
                  </a:solidFill>
                </a:rPr>
                <a:t>Qualidade dos serviços</a:t>
              </a:r>
              <a:endParaRPr lang="pt-BR" sz="55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Retângulo de cantos arredondados 16"/>
            <p:cNvSpPr/>
            <p:nvPr/>
          </p:nvSpPr>
          <p:spPr>
            <a:xfrm>
              <a:off x="4594515" y="4473116"/>
              <a:ext cx="4067742" cy="1404156"/>
            </a:xfrm>
            <a:prstGeom prst="roundRect">
              <a:avLst>
                <a:gd name="adj" fmla="val 9170"/>
              </a:avLst>
            </a:prstGeom>
            <a:solidFill>
              <a:srgbClr val="00206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Aft>
                  <a:spcPts val="200"/>
                </a:spcAft>
              </a:pPr>
              <a:r>
                <a:rPr lang="pt-BR" sz="3000" dirty="0" smtClean="0">
                  <a:solidFill>
                    <a:schemeClr val="bg1"/>
                  </a:solidFill>
                </a:rPr>
                <a:t>Diminuição do custo logístico</a:t>
              </a:r>
              <a:endParaRPr lang="pt-BR" sz="5500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8" name="CaixaDeTexto 7"/>
          <p:cNvSpPr txBox="1"/>
          <p:nvPr/>
        </p:nvSpPr>
        <p:spPr>
          <a:xfrm>
            <a:off x="0" y="107921"/>
            <a:ext cx="7920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rgbClr val="002060"/>
                </a:solidFill>
              </a:rPr>
              <a:t>Retomada dos investimentos</a:t>
            </a:r>
          </a:p>
        </p:txBody>
      </p:sp>
      <p:cxnSp>
        <p:nvCxnSpPr>
          <p:cNvPr id="10" name="Conector reto 9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504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o 3"/>
          <p:cNvGrpSpPr/>
          <p:nvPr/>
        </p:nvGrpSpPr>
        <p:grpSpPr>
          <a:xfrm>
            <a:off x="1259632" y="1553526"/>
            <a:ext cx="6624736" cy="4407755"/>
            <a:chOff x="1259632" y="1553526"/>
            <a:chExt cx="6624736" cy="4407755"/>
          </a:xfrm>
        </p:grpSpPr>
        <p:sp>
          <p:nvSpPr>
            <p:cNvPr id="8" name="Retângulo de cantos arredondados 7"/>
            <p:cNvSpPr/>
            <p:nvPr/>
          </p:nvSpPr>
          <p:spPr>
            <a:xfrm>
              <a:off x="1259632" y="1568793"/>
              <a:ext cx="3240360" cy="4392488"/>
            </a:xfrm>
            <a:prstGeom prst="roundRect">
              <a:avLst>
                <a:gd name="adj" fmla="val 9170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>
                <a:spcAft>
                  <a:spcPts val="200"/>
                </a:spcAft>
              </a:pPr>
              <a:r>
                <a:rPr lang="pt-BR" sz="3200" dirty="0" smtClean="0">
                  <a:solidFill>
                    <a:schemeClr val="bg1"/>
                  </a:solidFill>
                </a:rPr>
                <a:t>Investimento PRIVADO em transportes</a:t>
              </a:r>
            </a:p>
            <a:p>
              <a:pPr algn="ctr">
                <a:spcAft>
                  <a:spcPts val="200"/>
                </a:spcAft>
              </a:pPr>
              <a:r>
                <a:rPr lang="pt-BR" sz="7500" dirty="0" smtClean="0">
                  <a:solidFill>
                    <a:schemeClr val="bg1"/>
                  </a:solidFill>
                </a:rPr>
                <a:t>R$ 213</a:t>
              </a:r>
            </a:p>
            <a:p>
              <a:pPr algn="ctr">
                <a:spcAft>
                  <a:spcPts val="200"/>
                </a:spcAft>
              </a:pPr>
              <a:r>
                <a:rPr lang="pt-BR" sz="5500" dirty="0" smtClean="0">
                  <a:solidFill>
                    <a:schemeClr val="bg1"/>
                  </a:solidFill>
                </a:rPr>
                <a:t>bilhões</a:t>
              </a:r>
              <a:endParaRPr lang="pt-BR" sz="5500" b="1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3" name="Grupo 2"/>
            <p:cNvGrpSpPr/>
            <p:nvPr/>
          </p:nvGrpSpPr>
          <p:grpSpPr>
            <a:xfrm>
              <a:off x="5148064" y="1553526"/>
              <a:ext cx="2736304" cy="4407755"/>
              <a:chOff x="5148064" y="1553526"/>
              <a:chExt cx="2736304" cy="4407755"/>
            </a:xfrm>
          </p:grpSpPr>
          <p:sp>
            <p:nvSpPr>
              <p:cNvPr id="5" name="Retângulo de cantos arredondados 4"/>
              <p:cNvSpPr/>
              <p:nvPr/>
            </p:nvSpPr>
            <p:spPr>
              <a:xfrm>
                <a:off x="5148064" y="1553526"/>
                <a:ext cx="2736304" cy="1023379"/>
              </a:xfrm>
              <a:prstGeom prst="roundRect">
                <a:avLst>
                  <a:gd name="adj" fmla="val 9170"/>
                </a:avLst>
              </a:prstGeom>
              <a:solidFill>
                <a:srgbClr val="00206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pt-BR" sz="2800" dirty="0" smtClean="0">
                    <a:solidFill>
                      <a:schemeClr val="bg1"/>
                    </a:solidFill>
                  </a:rPr>
                  <a:t>Rodovias:</a:t>
                </a:r>
              </a:p>
              <a:p>
                <a:pPr algn="ctr">
                  <a:spcAft>
                    <a:spcPts val="200"/>
                  </a:spcAft>
                </a:pPr>
                <a:r>
                  <a:rPr lang="pt-BR" sz="2800" b="1" dirty="0" smtClean="0">
                    <a:solidFill>
                      <a:schemeClr val="bg1"/>
                    </a:solidFill>
                  </a:rPr>
                  <a:t>R$ 52 bi</a:t>
                </a:r>
              </a:p>
            </p:txBody>
          </p:sp>
          <p:sp>
            <p:nvSpPr>
              <p:cNvPr id="10" name="Retângulo de cantos arredondados 9"/>
              <p:cNvSpPr/>
              <p:nvPr/>
            </p:nvSpPr>
            <p:spPr>
              <a:xfrm>
                <a:off x="5148064" y="2681651"/>
                <a:ext cx="2736304" cy="1023379"/>
              </a:xfrm>
              <a:prstGeom prst="roundRect">
                <a:avLst>
                  <a:gd name="adj" fmla="val 9170"/>
                </a:avLst>
              </a:prstGeom>
              <a:solidFill>
                <a:srgbClr val="00206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pt-BR" sz="2800" dirty="0" smtClean="0">
                    <a:solidFill>
                      <a:schemeClr val="bg1"/>
                    </a:solidFill>
                  </a:rPr>
                  <a:t>Ferrovias:</a:t>
                </a:r>
              </a:p>
              <a:p>
                <a:pPr algn="ctr">
                  <a:spcAft>
                    <a:spcPts val="200"/>
                  </a:spcAft>
                </a:pPr>
                <a:r>
                  <a:rPr lang="pt-BR" sz="2800" b="1" dirty="0" smtClean="0">
                    <a:solidFill>
                      <a:schemeClr val="bg1"/>
                    </a:solidFill>
                  </a:rPr>
                  <a:t>R$ 99 bi</a:t>
                </a:r>
              </a:p>
            </p:txBody>
          </p:sp>
          <p:sp>
            <p:nvSpPr>
              <p:cNvPr id="11" name="Retângulo de cantos arredondados 10"/>
              <p:cNvSpPr/>
              <p:nvPr/>
            </p:nvSpPr>
            <p:spPr>
              <a:xfrm>
                <a:off x="5148064" y="3809776"/>
                <a:ext cx="2736304" cy="1023379"/>
              </a:xfrm>
              <a:prstGeom prst="roundRect">
                <a:avLst>
                  <a:gd name="adj" fmla="val 9170"/>
                </a:avLst>
              </a:prstGeom>
              <a:solidFill>
                <a:srgbClr val="00206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pt-BR" sz="2800" dirty="0" smtClean="0">
                    <a:solidFill>
                      <a:schemeClr val="bg1"/>
                    </a:solidFill>
                  </a:rPr>
                  <a:t>Portos:</a:t>
                </a:r>
              </a:p>
              <a:p>
                <a:pPr algn="ctr">
                  <a:spcAft>
                    <a:spcPts val="200"/>
                  </a:spcAft>
                </a:pPr>
                <a:r>
                  <a:rPr lang="pt-BR" sz="2800" b="1" dirty="0" smtClean="0">
                    <a:solidFill>
                      <a:schemeClr val="bg1"/>
                    </a:solidFill>
                  </a:rPr>
                  <a:t>R$ 54 bi</a:t>
                </a:r>
              </a:p>
            </p:txBody>
          </p:sp>
          <p:sp>
            <p:nvSpPr>
              <p:cNvPr id="12" name="Retângulo de cantos arredondados 11"/>
              <p:cNvSpPr/>
              <p:nvPr/>
            </p:nvSpPr>
            <p:spPr>
              <a:xfrm>
                <a:off x="5148064" y="4937902"/>
                <a:ext cx="2736304" cy="1023379"/>
              </a:xfrm>
              <a:prstGeom prst="roundRect">
                <a:avLst>
                  <a:gd name="adj" fmla="val 9170"/>
                </a:avLst>
              </a:prstGeom>
              <a:solidFill>
                <a:srgbClr val="00206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pt-BR" sz="2800" dirty="0" smtClean="0">
                    <a:solidFill>
                      <a:schemeClr val="bg1"/>
                    </a:solidFill>
                  </a:rPr>
                  <a:t>Aeroportos:</a:t>
                </a:r>
              </a:p>
              <a:p>
                <a:pPr algn="ctr">
                  <a:spcAft>
                    <a:spcPts val="200"/>
                  </a:spcAft>
                </a:pPr>
                <a:r>
                  <a:rPr lang="pt-BR" sz="2800" b="1" dirty="0" smtClean="0">
                    <a:solidFill>
                      <a:schemeClr val="bg1"/>
                    </a:solidFill>
                  </a:rPr>
                  <a:t>R$ 8,7 bi</a:t>
                </a:r>
              </a:p>
            </p:txBody>
          </p:sp>
        </p:grpSp>
      </p:grpSp>
      <p:sp>
        <p:nvSpPr>
          <p:cNvPr id="13" name="CaixaDeTexto 12"/>
          <p:cNvSpPr txBox="1"/>
          <p:nvPr/>
        </p:nvSpPr>
        <p:spPr>
          <a:xfrm>
            <a:off x="0" y="107921"/>
            <a:ext cx="7920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rgbClr val="002060"/>
                </a:solidFill>
              </a:rPr>
              <a:t>Retomada dos investimentos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116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ixaDeTexto 12"/>
          <p:cNvSpPr txBox="1"/>
          <p:nvPr/>
        </p:nvSpPr>
        <p:spPr>
          <a:xfrm>
            <a:off x="0" y="107921"/>
            <a:ext cx="7920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rgbClr val="002060"/>
                </a:solidFill>
              </a:rPr>
              <a:t>Efeitos esperados do PIL</a:t>
            </a:r>
          </a:p>
        </p:txBody>
      </p:sp>
      <p:cxnSp>
        <p:nvCxnSpPr>
          <p:cNvPr id="15" name="Conector reto 14"/>
          <p:cNvCxnSpPr/>
          <p:nvPr/>
        </p:nvCxnSpPr>
        <p:spPr>
          <a:xfrm>
            <a:off x="755576" y="692696"/>
            <a:ext cx="8388424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/>
          <p:nvPr/>
        </p:nvCxnSpPr>
        <p:spPr>
          <a:xfrm>
            <a:off x="0" y="692696"/>
            <a:ext cx="9144000" cy="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/>
          <p:cNvSpPr txBox="1"/>
          <p:nvPr/>
        </p:nvSpPr>
        <p:spPr>
          <a:xfrm>
            <a:off x="357158" y="1214984"/>
            <a:ext cx="8496944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Ø"/>
            </a:pPr>
            <a:r>
              <a:rPr lang="pt-BR" sz="2400" dirty="0" smtClean="0"/>
              <a:t>Construir logística integrada de transportes</a:t>
            </a:r>
          </a:p>
          <a:p>
            <a:pPr marL="285750" indent="-285750">
              <a:buFont typeface="Wingdings" pitchFamily="2" charset="2"/>
              <a:buChar char="Ø"/>
            </a:pPr>
            <a:endParaRPr lang="pt-BR" sz="2400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pt-BR" sz="2400" dirty="0" smtClean="0"/>
              <a:t>Reduzir custos de escoamento e aumentar a competitividade da produção nacional</a:t>
            </a:r>
          </a:p>
          <a:p>
            <a:pPr marL="285750" indent="-285750">
              <a:buFont typeface="Wingdings" pitchFamily="2" charset="2"/>
              <a:buChar char="Ø"/>
            </a:pPr>
            <a:endParaRPr lang="pt-BR" sz="2400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pt-BR" sz="2400" dirty="0" smtClean="0"/>
              <a:t>Atrair mais investimentos para produção</a:t>
            </a:r>
          </a:p>
          <a:p>
            <a:pPr marL="285750" indent="-285750">
              <a:buFont typeface="Wingdings" pitchFamily="2" charset="2"/>
              <a:buChar char="Ø"/>
            </a:pPr>
            <a:endParaRPr lang="pt-BR" sz="2400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pt-BR" sz="2400" dirty="0" smtClean="0"/>
              <a:t>Aumentar a participação do investimento privado em </a:t>
            </a:r>
            <a:r>
              <a:rPr lang="pt-BR" sz="2400" dirty="0" err="1" smtClean="0"/>
              <a:t>infraestrutura</a:t>
            </a:r>
            <a:endParaRPr lang="pt-BR" sz="2400" dirty="0" smtClean="0"/>
          </a:p>
          <a:p>
            <a:pPr marL="285750" indent="-285750">
              <a:buFont typeface="Wingdings" pitchFamily="2" charset="2"/>
              <a:buChar char="Ø"/>
            </a:pPr>
            <a:endParaRPr lang="pt-BR" sz="2400" dirty="0" smtClean="0"/>
          </a:p>
          <a:p>
            <a:pPr marL="285750" indent="-285750">
              <a:buFont typeface="Wingdings" pitchFamily="2" charset="2"/>
              <a:buChar char="Ø"/>
            </a:pPr>
            <a:r>
              <a:rPr lang="pt-BR" sz="2400" dirty="0" smtClean="0"/>
              <a:t>Aumentar participação dos investimentos no PIB</a:t>
            </a:r>
          </a:p>
          <a:p>
            <a:pPr marL="285750" indent="-285750">
              <a:buFont typeface="Wingdings" pitchFamily="2" charset="2"/>
              <a:buChar char="Ø"/>
            </a:pPr>
            <a:endParaRPr lang="pt-BR" sz="2400" dirty="0" smtClean="0"/>
          </a:p>
          <a:p>
            <a:pPr marL="285750" indent="-285750"/>
            <a:r>
              <a:rPr lang="pt-BR" sz="2400" b="1" dirty="0" smtClean="0"/>
              <a:t>	</a:t>
            </a:r>
            <a:endParaRPr lang="pt-BR" sz="2400" dirty="0" smtClean="0"/>
          </a:p>
        </p:txBody>
      </p:sp>
    </p:spTree>
    <p:extLst>
      <p:ext uri="{BB962C8B-B14F-4D97-AF65-F5344CB8AC3E}">
        <p14:creationId xmlns:p14="http://schemas.microsoft.com/office/powerpoint/2010/main" val="49116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1015262" y="1124744"/>
            <a:ext cx="835292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pt-BR" sz="6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Rodovias</a:t>
            </a:r>
            <a:r>
              <a:rPr lang="pt-BR" sz="4000" b="1" dirty="0" smtClean="0">
                <a:solidFill>
                  <a:schemeClr val="bg1"/>
                </a:solidFill>
                <a:latin typeface="Calibri" pitchFamily="34" charset="0"/>
                <a:ea typeface="ＭＳ Ｐゴシック" pitchFamily="34" charset="-128"/>
              </a:rPr>
              <a:t> </a:t>
            </a:r>
          </a:p>
          <a:p>
            <a:pPr lvl="0"/>
            <a:endParaRPr lang="pt-BR" sz="4000" b="1" dirty="0" smtClean="0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933885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7" name="Grupo 87"/>
          <p:cNvGrpSpPr/>
          <p:nvPr/>
        </p:nvGrpSpPr>
        <p:grpSpPr>
          <a:xfrm>
            <a:off x="323850" y="188914"/>
            <a:ext cx="6392863" cy="6624637"/>
            <a:chOff x="323850" y="188913"/>
            <a:chExt cx="6392863" cy="6624637"/>
          </a:xfrm>
        </p:grpSpPr>
        <p:pic>
          <p:nvPicPr>
            <p:cNvPr id="958" name="Imagem 1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850" y="188913"/>
              <a:ext cx="6392863" cy="6624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9" name="Freeform 223"/>
            <p:cNvSpPr>
              <a:spLocks noChangeAspect="1"/>
            </p:cNvSpPr>
            <p:nvPr/>
          </p:nvSpPr>
          <p:spPr>
            <a:xfrm rot="21245836">
              <a:off x="6242781" y="1969472"/>
              <a:ext cx="374425" cy="923621"/>
            </a:xfrm>
            <a:custGeom>
              <a:avLst/>
              <a:gdLst>
                <a:gd name="connsiteX0" fmla="*/ 243080 w 319960"/>
                <a:gd name="connsiteY0" fmla="*/ 102 h 724002"/>
                <a:gd name="connsiteX1" fmla="*/ 262130 w 319960"/>
                <a:gd name="connsiteY1" fmla="*/ 23914 h 724002"/>
                <a:gd name="connsiteX2" fmla="*/ 271655 w 319960"/>
                <a:gd name="connsiteY2" fmla="*/ 38202 h 724002"/>
                <a:gd name="connsiteX3" fmla="*/ 285943 w 319960"/>
                <a:gd name="connsiteY3" fmla="*/ 42964 h 724002"/>
                <a:gd name="connsiteX4" fmla="*/ 300230 w 319960"/>
                <a:gd name="connsiteY4" fmla="*/ 85827 h 724002"/>
                <a:gd name="connsiteX5" fmla="*/ 309755 w 319960"/>
                <a:gd name="connsiteY5" fmla="*/ 123927 h 724002"/>
                <a:gd name="connsiteX6" fmla="*/ 314518 w 319960"/>
                <a:gd name="connsiteY6" fmla="*/ 138214 h 724002"/>
                <a:gd name="connsiteX7" fmla="*/ 314518 w 319960"/>
                <a:gd name="connsiteY7" fmla="*/ 347764 h 724002"/>
                <a:gd name="connsiteX8" fmla="*/ 304993 w 319960"/>
                <a:gd name="connsiteY8" fmla="*/ 376339 h 724002"/>
                <a:gd name="connsiteX9" fmla="*/ 295468 w 319960"/>
                <a:gd name="connsiteY9" fmla="*/ 404914 h 724002"/>
                <a:gd name="connsiteX10" fmla="*/ 290705 w 319960"/>
                <a:gd name="connsiteY10" fmla="*/ 428727 h 724002"/>
                <a:gd name="connsiteX11" fmla="*/ 271655 w 319960"/>
                <a:gd name="connsiteY11" fmla="*/ 471589 h 724002"/>
                <a:gd name="connsiteX12" fmla="*/ 257368 w 319960"/>
                <a:gd name="connsiteY12" fmla="*/ 500164 h 724002"/>
                <a:gd name="connsiteX13" fmla="*/ 243080 w 319960"/>
                <a:gd name="connsiteY13" fmla="*/ 509689 h 724002"/>
                <a:gd name="connsiteX14" fmla="*/ 209743 w 319960"/>
                <a:gd name="connsiteY14" fmla="*/ 552552 h 724002"/>
                <a:gd name="connsiteX15" fmla="*/ 181168 w 319960"/>
                <a:gd name="connsiteY15" fmla="*/ 571602 h 724002"/>
                <a:gd name="connsiteX16" fmla="*/ 162118 w 319960"/>
                <a:gd name="connsiteY16" fmla="*/ 590652 h 724002"/>
                <a:gd name="connsiteX17" fmla="*/ 152593 w 319960"/>
                <a:gd name="connsiteY17" fmla="*/ 604939 h 724002"/>
                <a:gd name="connsiteX18" fmla="*/ 138305 w 319960"/>
                <a:gd name="connsiteY18" fmla="*/ 619227 h 724002"/>
                <a:gd name="connsiteX19" fmla="*/ 114493 w 319960"/>
                <a:gd name="connsiteY19" fmla="*/ 643039 h 724002"/>
                <a:gd name="connsiteX20" fmla="*/ 104968 w 319960"/>
                <a:gd name="connsiteY20" fmla="*/ 657327 h 724002"/>
                <a:gd name="connsiteX21" fmla="*/ 76393 w 319960"/>
                <a:gd name="connsiteY21" fmla="*/ 676377 h 724002"/>
                <a:gd name="connsiteX22" fmla="*/ 66868 w 319960"/>
                <a:gd name="connsiteY22" fmla="*/ 690664 h 724002"/>
                <a:gd name="connsiteX23" fmla="*/ 38293 w 319960"/>
                <a:gd name="connsiteY23" fmla="*/ 709714 h 724002"/>
                <a:gd name="connsiteX24" fmla="*/ 9718 w 319960"/>
                <a:gd name="connsiteY24" fmla="*/ 724002 h 724002"/>
                <a:gd name="connsiteX25" fmla="*/ 193 w 319960"/>
                <a:gd name="connsiteY25" fmla="*/ 709714 h 724002"/>
                <a:gd name="connsiteX26" fmla="*/ 24005 w 319960"/>
                <a:gd name="connsiteY26" fmla="*/ 647802 h 724002"/>
                <a:gd name="connsiteX27" fmla="*/ 43055 w 319960"/>
                <a:gd name="connsiteY27" fmla="*/ 638277 h 724002"/>
                <a:gd name="connsiteX28" fmla="*/ 76393 w 319960"/>
                <a:gd name="connsiteY28" fmla="*/ 604939 h 724002"/>
                <a:gd name="connsiteX29" fmla="*/ 100205 w 319960"/>
                <a:gd name="connsiteY29" fmla="*/ 576364 h 724002"/>
                <a:gd name="connsiteX30" fmla="*/ 128780 w 319960"/>
                <a:gd name="connsiteY30" fmla="*/ 552552 h 724002"/>
                <a:gd name="connsiteX31" fmla="*/ 143068 w 319960"/>
                <a:gd name="connsiteY31" fmla="*/ 523977 h 724002"/>
                <a:gd name="connsiteX32" fmla="*/ 152593 w 319960"/>
                <a:gd name="connsiteY32" fmla="*/ 509689 h 724002"/>
                <a:gd name="connsiteX33" fmla="*/ 157355 w 319960"/>
                <a:gd name="connsiteY33" fmla="*/ 485877 h 724002"/>
                <a:gd name="connsiteX34" fmla="*/ 166880 w 319960"/>
                <a:gd name="connsiteY34" fmla="*/ 443014 h 724002"/>
                <a:gd name="connsiteX35" fmla="*/ 185930 w 319960"/>
                <a:gd name="connsiteY35" fmla="*/ 414439 h 724002"/>
                <a:gd name="connsiteX36" fmla="*/ 195455 w 319960"/>
                <a:gd name="connsiteY36" fmla="*/ 400152 h 724002"/>
                <a:gd name="connsiteX37" fmla="*/ 204980 w 319960"/>
                <a:gd name="connsiteY37" fmla="*/ 371577 h 724002"/>
                <a:gd name="connsiteX38" fmla="*/ 247843 w 319960"/>
                <a:gd name="connsiteY38" fmla="*/ 362052 h 724002"/>
                <a:gd name="connsiteX39" fmla="*/ 238318 w 319960"/>
                <a:gd name="connsiteY39" fmla="*/ 309664 h 724002"/>
                <a:gd name="connsiteX40" fmla="*/ 228793 w 319960"/>
                <a:gd name="connsiteY40" fmla="*/ 295377 h 724002"/>
                <a:gd name="connsiteX41" fmla="*/ 233555 w 319960"/>
                <a:gd name="connsiteY41" fmla="*/ 262039 h 724002"/>
                <a:gd name="connsiteX42" fmla="*/ 243080 w 319960"/>
                <a:gd name="connsiteY42" fmla="*/ 247752 h 724002"/>
                <a:gd name="connsiteX43" fmla="*/ 252605 w 319960"/>
                <a:gd name="connsiteY43" fmla="*/ 133452 h 724002"/>
                <a:gd name="connsiteX44" fmla="*/ 257368 w 319960"/>
                <a:gd name="connsiteY44" fmla="*/ 119164 h 724002"/>
                <a:gd name="connsiteX45" fmla="*/ 252605 w 319960"/>
                <a:gd name="connsiteY45" fmla="*/ 57252 h 724002"/>
                <a:gd name="connsiteX46" fmla="*/ 238318 w 319960"/>
                <a:gd name="connsiteY46" fmla="*/ 47727 h 724002"/>
                <a:gd name="connsiteX47" fmla="*/ 233555 w 319960"/>
                <a:gd name="connsiteY47" fmla="*/ 33439 h 724002"/>
                <a:gd name="connsiteX48" fmla="*/ 243080 w 319960"/>
                <a:gd name="connsiteY48" fmla="*/ 102 h 7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19960" h="724002">
                  <a:moveTo>
                    <a:pt x="243080" y="102"/>
                  </a:moveTo>
                  <a:cubicBezTo>
                    <a:pt x="247842" y="-1485"/>
                    <a:pt x="256031" y="15782"/>
                    <a:pt x="262130" y="23914"/>
                  </a:cubicBezTo>
                  <a:cubicBezTo>
                    <a:pt x="265564" y="28493"/>
                    <a:pt x="267185" y="34626"/>
                    <a:pt x="271655" y="38202"/>
                  </a:cubicBezTo>
                  <a:cubicBezTo>
                    <a:pt x="275575" y="41338"/>
                    <a:pt x="281180" y="41377"/>
                    <a:pt x="285943" y="42964"/>
                  </a:cubicBezTo>
                  <a:lnTo>
                    <a:pt x="300230" y="85827"/>
                  </a:lnTo>
                  <a:cubicBezTo>
                    <a:pt x="304369" y="98246"/>
                    <a:pt x="306580" y="111227"/>
                    <a:pt x="309755" y="123927"/>
                  </a:cubicBezTo>
                  <a:cubicBezTo>
                    <a:pt x="310973" y="128797"/>
                    <a:pt x="312930" y="133452"/>
                    <a:pt x="314518" y="138214"/>
                  </a:cubicBezTo>
                  <a:cubicBezTo>
                    <a:pt x="319723" y="226706"/>
                    <a:pt x="323574" y="248150"/>
                    <a:pt x="314518" y="347764"/>
                  </a:cubicBezTo>
                  <a:cubicBezTo>
                    <a:pt x="313609" y="357763"/>
                    <a:pt x="308168" y="366814"/>
                    <a:pt x="304993" y="376339"/>
                  </a:cubicBezTo>
                  <a:lnTo>
                    <a:pt x="295468" y="404914"/>
                  </a:lnTo>
                  <a:cubicBezTo>
                    <a:pt x="292908" y="412594"/>
                    <a:pt x="292835" y="420917"/>
                    <a:pt x="290705" y="428727"/>
                  </a:cubicBezTo>
                  <a:cubicBezTo>
                    <a:pt x="282857" y="457501"/>
                    <a:pt x="284761" y="451930"/>
                    <a:pt x="271655" y="471589"/>
                  </a:cubicBezTo>
                  <a:cubicBezTo>
                    <a:pt x="267782" y="483210"/>
                    <a:pt x="266601" y="490931"/>
                    <a:pt x="257368" y="500164"/>
                  </a:cubicBezTo>
                  <a:cubicBezTo>
                    <a:pt x="253320" y="504211"/>
                    <a:pt x="247843" y="506514"/>
                    <a:pt x="243080" y="509689"/>
                  </a:cubicBezTo>
                  <a:cubicBezTo>
                    <a:pt x="234059" y="536756"/>
                    <a:pt x="241868" y="520427"/>
                    <a:pt x="209743" y="552552"/>
                  </a:cubicBezTo>
                  <a:cubicBezTo>
                    <a:pt x="201648" y="560647"/>
                    <a:pt x="181168" y="571602"/>
                    <a:pt x="181168" y="571602"/>
                  </a:cubicBezTo>
                  <a:cubicBezTo>
                    <a:pt x="170776" y="602774"/>
                    <a:pt x="185209" y="572179"/>
                    <a:pt x="162118" y="590652"/>
                  </a:cubicBezTo>
                  <a:cubicBezTo>
                    <a:pt x="157649" y="594228"/>
                    <a:pt x="156257" y="600542"/>
                    <a:pt x="152593" y="604939"/>
                  </a:cubicBezTo>
                  <a:cubicBezTo>
                    <a:pt x="148281" y="610113"/>
                    <a:pt x="142617" y="614053"/>
                    <a:pt x="138305" y="619227"/>
                  </a:cubicBezTo>
                  <a:cubicBezTo>
                    <a:pt x="118461" y="643039"/>
                    <a:pt x="140686" y="625576"/>
                    <a:pt x="114493" y="643039"/>
                  </a:cubicBezTo>
                  <a:cubicBezTo>
                    <a:pt x="111318" y="647802"/>
                    <a:pt x="109276" y="653558"/>
                    <a:pt x="104968" y="657327"/>
                  </a:cubicBezTo>
                  <a:cubicBezTo>
                    <a:pt x="96353" y="664865"/>
                    <a:pt x="76393" y="676377"/>
                    <a:pt x="76393" y="676377"/>
                  </a:cubicBezTo>
                  <a:cubicBezTo>
                    <a:pt x="73218" y="681139"/>
                    <a:pt x="71176" y="686895"/>
                    <a:pt x="66868" y="690664"/>
                  </a:cubicBezTo>
                  <a:cubicBezTo>
                    <a:pt x="58253" y="698202"/>
                    <a:pt x="47818" y="703364"/>
                    <a:pt x="38293" y="709714"/>
                  </a:cubicBezTo>
                  <a:cubicBezTo>
                    <a:pt x="19829" y="722023"/>
                    <a:pt x="29434" y="717429"/>
                    <a:pt x="9718" y="724002"/>
                  </a:cubicBezTo>
                  <a:cubicBezTo>
                    <a:pt x="6543" y="719239"/>
                    <a:pt x="763" y="715410"/>
                    <a:pt x="193" y="709714"/>
                  </a:cubicBezTo>
                  <a:cubicBezTo>
                    <a:pt x="-1397" y="693815"/>
                    <a:pt x="6857" y="656376"/>
                    <a:pt x="24005" y="647802"/>
                  </a:cubicBezTo>
                  <a:lnTo>
                    <a:pt x="43055" y="638277"/>
                  </a:lnTo>
                  <a:cubicBezTo>
                    <a:pt x="64890" y="605525"/>
                    <a:pt x="51245" y="613322"/>
                    <a:pt x="76393" y="604939"/>
                  </a:cubicBezTo>
                  <a:cubicBezTo>
                    <a:pt x="85757" y="590893"/>
                    <a:pt x="86456" y="587821"/>
                    <a:pt x="100205" y="576364"/>
                  </a:cubicBezTo>
                  <a:cubicBezTo>
                    <a:pt x="120640" y="559334"/>
                    <a:pt x="109806" y="575321"/>
                    <a:pt x="128780" y="552552"/>
                  </a:cubicBezTo>
                  <a:cubicBezTo>
                    <a:pt x="145839" y="532081"/>
                    <a:pt x="132329" y="545454"/>
                    <a:pt x="143068" y="523977"/>
                  </a:cubicBezTo>
                  <a:cubicBezTo>
                    <a:pt x="145628" y="518857"/>
                    <a:pt x="149418" y="514452"/>
                    <a:pt x="152593" y="509689"/>
                  </a:cubicBezTo>
                  <a:cubicBezTo>
                    <a:pt x="154180" y="501752"/>
                    <a:pt x="155907" y="493841"/>
                    <a:pt x="157355" y="485877"/>
                  </a:cubicBezTo>
                  <a:cubicBezTo>
                    <a:pt x="158821" y="477816"/>
                    <a:pt x="161208" y="453224"/>
                    <a:pt x="166880" y="443014"/>
                  </a:cubicBezTo>
                  <a:cubicBezTo>
                    <a:pt x="172439" y="433007"/>
                    <a:pt x="179580" y="423964"/>
                    <a:pt x="185930" y="414439"/>
                  </a:cubicBezTo>
                  <a:cubicBezTo>
                    <a:pt x="189105" y="409677"/>
                    <a:pt x="193645" y="405582"/>
                    <a:pt x="195455" y="400152"/>
                  </a:cubicBezTo>
                  <a:cubicBezTo>
                    <a:pt x="198630" y="390627"/>
                    <a:pt x="195076" y="373228"/>
                    <a:pt x="204980" y="371577"/>
                  </a:cubicBezTo>
                  <a:cubicBezTo>
                    <a:pt x="238507" y="365989"/>
                    <a:pt x="224394" y="369867"/>
                    <a:pt x="247843" y="362052"/>
                  </a:cubicBezTo>
                  <a:cubicBezTo>
                    <a:pt x="246202" y="348926"/>
                    <a:pt x="245658" y="324344"/>
                    <a:pt x="238318" y="309664"/>
                  </a:cubicBezTo>
                  <a:cubicBezTo>
                    <a:pt x="235758" y="304545"/>
                    <a:pt x="231968" y="300139"/>
                    <a:pt x="228793" y="295377"/>
                  </a:cubicBezTo>
                  <a:cubicBezTo>
                    <a:pt x="230380" y="284264"/>
                    <a:pt x="230329" y="272791"/>
                    <a:pt x="233555" y="262039"/>
                  </a:cubicBezTo>
                  <a:cubicBezTo>
                    <a:pt x="235200" y="256557"/>
                    <a:pt x="241881" y="253349"/>
                    <a:pt x="243080" y="247752"/>
                  </a:cubicBezTo>
                  <a:cubicBezTo>
                    <a:pt x="244871" y="239396"/>
                    <a:pt x="252219" y="136538"/>
                    <a:pt x="252605" y="133452"/>
                  </a:cubicBezTo>
                  <a:cubicBezTo>
                    <a:pt x="253228" y="128470"/>
                    <a:pt x="255780" y="123927"/>
                    <a:pt x="257368" y="119164"/>
                  </a:cubicBezTo>
                  <a:cubicBezTo>
                    <a:pt x="255780" y="98527"/>
                    <a:pt x="257938" y="77251"/>
                    <a:pt x="252605" y="57252"/>
                  </a:cubicBezTo>
                  <a:cubicBezTo>
                    <a:pt x="251130" y="51722"/>
                    <a:pt x="241894" y="52196"/>
                    <a:pt x="238318" y="47727"/>
                  </a:cubicBezTo>
                  <a:cubicBezTo>
                    <a:pt x="235182" y="43807"/>
                    <a:pt x="235143" y="38202"/>
                    <a:pt x="233555" y="33439"/>
                  </a:cubicBezTo>
                  <a:cubicBezTo>
                    <a:pt x="239441" y="15785"/>
                    <a:pt x="238318" y="1689"/>
                    <a:pt x="243080" y="102"/>
                  </a:cubicBezTo>
                  <a:close/>
                </a:path>
              </a:pathLst>
            </a:custGeom>
            <a:solidFill>
              <a:srgbClr val="666699">
                <a:alpha val="5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960" name="Grupo 1"/>
            <p:cNvGrpSpPr/>
            <p:nvPr/>
          </p:nvGrpSpPr>
          <p:grpSpPr>
            <a:xfrm>
              <a:off x="2534735" y="3196742"/>
              <a:ext cx="2220145" cy="1858587"/>
              <a:chOff x="2534735" y="3196742"/>
              <a:chExt cx="2220145" cy="1858587"/>
            </a:xfrm>
            <a:solidFill>
              <a:schemeClr val="bg1">
                <a:lumMod val="85000"/>
                <a:alpha val="50000"/>
              </a:schemeClr>
            </a:solidFill>
          </p:grpSpPr>
          <p:sp>
            <p:nvSpPr>
              <p:cNvPr id="1077" name="Forma livre 350"/>
              <p:cNvSpPr/>
              <p:nvPr/>
            </p:nvSpPr>
            <p:spPr>
              <a:xfrm>
                <a:off x="3101645" y="3825850"/>
                <a:ext cx="1653235" cy="1229479"/>
              </a:xfrm>
              <a:custGeom>
                <a:avLst/>
                <a:gdLst>
                  <a:gd name="connsiteX0" fmla="*/ 972921 w 1653235"/>
                  <a:gd name="connsiteY0" fmla="*/ 1177747 h 1229479"/>
                  <a:gd name="connsiteX1" fmla="*/ 907085 w 1653235"/>
                  <a:gd name="connsiteY1" fmla="*/ 1155801 h 1229479"/>
                  <a:gd name="connsiteX2" fmla="*/ 892454 w 1653235"/>
                  <a:gd name="connsiteY2" fmla="*/ 1133856 h 1229479"/>
                  <a:gd name="connsiteX3" fmla="*/ 885139 w 1653235"/>
                  <a:gd name="connsiteY3" fmla="*/ 1111910 h 1229479"/>
                  <a:gd name="connsiteX4" fmla="*/ 877824 w 1653235"/>
                  <a:gd name="connsiteY4" fmla="*/ 1024128 h 1229479"/>
                  <a:gd name="connsiteX5" fmla="*/ 863193 w 1653235"/>
                  <a:gd name="connsiteY5" fmla="*/ 1009497 h 1229479"/>
                  <a:gd name="connsiteX6" fmla="*/ 848563 w 1653235"/>
                  <a:gd name="connsiteY6" fmla="*/ 987552 h 1229479"/>
                  <a:gd name="connsiteX7" fmla="*/ 797357 w 1653235"/>
                  <a:gd name="connsiteY7" fmla="*/ 994867 h 1229479"/>
                  <a:gd name="connsiteX8" fmla="*/ 790041 w 1653235"/>
                  <a:gd name="connsiteY8" fmla="*/ 1024128 h 1229479"/>
                  <a:gd name="connsiteX9" fmla="*/ 782726 w 1653235"/>
                  <a:gd name="connsiteY9" fmla="*/ 1075334 h 1229479"/>
                  <a:gd name="connsiteX10" fmla="*/ 768096 w 1653235"/>
                  <a:gd name="connsiteY10" fmla="*/ 1119225 h 1229479"/>
                  <a:gd name="connsiteX11" fmla="*/ 760781 w 1653235"/>
                  <a:gd name="connsiteY11" fmla="*/ 1185062 h 1229479"/>
                  <a:gd name="connsiteX12" fmla="*/ 753465 w 1653235"/>
                  <a:gd name="connsiteY12" fmla="*/ 1207008 h 1229479"/>
                  <a:gd name="connsiteX13" fmla="*/ 731520 w 1653235"/>
                  <a:gd name="connsiteY13" fmla="*/ 1221638 h 1229479"/>
                  <a:gd name="connsiteX14" fmla="*/ 614477 w 1653235"/>
                  <a:gd name="connsiteY14" fmla="*/ 1214323 h 1229479"/>
                  <a:gd name="connsiteX15" fmla="*/ 592531 w 1653235"/>
                  <a:gd name="connsiteY15" fmla="*/ 1207008 h 1229479"/>
                  <a:gd name="connsiteX16" fmla="*/ 526694 w 1653235"/>
                  <a:gd name="connsiteY16" fmla="*/ 1214323 h 1229479"/>
                  <a:gd name="connsiteX17" fmla="*/ 416966 w 1653235"/>
                  <a:gd name="connsiteY17" fmla="*/ 1221638 h 1229479"/>
                  <a:gd name="connsiteX18" fmla="*/ 409651 w 1653235"/>
                  <a:gd name="connsiteY18" fmla="*/ 1199692 h 1229479"/>
                  <a:gd name="connsiteX19" fmla="*/ 402336 w 1653235"/>
                  <a:gd name="connsiteY19" fmla="*/ 1111910 h 1229479"/>
                  <a:gd name="connsiteX20" fmla="*/ 336499 w 1653235"/>
                  <a:gd name="connsiteY20" fmla="*/ 1119225 h 1229479"/>
                  <a:gd name="connsiteX21" fmla="*/ 314553 w 1653235"/>
                  <a:gd name="connsiteY21" fmla="*/ 1126540 h 1229479"/>
                  <a:gd name="connsiteX22" fmla="*/ 292608 w 1653235"/>
                  <a:gd name="connsiteY22" fmla="*/ 1199692 h 1229479"/>
                  <a:gd name="connsiteX23" fmla="*/ 277977 w 1653235"/>
                  <a:gd name="connsiteY23" fmla="*/ 1214323 h 1229479"/>
                  <a:gd name="connsiteX24" fmla="*/ 241401 w 1653235"/>
                  <a:gd name="connsiteY24" fmla="*/ 1207008 h 1229479"/>
                  <a:gd name="connsiteX25" fmla="*/ 212141 w 1653235"/>
                  <a:gd name="connsiteY25" fmla="*/ 1170432 h 1229479"/>
                  <a:gd name="connsiteX26" fmla="*/ 219456 w 1653235"/>
                  <a:gd name="connsiteY26" fmla="*/ 1111910 h 1229479"/>
                  <a:gd name="connsiteX27" fmla="*/ 234086 w 1653235"/>
                  <a:gd name="connsiteY27" fmla="*/ 1089964 h 1229479"/>
                  <a:gd name="connsiteX28" fmla="*/ 241401 w 1653235"/>
                  <a:gd name="connsiteY28" fmla="*/ 1068019 h 1229479"/>
                  <a:gd name="connsiteX29" fmla="*/ 234086 w 1653235"/>
                  <a:gd name="connsiteY29" fmla="*/ 1002182 h 1229479"/>
                  <a:gd name="connsiteX30" fmla="*/ 168249 w 1653235"/>
                  <a:gd name="connsiteY30" fmla="*/ 1024128 h 1229479"/>
                  <a:gd name="connsiteX31" fmla="*/ 109728 w 1653235"/>
                  <a:gd name="connsiteY31" fmla="*/ 1002182 h 1229479"/>
                  <a:gd name="connsiteX32" fmla="*/ 95097 w 1653235"/>
                  <a:gd name="connsiteY32" fmla="*/ 980236 h 1229479"/>
                  <a:gd name="connsiteX33" fmla="*/ 73152 w 1653235"/>
                  <a:gd name="connsiteY33" fmla="*/ 965606 h 1229479"/>
                  <a:gd name="connsiteX34" fmla="*/ 43891 w 1653235"/>
                  <a:gd name="connsiteY34" fmla="*/ 936345 h 1229479"/>
                  <a:gd name="connsiteX35" fmla="*/ 7315 w 1653235"/>
                  <a:gd name="connsiteY35" fmla="*/ 907084 h 1229479"/>
                  <a:gd name="connsiteX36" fmla="*/ 0 w 1653235"/>
                  <a:gd name="connsiteY36" fmla="*/ 885139 h 1229479"/>
                  <a:gd name="connsiteX37" fmla="*/ 43891 w 1653235"/>
                  <a:gd name="connsiteY37" fmla="*/ 790041 h 1229479"/>
                  <a:gd name="connsiteX38" fmla="*/ 87782 w 1653235"/>
                  <a:gd name="connsiteY38" fmla="*/ 760780 h 1229479"/>
                  <a:gd name="connsiteX39" fmla="*/ 117043 w 1653235"/>
                  <a:gd name="connsiteY39" fmla="*/ 724204 h 1229479"/>
                  <a:gd name="connsiteX40" fmla="*/ 131673 w 1653235"/>
                  <a:gd name="connsiteY40" fmla="*/ 702259 h 1229479"/>
                  <a:gd name="connsiteX41" fmla="*/ 168249 w 1653235"/>
                  <a:gd name="connsiteY41" fmla="*/ 672998 h 1229479"/>
                  <a:gd name="connsiteX42" fmla="*/ 212141 w 1653235"/>
                  <a:gd name="connsiteY42" fmla="*/ 680313 h 1229479"/>
                  <a:gd name="connsiteX43" fmla="*/ 248717 w 1653235"/>
                  <a:gd name="connsiteY43" fmla="*/ 709574 h 1229479"/>
                  <a:gd name="connsiteX44" fmla="*/ 292608 w 1653235"/>
                  <a:gd name="connsiteY44" fmla="*/ 731520 h 1229479"/>
                  <a:gd name="connsiteX45" fmla="*/ 336499 w 1653235"/>
                  <a:gd name="connsiteY45" fmla="*/ 753465 h 1229479"/>
                  <a:gd name="connsiteX46" fmla="*/ 387705 w 1653235"/>
                  <a:gd name="connsiteY46" fmla="*/ 775411 h 1229479"/>
                  <a:gd name="connsiteX47" fmla="*/ 402336 w 1653235"/>
                  <a:gd name="connsiteY47" fmla="*/ 790041 h 1229479"/>
                  <a:gd name="connsiteX48" fmla="*/ 453542 w 1653235"/>
                  <a:gd name="connsiteY48" fmla="*/ 797356 h 1229479"/>
                  <a:gd name="connsiteX49" fmla="*/ 475488 w 1653235"/>
                  <a:gd name="connsiteY49" fmla="*/ 804672 h 1229479"/>
                  <a:gd name="connsiteX50" fmla="*/ 577901 w 1653235"/>
                  <a:gd name="connsiteY50" fmla="*/ 790041 h 1229479"/>
                  <a:gd name="connsiteX51" fmla="*/ 621792 w 1653235"/>
                  <a:gd name="connsiteY51" fmla="*/ 782726 h 1229479"/>
                  <a:gd name="connsiteX52" fmla="*/ 643737 w 1653235"/>
                  <a:gd name="connsiteY52" fmla="*/ 775411 h 1229479"/>
                  <a:gd name="connsiteX53" fmla="*/ 658368 w 1653235"/>
                  <a:gd name="connsiteY53" fmla="*/ 753465 h 1229479"/>
                  <a:gd name="connsiteX54" fmla="*/ 680313 w 1653235"/>
                  <a:gd name="connsiteY54" fmla="*/ 731520 h 1229479"/>
                  <a:gd name="connsiteX55" fmla="*/ 702259 w 1653235"/>
                  <a:gd name="connsiteY55" fmla="*/ 651052 h 1229479"/>
                  <a:gd name="connsiteX56" fmla="*/ 746150 w 1653235"/>
                  <a:gd name="connsiteY56" fmla="*/ 636422 h 1229479"/>
                  <a:gd name="connsiteX57" fmla="*/ 753465 w 1653235"/>
                  <a:gd name="connsiteY57" fmla="*/ 570585 h 1229479"/>
                  <a:gd name="connsiteX58" fmla="*/ 738835 w 1653235"/>
                  <a:gd name="connsiteY58" fmla="*/ 548640 h 1229479"/>
                  <a:gd name="connsiteX59" fmla="*/ 716889 w 1653235"/>
                  <a:gd name="connsiteY59" fmla="*/ 534009 h 1229479"/>
                  <a:gd name="connsiteX60" fmla="*/ 702259 w 1653235"/>
                  <a:gd name="connsiteY60" fmla="*/ 490118 h 1229479"/>
                  <a:gd name="connsiteX61" fmla="*/ 716889 w 1653235"/>
                  <a:gd name="connsiteY61" fmla="*/ 446227 h 1229479"/>
                  <a:gd name="connsiteX62" fmla="*/ 724205 w 1653235"/>
                  <a:gd name="connsiteY62" fmla="*/ 424281 h 1229479"/>
                  <a:gd name="connsiteX63" fmla="*/ 621792 w 1653235"/>
                  <a:gd name="connsiteY63" fmla="*/ 402336 h 1229479"/>
                  <a:gd name="connsiteX64" fmla="*/ 614477 w 1653235"/>
                  <a:gd name="connsiteY64" fmla="*/ 468172 h 1229479"/>
                  <a:gd name="connsiteX65" fmla="*/ 577901 w 1653235"/>
                  <a:gd name="connsiteY65" fmla="*/ 475488 h 1229479"/>
                  <a:gd name="connsiteX66" fmla="*/ 534009 w 1653235"/>
                  <a:gd name="connsiteY66" fmla="*/ 468172 h 1229479"/>
                  <a:gd name="connsiteX67" fmla="*/ 512064 w 1653235"/>
                  <a:gd name="connsiteY67" fmla="*/ 446227 h 1229479"/>
                  <a:gd name="connsiteX68" fmla="*/ 490118 w 1653235"/>
                  <a:gd name="connsiteY68" fmla="*/ 431596 h 1229479"/>
                  <a:gd name="connsiteX69" fmla="*/ 475488 w 1653235"/>
                  <a:gd name="connsiteY69" fmla="*/ 409651 h 1229479"/>
                  <a:gd name="connsiteX70" fmla="*/ 460857 w 1653235"/>
                  <a:gd name="connsiteY70" fmla="*/ 263347 h 1229479"/>
                  <a:gd name="connsiteX71" fmla="*/ 453542 w 1653235"/>
                  <a:gd name="connsiteY71" fmla="*/ 241401 h 1229479"/>
                  <a:gd name="connsiteX72" fmla="*/ 395021 w 1653235"/>
                  <a:gd name="connsiteY72" fmla="*/ 190195 h 1229479"/>
                  <a:gd name="connsiteX73" fmla="*/ 351129 w 1653235"/>
                  <a:gd name="connsiteY73" fmla="*/ 175564 h 1229479"/>
                  <a:gd name="connsiteX74" fmla="*/ 277977 w 1653235"/>
                  <a:gd name="connsiteY74" fmla="*/ 168249 h 1229479"/>
                  <a:gd name="connsiteX75" fmla="*/ 256032 w 1653235"/>
                  <a:gd name="connsiteY75" fmla="*/ 146304 h 1229479"/>
                  <a:gd name="connsiteX76" fmla="*/ 234086 w 1653235"/>
                  <a:gd name="connsiteY76" fmla="*/ 138988 h 1229479"/>
                  <a:gd name="connsiteX77" fmla="*/ 219456 w 1653235"/>
                  <a:gd name="connsiteY77" fmla="*/ 109728 h 1229479"/>
                  <a:gd name="connsiteX78" fmla="*/ 256032 w 1653235"/>
                  <a:gd name="connsiteY78" fmla="*/ 80467 h 1229479"/>
                  <a:gd name="connsiteX79" fmla="*/ 270662 w 1653235"/>
                  <a:gd name="connsiteY79" fmla="*/ 65836 h 1229479"/>
                  <a:gd name="connsiteX80" fmla="*/ 307238 w 1653235"/>
                  <a:gd name="connsiteY80" fmla="*/ 58521 h 1229479"/>
                  <a:gd name="connsiteX81" fmla="*/ 446227 w 1653235"/>
                  <a:gd name="connsiteY81" fmla="*/ 51206 h 1229479"/>
                  <a:gd name="connsiteX82" fmla="*/ 563270 w 1653235"/>
                  <a:gd name="connsiteY82" fmla="*/ 58521 h 1229479"/>
                  <a:gd name="connsiteX83" fmla="*/ 607161 w 1653235"/>
                  <a:gd name="connsiteY83" fmla="*/ 73152 h 1229479"/>
                  <a:gd name="connsiteX84" fmla="*/ 651053 w 1653235"/>
                  <a:gd name="connsiteY84" fmla="*/ 131673 h 1229479"/>
                  <a:gd name="connsiteX85" fmla="*/ 702259 w 1653235"/>
                  <a:gd name="connsiteY85" fmla="*/ 124358 h 1229479"/>
                  <a:gd name="connsiteX86" fmla="*/ 760781 w 1653235"/>
                  <a:gd name="connsiteY86" fmla="*/ 73152 h 1229479"/>
                  <a:gd name="connsiteX87" fmla="*/ 775411 w 1653235"/>
                  <a:gd name="connsiteY87" fmla="*/ 58521 h 1229479"/>
                  <a:gd name="connsiteX88" fmla="*/ 790041 w 1653235"/>
                  <a:gd name="connsiteY88" fmla="*/ 36576 h 1229479"/>
                  <a:gd name="connsiteX89" fmla="*/ 811987 w 1653235"/>
                  <a:gd name="connsiteY89" fmla="*/ 21945 h 1229479"/>
                  <a:gd name="connsiteX90" fmla="*/ 833933 w 1653235"/>
                  <a:gd name="connsiteY90" fmla="*/ 0 h 1229479"/>
                  <a:gd name="connsiteX91" fmla="*/ 914400 w 1653235"/>
                  <a:gd name="connsiteY91" fmla="*/ 7315 h 1229479"/>
                  <a:gd name="connsiteX92" fmla="*/ 936345 w 1653235"/>
                  <a:gd name="connsiteY92" fmla="*/ 14630 h 1229479"/>
                  <a:gd name="connsiteX93" fmla="*/ 965606 w 1653235"/>
                  <a:gd name="connsiteY93" fmla="*/ 21945 h 1229479"/>
                  <a:gd name="connsiteX94" fmla="*/ 987552 w 1653235"/>
                  <a:gd name="connsiteY94" fmla="*/ 36576 h 1229479"/>
                  <a:gd name="connsiteX95" fmla="*/ 1009497 w 1653235"/>
                  <a:gd name="connsiteY95" fmla="*/ 43891 h 1229479"/>
                  <a:gd name="connsiteX96" fmla="*/ 1031443 w 1653235"/>
                  <a:gd name="connsiteY96" fmla="*/ 65836 h 1229479"/>
                  <a:gd name="connsiteX97" fmla="*/ 1053389 w 1653235"/>
                  <a:gd name="connsiteY97" fmla="*/ 73152 h 1229479"/>
                  <a:gd name="connsiteX98" fmla="*/ 1097280 w 1653235"/>
                  <a:gd name="connsiteY98" fmla="*/ 95097 h 1229479"/>
                  <a:gd name="connsiteX99" fmla="*/ 1133856 w 1653235"/>
                  <a:gd name="connsiteY99" fmla="*/ 117043 h 1229479"/>
                  <a:gd name="connsiteX100" fmla="*/ 1177747 w 1653235"/>
                  <a:gd name="connsiteY100" fmla="*/ 138988 h 1229479"/>
                  <a:gd name="connsiteX101" fmla="*/ 1207008 w 1653235"/>
                  <a:gd name="connsiteY101" fmla="*/ 175564 h 1229479"/>
                  <a:gd name="connsiteX102" fmla="*/ 1250899 w 1653235"/>
                  <a:gd name="connsiteY102" fmla="*/ 190195 h 1229479"/>
                  <a:gd name="connsiteX103" fmla="*/ 1316736 w 1653235"/>
                  <a:gd name="connsiteY103" fmla="*/ 182880 h 1229479"/>
                  <a:gd name="connsiteX104" fmla="*/ 1345997 w 1653235"/>
                  <a:gd name="connsiteY104" fmla="*/ 160934 h 1229479"/>
                  <a:gd name="connsiteX105" fmla="*/ 1360627 w 1653235"/>
                  <a:gd name="connsiteY105" fmla="*/ 204825 h 1229479"/>
                  <a:gd name="connsiteX106" fmla="*/ 1375257 w 1653235"/>
                  <a:gd name="connsiteY106" fmla="*/ 299923 h 1229479"/>
                  <a:gd name="connsiteX107" fmla="*/ 1382573 w 1653235"/>
                  <a:gd name="connsiteY107" fmla="*/ 321868 h 1229479"/>
                  <a:gd name="connsiteX108" fmla="*/ 1397203 w 1653235"/>
                  <a:gd name="connsiteY108" fmla="*/ 336499 h 1229479"/>
                  <a:gd name="connsiteX109" fmla="*/ 1411833 w 1653235"/>
                  <a:gd name="connsiteY109" fmla="*/ 358444 h 1229479"/>
                  <a:gd name="connsiteX110" fmla="*/ 1433779 w 1653235"/>
                  <a:gd name="connsiteY110" fmla="*/ 365760 h 1229479"/>
                  <a:gd name="connsiteX111" fmla="*/ 1477670 w 1653235"/>
                  <a:gd name="connsiteY111" fmla="*/ 395020 h 1229479"/>
                  <a:gd name="connsiteX112" fmla="*/ 1492301 w 1653235"/>
                  <a:gd name="connsiteY112" fmla="*/ 409651 h 1229479"/>
                  <a:gd name="connsiteX113" fmla="*/ 1521561 w 1653235"/>
                  <a:gd name="connsiteY113" fmla="*/ 416966 h 1229479"/>
                  <a:gd name="connsiteX114" fmla="*/ 1543507 w 1653235"/>
                  <a:gd name="connsiteY114" fmla="*/ 424281 h 1229479"/>
                  <a:gd name="connsiteX115" fmla="*/ 1587398 w 1653235"/>
                  <a:gd name="connsiteY115" fmla="*/ 453542 h 1229479"/>
                  <a:gd name="connsiteX116" fmla="*/ 1602029 w 1653235"/>
                  <a:gd name="connsiteY116" fmla="*/ 468172 h 1229479"/>
                  <a:gd name="connsiteX117" fmla="*/ 1623974 w 1653235"/>
                  <a:gd name="connsiteY117" fmla="*/ 475488 h 1229479"/>
                  <a:gd name="connsiteX118" fmla="*/ 1623974 w 1653235"/>
                  <a:gd name="connsiteY118" fmla="*/ 534009 h 1229479"/>
                  <a:gd name="connsiteX119" fmla="*/ 1580083 w 1653235"/>
                  <a:gd name="connsiteY119" fmla="*/ 563270 h 1229479"/>
                  <a:gd name="connsiteX120" fmla="*/ 1558137 w 1653235"/>
                  <a:gd name="connsiteY120" fmla="*/ 577900 h 1229479"/>
                  <a:gd name="connsiteX121" fmla="*/ 1558137 w 1653235"/>
                  <a:gd name="connsiteY121" fmla="*/ 629107 h 1229479"/>
                  <a:gd name="connsiteX122" fmla="*/ 1580083 w 1653235"/>
                  <a:gd name="connsiteY122" fmla="*/ 636422 h 1229479"/>
                  <a:gd name="connsiteX123" fmla="*/ 1602029 w 1653235"/>
                  <a:gd name="connsiteY123" fmla="*/ 658368 h 1229479"/>
                  <a:gd name="connsiteX124" fmla="*/ 1631289 w 1653235"/>
                  <a:gd name="connsiteY124" fmla="*/ 672998 h 1229479"/>
                  <a:gd name="connsiteX125" fmla="*/ 1638605 w 1653235"/>
                  <a:gd name="connsiteY125" fmla="*/ 694944 h 1229479"/>
                  <a:gd name="connsiteX126" fmla="*/ 1653235 w 1653235"/>
                  <a:gd name="connsiteY126" fmla="*/ 716889 h 1229479"/>
                  <a:gd name="connsiteX127" fmla="*/ 1623974 w 1653235"/>
                  <a:gd name="connsiteY127" fmla="*/ 782726 h 1229479"/>
                  <a:gd name="connsiteX128" fmla="*/ 1602029 w 1653235"/>
                  <a:gd name="connsiteY128" fmla="*/ 790041 h 1229479"/>
                  <a:gd name="connsiteX129" fmla="*/ 1587398 w 1653235"/>
                  <a:gd name="connsiteY129" fmla="*/ 833932 h 1229479"/>
                  <a:gd name="connsiteX130" fmla="*/ 1572768 w 1653235"/>
                  <a:gd name="connsiteY130" fmla="*/ 929030 h 1229479"/>
                  <a:gd name="connsiteX131" fmla="*/ 1558137 w 1653235"/>
                  <a:gd name="connsiteY131" fmla="*/ 950976 h 1229479"/>
                  <a:gd name="connsiteX132" fmla="*/ 1543507 w 1653235"/>
                  <a:gd name="connsiteY132" fmla="*/ 1009497 h 1229479"/>
                  <a:gd name="connsiteX133" fmla="*/ 1528877 w 1653235"/>
                  <a:gd name="connsiteY133" fmla="*/ 1024128 h 1229479"/>
                  <a:gd name="connsiteX134" fmla="*/ 1499616 w 1653235"/>
                  <a:gd name="connsiteY134" fmla="*/ 1068019 h 1229479"/>
                  <a:gd name="connsiteX135" fmla="*/ 1484985 w 1653235"/>
                  <a:gd name="connsiteY135" fmla="*/ 1089964 h 1229479"/>
                  <a:gd name="connsiteX136" fmla="*/ 1470355 w 1653235"/>
                  <a:gd name="connsiteY136" fmla="*/ 1104595 h 1229479"/>
                  <a:gd name="connsiteX137" fmla="*/ 1463040 w 1653235"/>
                  <a:gd name="connsiteY137" fmla="*/ 1126540 h 1229479"/>
                  <a:gd name="connsiteX138" fmla="*/ 1433779 w 1653235"/>
                  <a:gd name="connsiteY138" fmla="*/ 1141171 h 1229479"/>
                  <a:gd name="connsiteX139" fmla="*/ 1404518 w 1653235"/>
                  <a:gd name="connsiteY139" fmla="*/ 1163116 h 1229479"/>
                  <a:gd name="connsiteX140" fmla="*/ 1382573 w 1653235"/>
                  <a:gd name="connsiteY140" fmla="*/ 1170432 h 1229479"/>
                  <a:gd name="connsiteX141" fmla="*/ 1316736 w 1653235"/>
                  <a:gd name="connsiteY141" fmla="*/ 1207008 h 1229479"/>
                  <a:gd name="connsiteX142" fmla="*/ 1170432 w 1653235"/>
                  <a:gd name="connsiteY142" fmla="*/ 1192377 h 1229479"/>
                  <a:gd name="connsiteX143" fmla="*/ 1126541 w 1653235"/>
                  <a:gd name="connsiteY143" fmla="*/ 1177747 h 1229479"/>
                  <a:gd name="connsiteX144" fmla="*/ 1104595 w 1653235"/>
                  <a:gd name="connsiteY144" fmla="*/ 1170432 h 1229479"/>
                  <a:gd name="connsiteX145" fmla="*/ 1082649 w 1653235"/>
                  <a:gd name="connsiteY145" fmla="*/ 1155801 h 1229479"/>
                  <a:gd name="connsiteX146" fmla="*/ 1082649 w 1653235"/>
                  <a:gd name="connsiteY146" fmla="*/ 1068019 h 1229479"/>
                  <a:gd name="connsiteX147" fmla="*/ 1060704 w 1653235"/>
                  <a:gd name="connsiteY147" fmla="*/ 1060704 h 1229479"/>
                  <a:gd name="connsiteX148" fmla="*/ 1031443 w 1653235"/>
                  <a:gd name="connsiteY148" fmla="*/ 1053388 h 1229479"/>
                  <a:gd name="connsiteX149" fmla="*/ 1009497 w 1653235"/>
                  <a:gd name="connsiteY149" fmla="*/ 1060704 h 1229479"/>
                  <a:gd name="connsiteX150" fmla="*/ 1002182 w 1653235"/>
                  <a:gd name="connsiteY150" fmla="*/ 1082649 h 1229479"/>
                  <a:gd name="connsiteX151" fmla="*/ 1016813 w 1653235"/>
                  <a:gd name="connsiteY151" fmla="*/ 1148486 h 1229479"/>
                  <a:gd name="connsiteX152" fmla="*/ 1009497 w 1653235"/>
                  <a:gd name="connsiteY152" fmla="*/ 1170432 h 1229479"/>
                  <a:gd name="connsiteX153" fmla="*/ 972921 w 1653235"/>
                  <a:gd name="connsiteY153" fmla="*/ 1177747 h 1229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653235" h="1229479">
                    <a:moveTo>
                      <a:pt x="972921" y="1177747"/>
                    </a:moveTo>
                    <a:cubicBezTo>
                      <a:pt x="955852" y="1175309"/>
                      <a:pt x="927658" y="1176374"/>
                      <a:pt x="907085" y="1155801"/>
                    </a:cubicBezTo>
                    <a:cubicBezTo>
                      <a:pt x="900868" y="1149584"/>
                      <a:pt x="897331" y="1141171"/>
                      <a:pt x="892454" y="1133856"/>
                    </a:cubicBezTo>
                    <a:cubicBezTo>
                      <a:pt x="890016" y="1126541"/>
                      <a:pt x="886158" y="1119553"/>
                      <a:pt x="885139" y="1111910"/>
                    </a:cubicBezTo>
                    <a:cubicBezTo>
                      <a:pt x="881259" y="1082805"/>
                      <a:pt x="883976" y="1052838"/>
                      <a:pt x="877824" y="1024128"/>
                    </a:cubicBezTo>
                    <a:cubicBezTo>
                      <a:pt x="876379" y="1017384"/>
                      <a:pt x="867502" y="1014883"/>
                      <a:pt x="863193" y="1009497"/>
                    </a:cubicBezTo>
                    <a:cubicBezTo>
                      <a:pt x="857701" y="1002632"/>
                      <a:pt x="853440" y="994867"/>
                      <a:pt x="848563" y="987552"/>
                    </a:cubicBezTo>
                    <a:cubicBezTo>
                      <a:pt x="831494" y="989990"/>
                      <a:pt x="811978" y="985729"/>
                      <a:pt x="797357" y="994867"/>
                    </a:cubicBezTo>
                    <a:cubicBezTo>
                      <a:pt x="788831" y="1000196"/>
                      <a:pt x="791840" y="1014236"/>
                      <a:pt x="790041" y="1024128"/>
                    </a:cubicBezTo>
                    <a:cubicBezTo>
                      <a:pt x="786957" y="1041092"/>
                      <a:pt x="786603" y="1058534"/>
                      <a:pt x="782726" y="1075334"/>
                    </a:cubicBezTo>
                    <a:cubicBezTo>
                      <a:pt x="779258" y="1090361"/>
                      <a:pt x="768096" y="1119225"/>
                      <a:pt x="768096" y="1119225"/>
                    </a:cubicBezTo>
                    <a:cubicBezTo>
                      <a:pt x="765658" y="1141171"/>
                      <a:pt x="764411" y="1163282"/>
                      <a:pt x="760781" y="1185062"/>
                    </a:cubicBezTo>
                    <a:cubicBezTo>
                      <a:pt x="759513" y="1192668"/>
                      <a:pt x="758282" y="1200987"/>
                      <a:pt x="753465" y="1207008"/>
                    </a:cubicBezTo>
                    <a:cubicBezTo>
                      <a:pt x="747973" y="1213873"/>
                      <a:pt x="738835" y="1216761"/>
                      <a:pt x="731520" y="1221638"/>
                    </a:cubicBezTo>
                    <a:cubicBezTo>
                      <a:pt x="692506" y="1219200"/>
                      <a:pt x="653353" y="1218415"/>
                      <a:pt x="614477" y="1214323"/>
                    </a:cubicBezTo>
                    <a:cubicBezTo>
                      <a:pt x="606808" y="1213516"/>
                      <a:pt x="600242" y="1207008"/>
                      <a:pt x="592531" y="1207008"/>
                    </a:cubicBezTo>
                    <a:cubicBezTo>
                      <a:pt x="570450" y="1207008"/>
                      <a:pt x="548640" y="1211885"/>
                      <a:pt x="526694" y="1214323"/>
                    </a:cubicBezTo>
                    <a:cubicBezTo>
                      <a:pt x="461855" y="1235935"/>
                      <a:pt x="498130" y="1230656"/>
                      <a:pt x="416966" y="1221638"/>
                    </a:cubicBezTo>
                    <a:cubicBezTo>
                      <a:pt x="414528" y="1214323"/>
                      <a:pt x="410670" y="1207335"/>
                      <a:pt x="409651" y="1199692"/>
                    </a:cubicBezTo>
                    <a:cubicBezTo>
                      <a:pt x="405771" y="1170587"/>
                      <a:pt x="422087" y="1133636"/>
                      <a:pt x="402336" y="1111910"/>
                    </a:cubicBezTo>
                    <a:cubicBezTo>
                      <a:pt x="387483" y="1095572"/>
                      <a:pt x="358445" y="1116787"/>
                      <a:pt x="336499" y="1119225"/>
                    </a:cubicBezTo>
                    <a:cubicBezTo>
                      <a:pt x="329184" y="1121663"/>
                      <a:pt x="319035" y="1120265"/>
                      <a:pt x="314553" y="1126540"/>
                    </a:cubicBezTo>
                    <a:cubicBezTo>
                      <a:pt x="287707" y="1164126"/>
                      <a:pt x="309555" y="1165799"/>
                      <a:pt x="292608" y="1199692"/>
                    </a:cubicBezTo>
                    <a:cubicBezTo>
                      <a:pt x="289523" y="1205861"/>
                      <a:pt x="282854" y="1209446"/>
                      <a:pt x="277977" y="1214323"/>
                    </a:cubicBezTo>
                    <a:cubicBezTo>
                      <a:pt x="265785" y="1211885"/>
                      <a:pt x="252829" y="1211906"/>
                      <a:pt x="241401" y="1207008"/>
                    </a:cubicBezTo>
                    <a:cubicBezTo>
                      <a:pt x="231674" y="1202839"/>
                      <a:pt x="216423" y="1176855"/>
                      <a:pt x="212141" y="1170432"/>
                    </a:cubicBezTo>
                    <a:cubicBezTo>
                      <a:pt x="214579" y="1150925"/>
                      <a:pt x="214284" y="1130876"/>
                      <a:pt x="219456" y="1111910"/>
                    </a:cubicBezTo>
                    <a:cubicBezTo>
                      <a:pt x="221769" y="1103428"/>
                      <a:pt x="230154" y="1097828"/>
                      <a:pt x="234086" y="1089964"/>
                    </a:cubicBezTo>
                    <a:cubicBezTo>
                      <a:pt x="237534" y="1083067"/>
                      <a:pt x="238963" y="1075334"/>
                      <a:pt x="241401" y="1068019"/>
                    </a:cubicBezTo>
                    <a:cubicBezTo>
                      <a:pt x="238963" y="1046073"/>
                      <a:pt x="249699" y="1017796"/>
                      <a:pt x="234086" y="1002182"/>
                    </a:cubicBezTo>
                    <a:cubicBezTo>
                      <a:pt x="209215" y="977310"/>
                      <a:pt x="181806" y="1010571"/>
                      <a:pt x="168249" y="1024128"/>
                    </a:cubicBezTo>
                    <a:cubicBezTo>
                      <a:pt x="142081" y="1018894"/>
                      <a:pt x="128564" y="1021018"/>
                      <a:pt x="109728" y="1002182"/>
                    </a:cubicBezTo>
                    <a:cubicBezTo>
                      <a:pt x="103511" y="995965"/>
                      <a:pt x="101314" y="986453"/>
                      <a:pt x="95097" y="980236"/>
                    </a:cubicBezTo>
                    <a:cubicBezTo>
                      <a:pt x="88880" y="974019"/>
                      <a:pt x="79827" y="971327"/>
                      <a:pt x="73152" y="965606"/>
                    </a:cubicBezTo>
                    <a:cubicBezTo>
                      <a:pt x="62679" y="956629"/>
                      <a:pt x="55368" y="943996"/>
                      <a:pt x="43891" y="936345"/>
                    </a:cubicBezTo>
                    <a:cubicBezTo>
                      <a:pt x="16206" y="917889"/>
                      <a:pt x="28162" y="927932"/>
                      <a:pt x="7315" y="907084"/>
                    </a:cubicBezTo>
                    <a:cubicBezTo>
                      <a:pt x="4877" y="899769"/>
                      <a:pt x="0" y="892850"/>
                      <a:pt x="0" y="885139"/>
                    </a:cubicBezTo>
                    <a:cubicBezTo>
                      <a:pt x="0" y="834994"/>
                      <a:pt x="1705" y="818165"/>
                      <a:pt x="43891" y="790041"/>
                    </a:cubicBezTo>
                    <a:lnTo>
                      <a:pt x="87782" y="760780"/>
                    </a:lnTo>
                    <a:cubicBezTo>
                      <a:pt x="132824" y="693222"/>
                      <a:pt x="75342" y="776332"/>
                      <a:pt x="117043" y="724204"/>
                    </a:cubicBezTo>
                    <a:cubicBezTo>
                      <a:pt x="122535" y="717339"/>
                      <a:pt x="126181" y="709124"/>
                      <a:pt x="131673" y="702259"/>
                    </a:cubicBezTo>
                    <a:cubicBezTo>
                      <a:pt x="143586" y="687368"/>
                      <a:pt x="151954" y="683861"/>
                      <a:pt x="168249" y="672998"/>
                    </a:cubicBezTo>
                    <a:cubicBezTo>
                      <a:pt x="182880" y="675436"/>
                      <a:pt x="198070" y="675623"/>
                      <a:pt x="212141" y="680313"/>
                    </a:cubicBezTo>
                    <a:cubicBezTo>
                      <a:pt x="231435" y="686744"/>
                      <a:pt x="234451" y="698161"/>
                      <a:pt x="248717" y="709574"/>
                    </a:cubicBezTo>
                    <a:cubicBezTo>
                      <a:pt x="283657" y="737525"/>
                      <a:pt x="256551" y="713491"/>
                      <a:pt x="292608" y="731520"/>
                    </a:cubicBezTo>
                    <a:cubicBezTo>
                      <a:pt x="349323" y="759878"/>
                      <a:pt x="281343" y="735081"/>
                      <a:pt x="336499" y="753465"/>
                    </a:cubicBezTo>
                    <a:cubicBezTo>
                      <a:pt x="369535" y="786503"/>
                      <a:pt x="327034" y="749410"/>
                      <a:pt x="387705" y="775411"/>
                    </a:cubicBezTo>
                    <a:cubicBezTo>
                      <a:pt x="394044" y="778128"/>
                      <a:pt x="395793" y="787860"/>
                      <a:pt x="402336" y="790041"/>
                    </a:cubicBezTo>
                    <a:cubicBezTo>
                      <a:pt x="418693" y="795493"/>
                      <a:pt x="436473" y="794918"/>
                      <a:pt x="453542" y="797356"/>
                    </a:cubicBezTo>
                    <a:cubicBezTo>
                      <a:pt x="460857" y="799795"/>
                      <a:pt x="467777" y="804672"/>
                      <a:pt x="475488" y="804672"/>
                    </a:cubicBezTo>
                    <a:cubicBezTo>
                      <a:pt x="516231" y="804672"/>
                      <a:pt x="540761" y="796793"/>
                      <a:pt x="577901" y="790041"/>
                    </a:cubicBezTo>
                    <a:cubicBezTo>
                      <a:pt x="592494" y="787388"/>
                      <a:pt x="607162" y="785164"/>
                      <a:pt x="621792" y="782726"/>
                    </a:cubicBezTo>
                    <a:cubicBezTo>
                      <a:pt x="629107" y="780288"/>
                      <a:pt x="637716" y="780228"/>
                      <a:pt x="643737" y="775411"/>
                    </a:cubicBezTo>
                    <a:cubicBezTo>
                      <a:pt x="650602" y="769919"/>
                      <a:pt x="652739" y="760219"/>
                      <a:pt x="658368" y="753465"/>
                    </a:cubicBezTo>
                    <a:cubicBezTo>
                      <a:pt x="664991" y="745518"/>
                      <a:pt x="672998" y="738835"/>
                      <a:pt x="680313" y="731520"/>
                    </a:cubicBezTo>
                    <a:cubicBezTo>
                      <a:pt x="682101" y="722581"/>
                      <a:pt x="694306" y="653703"/>
                      <a:pt x="702259" y="651052"/>
                    </a:cubicBezTo>
                    <a:lnTo>
                      <a:pt x="746150" y="636422"/>
                    </a:lnTo>
                    <a:cubicBezTo>
                      <a:pt x="758343" y="599844"/>
                      <a:pt x="768096" y="599847"/>
                      <a:pt x="753465" y="570585"/>
                    </a:cubicBezTo>
                    <a:cubicBezTo>
                      <a:pt x="749533" y="562722"/>
                      <a:pt x="745052" y="554857"/>
                      <a:pt x="738835" y="548640"/>
                    </a:cubicBezTo>
                    <a:cubicBezTo>
                      <a:pt x="732618" y="542423"/>
                      <a:pt x="724204" y="538886"/>
                      <a:pt x="716889" y="534009"/>
                    </a:cubicBezTo>
                    <a:cubicBezTo>
                      <a:pt x="712012" y="519379"/>
                      <a:pt x="697382" y="504748"/>
                      <a:pt x="702259" y="490118"/>
                    </a:cubicBezTo>
                    <a:lnTo>
                      <a:pt x="716889" y="446227"/>
                    </a:lnTo>
                    <a:lnTo>
                      <a:pt x="724205" y="424281"/>
                    </a:lnTo>
                    <a:cubicBezTo>
                      <a:pt x="705517" y="386907"/>
                      <a:pt x="696007" y="345247"/>
                      <a:pt x="621792" y="402336"/>
                    </a:cubicBezTo>
                    <a:cubicBezTo>
                      <a:pt x="604291" y="415799"/>
                      <a:pt x="625837" y="449238"/>
                      <a:pt x="614477" y="468172"/>
                    </a:cubicBezTo>
                    <a:cubicBezTo>
                      <a:pt x="608080" y="478834"/>
                      <a:pt x="590093" y="473049"/>
                      <a:pt x="577901" y="475488"/>
                    </a:cubicBezTo>
                    <a:cubicBezTo>
                      <a:pt x="563270" y="473049"/>
                      <a:pt x="547563" y="474196"/>
                      <a:pt x="534009" y="468172"/>
                    </a:cubicBezTo>
                    <a:cubicBezTo>
                      <a:pt x="524556" y="463970"/>
                      <a:pt x="520011" y="452850"/>
                      <a:pt x="512064" y="446227"/>
                    </a:cubicBezTo>
                    <a:cubicBezTo>
                      <a:pt x="505310" y="440598"/>
                      <a:pt x="497433" y="436473"/>
                      <a:pt x="490118" y="431596"/>
                    </a:cubicBezTo>
                    <a:cubicBezTo>
                      <a:pt x="485241" y="424281"/>
                      <a:pt x="479420" y="417514"/>
                      <a:pt x="475488" y="409651"/>
                    </a:cubicBezTo>
                    <a:cubicBezTo>
                      <a:pt x="456336" y="371347"/>
                      <a:pt x="461658" y="271355"/>
                      <a:pt x="460857" y="263347"/>
                    </a:cubicBezTo>
                    <a:cubicBezTo>
                      <a:pt x="460090" y="255674"/>
                      <a:pt x="456990" y="248298"/>
                      <a:pt x="453542" y="241401"/>
                    </a:cubicBezTo>
                    <a:cubicBezTo>
                      <a:pt x="441594" y="217505"/>
                      <a:pt x="421354" y="198973"/>
                      <a:pt x="395021" y="190195"/>
                    </a:cubicBezTo>
                    <a:cubicBezTo>
                      <a:pt x="380390" y="185318"/>
                      <a:pt x="366475" y="177099"/>
                      <a:pt x="351129" y="175564"/>
                    </a:cubicBezTo>
                    <a:lnTo>
                      <a:pt x="277977" y="168249"/>
                    </a:lnTo>
                    <a:cubicBezTo>
                      <a:pt x="270662" y="160934"/>
                      <a:pt x="264640" y="152042"/>
                      <a:pt x="256032" y="146304"/>
                    </a:cubicBezTo>
                    <a:cubicBezTo>
                      <a:pt x="249616" y="142027"/>
                      <a:pt x="239539" y="144441"/>
                      <a:pt x="234086" y="138988"/>
                    </a:cubicBezTo>
                    <a:cubicBezTo>
                      <a:pt x="226375" y="131277"/>
                      <a:pt x="224333" y="119481"/>
                      <a:pt x="219456" y="109728"/>
                    </a:cubicBezTo>
                    <a:cubicBezTo>
                      <a:pt x="248595" y="66017"/>
                      <a:pt x="216771" y="104024"/>
                      <a:pt x="256032" y="80467"/>
                    </a:cubicBezTo>
                    <a:cubicBezTo>
                      <a:pt x="261946" y="76919"/>
                      <a:pt x="264323" y="68553"/>
                      <a:pt x="270662" y="65836"/>
                    </a:cubicBezTo>
                    <a:cubicBezTo>
                      <a:pt x="282090" y="60938"/>
                      <a:pt x="294848" y="59554"/>
                      <a:pt x="307238" y="58521"/>
                    </a:cubicBezTo>
                    <a:cubicBezTo>
                      <a:pt x="353472" y="54668"/>
                      <a:pt x="399897" y="53644"/>
                      <a:pt x="446227" y="51206"/>
                    </a:cubicBezTo>
                    <a:cubicBezTo>
                      <a:pt x="485241" y="53644"/>
                      <a:pt x="524538" y="53239"/>
                      <a:pt x="563270" y="58521"/>
                    </a:cubicBezTo>
                    <a:cubicBezTo>
                      <a:pt x="578550" y="60605"/>
                      <a:pt x="607161" y="73152"/>
                      <a:pt x="607161" y="73152"/>
                    </a:cubicBezTo>
                    <a:cubicBezTo>
                      <a:pt x="649189" y="115180"/>
                      <a:pt x="638284" y="93371"/>
                      <a:pt x="651053" y="131673"/>
                    </a:cubicBezTo>
                    <a:cubicBezTo>
                      <a:pt x="668122" y="129235"/>
                      <a:pt x="685744" y="129312"/>
                      <a:pt x="702259" y="124358"/>
                    </a:cubicBezTo>
                    <a:cubicBezTo>
                      <a:pt x="719542" y="119173"/>
                      <a:pt x="755268" y="78665"/>
                      <a:pt x="760781" y="73152"/>
                    </a:cubicBezTo>
                    <a:cubicBezTo>
                      <a:pt x="765658" y="68275"/>
                      <a:pt x="771585" y="64260"/>
                      <a:pt x="775411" y="58521"/>
                    </a:cubicBezTo>
                    <a:cubicBezTo>
                      <a:pt x="780288" y="51206"/>
                      <a:pt x="783824" y="42793"/>
                      <a:pt x="790041" y="36576"/>
                    </a:cubicBezTo>
                    <a:cubicBezTo>
                      <a:pt x="796258" y="30359"/>
                      <a:pt x="805233" y="27573"/>
                      <a:pt x="811987" y="21945"/>
                    </a:cubicBezTo>
                    <a:cubicBezTo>
                      <a:pt x="819934" y="15322"/>
                      <a:pt x="826618" y="7315"/>
                      <a:pt x="833933" y="0"/>
                    </a:cubicBezTo>
                    <a:cubicBezTo>
                      <a:pt x="860755" y="2438"/>
                      <a:pt x="887738" y="3506"/>
                      <a:pt x="914400" y="7315"/>
                    </a:cubicBezTo>
                    <a:cubicBezTo>
                      <a:pt x="922033" y="8405"/>
                      <a:pt x="928931" y="12512"/>
                      <a:pt x="936345" y="14630"/>
                    </a:cubicBezTo>
                    <a:cubicBezTo>
                      <a:pt x="946012" y="17392"/>
                      <a:pt x="955852" y="19507"/>
                      <a:pt x="965606" y="21945"/>
                    </a:cubicBezTo>
                    <a:cubicBezTo>
                      <a:pt x="972921" y="26822"/>
                      <a:pt x="979688" y="32644"/>
                      <a:pt x="987552" y="36576"/>
                    </a:cubicBezTo>
                    <a:cubicBezTo>
                      <a:pt x="994449" y="40024"/>
                      <a:pt x="1003081" y="39614"/>
                      <a:pt x="1009497" y="43891"/>
                    </a:cubicBezTo>
                    <a:cubicBezTo>
                      <a:pt x="1018105" y="49629"/>
                      <a:pt x="1022835" y="60098"/>
                      <a:pt x="1031443" y="65836"/>
                    </a:cubicBezTo>
                    <a:cubicBezTo>
                      <a:pt x="1037859" y="70113"/>
                      <a:pt x="1046492" y="69703"/>
                      <a:pt x="1053389" y="73152"/>
                    </a:cubicBezTo>
                    <a:cubicBezTo>
                      <a:pt x="1110104" y="101510"/>
                      <a:pt x="1042124" y="76713"/>
                      <a:pt x="1097280" y="95097"/>
                    </a:cubicBezTo>
                    <a:cubicBezTo>
                      <a:pt x="1125855" y="123674"/>
                      <a:pt x="1095872" y="98051"/>
                      <a:pt x="1133856" y="117043"/>
                    </a:cubicBezTo>
                    <a:cubicBezTo>
                      <a:pt x="1190579" y="145404"/>
                      <a:pt x="1122584" y="120601"/>
                      <a:pt x="1177747" y="138988"/>
                    </a:cubicBezTo>
                    <a:cubicBezTo>
                      <a:pt x="1182917" y="146744"/>
                      <a:pt x="1196582" y="170351"/>
                      <a:pt x="1207008" y="175564"/>
                    </a:cubicBezTo>
                    <a:cubicBezTo>
                      <a:pt x="1220802" y="182461"/>
                      <a:pt x="1250899" y="190195"/>
                      <a:pt x="1250899" y="190195"/>
                    </a:cubicBezTo>
                    <a:cubicBezTo>
                      <a:pt x="1272845" y="187757"/>
                      <a:pt x="1297802" y="194240"/>
                      <a:pt x="1316736" y="182880"/>
                    </a:cubicBezTo>
                    <a:cubicBezTo>
                      <a:pt x="1357176" y="158616"/>
                      <a:pt x="1291502" y="124605"/>
                      <a:pt x="1345997" y="160934"/>
                    </a:cubicBezTo>
                    <a:cubicBezTo>
                      <a:pt x="1350874" y="175564"/>
                      <a:pt x="1358714" y="189522"/>
                      <a:pt x="1360627" y="204825"/>
                    </a:cubicBezTo>
                    <a:cubicBezTo>
                      <a:pt x="1365068" y="240351"/>
                      <a:pt x="1366880" y="266416"/>
                      <a:pt x="1375257" y="299923"/>
                    </a:cubicBezTo>
                    <a:cubicBezTo>
                      <a:pt x="1377127" y="307404"/>
                      <a:pt x="1378606" y="315256"/>
                      <a:pt x="1382573" y="321868"/>
                    </a:cubicBezTo>
                    <a:cubicBezTo>
                      <a:pt x="1386121" y="327782"/>
                      <a:pt x="1392895" y="331113"/>
                      <a:pt x="1397203" y="336499"/>
                    </a:cubicBezTo>
                    <a:cubicBezTo>
                      <a:pt x="1402695" y="343364"/>
                      <a:pt x="1404968" y="352952"/>
                      <a:pt x="1411833" y="358444"/>
                    </a:cubicBezTo>
                    <a:cubicBezTo>
                      <a:pt x="1417854" y="363261"/>
                      <a:pt x="1426464" y="363321"/>
                      <a:pt x="1433779" y="365760"/>
                    </a:cubicBezTo>
                    <a:cubicBezTo>
                      <a:pt x="1489590" y="421568"/>
                      <a:pt x="1424734" y="363258"/>
                      <a:pt x="1477670" y="395020"/>
                    </a:cubicBezTo>
                    <a:cubicBezTo>
                      <a:pt x="1483584" y="398569"/>
                      <a:pt x="1486132" y="406566"/>
                      <a:pt x="1492301" y="409651"/>
                    </a:cubicBezTo>
                    <a:cubicBezTo>
                      <a:pt x="1501293" y="414147"/>
                      <a:pt x="1511894" y="414204"/>
                      <a:pt x="1521561" y="416966"/>
                    </a:cubicBezTo>
                    <a:cubicBezTo>
                      <a:pt x="1528975" y="419084"/>
                      <a:pt x="1536192" y="421843"/>
                      <a:pt x="1543507" y="424281"/>
                    </a:cubicBezTo>
                    <a:cubicBezTo>
                      <a:pt x="1558137" y="434035"/>
                      <a:pt x="1574964" y="441109"/>
                      <a:pt x="1587398" y="453542"/>
                    </a:cubicBezTo>
                    <a:cubicBezTo>
                      <a:pt x="1592275" y="458419"/>
                      <a:pt x="1596115" y="464624"/>
                      <a:pt x="1602029" y="468172"/>
                    </a:cubicBezTo>
                    <a:cubicBezTo>
                      <a:pt x="1608641" y="472139"/>
                      <a:pt x="1616659" y="473049"/>
                      <a:pt x="1623974" y="475488"/>
                    </a:cubicBezTo>
                    <a:cubicBezTo>
                      <a:pt x="1630476" y="494995"/>
                      <a:pt x="1640452" y="512823"/>
                      <a:pt x="1623974" y="534009"/>
                    </a:cubicBezTo>
                    <a:cubicBezTo>
                      <a:pt x="1613179" y="547889"/>
                      <a:pt x="1594713" y="553516"/>
                      <a:pt x="1580083" y="563270"/>
                    </a:cubicBezTo>
                    <a:lnTo>
                      <a:pt x="1558137" y="577900"/>
                    </a:lnTo>
                    <a:cubicBezTo>
                      <a:pt x="1552201" y="595708"/>
                      <a:pt x="1543008" y="610196"/>
                      <a:pt x="1558137" y="629107"/>
                    </a:cubicBezTo>
                    <a:cubicBezTo>
                      <a:pt x="1562954" y="635128"/>
                      <a:pt x="1572768" y="633984"/>
                      <a:pt x="1580083" y="636422"/>
                    </a:cubicBezTo>
                    <a:cubicBezTo>
                      <a:pt x="1587398" y="643737"/>
                      <a:pt x="1593611" y="652355"/>
                      <a:pt x="1602029" y="658368"/>
                    </a:cubicBezTo>
                    <a:cubicBezTo>
                      <a:pt x="1610902" y="664706"/>
                      <a:pt x="1623578" y="665287"/>
                      <a:pt x="1631289" y="672998"/>
                    </a:cubicBezTo>
                    <a:cubicBezTo>
                      <a:pt x="1636742" y="678451"/>
                      <a:pt x="1635156" y="688047"/>
                      <a:pt x="1638605" y="694944"/>
                    </a:cubicBezTo>
                    <a:cubicBezTo>
                      <a:pt x="1642537" y="702807"/>
                      <a:pt x="1648358" y="709574"/>
                      <a:pt x="1653235" y="716889"/>
                    </a:cubicBezTo>
                    <a:cubicBezTo>
                      <a:pt x="1647125" y="753548"/>
                      <a:pt x="1654381" y="762455"/>
                      <a:pt x="1623974" y="782726"/>
                    </a:cubicBezTo>
                    <a:cubicBezTo>
                      <a:pt x="1617558" y="787003"/>
                      <a:pt x="1609344" y="787603"/>
                      <a:pt x="1602029" y="790041"/>
                    </a:cubicBezTo>
                    <a:cubicBezTo>
                      <a:pt x="1597152" y="804671"/>
                      <a:pt x="1588932" y="818587"/>
                      <a:pt x="1587398" y="833932"/>
                    </a:cubicBezTo>
                    <a:cubicBezTo>
                      <a:pt x="1585301" y="854907"/>
                      <a:pt x="1585949" y="902668"/>
                      <a:pt x="1572768" y="929030"/>
                    </a:cubicBezTo>
                    <a:cubicBezTo>
                      <a:pt x="1568836" y="936894"/>
                      <a:pt x="1563014" y="943661"/>
                      <a:pt x="1558137" y="950976"/>
                    </a:cubicBezTo>
                    <a:cubicBezTo>
                      <a:pt x="1556564" y="958843"/>
                      <a:pt x="1550255" y="998249"/>
                      <a:pt x="1543507" y="1009497"/>
                    </a:cubicBezTo>
                    <a:cubicBezTo>
                      <a:pt x="1539959" y="1015411"/>
                      <a:pt x="1533015" y="1018610"/>
                      <a:pt x="1528877" y="1024128"/>
                    </a:cubicBezTo>
                    <a:cubicBezTo>
                      <a:pt x="1518327" y="1038195"/>
                      <a:pt x="1509370" y="1053389"/>
                      <a:pt x="1499616" y="1068019"/>
                    </a:cubicBezTo>
                    <a:cubicBezTo>
                      <a:pt x="1494739" y="1075334"/>
                      <a:pt x="1491201" y="1083747"/>
                      <a:pt x="1484985" y="1089964"/>
                    </a:cubicBezTo>
                    <a:lnTo>
                      <a:pt x="1470355" y="1104595"/>
                    </a:lnTo>
                    <a:cubicBezTo>
                      <a:pt x="1467917" y="1111910"/>
                      <a:pt x="1468492" y="1121088"/>
                      <a:pt x="1463040" y="1126540"/>
                    </a:cubicBezTo>
                    <a:cubicBezTo>
                      <a:pt x="1455329" y="1134251"/>
                      <a:pt x="1443026" y="1135391"/>
                      <a:pt x="1433779" y="1141171"/>
                    </a:cubicBezTo>
                    <a:cubicBezTo>
                      <a:pt x="1423440" y="1147633"/>
                      <a:pt x="1415104" y="1157067"/>
                      <a:pt x="1404518" y="1163116"/>
                    </a:cubicBezTo>
                    <a:cubicBezTo>
                      <a:pt x="1397823" y="1166942"/>
                      <a:pt x="1389313" y="1166687"/>
                      <a:pt x="1382573" y="1170432"/>
                    </a:cubicBezTo>
                    <a:cubicBezTo>
                      <a:pt x="1307112" y="1212354"/>
                      <a:pt x="1366392" y="1190454"/>
                      <a:pt x="1316736" y="1207008"/>
                    </a:cubicBezTo>
                    <a:cubicBezTo>
                      <a:pt x="1244657" y="1202503"/>
                      <a:pt x="1223471" y="1208288"/>
                      <a:pt x="1170432" y="1192377"/>
                    </a:cubicBezTo>
                    <a:cubicBezTo>
                      <a:pt x="1155661" y="1187946"/>
                      <a:pt x="1141171" y="1182624"/>
                      <a:pt x="1126541" y="1177747"/>
                    </a:cubicBezTo>
                    <a:lnTo>
                      <a:pt x="1104595" y="1170432"/>
                    </a:lnTo>
                    <a:cubicBezTo>
                      <a:pt x="1097280" y="1165555"/>
                      <a:pt x="1085064" y="1164255"/>
                      <a:pt x="1082649" y="1155801"/>
                    </a:cubicBezTo>
                    <a:cubicBezTo>
                      <a:pt x="1054543" y="1057425"/>
                      <a:pt x="1145535" y="1193788"/>
                      <a:pt x="1082649" y="1068019"/>
                    </a:cubicBezTo>
                    <a:cubicBezTo>
                      <a:pt x="1079201" y="1061122"/>
                      <a:pt x="1068118" y="1062822"/>
                      <a:pt x="1060704" y="1060704"/>
                    </a:cubicBezTo>
                    <a:cubicBezTo>
                      <a:pt x="1051037" y="1057942"/>
                      <a:pt x="1041197" y="1055827"/>
                      <a:pt x="1031443" y="1053388"/>
                    </a:cubicBezTo>
                    <a:cubicBezTo>
                      <a:pt x="1024128" y="1055827"/>
                      <a:pt x="1014950" y="1055251"/>
                      <a:pt x="1009497" y="1060704"/>
                    </a:cubicBezTo>
                    <a:cubicBezTo>
                      <a:pt x="1004045" y="1066156"/>
                      <a:pt x="1002182" y="1074938"/>
                      <a:pt x="1002182" y="1082649"/>
                    </a:cubicBezTo>
                    <a:cubicBezTo>
                      <a:pt x="1002182" y="1108401"/>
                      <a:pt x="1009268" y="1125854"/>
                      <a:pt x="1016813" y="1148486"/>
                    </a:cubicBezTo>
                    <a:cubicBezTo>
                      <a:pt x="1014374" y="1155801"/>
                      <a:pt x="1015518" y="1165615"/>
                      <a:pt x="1009497" y="1170432"/>
                    </a:cubicBezTo>
                    <a:cubicBezTo>
                      <a:pt x="999614" y="1178338"/>
                      <a:pt x="989990" y="1180185"/>
                      <a:pt x="972921" y="117774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prstClr val="white"/>
                  </a:solidFill>
                </a:endParaRPr>
              </a:p>
            </p:txBody>
          </p:sp>
          <p:sp>
            <p:nvSpPr>
              <p:cNvPr id="1078" name="Forma livre 352"/>
              <p:cNvSpPr/>
              <p:nvPr/>
            </p:nvSpPr>
            <p:spPr>
              <a:xfrm>
                <a:off x="2534735" y="3196742"/>
                <a:ext cx="479397" cy="482804"/>
              </a:xfrm>
              <a:custGeom>
                <a:avLst/>
                <a:gdLst>
                  <a:gd name="connsiteX0" fmla="*/ 318193 w 479397"/>
                  <a:gd name="connsiteY0" fmla="*/ 270663 h 482804"/>
                  <a:gd name="connsiteX1" fmla="*/ 362084 w 479397"/>
                  <a:gd name="connsiteY1" fmla="*/ 277978 h 482804"/>
                  <a:gd name="connsiteX2" fmla="*/ 384030 w 479397"/>
                  <a:gd name="connsiteY2" fmla="*/ 285293 h 482804"/>
                  <a:gd name="connsiteX3" fmla="*/ 464497 w 479397"/>
                  <a:gd name="connsiteY3" fmla="*/ 292608 h 482804"/>
                  <a:gd name="connsiteX4" fmla="*/ 479127 w 479397"/>
                  <a:gd name="connsiteY4" fmla="*/ 314554 h 482804"/>
                  <a:gd name="connsiteX5" fmla="*/ 449867 w 479397"/>
                  <a:gd name="connsiteY5" fmla="*/ 358445 h 482804"/>
                  <a:gd name="connsiteX6" fmla="*/ 442551 w 479397"/>
                  <a:gd name="connsiteY6" fmla="*/ 380391 h 482804"/>
                  <a:gd name="connsiteX7" fmla="*/ 435236 w 479397"/>
                  <a:gd name="connsiteY7" fmla="*/ 453543 h 482804"/>
                  <a:gd name="connsiteX8" fmla="*/ 369399 w 479397"/>
                  <a:gd name="connsiteY8" fmla="*/ 475488 h 482804"/>
                  <a:gd name="connsiteX9" fmla="*/ 347454 w 479397"/>
                  <a:gd name="connsiteY9" fmla="*/ 482804 h 482804"/>
                  <a:gd name="connsiteX10" fmla="*/ 318193 w 479397"/>
                  <a:gd name="connsiteY10" fmla="*/ 475488 h 482804"/>
                  <a:gd name="connsiteX11" fmla="*/ 310878 w 479397"/>
                  <a:gd name="connsiteY11" fmla="*/ 453543 h 482804"/>
                  <a:gd name="connsiteX12" fmla="*/ 296247 w 479397"/>
                  <a:gd name="connsiteY12" fmla="*/ 395021 h 482804"/>
                  <a:gd name="connsiteX13" fmla="*/ 252356 w 479397"/>
                  <a:gd name="connsiteY13" fmla="*/ 373076 h 482804"/>
                  <a:gd name="connsiteX14" fmla="*/ 98737 w 479397"/>
                  <a:gd name="connsiteY14" fmla="*/ 373076 h 482804"/>
                  <a:gd name="connsiteX15" fmla="*/ 76791 w 479397"/>
                  <a:gd name="connsiteY15" fmla="*/ 358445 h 482804"/>
                  <a:gd name="connsiteX16" fmla="*/ 47531 w 479397"/>
                  <a:gd name="connsiteY16" fmla="*/ 314554 h 482804"/>
                  <a:gd name="connsiteX17" fmla="*/ 40215 w 479397"/>
                  <a:gd name="connsiteY17" fmla="*/ 292608 h 482804"/>
                  <a:gd name="connsiteX18" fmla="*/ 10955 w 479397"/>
                  <a:gd name="connsiteY18" fmla="*/ 248717 h 482804"/>
                  <a:gd name="connsiteX19" fmla="*/ 10955 w 479397"/>
                  <a:gd name="connsiteY19" fmla="*/ 87783 h 482804"/>
                  <a:gd name="connsiteX20" fmla="*/ 18270 w 479397"/>
                  <a:gd name="connsiteY20" fmla="*/ 65837 h 482804"/>
                  <a:gd name="connsiteX21" fmla="*/ 32900 w 479397"/>
                  <a:gd name="connsiteY21" fmla="*/ 43892 h 482804"/>
                  <a:gd name="connsiteX22" fmla="*/ 40215 w 479397"/>
                  <a:gd name="connsiteY22" fmla="*/ 21946 h 482804"/>
                  <a:gd name="connsiteX23" fmla="*/ 62161 w 479397"/>
                  <a:gd name="connsiteY23" fmla="*/ 14631 h 482804"/>
                  <a:gd name="connsiteX24" fmla="*/ 84107 w 479397"/>
                  <a:gd name="connsiteY24" fmla="*/ 0 h 482804"/>
                  <a:gd name="connsiteX25" fmla="*/ 135313 w 479397"/>
                  <a:gd name="connsiteY25" fmla="*/ 7316 h 482804"/>
                  <a:gd name="connsiteX26" fmla="*/ 157259 w 479397"/>
                  <a:gd name="connsiteY26" fmla="*/ 21946 h 482804"/>
                  <a:gd name="connsiteX27" fmla="*/ 186519 w 479397"/>
                  <a:gd name="connsiteY27" fmla="*/ 43892 h 482804"/>
                  <a:gd name="connsiteX28" fmla="*/ 303563 w 479397"/>
                  <a:gd name="connsiteY28" fmla="*/ 51207 h 482804"/>
                  <a:gd name="connsiteX29" fmla="*/ 340139 w 479397"/>
                  <a:gd name="connsiteY29" fmla="*/ 80468 h 482804"/>
                  <a:gd name="connsiteX30" fmla="*/ 362084 w 479397"/>
                  <a:gd name="connsiteY30" fmla="*/ 95098 h 482804"/>
                  <a:gd name="connsiteX31" fmla="*/ 384030 w 479397"/>
                  <a:gd name="connsiteY31" fmla="*/ 138989 h 482804"/>
                  <a:gd name="connsiteX32" fmla="*/ 391345 w 479397"/>
                  <a:gd name="connsiteY32" fmla="*/ 197511 h 482804"/>
                  <a:gd name="connsiteX33" fmla="*/ 398660 w 479397"/>
                  <a:gd name="connsiteY33" fmla="*/ 219456 h 482804"/>
                  <a:gd name="connsiteX34" fmla="*/ 442551 w 479397"/>
                  <a:gd name="connsiteY34" fmla="*/ 241402 h 482804"/>
                  <a:gd name="connsiteX35" fmla="*/ 457182 w 479397"/>
                  <a:gd name="connsiteY35" fmla="*/ 256032 h 482804"/>
                  <a:gd name="connsiteX36" fmla="*/ 471812 w 479397"/>
                  <a:gd name="connsiteY36" fmla="*/ 307239 h 482804"/>
                  <a:gd name="connsiteX0" fmla="*/ 362084 w 479397"/>
                  <a:gd name="connsiteY0" fmla="*/ 277978 h 482804"/>
                  <a:gd name="connsiteX1" fmla="*/ 384030 w 479397"/>
                  <a:gd name="connsiteY1" fmla="*/ 285293 h 482804"/>
                  <a:gd name="connsiteX2" fmla="*/ 464497 w 479397"/>
                  <a:gd name="connsiteY2" fmla="*/ 292608 h 482804"/>
                  <a:gd name="connsiteX3" fmla="*/ 479127 w 479397"/>
                  <a:gd name="connsiteY3" fmla="*/ 314554 h 482804"/>
                  <a:gd name="connsiteX4" fmla="*/ 449867 w 479397"/>
                  <a:gd name="connsiteY4" fmla="*/ 358445 h 482804"/>
                  <a:gd name="connsiteX5" fmla="*/ 442551 w 479397"/>
                  <a:gd name="connsiteY5" fmla="*/ 380391 h 482804"/>
                  <a:gd name="connsiteX6" fmla="*/ 435236 w 479397"/>
                  <a:gd name="connsiteY6" fmla="*/ 453543 h 482804"/>
                  <a:gd name="connsiteX7" fmla="*/ 369399 w 479397"/>
                  <a:gd name="connsiteY7" fmla="*/ 475488 h 482804"/>
                  <a:gd name="connsiteX8" fmla="*/ 347454 w 479397"/>
                  <a:gd name="connsiteY8" fmla="*/ 482804 h 482804"/>
                  <a:gd name="connsiteX9" fmla="*/ 318193 w 479397"/>
                  <a:gd name="connsiteY9" fmla="*/ 475488 h 482804"/>
                  <a:gd name="connsiteX10" fmla="*/ 310878 w 479397"/>
                  <a:gd name="connsiteY10" fmla="*/ 453543 h 482804"/>
                  <a:gd name="connsiteX11" fmla="*/ 296247 w 479397"/>
                  <a:gd name="connsiteY11" fmla="*/ 395021 h 482804"/>
                  <a:gd name="connsiteX12" fmla="*/ 252356 w 479397"/>
                  <a:gd name="connsiteY12" fmla="*/ 373076 h 482804"/>
                  <a:gd name="connsiteX13" fmla="*/ 98737 w 479397"/>
                  <a:gd name="connsiteY13" fmla="*/ 373076 h 482804"/>
                  <a:gd name="connsiteX14" fmla="*/ 76791 w 479397"/>
                  <a:gd name="connsiteY14" fmla="*/ 358445 h 482804"/>
                  <a:gd name="connsiteX15" fmla="*/ 47531 w 479397"/>
                  <a:gd name="connsiteY15" fmla="*/ 314554 h 482804"/>
                  <a:gd name="connsiteX16" fmla="*/ 40215 w 479397"/>
                  <a:gd name="connsiteY16" fmla="*/ 292608 h 482804"/>
                  <a:gd name="connsiteX17" fmla="*/ 10955 w 479397"/>
                  <a:gd name="connsiteY17" fmla="*/ 248717 h 482804"/>
                  <a:gd name="connsiteX18" fmla="*/ 10955 w 479397"/>
                  <a:gd name="connsiteY18" fmla="*/ 87783 h 482804"/>
                  <a:gd name="connsiteX19" fmla="*/ 18270 w 479397"/>
                  <a:gd name="connsiteY19" fmla="*/ 65837 h 482804"/>
                  <a:gd name="connsiteX20" fmla="*/ 32900 w 479397"/>
                  <a:gd name="connsiteY20" fmla="*/ 43892 h 482804"/>
                  <a:gd name="connsiteX21" fmla="*/ 40215 w 479397"/>
                  <a:gd name="connsiteY21" fmla="*/ 21946 h 482804"/>
                  <a:gd name="connsiteX22" fmla="*/ 62161 w 479397"/>
                  <a:gd name="connsiteY22" fmla="*/ 14631 h 482804"/>
                  <a:gd name="connsiteX23" fmla="*/ 84107 w 479397"/>
                  <a:gd name="connsiteY23" fmla="*/ 0 h 482804"/>
                  <a:gd name="connsiteX24" fmla="*/ 135313 w 479397"/>
                  <a:gd name="connsiteY24" fmla="*/ 7316 h 482804"/>
                  <a:gd name="connsiteX25" fmla="*/ 157259 w 479397"/>
                  <a:gd name="connsiteY25" fmla="*/ 21946 h 482804"/>
                  <a:gd name="connsiteX26" fmla="*/ 186519 w 479397"/>
                  <a:gd name="connsiteY26" fmla="*/ 43892 h 482804"/>
                  <a:gd name="connsiteX27" fmla="*/ 303563 w 479397"/>
                  <a:gd name="connsiteY27" fmla="*/ 51207 h 482804"/>
                  <a:gd name="connsiteX28" fmla="*/ 340139 w 479397"/>
                  <a:gd name="connsiteY28" fmla="*/ 80468 h 482804"/>
                  <a:gd name="connsiteX29" fmla="*/ 362084 w 479397"/>
                  <a:gd name="connsiteY29" fmla="*/ 95098 h 482804"/>
                  <a:gd name="connsiteX30" fmla="*/ 384030 w 479397"/>
                  <a:gd name="connsiteY30" fmla="*/ 138989 h 482804"/>
                  <a:gd name="connsiteX31" fmla="*/ 391345 w 479397"/>
                  <a:gd name="connsiteY31" fmla="*/ 197511 h 482804"/>
                  <a:gd name="connsiteX32" fmla="*/ 398660 w 479397"/>
                  <a:gd name="connsiteY32" fmla="*/ 219456 h 482804"/>
                  <a:gd name="connsiteX33" fmla="*/ 442551 w 479397"/>
                  <a:gd name="connsiteY33" fmla="*/ 241402 h 482804"/>
                  <a:gd name="connsiteX34" fmla="*/ 457182 w 479397"/>
                  <a:gd name="connsiteY34" fmla="*/ 256032 h 482804"/>
                  <a:gd name="connsiteX35" fmla="*/ 471812 w 479397"/>
                  <a:gd name="connsiteY35" fmla="*/ 307239 h 482804"/>
                  <a:gd name="connsiteX0" fmla="*/ 384030 w 479397"/>
                  <a:gd name="connsiteY0" fmla="*/ 285293 h 482804"/>
                  <a:gd name="connsiteX1" fmla="*/ 464497 w 479397"/>
                  <a:gd name="connsiteY1" fmla="*/ 292608 h 482804"/>
                  <a:gd name="connsiteX2" fmla="*/ 479127 w 479397"/>
                  <a:gd name="connsiteY2" fmla="*/ 314554 h 482804"/>
                  <a:gd name="connsiteX3" fmla="*/ 449867 w 479397"/>
                  <a:gd name="connsiteY3" fmla="*/ 358445 h 482804"/>
                  <a:gd name="connsiteX4" fmla="*/ 442551 w 479397"/>
                  <a:gd name="connsiteY4" fmla="*/ 380391 h 482804"/>
                  <a:gd name="connsiteX5" fmla="*/ 435236 w 479397"/>
                  <a:gd name="connsiteY5" fmla="*/ 453543 h 482804"/>
                  <a:gd name="connsiteX6" fmla="*/ 369399 w 479397"/>
                  <a:gd name="connsiteY6" fmla="*/ 475488 h 482804"/>
                  <a:gd name="connsiteX7" fmla="*/ 347454 w 479397"/>
                  <a:gd name="connsiteY7" fmla="*/ 482804 h 482804"/>
                  <a:gd name="connsiteX8" fmla="*/ 318193 w 479397"/>
                  <a:gd name="connsiteY8" fmla="*/ 475488 h 482804"/>
                  <a:gd name="connsiteX9" fmla="*/ 310878 w 479397"/>
                  <a:gd name="connsiteY9" fmla="*/ 453543 h 482804"/>
                  <a:gd name="connsiteX10" fmla="*/ 296247 w 479397"/>
                  <a:gd name="connsiteY10" fmla="*/ 395021 h 482804"/>
                  <a:gd name="connsiteX11" fmla="*/ 252356 w 479397"/>
                  <a:gd name="connsiteY11" fmla="*/ 373076 h 482804"/>
                  <a:gd name="connsiteX12" fmla="*/ 98737 w 479397"/>
                  <a:gd name="connsiteY12" fmla="*/ 373076 h 482804"/>
                  <a:gd name="connsiteX13" fmla="*/ 76791 w 479397"/>
                  <a:gd name="connsiteY13" fmla="*/ 358445 h 482804"/>
                  <a:gd name="connsiteX14" fmla="*/ 47531 w 479397"/>
                  <a:gd name="connsiteY14" fmla="*/ 314554 h 482804"/>
                  <a:gd name="connsiteX15" fmla="*/ 40215 w 479397"/>
                  <a:gd name="connsiteY15" fmla="*/ 292608 h 482804"/>
                  <a:gd name="connsiteX16" fmla="*/ 10955 w 479397"/>
                  <a:gd name="connsiteY16" fmla="*/ 248717 h 482804"/>
                  <a:gd name="connsiteX17" fmla="*/ 10955 w 479397"/>
                  <a:gd name="connsiteY17" fmla="*/ 87783 h 482804"/>
                  <a:gd name="connsiteX18" fmla="*/ 18270 w 479397"/>
                  <a:gd name="connsiteY18" fmla="*/ 65837 h 482804"/>
                  <a:gd name="connsiteX19" fmla="*/ 32900 w 479397"/>
                  <a:gd name="connsiteY19" fmla="*/ 43892 h 482804"/>
                  <a:gd name="connsiteX20" fmla="*/ 40215 w 479397"/>
                  <a:gd name="connsiteY20" fmla="*/ 21946 h 482804"/>
                  <a:gd name="connsiteX21" fmla="*/ 62161 w 479397"/>
                  <a:gd name="connsiteY21" fmla="*/ 14631 h 482804"/>
                  <a:gd name="connsiteX22" fmla="*/ 84107 w 479397"/>
                  <a:gd name="connsiteY22" fmla="*/ 0 h 482804"/>
                  <a:gd name="connsiteX23" fmla="*/ 135313 w 479397"/>
                  <a:gd name="connsiteY23" fmla="*/ 7316 h 482804"/>
                  <a:gd name="connsiteX24" fmla="*/ 157259 w 479397"/>
                  <a:gd name="connsiteY24" fmla="*/ 21946 h 482804"/>
                  <a:gd name="connsiteX25" fmla="*/ 186519 w 479397"/>
                  <a:gd name="connsiteY25" fmla="*/ 43892 h 482804"/>
                  <a:gd name="connsiteX26" fmla="*/ 303563 w 479397"/>
                  <a:gd name="connsiteY26" fmla="*/ 51207 h 482804"/>
                  <a:gd name="connsiteX27" fmla="*/ 340139 w 479397"/>
                  <a:gd name="connsiteY27" fmla="*/ 80468 h 482804"/>
                  <a:gd name="connsiteX28" fmla="*/ 362084 w 479397"/>
                  <a:gd name="connsiteY28" fmla="*/ 95098 h 482804"/>
                  <a:gd name="connsiteX29" fmla="*/ 384030 w 479397"/>
                  <a:gd name="connsiteY29" fmla="*/ 138989 h 482804"/>
                  <a:gd name="connsiteX30" fmla="*/ 391345 w 479397"/>
                  <a:gd name="connsiteY30" fmla="*/ 197511 h 482804"/>
                  <a:gd name="connsiteX31" fmla="*/ 398660 w 479397"/>
                  <a:gd name="connsiteY31" fmla="*/ 219456 h 482804"/>
                  <a:gd name="connsiteX32" fmla="*/ 442551 w 479397"/>
                  <a:gd name="connsiteY32" fmla="*/ 241402 h 482804"/>
                  <a:gd name="connsiteX33" fmla="*/ 457182 w 479397"/>
                  <a:gd name="connsiteY33" fmla="*/ 256032 h 482804"/>
                  <a:gd name="connsiteX34" fmla="*/ 471812 w 479397"/>
                  <a:gd name="connsiteY34" fmla="*/ 307239 h 482804"/>
                  <a:gd name="connsiteX0" fmla="*/ 464497 w 479397"/>
                  <a:gd name="connsiteY0" fmla="*/ 292608 h 482804"/>
                  <a:gd name="connsiteX1" fmla="*/ 479127 w 479397"/>
                  <a:gd name="connsiteY1" fmla="*/ 314554 h 482804"/>
                  <a:gd name="connsiteX2" fmla="*/ 449867 w 479397"/>
                  <a:gd name="connsiteY2" fmla="*/ 358445 h 482804"/>
                  <a:gd name="connsiteX3" fmla="*/ 442551 w 479397"/>
                  <a:gd name="connsiteY3" fmla="*/ 380391 h 482804"/>
                  <a:gd name="connsiteX4" fmla="*/ 435236 w 479397"/>
                  <a:gd name="connsiteY4" fmla="*/ 453543 h 482804"/>
                  <a:gd name="connsiteX5" fmla="*/ 369399 w 479397"/>
                  <a:gd name="connsiteY5" fmla="*/ 475488 h 482804"/>
                  <a:gd name="connsiteX6" fmla="*/ 347454 w 479397"/>
                  <a:gd name="connsiteY6" fmla="*/ 482804 h 482804"/>
                  <a:gd name="connsiteX7" fmla="*/ 318193 w 479397"/>
                  <a:gd name="connsiteY7" fmla="*/ 475488 h 482804"/>
                  <a:gd name="connsiteX8" fmla="*/ 310878 w 479397"/>
                  <a:gd name="connsiteY8" fmla="*/ 453543 h 482804"/>
                  <a:gd name="connsiteX9" fmla="*/ 296247 w 479397"/>
                  <a:gd name="connsiteY9" fmla="*/ 395021 h 482804"/>
                  <a:gd name="connsiteX10" fmla="*/ 252356 w 479397"/>
                  <a:gd name="connsiteY10" fmla="*/ 373076 h 482804"/>
                  <a:gd name="connsiteX11" fmla="*/ 98737 w 479397"/>
                  <a:gd name="connsiteY11" fmla="*/ 373076 h 482804"/>
                  <a:gd name="connsiteX12" fmla="*/ 76791 w 479397"/>
                  <a:gd name="connsiteY12" fmla="*/ 358445 h 482804"/>
                  <a:gd name="connsiteX13" fmla="*/ 47531 w 479397"/>
                  <a:gd name="connsiteY13" fmla="*/ 314554 h 482804"/>
                  <a:gd name="connsiteX14" fmla="*/ 40215 w 479397"/>
                  <a:gd name="connsiteY14" fmla="*/ 292608 h 482804"/>
                  <a:gd name="connsiteX15" fmla="*/ 10955 w 479397"/>
                  <a:gd name="connsiteY15" fmla="*/ 248717 h 482804"/>
                  <a:gd name="connsiteX16" fmla="*/ 10955 w 479397"/>
                  <a:gd name="connsiteY16" fmla="*/ 87783 h 482804"/>
                  <a:gd name="connsiteX17" fmla="*/ 18270 w 479397"/>
                  <a:gd name="connsiteY17" fmla="*/ 65837 h 482804"/>
                  <a:gd name="connsiteX18" fmla="*/ 32900 w 479397"/>
                  <a:gd name="connsiteY18" fmla="*/ 43892 h 482804"/>
                  <a:gd name="connsiteX19" fmla="*/ 40215 w 479397"/>
                  <a:gd name="connsiteY19" fmla="*/ 21946 h 482804"/>
                  <a:gd name="connsiteX20" fmla="*/ 62161 w 479397"/>
                  <a:gd name="connsiteY20" fmla="*/ 14631 h 482804"/>
                  <a:gd name="connsiteX21" fmla="*/ 84107 w 479397"/>
                  <a:gd name="connsiteY21" fmla="*/ 0 h 482804"/>
                  <a:gd name="connsiteX22" fmla="*/ 135313 w 479397"/>
                  <a:gd name="connsiteY22" fmla="*/ 7316 h 482804"/>
                  <a:gd name="connsiteX23" fmla="*/ 157259 w 479397"/>
                  <a:gd name="connsiteY23" fmla="*/ 21946 h 482804"/>
                  <a:gd name="connsiteX24" fmla="*/ 186519 w 479397"/>
                  <a:gd name="connsiteY24" fmla="*/ 43892 h 482804"/>
                  <a:gd name="connsiteX25" fmla="*/ 303563 w 479397"/>
                  <a:gd name="connsiteY25" fmla="*/ 51207 h 482804"/>
                  <a:gd name="connsiteX26" fmla="*/ 340139 w 479397"/>
                  <a:gd name="connsiteY26" fmla="*/ 80468 h 482804"/>
                  <a:gd name="connsiteX27" fmla="*/ 362084 w 479397"/>
                  <a:gd name="connsiteY27" fmla="*/ 95098 h 482804"/>
                  <a:gd name="connsiteX28" fmla="*/ 384030 w 479397"/>
                  <a:gd name="connsiteY28" fmla="*/ 138989 h 482804"/>
                  <a:gd name="connsiteX29" fmla="*/ 391345 w 479397"/>
                  <a:gd name="connsiteY29" fmla="*/ 197511 h 482804"/>
                  <a:gd name="connsiteX30" fmla="*/ 398660 w 479397"/>
                  <a:gd name="connsiteY30" fmla="*/ 219456 h 482804"/>
                  <a:gd name="connsiteX31" fmla="*/ 442551 w 479397"/>
                  <a:gd name="connsiteY31" fmla="*/ 241402 h 482804"/>
                  <a:gd name="connsiteX32" fmla="*/ 457182 w 479397"/>
                  <a:gd name="connsiteY32" fmla="*/ 256032 h 482804"/>
                  <a:gd name="connsiteX33" fmla="*/ 471812 w 479397"/>
                  <a:gd name="connsiteY33" fmla="*/ 307239 h 482804"/>
                  <a:gd name="connsiteX0" fmla="*/ 479127 w 479397"/>
                  <a:gd name="connsiteY0" fmla="*/ 314554 h 482804"/>
                  <a:gd name="connsiteX1" fmla="*/ 449867 w 479397"/>
                  <a:gd name="connsiteY1" fmla="*/ 358445 h 482804"/>
                  <a:gd name="connsiteX2" fmla="*/ 442551 w 479397"/>
                  <a:gd name="connsiteY2" fmla="*/ 380391 h 482804"/>
                  <a:gd name="connsiteX3" fmla="*/ 435236 w 479397"/>
                  <a:gd name="connsiteY3" fmla="*/ 453543 h 482804"/>
                  <a:gd name="connsiteX4" fmla="*/ 369399 w 479397"/>
                  <a:gd name="connsiteY4" fmla="*/ 475488 h 482804"/>
                  <a:gd name="connsiteX5" fmla="*/ 347454 w 479397"/>
                  <a:gd name="connsiteY5" fmla="*/ 482804 h 482804"/>
                  <a:gd name="connsiteX6" fmla="*/ 318193 w 479397"/>
                  <a:gd name="connsiteY6" fmla="*/ 475488 h 482804"/>
                  <a:gd name="connsiteX7" fmla="*/ 310878 w 479397"/>
                  <a:gd name="connsiteY7" fmla="*/ 453543 h 482804"/>
                  <a:gd name="connsiteX8" fmla="*/ 296247 w 479397"/>
                  <a:gd name="connsiteY8" fmla="*/ 395021 h 482804"/>
                  <a:gd name="connsiteX9" fmla="*/ 252356 w 479397"/>
                  <a:gd name="connsiteY9" fmla="*/ 373076 h 482804"/>
                  <a:gd name="connsiteX10" fmla="*/ 98737 w 479397"/>
                  <a:gd name="connsiteY10" fmla="*/ 373076 h 482804"/>
                  <a:gd name="connsiteX11" fmla="*/ 76791 w 479397"/>
                  <a:gd name="connsiteY11" fmla="*/ 358445 h 482804"/>
                  <a:gd name="connsiteX12" fmla="*/ 47531 w 479397"/>
                  <a:gd name="connsiteY12" fmla="*/ 314554 h 482804"/>
                  <a:gd name="connsiteX13" fmla="*/ 40215 w 479397"/>
                  <a:gd name="connsiteY13" fmla="*/ 292608 h 482804"/>
                  <a:gd name="connsiteX14" fmla="*/ 10955 w 479397"/>
                  <a:gd name="connsiteY14" fmla="*/ 248717 h 482804"/>
                  <a:gd name="connsiteX15" fmla="*/ 10955 w 479397"/>
                  <a:gd name="connsiteY15" fmla="*/ 87783 h 482804"/>
                  <a:gd name="connsiteX16" fmla="*/ 18270 w 479397"/>
                  <a:gd name="connsiteY16" fmla="*/ 65837 h 482804"/>
                  <a:gd name="connsiteX17" fmla="*/ 32900 w 479397"/>
                  <a:gd name="connsiteY17" fmla="*/ 43892 h 482804"/>
                  <a:gd name="connsiteX18" fmla="*/ 40215 w 479397"/>
                  <a:gd name="connsiteY18" fmla="*/ 21946 h 482804"/>
                  <a:gd name="connsiteX19" fmla="*/ 62161 w 479397"/>
                  <a:gd name="connsiteY19" fmla="*/ 14631 h 482804"/>
                  <a:gd name="connsiteX20" fmla="*/ 84107 w 479397"/>
                  <a:gd name="connsiteY20" fmla="*/ 0 h 482804"/>
                  <a:gd name="connsiteX21" fmla="*/ 135313 w 479397"/>
                  <a:gd name="connsiteY21" fmla="*/ 7316 h 482804"/>
                  <a:gd name="connsiteX22" fmla="*/ 157259 w 479397"/>
                  <a:gd name="connsiteY22" fmla="*/ 21946 h 482804"/>
                  <a:gd name="connsiteX23" fmla="*/ 186519 w 479397"/>
                  <a:gd name="connsiteY23" fmla="*/ 43892 h 482804"/>
                  <a:gd name="connsiteX24" fmla="*/ 303563 w 479397"/>
                  <a:gd name="connsiteY24" fmla="*/ 51207 h 482804"/>
                  <a:gd name="connsiteX25" fmla="*/ 340139 w 479397"/>
                  <a:gd name="connsiteY25" fmla="*/ 80468 h 482804"/>
                  <a:gd name="connsiteX26" fmla="*/ 362084 w 479397"/>
                  <a:gd name="connsiteY26" fmla="*/ 95098 h 482804"/>
                  <a:gd name="connsiteX27" fmla="*/ 384030 w 479397"/>
                  <a:gd name="connsiteY27" fmla="*/ 138989 h 482804"/>
                  <a:gd name="connsiteX28" fmla="*/ 391345 w 479397"/>
                  <a:gd name="connsiteY28" fmla="*/ 197511 h 482804"/>
                  <a:gd name="connsiteX29" fmla="*/ 398660 w 479397"/>
                  <a:gd name="connsiteY29" fmla="*/ 219456 h 482804"/>
                  <a:gd name="connsiteX30" fmla="*/ 442551 w 479397"/>
                  <a:gd name="connsiteY30" fmla="*/ 241402 h 482804"/>
                  <a:gd name="connsiteX31" fmla="*/ 457182 w 479397"/>
                  <a:gd name="connsiteY31" fmla="*/ 256032 h 482804"/>
                  <a:gd name="connsiteX32" fmla="*/ 471812 w 479397"/>
                  <a:gd name="connsiteY32" fmla="*/ 307239 h 482804"/>
                  <a:gd name="connsiteX0" fmla="*/ 479127 w 479397"/>
                  <a:gd name="connsiteY0" fmla="*/ 314554 h 482804"/>
                  <a:gd name="connsiteX1" fmla="*/ 449867 w 479397"/>
                  <a:gd name="connsiteY1" fmla="*/ 358445 h 482804"/>
                  <a:gd name="connsiteX2" fmla="*/ 442551 w 479397"/>
                  <a:gd name="connsiteY2" fmla="*/ 380391 h 482804"/>
                  <a:gd name="connsiteX3" fmla="*/ 435236 w 479397"/>
                  <a:gd name="connsiteY3" fmla="*/ 453543 h 482804"/>
                  <a:gd name="connsiteX4" fmla="*/ 369399 w 479397"/>
                  <a:gd name="connsiteY4" fmla="*/ 475488 h 482804"/>
                  <a:gd name="connsiteX5" fmla="*/ 347454 w 479397"/>
                  <a:gd name="connsiteY5" fmla="*/ 482804 h 482804"/>
                  <a:gd name="connsiteX6" fmla="*/ 318193 w 479397"/>
                  <a:gd name="connsiteY6" fmla="*/ 475488 h 482804"/>
                  <a:gd name="connsiteX7" fmla="*/ 310878 w 479397"/>
                  <a:gd name="connsiteY7" fmla="*/ 453543 h 482804"/>
                  <a:gd name="connsiteX8" fmla="*/ 296247 w 479397"/>
                  <a:gd name="connsiteY8" fmla="*/ 395021 h 482804"/>
                  <a:gd name="connsiteX9" fmla="*/ 252356 w 479397"/>
                  <a:gd name="connsiteY9" fmla="*/ 373076 h 482804"/>
                  <a:gd name="connsiteX10" fmla="*/ 98737 w 479397"/>
                  <a:gd name="connsiteY10" fmla="*/ 373076 h 482804"/>
                  <a:gd name="connsiteX11" fmla="*/ 76791 w 479397"/>
                  <a:gd name="connsiteY11" fmla="*/ 358445 h 482804"/>
                  <a:gd name="connsiteX12" fmla="*/ 47531 w 479397"/>
                  <a:gd name="connsiteY12" fmla="*/ 314554 h 482804"/>
                  <a:gd name="connsiteX13" fmla="*/ 40215 w 479397"/>
                  <a:gd name="connsiteY13" fmla="*/ 292608 h 482804"/>
                  <a:gd name="connsiteX14" fmla="*/ 10955 w 479397"/>
                  <a:gd name="connsiteY14" fmla="*/ 248717 h 482804"/>
                  <a:gd name="connsiteX15" fmla="*/ 10955 w 479397"/>
                  <a:gd name="connsiteY15" fmla="*/ 87783 h 482804"/>
                  <a:gd name="connsiteX16" fmla="*/ 18270 w 479397"/>
                  <a:gd name="connsiteY16" fmla="*/ 65837 h 482804"/>
                  <a:gd name="connsiteX17" fmla="*/ 32900 w 479397"/>
                  <a:gd name="connsiteY17" fmla="*/ 43892 h 482804"/>
                  <a:gd name="connsiteX18" fmla="*/ 40215 w 479397"/>
                  <a:gd name="connsiteY18" fmla="*/ 21946 h 482804"/>
                  <a:gd name="connsiteX19" fmla="*/ 62161 w 479397"/>
                  <a:gd name="connsiteY19" fmla="*/ 14631 h 482804"/>
                  <a:gd name="connsiteX20" fmla="*/ 84107 w 479397"/>
                  <a:gd name="connsiteY20" fmla="*/ 0 h 482804"/>
                  <a:gd name="connsiteX21" fmla="*/ 135313 w 479397"/>
                  <a:gd name="connsiteY21" fmla="*/ 7316 h 482804"/>
                  <a:gd name="connsiteX22" fmla="*/ 157259 w 479397"/>
                  <a:gd name="connsiteY22" fmla="*/ 21946 h 482804"/>
                  <a:gd name="connsiteX23" fmla="*/ 186519 w 479397"/>
                  <a:gd name="connsiteY23" fmla="*/ 43892 h 482804"/>
                  <a:gd name="connsiteX24" fmla="*/ 303563 w 479397"/>
                  <a:gd name="connsiteY24" fmla="*/ 51207 h 482804"/>
                  <a:gd name="connsiteX25" fmla="*/ 340139 w 479397"/>
                  <a:gd name="connsiteY25" fmla="*/ 80468 h 482804"/>
                  <a:gd name="connsiteX26" fmla="*/ 362084 w 479397"/>
                  <a:gd name="connsiteY26" fmla="*/ 95098 h 482804"/>
                  <a:gd name="connsiteX27" fmla="*/ 384030 w 479397"/>
                  <a:gd name="connsiteY27" fmla="*/ 138989 h 482804"/>
                  <a:gd name="connsiteX28" fmla="*/ 391345 w 479397"/>
                  <a:gd name="connsiteY28" fmla="*/ 197511 h 482804"/>
                  <a:gd name="connsiteX29" fmla="*/ 398660 w 479397"/>
                  <a:gd name="connsiteY29" fmla="*/ 219456 h 482804"/>
                  <a:gd name="connsiteX30" fmla="*/ 442551 w 479397"/>
                  <a:gd name="connsiteY30" fmla="*/ 241402 h 482804"/>
                  <a:gd name="connsiteX31" fmla="*/ 457182 w 479397"/>
                  <a:gd name="connsiteY31" fmla="*/ 256032 h 482804"/>
                  <a:gd name="connsiteX0" fmla="*/ 479127 w 479397"/>
                  <a:gd name="connsiteY0" fmla="*/ 314554 h 482804"/>
                  <a:gd name="connsiteX1" fmla="*/ 449867 w 479397"/>
                  <a:gd name="connsiteY1" fmla="*/ 358445 h 482804"/>
                  <a:gd name="connsiteX2" fmla="*/ 442551 w 479397"/>
                  <a:gd name="connsiteY2" fmla="*/ 380391 h 482804"/>
                  <a:gd name="connsiteX3" fmla="*/ 435236 w 479397"/>
                  <a:gd name="connsiteY3" fmla="*/ 453543 h 482804"/>
                  <a:gd name="connsiteX4" fmla="*/ 369399 w 479397"/>
                  <a:gd name="connsiteY4" fmla="*/ 475488 h 482804"/>
                  <a:gd name="connsiteX5" fmla="*/ 347454 w 479397"/>
                  <a:gd name="connsiteY5" fmla="*/ 482804 h 482804"/>
                  <a:gd name="connsiteX6" fmla="*/ 318193 w 479397"/>
                  <a:gd name="connsiteY6" fmla="*/ 475488 h 482804"/>
                  <a:gd name="connsiteX7" fmla="*/ 310878 w 479397"/>
                  <a:gd name="connsiteY7" fmla="*/ 453543 h 482804"/>
                  <a:gd name="connsiteX8" fmla="*/ 296247 w 479397"/>
                  <a:gd name="connsiteY8" fmla="*/ 395021 h 482804"/>
                  <a:gd name="connsiteX9" fmla="*/ 252356 w 479397"/>
                  <a:gd name="connsiteY9" fmla="*/ 373076 h 482804"/>
                  <a:gd name="connsiteX10" fmla="*/ 98737 w 479397"/>
                  <a:gd name="connsiteY10" fmla="*/ 373076 h 482804"/>
                  <a:gd name="connsiteX11" fmla="*/ 76791 w 479397"/>
                  <a:gd name="connsiteY11" fmla="*/ 358445 h 482804"/>
                  <a:gd name="connsiteX12" fmla="*/ 47531 w 479397"/>
                  <a:gd name="connsiteY12" fmla="*/ 314554 h 482804"/>
                  <a:gd name="connsiteX13" fmla="*/ 40215 w 479397"/>
                  <a:gd name="connsiteY13" fmla="*/ 292608 h 482804"/>
                  <a:gd name="connsiteX14" fmla="*/ 10955 w 479397"/>
                  <a:gd name="connsiteY14" fmla="*/ 248717 h 482804"/>
                  <a:gd name="connsiteX15" fmla="*/ 10955 w 479397"/>
                  <a:gd name="connsiteY15" fmla="*/ 87783 h 482804"/>
                  <a:gd name="connsiteX16" fmla="*/ 18270 w 479397"/>
                  <a:gd name="connsiteY16" fmla="*/ 65837 h 482804"/>
                  <a:gd name="connsiteX17" fmla="*/ 32900 w 479397"/>
                  <a:gd name="connsiteY17" fmla="*/ 43892 h 482804"/>
                  <a:gd name="connsiteX18" fmla="*/ 40215 w 479397"/>
                  <a:gd name="connsiteY18" fmla="*/ 21946 h 482804"/>
                  <a:gd name="connsiteX19" fmla="*/ 62161 w 479397"/>
                  <a:gd name="connsiteY19" fmla="*/ 14631 h 482804"/>
                  <a:gd name="connsiteX20" fmla="*/ 84107 w 479397"/>
                  <a:gd name="connsiteY20" fmla="*/ 0 h 482804"/>
                  <a:gd name="connsiteX21" fmla="*/ 135313 w 479397"/>
                  <a:gd name="connsiteY21" fmla="*/ 7316 h 482804"/>
                  <a:gd name="connsiteX22" fmla="*/ 157259 w 479397"/>
                  <a:gd name="connsiteY22" fmla="*/ 21946 h 482804"/>
                  <a:gd name="connsiteX23" fmla="*/ 186519 w 479397"/>
                  <a:gd name="connsiteY23" fmla="*/ 43892 h 482804"/>
                  <a:gd name="connsiteX24" fmla="*/ 303563 w 479397"/>
                  <a:gd name="connsiteY24" fmla="*/ 51207 h 482804"/>
                  <a:gd name="connsiteX25" fmla="*/ 340139 w 479397"/>
                  <a:gd name="connsiteY25" fmla="*/ 80468 h 482804"/>
                  <a:gd name="connsiteX26" fmla="*/ 362084 w 479397"/>
                  <a:gd name="connsiteY26" fmla="*/ 95098 h 482804"/>
                  <a:gd name="connsiteX27" fmla="*/ 384030 w 479397"/>
                  <a:gd name="connsiteY27" fmla="*/ 138989 h 482804"/>
                  <a:gd name="connsiteX28" fmla="*/ 391345 w 479397"/>
                  <a:gd name="connsiteY28" fmla="*/ 197511 h 482804"/>
                  <a:gd name="connsiteX29" fmla="*/ 398660 w 479397"/>
                  <a:gd name="connsiteY29" fmla="*/ 219456 h 482804"/>
                  <a:gd name="connsiteX30" fmla="*/ 442551 w 479397"/>
                  <a:gd name="connsiteY30" fmla="*/ 241402 h 482804"/>
                  <a:gd name="connsiteX31" fmla="*/ 475767 w 479397"/>
                  <a:gd name="connsiteY31" fmla="*/ 308071 h 482804"/>
                  <a:gd name="connsiteX0" fmla="*/ 479127 w 479397"/>
                  <a:gd name="connsiteY0" fmla="*/ 314554 h 482804"/>
                  <a:gd name="connsiteX1" fmla="*/ 449867 w 479397"/>
                  <a:gd name="connsiteY1" fmla="*/ 358445 h 482804"/>
                  <a:gd name="connsiteX2" fmla="*/ 442551 w 479397"/>
                  <a:gd name="connsiteY2" fmla="*/ 380391 h 482804"/>
                  <a:gd name="connsiteX3" fmla="*/ 435236 w 479397"/>
                  <a:gd name="connsiteY3" fmla="*/ 453543 h 482804"/>
                  <a:gd name="connsiteX4" fmla="*/ 369399 w 479397"/>
                  <a:gd name="connsiteY4" fmla="*/ 475488 h 482804"/>
                  <a:gd name="connsiteX5" fmla="*/ 347454 w 479397"/>
                  <a:gd name="connsiteY5" fmla="*/ 482804 h 482804"/>
                  <a:gd name="connsiteX6" fmla="*/ 318193 w 479397"/>
                  <a:gd name="connsiteY6" fmla="*/ 475488 h 482804"/>
                  <a:gd name="connsiteX7" fmla="*/ 310878 w 479397"/>
                  <a:gd name="connsiteY7" fmla="*/ 453543 h 482804"/>
                  <a:gd name="connsiteX8" fmla="*/ 296247 w 479397"/>
                  <a:gd name="connsiteY8" fmla="*/ 395021 h 482804"/>
                  <a:gd name="connsiteX9" fmla="*/ 252356 w 479397"/>
                  <a:gd name="connsiteY9" fmla="*/ 373076 h 482804"/>
                  <a:gd name="connsiteX10" fmla="*/ 98737 w 479397"/>
                  <a:gd name="connsiteY10" fmla="*/ 373076 h 482804"/>
                  <a:gd name="connsiteX11" fmla="*/ 76791 w 479397"/>
                  <a:gd name="connsiteY11" fmla="*/ 358445 h 482804"/>
                  <a:gd name="connsiteX12" fmla="*/ 47531 w 479397"/>
                  <a:gd name="connsiteY12" fmla="*/ 314554 h 482804"/>
                  <a:gd name="connsiteX13" fmla="*/ 40215 w 479397"/>
                  <a:gd name="connsiteY13" fmla="*/ 292608 h 482804"/>
                  <a:gd name="connsiteX14" fmla="*/ 10955 w 479397"/>
                  <a:gd name="connsiteY14" fmla="*/ 248717 h 482804"/>
                  <a:gd name="connsiteX15" fmla="*/ 10955 w 479397"/>
                  <a:gd name="connsiteY15" fmla="*/ 87783 h 482804"/>
                  <a:gd name="connsiteX16" fmla="*/ 18270 w 479397"/>
                  <a:gd name="connsiteY16" fmla="*/ 65837 h 482804"/>
                  <a:gd name="connsiteX17" fmla="*/ 32900 w 479397"/>
                  <a:gd name="connsiteY17" fmla="*/ 43892 h 482804"/>
                  <a:gd name="connsiteX18" fmla="*/ 40215 w 479397"/>
                  <a:gd name="connsiteY18" fmla="*/ 21946 h 482804"/>
                  <a:gd name="connsiteX19" fmla="*/ 62161 w 479397"/>
                  <a:gd name="connsiteY19" fmla="*/ 14631 h 482804"/>
                  <a:gd name="connsiteX20" fmla="*/ 84107 w 479397"/>
                  <a:gd name="connsiteY20" fmla="*/ 0 h 482804"/>
                  <a:gd name="connsiteX21" fmla="*/ 135313 w 479397"/>
                  <a:gd name="connsiteY21" fmla="*/ 7316 h 482804"/>
                  <a:gd name="connsiteX22" fmla="*/ 157259 w 479397"/>
                  <a:gd name="connsiteY22" fmla="*/ 21946 h 482804"/>
                  <a:gd name="connsiteX23" fmla="*/ 186519 w 479397"/>
                  <a:gd name="connsiteY23" fmla="*/ 43892 h 482804"/>
                  <a:gd name="connsiteX24" fmla="*/ 303563 w 479397"/>
                  <a:gd name="connsiteY24" fmla="*/ 51207 h 482804"/>
                  <a:gd name="connsiteX25" fmla="*/ 340139 w 479397"/>
                  <a:gd name="connsiteY25" fmla="*/ 80468 h 482804"/>
                  <a:gd name="connsiteX26" fmla="*/ 362084 w 479397"/>
                  <a:gd name="connsiteY26" fmla="*/ 95098 h 482804"/>
                  <a:gd name="connsiteX27" fmla="*/ 384030 w 479397"/>
                  <a:gd name="connsiteY27" fmla="*/ 138989 h 482804"/>
                  <a:gd name="connsiteX28" fmla="*/ 391345 w 479397"/>
                  <a:gd name="connsiteY28" fmla="*/ 197511 h 482804"/>
                  <a:gd name="connsiteX29" fmla="*/ 398660 w 479397"/>
                  <a:gd name="connsiteY29" fmla="*/ 219456 h 482804"/>
                  <a:gd name="connsiteX30" fmla="*/ 442551 w 479397"/>
                  <a:gd name="connsiteY30" fmla="*/ 241402 h 482804"/>
                  <a:gd name="connsiteX31" fmla="*/ 475767 w 479397"/>
                  <a:gd name="connsiteY31" fmla="*/ 308071 h 482804"/>
                  <a:gd name="connsiteX32" fmla="*/ 479127 w 479397"/>
                  <a:gd name="connsiteY32" fmla="*/ 314554 h 4828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479397" h="482804">
                    <a:moveTo>
                      <a:pt x="479127" y="314554"/>
                    </a:moveTo>
                    <a:cubicBezTo>
                      <a:pt x="482152" y="332703"/>
                      <a:pt x="459004" y="349308"/>
                      <a:pt x="449867" y="358445"/>
                    </a:cubicBezTo>
                    <a:cubicBezTo>
                      <a:pt x="447428" y="365760"/>
                      <a:pt x="443724" y="372770"/>
                      <a:pt x="442551" y="380391"/>
                    </a:cubicBezTo>
                    <a:cubicBezTo>
                      <a:pt x="438825" y="404612"/>
                      <a:pt x="447584" y="432376"/>
                      <a:pt x="435236" y="453543"/>
                    </a:cubicBezTo>
                    <a:cubicBezTo>
                      <a:pt x="435235" y="453544"/>
                      <a:pt x="380372" y="471830"/>
                      <a:pt x="369399" y="475488"/>
                    </a:cubicBezTo>
                    <a:lnTo>
                      <a:pt x="347454" y="482804"/>
                    </a:lnTo>
                    <a:cubicBezTo>
                      <a:pt x="337700" y="480365"/>
                      <a:pt x="326044" y="481769"/>
                      <a:pt x="318193" y="475488"/>
                    </a:cubicBezTo>
                    <a:cubicBezTo>
                      <a:pt x="312172" y="470671"/>
                      <a:pt x="312748" y="461023"/>
                      <a:pt x="310878" y="453543"/>
                    </a:cubicBezTo>
                    <a:cubicBezTo>
                      <a:pt x="310380" y="451551"/>
                      <a:pt x="302329" y="402624"/>
                      <a:pt x="296247" y="395021"/>
                    </a:cubicBezTo>
                    <a:cubicBezTo>
                      <a:pt x="285934" y="382129"/>
                      <a:pt x="266813" y="377895"/>
                      <a:pt x="252356" y="373076"/>
                    </a:cubicBezTo>
                    <a:cubicBezTo>
                      <a:pt x="195219" y="377837"/>
                      <a:pt x="154163" y="386933"/>
                      <a:pt x="98737" y="373076"/>
                    </a:cubicBezTo>
                    <a:cubicBezTo>
                      <a:pt x="90208" y="370944"/>
                      <a:pt x="84106" y="363322"/>
                      <a:pt x="76791" y="358445"/>
                    </a:cubicBezTo>
                    <a:cubicBezTo>
                      <a:pt x="67038" y="343815"/>
                      <a:pt x="53092" y="331235"/>
                      <a:pt x="47531" y="314554"/>
                    </a:cubicBezTo>
                    <a:cubicBezTo>
                      <a:pt x="45092" y="307239"/>
                      <a:pt x="43960" y="299349"/>
                      <a:pt x="40215" y="292608"/>
                    </a:cubicBezTo>
                    <a:cubicBezTo>
                      <a:pt x="31676" y="277237"/>
                      <a:pt x="10955" y="248717"/>
                      <a:pt x="10955" y="248717"/>
                    </a:cubicBezTo>
                    <a:cubicBezTo>
                      <a:pt x="-6092" y="180535"/>
                      <a:pt x="-991" y="213208"/>
                      <a:pt x="10955" y="87783"/>
                    </a:cubicBezTo>
                    <a:cubicBezTo>
                      <a:pt x="11686" y="80107"/>
                      <a:pt x="14822" y="72734"/>
                      <a:pt x="18270" y="65837"/>
                    </a:cubicBezTo>
                    <a:cubicBezTo>
                      <a:pt x="22202" y="57974"/>
                      <a:pt x="28023" y="51207"/>
                      <a:pt x="32900" y="43892"/>
                    </a:cubicBezTo>
                    <a:cubicBezTo>
                      <a:pt x="35338" y="36577"/>
                      <a:pt x="34762" y="27399"/>
                      <a:pt x="40215" y="21946"/>
                    </a:cubicBezTo>
                    <a:cubicBezTo>
                      <a:pt x="45668" y="16493"/>
                      <a:pt x="55264" y="18079"/>
                      <a:pt x="62161" y="14631"/>
                    </a:cubicBezTo>
                    <a:cubicBezTo>
                      <a:pt x="70025" y="10699"/>
                      <a:pt x="76792" y="4877"/>
                      <a:pt x="84107" y="0"/>
                    </a:cubicBezTo>
                    <a:cubicBezTo>
                      <a:pt x="101176" y="2439"/>
                      <a:pt x="118798" y="2361"/>
                      <a:pt x="135313" y="7316"/>
                    </a:cubicBezTo>
                    <a:cubicBezTo>
                      <a:pt x="143734" y="9842"/>
                      <a:pt x="150105" y="16836"/>
                      <a:pt x="157259" y="21946"/>
                    </a:cubicBezTo>
                    <a:cubicBezTo>
                      <a:pt x="167180" y="29032"/>
                      <a:pt x="174564" y="41501"/>
                      <a:pt x="186519" y="43892"/>
                    </a:cubicBezTo>
                    <a:cubicBezTo>
                      <a:pt x="224851" y="51558"/>
                      <a:pt x="264548" y="48769"/>
                      <a:pt x="303563" y="51207"/>
                    </a:cubicBezTo>
                    <a:cubicBezTo>
                      <a:pt x="371105" y="96235"/>
                      <a:pt x="288022" y="38774"/>
                      <a:pt x="340139" y="80468"/>
                    </a:cubicBezTo>
                    <a:cubicBezTo>
                      <a:pt x="347004" y="85960"/>
                      <a:pt x="354769" y="90221"/>
                      <a:pt x="362084" y="95098"/>
                    </a:cubicBezTo>
                    <a:cubicBezTo>
                      <a:pt x="373798" y="112668"/>
                      <a:pt x="380244" y="118167"/>
                      <a:pt x="384030" y="138989"/>
                    </a:cubicBezTo>
                    <a:cubicBezTo>
                      <a:pt x="387547" y="158331"/>
                      <a:pt x="387828" y="178169"/>
                      <a:pt x="391345" y="197511"/>
                    </a:cubicBezTo>
                    <a:cubicBezTo>
                      <a:pt x="392724" y="205097"/>
                      <a:pt x="393843" y="213435"/>
                      <a:pt x="398660" y="219456"/>
                    </a:cubicBezTo>
                    <a:cubicBezTo>
                      <a:pt x="408974" y="232348"/>
                      <a:pt x="428093" y="236583"/>
                      <a:pt x="442551" y="241402"/>
                    </a:cubicBezTo>
                    <a:cubicBezTo>
                      <a:pt x="447428" y="246279"/>
                      <a:pt x="472683" y="301902"/>
                      <a:pt x="475767" y="308071"/>
                    </a:cubicBezTo>
                    <a:lnTo>
                      <a:pt x="479127" y="3145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1079" name="Forma livre 353"/>
              <p:cNvSpPr/>
              <p:nvPr/>
            </p:nvSpPr>
            <p:spPr>
              <a:xfrm>
                <a:off x="4250069" y="4169664"/>
                <a:ext cx="351744" cy="482803"/>
              </a:xfrm>
              <a:custGeom>
                <a:avLst/>
                <a:gdLst>
                  <a:gd name="connsiteX0" fmla="*/ 248779 w 351744"/>
                  <a:gd name="connsiteY0" fmla="*/ 241402 h 482803"/>
                  <a:gd name="connsiteX1" fmla="*/ 285355 w 351744"/>
                  <a:gd name="connsiteY1" fmla="*/ 270662 h 482803"/>
                  <a:gd name="connsiteX2" fmla="*/ 329246 w 351744"/>
                  <a:gd name="connsiteY2" fmla="*/ 314554 h 482803"/>
                  <a:gd name="connsiteX3" fmla="*/ 336561 w 351744"/>
                  <a:gd name="connsiteY3" fmla="*/ 336499 h 482803"/>
                  <a:gd name="connsiteX4" fmla="*/ 351192 w 351744"/>
                  <a:gd name="connsiteY4" fmla="*/ 351130 h 482803"/>
                  <a:gd name="connsiteX5" fmla="*/ 343877 w 351744"/>
                  <a:gd name="connsiteY5" fmla="*/ 424282 h 482803"/>
                  <a:gd name="connsiteX6" fmla="*/ 329246 w 351744"/>
                  <a:gd name="connsiteY6" fmla="*/ 446227 h 482803"/>
                  <a:gd name="connsiteX7" fmla="*/ 292670 w 351744"/>
                  <a:gd name="connsiteY7" fmla="*/ 475488 h 482803"/>
                  <a:gd name="connsiteX8" fmla="*/ 270725 w 351744"/>
                  <a:gd name="connsiteY8" fmla="*/ 482803 h 482803"/>
                  <a:gd name="connsiteX9" fmla="*/ 168312 w 351744"/>
                  <a:gd name="connsiteY9" fmla="*/ 475488 h 482803"/>
                  <a:gd name="connsiteX10" fmla="*/ 146366 w 351744"/>
                  <a:gd name="connsiteY10" fmla="*/ 468173 h 482803"/>
                  <a:gd name="connsiteX11" fmla="*/ 109790 w 351744"/>
                  <a:gd name="connsiteY11" fmla="*/ 424282 h 482803"/>
                  <a:gd name="connsiteX12" fmla="*/ 73214 w 351744"/>
                  <a:gd name="connsiteY12" fmla="*/ 395021 h 482803"/>
                  <a:gd name="connsiteX13" fmla="*/ 29323 w 351744"/>
                  <a:gd name="connsiteY13" fmla="*/ 365760 h 482803"/>
                  <a:gd name="connsiteX14" fmla="*/ 62 w 351744"/>
                  <a:gd name="connsiteY14" fmla="*/ 321869 h 482803"/>
                  <a:gd name="connsiteX15" fmla="*/ 7377 w 351744"/>
                  <a:gd name="connsiteY15" fmla="*/ 226771 h 482803"/>
                  <a:gd name="connsiteX16" fmla="*/ 29323 w 351744"/>
                  <a:gd name="connsiteY16" fmla="*/ 190195 h 482803"/>
                  <a:gd name="connsiteX17" fmla="*/ 65899 w 351744"/>
                  <a:gd name="connsiteY17" fmla="*/ 153619 h 482803"/>
                  <a:gd name="connsiteX18" fmla="*/ 80529 w 351744"/>
                  <a:gd name="connsiteY18" fmla="*/ 109728 h 482803"/>
                  <a:gd name="connsiteX19" fmla="*/ 87845 w 351744"/>
                  <a:gd name="connsiteY19" fmla="*/ 87782 h 482803"/>
                  <a:gd name="connsiteX20" fmla="*/ 109790 w 351744"/>
                  <a:gd name="connsiteY20" fmla="*/ 29261 h 482803"/>
                  <a:gd name="connsiteX21" fmla="*/ 117105 w 351744"/>
                  <a:gd name="connsiteY21" fmla="*/ 7315 h 482803"/>
                  <a:gd name="connsiteX22" fmla="*/ 139051 w 351744"/>
                  <a:gd name="connsiteY22" fmla="*/ 0 h 482803"/>
                  <a:gd name="connsiteX23" fmla="*/ 212203 w 351744"/>
                  <a:gd name="connsiteY23" fmla="*/ 7315 h 482803"/>
                  <a:gd name="connsiteX24" fmla="*/ 256094 w 351744"/>
                  <a:gd name="connsiteY24" fmla="*/ 43891 h 482803"/>
                  <a:gd name="connsiteX25" fmla="*/ 278040 w 351744"/>
                  <a:gd name="connsiteY25" fmla="*/ 117043 h 482803"/>
                  <a:gd name="connsiteX26" fmla="*/ 292670 w 351744"/>
                  <a:gd name="connsiteY26" fmla="*/ 285293 h 482803"/>
                  <a:gd name="connsiteX0" fmla="*/ 285355 w 351744"/>
                  <a:gd name="connsiteY0" fmla="*/ 270662 h 482803"/>
                  <a:gd name="connsiteX1" fmla="*/ 329246 w 351744"/>
                  <a:gd name="connsiteY1" fmla="*/ 314554 h 482803"/>
                  <a:gd name="connsiteX2" fmla="*/ 336561 w 351744"/>
                  <a:gd name="connsiteY2" fmla="*/ 336499 h 482803"/>
                  <a:gd name="connsiteX3" fmla="*/ 351192 w 351744"/>
                  <a:gd name="connsiteY3" fmla="*/ 351130 h 482803"/>
                  <a:gd name="connsiteX4" fmla="*/ 343877 w 351744"/>
                  <a:gd name="connsiteY4" fmla="*/ 424282 h 482803"/>
                  <a:gd name="connsiteX5" fmla="*/ 329246 w 351744"/>
                  <a:gd name="connsiteY5" fmla="*/ 446227 h 482803"/>
                  <a:gd name="connsiteX6" fmla="*/ 292670 w 351744"/>
                  <a:gd name="connsiteY6" fmla="*/ 475488 h 482803"/>
                  <a:gd name="connsiteX7" fmla="*/ 270725 w 351744"/>
                  <a:gd name="connsiteY7" fmla="*/ 482803 h 482803"/>
                  <a:gd name="connsiteX8" fmla="*/ 168312 w 351744"/>
                  <a:gd name="connsiteY8" fmla="*/ 475488 h 482803"/>
                  <a:gd name="connsiteX9" fmla="*/ 146366 w 351744"/>
                  <a:gd name="connsiteY9" fmla="*/ 468173 h 482803"/>
                  <a:gd name="connsiteX10" fmla="*/ 109790 w 351744"/>
                  <a:gd name="connsiteY10" fmla="*/ 424282 h 482803"/>
                  <a:gd name="connsiteX11" fmla="*/ 73214 w 351744"/>
                  <a:gd name="connsiteY11" fmla="*/ 395021 h 482803"/>
                  <a:gd name="connsiteX12" fmla="*/ 29323 w 351744"/>
                  <a:gd name="connsiteY12" fmla="*/ 365760 h 482803"/>
                  <a:gd name="connsiteX13" fmla="*/ 62 w 351744"/>
                  <a:gd name="connsiteY13" fmla="*/ 321869 h 482803"/>
                  <a:gd name="connsiteX14" fmla="*/ 7377 w 351744"/>
                  <a:gd name="connsiteY14" fmla="*/ 226771 h 482803"/>
                  <a:gd name="connsiteX15" fmla="*/ 29323 w 351744"/>
                  <a:gd name="connsiteY15" fmla="*/ 190195 h 482803"/>
                  <a:gd name="connsiteX16" fmla="*/ 65899 w 351744"/>
                  <a:gd name="connsiteY16" fmla="*/ 153619 h 482803"/>
                  <a:gd name="connsiteX17" fmla="*/ 80529 w 351744"/>
                  <a:gd name="connsiteY17" fmla="*/ 109728 h 482803"/>
                  <a:gd name="connsiteX18" fmla="*/ 87845 w 351744"/>
                  <a:gd name="connsiteY18" fmla="*/ 87782 h 482803"/>
                  <a:gd name="connsiteX19" fmla="*/ 109790 w 351744"/>
                  <a:gd name="connsiteY19" fmla="*/ 29261 h 482803"/>
                  <a:gd name="connsiteX20" fmla="*/ 117105 w 351744"/>
                  <a:gd name="connsiteY20" fmla="*/ 7315 h 482803"/>
                  <a:gd name="connsiteX21" fmla="*/ 139051 w 351744"/>
                  <a:gd name="connsiteY21" fmla="*/ 0 h 482803"/>
                  <a:gd name="connsiteX22" fmla="*/ 212203 w 351744"/>
                  <a:gd name="connsiteY22" fmla="*/ 7315 h 482803"/>
                  <a:gd name="connsiteX23" fmla="*/ 256094 w 351744"/>
                  <a:gd name="connsiteY23" fmla="*/ 43891 h 482803"/>
                  <a:gd name="connsiteX24" fmla="*/ 278040 w 351744"/>
                  <a:gd name="connsiteY24" fmla="*/ 117043 h 482803"/>
                  <a:gd name="connsiteX25" fmla="*/ 292670 w 351744"/>
                  <a:gd name="connsiteY25" fmla="*/ 285293 h 482803"/>
                  <a:gd name="connsiteX0" fmla="*/ 329246 w 351744"/>
                  <a:gd name="connsiteY0" fmla="*/ 314554 h 482803"/>
                  <a:gd name="connsiteX1" fmla="*/ 336561 w 351744"/>
                  <a:gd name="connsiteY1" fmla="*/ 336499 h 482803"/>
                  <a:gd name="connsiteX2" fmla="*/ 351192 w 351744"/>
                  <a:gd name="connsiteY2" fmla="*/ 351130 h 482803"/>
                  <a:gd name="connsiteX3" fmla="*/ 343877 w 351744"/>
                  <a:gd name="connsiteY3" fmla="*/ 424282 h 482803"/>
                  <a:gd name="connsiteX4" fmla="*/ 329246 w 351744"/>
                  <a:gd name="connsiteY4" fmla="*/ 446227 h 482803"/>
                  <a:gd name="connsiteX5" fmla="*/ 292670 w 351744"/>
                  <a:gd name="connsiteY5" fmla="*/ 475488 h 482803"/>
                  <a:gd name="connsiteX6" fmla="*/ 270725 w 351744"/>
                  <a:gd name="connsiteY6" fmla="*/ 482803 h 482803"/>
                  <a:gd name="connsiteX7" fmla="*/ 168312 w 351744"/>
                  <a:gd name="connsiteY7" fmla="*/ 475488 h 482803"/>
                  <a:gd name="connsiteX8" fmla="*/ 146366 w 351744"/>
                  <a:gd name="connsiteY8" fmla="*/ 468173 h 482803"/>
                  <a:gd name="connsiteX9" fmla="*/ 109790 w 351744"/>
                  <a:gd name="connsiteY9" fmla="*/ 424282 h 482803"/>
                  <a:gd name="connsiteX10" fmla="*/ 73214 w 351744"/>
                  <a:gd name="connsiteY10" fmla="*/ 395021 h 482803"/>
                  <a:gd name="connsiteX11" fmla="*/ 29323 w 351744"/>
                  <a:gd name="connsiteY11" fmla="*/ 365760 h 482803"/>
                  <a:gd name="connsiteX12" fmla="*/ 62 w 351744"/>
                  <a:gd name="connsiteY12" fmla="*/ 321869 h 482803"/>
                  <a:gd name="connsiteX13" fmla="*/ 7377 w 351744"/>
                  <a:gd name="connsiteY13" fmla="*/ 226771 h 482803"/>
                  <a:gd name="connsiteX14" fmla="*/ 29323 w 351744"/>
                  <a:gd name="connsiteY14" fmla="*/ 190195 h 482803"/>
                  <a:gd name="connsiteX15" fmla="*/ 65899 w 351744"/>
                  <a:gd name="connsiteY15" fmla="*/ 153619 h 482803"/>
                  <a:gd name="connsiteX16" fmla="*/ 80529 w 351744"/>
                  <a:gd name="connsiteY16" fmla="*/ 109728 h 482803"/>
                  <a:gd name="connsiteX17" fmla="*/ 87845 w 351744"/>
                  <a:gd name="connsiteY17" fmla="*/ 87782 h 482803"/>
                  <a:gd name="connsiteX18" fmla="*/ 109790 w 351744"/>
                  <a:gd name="connsiteY18" fmla="*/ 29261 h 482803"/>
                  <a:gd name="connsiteX19" fmla="*/ 117105 w 351744"/>
                  <a:gd name="connsiteY19" fmla="*/ 7315 h 482803"/>
                  <a:gd name="connsiteX20" fmla="*/ 139051 w 351744"/>
                  <a:gd name="connsiteY20" fmla="*/ 0 h 482803"/>
                  <a:gd name="connsiteX21" fmla="*/ 212203 w 351744"/>
                  <a:gd name="connsiteY21" fmla="*/ 7315 h 482803"/>
                  <a:gd name="connsiteX22" fmla="*/ 256094 w 351744"/>
                  <a:gd name="connsiteY22" fmla="*/ 43891 h 482803"/>
                  <a:gd name="connsiteX23" fmla="*/ 278040 w 351744"/>
                  <a:gd name="connsiteY23" fmla="*/ 117043 h 482803"/>
                  <a:gd name="connsiteX24" fmla="*/ 292670 w 351744"/>
                  <a:gd name="connsiteY24" fmla="*/ 285293 h 482803"/>
                  <a:gd name="connsiteX0" fmla="*/ 290777 w 351744"/>
                  <a:gd name="connsiteY0" fmla="*/ 290880 h 482803"/>
                  <a:gd name="connsiteX1" fmla="*/ 336561 w 351744"/>
                  <a:gd name="connsiteY1" fmla="*/ 336499 h 482803"/>
                  <a:gd name="connsiteX2" fmla="*/ 351192 w 351744"/>
                  <a:gd name="connsiteY2" fmla="*/ 351130 h 482803"/>
                  <a:gd name="connsiteX3" fmla="*/ 343877 w 351744"/>
                  <a:gd name="connsiteY3" fmla="*/ 424282 h 482803"/>
                  <a:gd name="connsiteX4" fmla="*/ 329246 w 351744"/>
                  <a:gd name="connsiteY4" fmla="*/ 446227 h 482803"/>
                  <a:gd name="connsiteX5" fmla="*/ 292670 w 351744"/>
                  <a:gd name="connsiteY5" fmla="*/ 475488 h 482803"/>
                  <a:gd name="connsiteX6" fmla="*/ 270725 w 351744"/>
                  <a:gd name="connsiteY6" fmla="*/ 482803 h 482803"/>
                  <a:gd name="connsiteX7" fmla="*/ 168312 w 351744"/>
                  <a:gd name="connsiteY7" fmla="*/ 475488 h 482803"/>
                  <a:gd name="connsiteX8" fmla="*/ 146366 w 351744"/>
                  <a:gd name="connsiteY8" fmla="*/ 468173 h 482803"/>
                  <a:gd name="connsiteX9" fmla="*/ 109790 w 351744"/>
                  <a:gd name="connsiteY9" fmla="*/ 424282 h 482803"/>
                  <a:gd name="connsiteX10" fmla="*/ 73214 w 351744"/>
                  <a:gd name="connsiteY10" fmla="*/ 395021 h 482803"/>
                  <a:gd name="connsiteX11" fmla="*/ 29323 w 351744"/>
                  <a:gd name="connsiteY11" fmla="*/ 365760 h 482803"/>
                  <a:gd name="connsiteX12" fmla="*/ 62 w 351744"/>
                  <a:gd name="connsiteY12" fmla="*/ 321869 h 482803"/>
                  <a:gd name="connsiteX13" fmla="*/ 7377 w 351744"/>
                  <a:gd name="connsiteY13" fmla="*/ 226771 h 482803"/>
                  <a:gd name="connsiteX14" fmla="*/ 29323 w 351744"/>
                  <a:gd name="connsiteY14" fmla="*/ 190195 h 482803"/>
                  <a:gd name="connsiteX15" fmla="*/ 65899 w 351744"/>
                  <a:gd name="connsiteY15" fmla="*/ 153619 h 482803"/>
                  <a:gd name="connsiteX16" fmla="*/ 80529 w 351744"/>
                  <a:gd name="connsiteY16" fmla="*/ 109728 h 482803"/>
                  <a:gd name="connsiteX17" fmla="*/ 87845 w 351744"/>
                  <a:gd name="connsiteY17" fmla="*/ 87782 h 482803"/>
                  <a:gd name="connsiteX18" fmla="*/ 109790 w 351744"/>
                  <a:gd name="connsiteY18" fmla="*/ 29261 h 482803"/>
                  <a:gd name="connsiteX19" fmla="*/ 117105 w 351744"/>
                  <a:gd name="connsiteY19" fmla="*/ 7315 h 482803"/>
                  <a:gd name="connsiteX20" fmla="*/ 139051 w 351744"/>
                  <a:gd name="connsiteY20" fmla="*/ 0 h 482803"/>
                  <a:gd name="connsiteX21" fmla="*/ 212203 w 351744"/>
                  <a:gd name="connsiteY21" fmla="*/ 7315 h 482803"/>
                  <a:gd name="connsiteX22" fmla="*/ 256094 w 351744"/>
                  <a:gd name="connsiteY22" fmla="*/ 43891 h 482803"/>
                  <a:gd name="connsiteX23" fmla="*/ 278040 w 351744"/>
                  <a:gd name="connsiteY23" fmla="*/ 117043 h 482803"/>
                  <a:gd name="connsiteX24" fmla="*/ 292670 w 351744"/>
                  <a:gd name="connsiteY24" fmla="*/ 285293 h 482803"/>
                  <a:gd name="connsiteX0" fmla="*/ 290777 w 351744"/>
                  <a:gd name="connsiteY0" fmla="*/ 290880 h 482803"/>
                  <a:gd name="connsiteX1" fmla="*/ 336561 w 351744"/>
                  <a:gd name="connsiteY1" fmla="*/ 336499 h 482803"/>
                  <a:gd name="connsiteX2" fmla="*/ 351192 w 351744"/>
                  <a:gd name="connsiteY2" fmla="*/ 351130 h 482803"/>
                  <a:gd name="connsiteX3" fmla="*/ 343877 w 351744"/>
                  <a:gd name="connsiteY3" fmla="*/ 424282 h 482803"/>
                  <a:gd name="connsiteX4" fmla="*/ 329246 w 351744"/>
                  <a:gd name="connsiteY4" fmla="*/ 446227 h 482803"/>
                  <a:gd name="connsiteX5" fmla="*/ 292670 w 351744"/>
                  <a:gd name="connsiteY5" fmla="*/ 475488 h 482803"/>
                  <a:gd name="connsiteX6" fmla="*/ 270725 w 351744"/>
                  <a:gd name="connsiteY6" fmla="*/ 482803 h 482803"/>
                  <a:gd name="connsiteX7" fmla="*/ 168312 w 351744"/>
                  <a:gd name="connsiteY7" fmla="*/ 475488 h 482803"/>
                  <a:gd name="connsiteX8" fmla="*/ 146366 w 351744"/>
                  <a:gd name="connsiteY8" fmla="*/ 468173 h 482803"/>
                  <a:gd name="connsiteX9" fmla="*/ 109790 w 351744"/>
                  <a:gd name="connsiteY9" fmla="*/ 424282 h 482803"/>
                  <a:gd name="connsiteX10" fmla="*/ 73214 w 351744"/>
                  <a:gd name="connsiteY10" fmla="*/ 395021 h 482803"/>
                  <a:gd name="connsiteX11" fmla="*/ 29323 w 351744"/>
                  <a:gd name="connsiteY11" fmla="*/ 365760 h 482803"/>
                  <a:gd name="connsiteX12" fmla="*/ 62 w 351744"/>
                  <a:gd name="connsiteY12" fmla="*/ 321869 h 482803"/>
                  <a:gd name="connsiteX13" fmla="*/ 7377 w 351744"/>
                  <a:gd name="connsiteY13" fmla="*/ 226771 h 482803"/>
                  <a:gd name="connsiteX14" fmla="*/ 29323 w 351744"/>
                  <a:gd name="connsiteY14" fmla="*/ 190195 h 482803"/>
                  <a:gd name="connsiteX15" fmla="*/ 65899 w 351744"/>
                  <a:gd name="connsiteY15" fmla="*/ 153619 h 482803"/>
                  <a:gd name="connsiteX16" fmla="*/ 80529 w 351744"/>
                  <a:gd name="connsiteY16" fmla="*/ 109728 h 482803"/>
                  <a:gd name="connsiteX17" fmla="*/ 87845 w 351744"/>
                  <a:gd name="connsiteY17" fmla="*/ 87782 h 482803"/>
                  <a:gd name="connsiteX18" fmla="*/ 109790 w 351744"/>
                  <a:gd name="connsiteY18" fmla="*/ 29261 h 482803"/>
                  <a:gd name="connsiteX19" fmla="*/ 117105 w 351744"/>
                  <a:gd name="connsiteY19" fmla="*/ 7315 h 482803"/>
                  <a:gd name="connsiteX20" fmla="*/ 139051 w 351744"/>
                  <a:gd name="connsiteY20" fmla="*/ 0 h 482803"/>
                  <a:gd name="connsiteX21" fmla="*/ 212203 w 351744"/>
                  <a:gd name="connsiteY21" fmla="*/ 7315 h 482803"/>
                  <a:gd name="connsiteX22" fmla="*/ 256094 w 351744"/>
                  <a:gd name="connsiteY22" fmla="*/ 43891 h 482803"/>
                  <a:gd name="connsiteX23" fmla="*/ 278040 w 351744"/>
                  <a:gd name="connsiteY23" fmla="*/ 117043 h 482803"/>
                  <a:gd name="connsiteX24" fmla="*/ 292670 w 351744"/>
                  <a:gd name="connsiteY24" fmla="*/ 285293 h 482803"/>
                  <a:gd name="connsiteX25" fmla="*/ 290777 w 351744"/>
                  <a:gd name="connsiteY25" fmla="*/ 290880 h 4828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51744" h="482803">
                    <a:moveTo>
                      <a:pt x="290777" y="290880"/>
                    </a:moveTo>
                    <a:cubicBezTo>
                      <a:pt x="293215" y="298195"/>
                      <a:pt x="326492" y="326457"/>
                      <a:pt x="336561" y="336499"/>
                    </a:cubicBezTo>
                    <a:cubicBezTo>
                      <a:pt x="346630" y="346541"/>
                      <a:pt x="350619" y="344257"/>
                      <a:pt x="351192" y="351130"/>
                    </a:cubicBezTo>
                    <a:cubicBezTo>
                      <a:pt x="353227" y="375551"/>
                      <a:pt x="349387" y="400404"/>
                      <a:pt x="343877" y="424282"/>
                    </a:cubicBezTo>
                    <a:cubicBezTo>
                      <a:pt x="341900" y="432849"/>
                      <a:pt x="334738" y="439362"/>
                      <a:pt x="329246" y="446227"/>
                    </a:cubicBezTo>
                    <a:cubicBezTo>
                      <a:pt x="320172" y="457570"/>
                      <a:pt x="305348" y="469149"/>
                      <a:pt x="292670" y="475488"/>
                    </a:cubicBezTo>
                    <a:cubicBezTo>
                      <a:pt x="285773" y="478936"/>
                      <a:pt x="278040" y="480365"/>
                      <a:pt x="270725" y="482803"/>
                    </a:cubicBezTo>
                    <a:cubicBezTo>
                      <a:pt x="236587" y="480365"/>
                      <a:pt x="202302" y="479487"/>
                      <a:pt x="168312" y="475488"/>
                    </a:cubicBezTo>
                    <a:cubicBezTo>
                      <a:pt x="160654" y="474587"/>
                      <a:pt x="152782" y="472450"/>
                      <a:pt x="146366" y="468173"/>
                    </a:cubicBezTo>
                    <a:cubicBezTo>
                      <a:pt x="124030" y="453282"/>
                      <a:pt x="125209" y="443555"/>
                      <a:pt x="109790" y="424282"/>
                    </a:cubicBezTo>
                    <a:cubicBezTo>
                      <a:pt x="94085" y="404651"/>
                      <a:pt x="94345" y="411926"/>
                      <a:pt x="73214" y="395021"/>
                    </a:cubicBezTo>
                    <a:cubicBezTo>
                      <a:pt x="35976" y="365230"/>
                      <a:pt x="88307" y="395251"/>
                      <a:pt x="29323" y="365760"/>
                    </a:cubicBezTo>
                    <a:cubicBezTo>
                      <a:pt x="19569" y="351130"/>
                      <a:pt x="-1287" y="339401"/>
                      <a:pt x="62" y="321869"/>
                    </a:cubicBezTo>
                    <a:cubicBezTo>
                      <a:pt x="2500" y="290170"/>
                      <a:pt x="3433" y="258318"/>
                      <a:pt x="7377" y="226771"/>
                    </a:cubicBezTo>
                    <a:cubicBezTo>
                      <a:pt x="10670" y="200426"/>
                      <a:pt x="14790" y="208362"/>
                      <a:pt x="29323" y="190195"/>
                    </a:cubicBezTo>
                    <a:cubicBezTo>
                      <a:pt x="57189" y="155362"/>
                      <a:pt x="28279" y="178700"/>
                      <a:pt x="65899" y="153619"/>
                    </a:cubicBezTo>
                    <a:lnTo>
                      <a:pt x="80529" y="109728"/>
                    </a:lnTo>
                    <a:cubicBezTo>
                      <a:pt x="82968" y="102413"/>
                      <a:pt x="86333" y="95343"/>
                      <a:pt x="87845" y="87782"/>
                    </a:cubicBezTo>
                    <a:cubicBezTo>
                      <a:pt x="96884" y="42585"/>
                      <a:pt x="88263" y="61551"/>
                      <a:pt x="109790" y="29261"/>
                    </a:cubicBezTo>
                    <a:cubicBezTo>
                      <a:pt x="112228" y="21946"/>
                      <a:pt x="111652" y="12768"/>
                      <a:pt x="117105" y="7315"/>
                    </a:cubicBezTo>
                    <a:cubicBezTo>
                      <a:pt x="122558" y="1862"/>
                      <a:pt x="131340" y="0"/>
                      <a:pt x="139051" y="0"/>
                    </a:cubicBezTo>
                    <a:cubicBezTo>
                      <a:pt x="163557" y="0"/>
                      <a:pt x="187819" y="4877"/>
                      <a:pt x="212203" y="7315"/>
                    </a:cubicBezTo>
                    <a:cubicBezTo>
                      <a:pt x="225862" y="16421"/>
                      <a:pt x="247811" y="28982"/>
                      <a:pt x="256094" y="43891"/>
                    </a:cubicBezTo>
                    <a:cubicBezTo>
                      <a:pt x="267341" y="64136"/>
                      <a:pt x="271264" y="94454"/>
                      <a:pt x="278040" y="117043"/>
                    </a:cubicBezTo>
                    <a:cubicBezTo>
                      <a:pt x="305778" y="209507"/>
                      <a:pt x="292670" y="120657"/>
                      <a:pt x="292670" y="285293"/>
                    </a:cubicBezTo>
                    <a:lnTo>
                      <a:pt x="290777" y="29088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1080" name="Forma livre 354"/>
              <p:cNvSpPr/>
              <p:nvPr/>
            </p:nvSpPr>
            <p:spPr>
              <a:xfrm>
                <a:off x="3272901" y="4545367"/>
                <a:ext cx="349248" cy="284085"/>
              </a:xfrm>
              <a:custGeom>
                <a:avLst/>
                <a:gdLst>
                  <a:gd name="connsiteX0" fmla="*/ 349188 w 349248"/>
                  <a:gd name="connsiteY0" fmla="*/ 115410 h 284085"/>
                  <a:gd name="connsiteX1" fmla="*/ 334392 w 349248"/>
                  <a:gd name="connsiteY1" fmla="*/ 121328 h 284085"/>
                  <a:gd name="connsiteX2" fmla="*/ 319596 w 349248"/>
                  <a:gd name="connsiteY2" fmla="*/ 139083 h 284085"/>
                  <a:gd name="connsiteX3" fmla="*/ 313678 w 349248"/>
                  <a:gd name="connsiteY3" fmla="*/ 156839 h 284085"/>
                  <a:gd name="connsiteX4" fmla="*/ 310718 w 349248"/>
                  <a:gd name="connsiteY4" fmla="*/ 165716 h 284085"/>
                  <a:gd name="connsiteX5" fmla="*/ 298882 w 349248"/>
                  <a:gd name="connsiteY5" fmla="*/ 174594 h 284085"/>
                  <a:gd name="connsiteX6" fmla="*/ 287045 w 349248"/>
                  <a:gd name="connsiteY6" fmla="*/ 201227 h 284085"/>
                  <a:gd name="connsiteX7" fmla="*/ 284085 w 349248"/>
                  <a:gd name="connsiteY7" fmla="*/ 213064 h 284085"/>
                  <a:gd name="connsiteX8" fmla="*/ 278167 w 349248"/>
                  <a:gd name="connsiteY8" fmla="*/ 221942 h 284085"/>
                  <a:gd name="connsiteX9" fmla="*/ 275208 w 349248"/>
                  <a:gd name="connsiteY9" fmla="*/ 230819 h 284085"/>
                  <a:gd name="connsiteX10" fmla="*/ 272249 w 349248"/>
                  <a:gd name="connsiteY10" fmla="*/ 257452 h 284085"/>
                  <a:gd name="connsiteX11" fmla="*/ 269289 w 349248"/>
                  <a:gd name="connsiteY11" fmla="*/ 269289 h 284085"/>
                  <a:gd name="connsiteX12" fmla="*/ 257452 w 349248"/>
                  <a:gd name="connsiteY12" fmla="*/ 281126 h 284085"/>
                  <a:gd name="connsiteX13" fmla="*/ 242656 w 349248"/>
                  <a:gd name="connsiteY13" fmla="*/ 284085 h 284085"/>
                  <a:gd name="connsiteX14" fmla="*/ 221942 w 349248"/>
                  <a:gd name="connsiteY14" fmla="*/ 281126 h 284085"/>
                  <a:gd name="connsiteX15" fmla="*/ 201227 w 349248"/>
                  <a:gd name="connsiteY15" fmla="*/ 272249 h 284085"/>
                  <a:gd name="connsiteX16" fmla="*/ 189390 w 349248"/>
                  <a:gd name="connsiteY16" fmla="*/ 269289 h 284085"/>
                  <a:gd name="connsiteX17" fmla="*/ 165716 w 349248"/>
                  <a:gd name="connsiteY17" fmla="*/ 248575 h 284085"/>
                  <a:gd name="connsiteX18" fmla="*/ 159798 w 349248"/>
                  <a:gd name="connsiteY18" fmla="*/ 242656 h 284085"/>
                  <a:gd name="connsiteX19" fmla="*/ 150920 w 349248"/>
                  <a:gd name="connsiteY19" fmla="*/ 239697 h 284085"/>
                  <a:gd name="connsiteX20" fmla="*/ 145002 w 349248"/>
                  <a:gd name="connsiteY20" fmla="*/ 230819 h 284085"/>
                  <a:gd name="connsiteX21" fmla="*/ 133165 w 349248"/>
                  <a:gd name="connsiteY21" fmla="*/ 224901 h 284085"/>
                  <a:gd name="connsiteX22" fmla="*/ 124287 w 349248"/>
                  <a:gd name="connsiteY22" fmla="*/ 218983 h 284085"/>
                  <a:gd name="connsiteX23" fmla="*/ 118369 w 349248"/>
                  <a:gd name="connsiteY23" fmla="*/ 213064 h 284085"/>
                  <a:gd name="connsiteX24" fmla="*/ 100614 w 349248"/>
                  <a:gd name="connsiteY24" fmla="*/ 207146 h 284085"/>
                  <a:gd name="connsiteX25" fmla="*/ 82858 w 349248"/>
                  <a:gd name="connsiteY25" fmla="*/ 198268 h 284085"/>
                  <a:gd name="connsiteX26" fmla="*/ 73981 w 349248"/>
                  <a:gd name="connsiteY26" fmla="*/ 192350 h 284085"/>
                  <a:gd name="connsiteX27" fmla="*/ 65103 w 349248"/>
                  <a:gd name="connsiteY27" fmla="*/ 189390 h 284085"/>
                  <a:gd name="connsiteX28" fmla="*/ 50307 w 349248"/>
                  <a:gd name="connsiteY28" fmla="*/ 177553 h 284085"/>
                  <a:gd name="connsiteX29" fmla="*/ 41429 w 349248"/>
                  <a:gd name="connsiteY29" fmla="*/ 171635 h 284085"/>
                  <a:gd name="connsiteX30" fmla="*/ 35511 w 349248"/>
                  <a:gd name="connsiteY30" fmla="*/ 165716 h 284085"/>
                  <a:gd name="connsiteX31" fmla="*/ 23674 w 349248"/>
                  <a:gd name="connsiteY31" fmla="*/ 159798 h 284085"/>
                  <a:gd name="connsiteX32" fmla="*/ 11837 w 349248"/>
                  <a:gd name="connsiteY32" fmla="*/ 147961 h 284085"/>
                  <a:gd name="connsiteX33" fmla="*/ 2959 w 349248"/>
                  <a:gd name="connsiteY33" fmla="*/ 121328 h 284085"/>
                  <a:gd name="connsiteX34" fmla="*/ 0 w 349248"/>
                  <a:gd name="connsiteY34" fmla="*/ 112450 h 284085"/>
                  <a:gd name="connsiteX35" fmla="*/ 2959 w 349248"/>
                  <a:gd name="connsiteY35" fmla="*/ 62144 h 284085"/>
                  <a:gd name="connsiteX36" fmla="*/ 5918 w 349248"/>
                  <a:gd name="connsiteY36" fmla="*/ 50307 h 284085"/>
                  <a:gd name="connsiteX37" fmla="*/ 20715 w 349248"/>
                  <a:gd name="connsiteY37" fmla="*/ 32551 h 284085"/>
                  <a:gd name="connsiteX38" fmla="*/ 29592 w 349248"/>
                  <a:gd name="connsiteY38" fmla="*/ 26633 h 284085"/>
                  <a:gd name="connsiteX39" fmla="*/ 44388 w 349248"/>
                  <a:gd name="connsiteY39" fmla="*/ 20715 h 284085"/>
                  <a:gd name="connsiteX40" fmla="*/ 62144 w 349248"/>
                  <a:gd name="connsiteY40" fmla="*/ 11837 h 284085"/>
                  <a:gd name="connsiteX41" fmla="*/ 79899 w 349248"/>
                  <a:gd name="connsiteY41" fmla="*/ 5918 h 284085"/>
                  <a:gd name="connsiteX42" fmla="*/ 103573 w 349248"/>
                  <a:gd name="connsiteY42" fmla="*/ 0 h 284085"/>
                  <a:gd name="connsiteX43" fmla="*/ 121328 w 349248"/>
                  <a:gd name="connsiteY43" fmla="*/ 2959 h 284085"/>
                  <a:gd name="connsiteX44" fmla="*/ 139083 w 349248"/>
                  <a:gd name="connsiteY44" fmla="*/ 14796 h 284085"/>
                  <a:gd name="connsiteX45" fmla="*/ 145002 w 349248"/>
                  <a:gd name="connsiteY45" fmla="*/ 23674 h 284085"/>
                  <a:gd name="connsiteX46" fmla="*/ 162757 w 349248"/>
                  <a:gd name="connsiteY46" fmla="*/ 35511 h 284085"/>
                  <a:gd name="connsiteX47" fmla="*/ 171635 w 349248"/>
                  <a:gd name="connsiteY47" fmla="*/ 41429 h 284085"/>
                  <a:gd name="connsiteX48" fmla="*/ 177553 w 349248"/>
                  <a:gd name="connsiteY48" fmla="*/ 47348 h 284085"/>
                  <a:gd name="connsiteX49" fmla="*/ 186431 w 349248"/>
                  <a:gd name="connsiteY49" fmla="*/ 50307 h 284085"/>
                  <a:gd name="connsiteX50" fmla="*/ 195309 w 349248"/>
                  <a:gd name="connsiteY50" fmla="*/ 56225 h 284085"/>
                  <a:gd name="connsiteX51" fmla="*/ 236738 w 349248"/>
                  <a:gd name="connsiteY51" fmla="*/ 59184 h 284085"/>
                  <a:gd name="connsiteX52" fmla="*/ 260412 w 349248"/>
                  <a:gd name="connsiteY52" fmla="*/ 62144 h 284085"/>
                  <a:gd name="connsiteX53" fmla="*/ 269289 w 349248"/>
                  <a:gd name="connsiteY53" fmla="*/ 65103 h 284085"/>
                  <a:gd name="connsiteX54" fmla="*/ 290004 w 349248"/>
                  <a:gd name="connsiteY54" fmla="*/ 68062 h 284085"/>
                  <a:gd name="connsiteX55" fmla="*/ 307759 w 349248"/>
                  <a:gd name="connsiteY55" fmla="*/ 71021 h 284085"/>
                  <a:gd name="connsiteX56" fmla="*/ 310718 w 349248"/>
                  <a:gd name="connsiteY56" fmla="*/ 85817 h 284085"/>
                  <a:gd name="connsiteX57" fmla="*/ 316637 w 349248"/>
                  <a:gd name="connsiteY57" fmla="*/ 91736 h 284085"/>
                  <a:gd name="connsiteX58" fmla="*/ 328474 w 349248"/>
                  <a:gd name="connsiteY58" fmla="*/ 109491 h 284085"/>
                  <a:gd name="connsiteX59" fmla="*/ 349188 w 349248"/>
                  <a:gd name="connsiteY59" fmla="*/ 115410 h 284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49248" h="284085">
                    <a:moveTo>
                      <a:pt x="349188" y="115410"/>
                    </a:moveTo>
                    <a:cubicBezTo>
                      <a:pt x="350174" y="117383"/>
                      <a:pt x="338896" y="118513"/>
                      <a:pt x="334392" y="121328"/>
                    </a:cubicBezTo>
                    <a:cubicBezTo>
                      <a:pt x="327885" y="125395"/>
                      <a:pt x="323685" y="132950"/>
                      <a:pt x="319596" y="139083"/>
                    </a:cubicBezTo>
                    <a:lnTo>
                      <a:pt x="313678" y="156839"/>
                    </a:lnTo>
                    <a:cubicBezTo>
                      <a:pt x="312692" y="159798"/>
                      <a:pt x="313213" y="163844"/>
                      <a:pt x="310718" y="165716"/>
                    </a:cubicBezTo>
                    <a:lnTo>
                      <a:pt x="298882" y="174594"/>
                    </a:lnTo>
                    <a:cubicBezTo>
                      <a:pt x="291838" y="195724"/>
                      <a:pt x="296424" y="187159"/>
                      <a:pt x="287045" y="201227"/>
                    </a:cubicBezTo>
                    <a:cubicBezTo>
                      <a:pt x="286058" y="205173"/>
                      <a:pt x="285687" y="209326"/>
                      <a:pt x="284085" y="213064"/>
                    </a:cubicBezTo>
                    <a:cubicBezTo>
                      <a:pt x="282684" y="216333"/>
                      <a:pt x="279757" y="218761"/>
                      <a:pt x="278167" y="221942"/>
                    </a:cubicBezTo>
                    <a:cubicBezTo>
                      <a:pt x="276772" y="224732"/>
                      <a:pt x="276194" y="227860"/>
                      <a:pt x="275208" y="230819"/>
                    </a:cubicBezTo>
                    <a:cubicBezTo>
                      <a:pt x="274222" y="239697"/>
                      <a:pt x="273607" y="248624"/>
                      <a:pt x="272249" y="257452"/>
                    </a:cubicBezTo>
                    <a:cubicBezTo>
                      <a:pt x="271631" y="261472"/>
                      <a:pt x="271445" y="265840"/>
                      <a:pt x="269289" y="269289"/>
                    </a:cubicBezTo>
                    <a:cubicBezTo>
                      <a:pt x="266331" y="274021"/>
                      <a:pt x="262924" y="280032"/>
                      <a:pt x="257452" y="281126"/>
                    </a:cubicBezTo>
                    <a:lnTo>
                      <a:pt x="242656" y="284085"/>
                    </a:lnTo>
                    <a:cubicBezTo>
                      <a:pt x="235751" y="283099"/>
                      <a:pt x="228781" y="282494"/>
                      <a:pt x="221942" y="281126"/>
                    </a:cubicBezTo>
                    <a:cubicBezTo>
                      <a:pt x="211445" y="279027"/>
                      <a:pt x="212226" y="276374"/>
                      <a:pt x="201227" y="272249"/>
                    </a:cubicBezTo>
                    <a:cubicBezTo>
                      <a:pt x="197419" y="270821"/>
                      <a:pt x="193336" y="270276"/>
                      <a:pt x="189390" y="269289"/>
                    </a:cubicBezTo>
                    <a:cubicBezTo>
                      <a:pt x="152870" y="232769"/>
                      <a:pt x="190193" y="268157"/>
                      <a:pt x="165716" y="248575"/>
                    </a:cubicBezTo>
                    <a:cubicBezTo>
                      <a:pt x="163537" y="246832"/>
                      <a:pt x="162190" y="244091"/>
                      <a:pt x="159798" y="242656"/>
                    </a:cubicBezTo>
                    <a:cubicBezTo>
                      <a:pt x="157123" y="241051"/>
                      <a:pt x="153879" y="240683"/>
                      <a:pt x="150920" y="239697"/>
                    </a:cubicBezTo>
                    <a:cubicBezTo>
                      <a:pt x="148947" y="236738"/>
                      <a:pt x="147734" y="233096"/>
                      <a:pt x="145002" y="230819"/>
                    </a:cubicBezTo>
                    <a:cubicBezTo>
                      <a:pt x="141613" y="227995"/>
                      <a:pt x="136995" y="227089"/>
                      <a:pt x="133165" y="224901"/>
                    </a:cubicBezTo>
                    <a:cubicBezTo>
                      <a:pt x="130077" y="223137"/>
                      <a:pt x="127064" y="221205"/>
                      <a:pt x="124287" y="218983"/>
                    </a:cubicBezTo>
                    <a:cubicBezTo>
                      <a:pt x="122108" y="217240"/>
                      <a:pt x="120864" y="214312"/>
                      <a:pt x="118369" y="213064"/>
                    </a:cubicBezTo>
                    <a:cubicBezTo>
                      <a:pt x="112789" y="210274"/>
                      <a:pt x="100614" y="207146"/>
                      <a:pt x="100614" y="207146"/>
                    </a:cubicBezTo>
                    <a:cubicBezTo>
                      <a:pt x="75175" y="190186"/>
                      <a:pt x="107358" y="210517"/>
                      <a:pt x="82858" y="198268"/>
                    </a:cubicBezTo>
                    <a:cubicBezTo>
                      <a:pt x="79677" y="196678"/>
                      <a:pt x="77162" y="193940"/>
                      <a:pt x="73981" y="192350"/>
                    </a:cubicBezTo>
                    <a:cubicBezTo>
                      <a:pt x="71191" y="190955"/>
                      <a:pt x="67893" y="190785"/>
                      <a:pt x="65103" y="189390"/>
                    </a:cubicBezTo>
                    <a:cubicBezTo>
                      <a:pt x="52951" y="183314"/>
                      <a:pt x="59487" y="184897"/>
                      <a:pt x="50307" y="177553"/>
                    </a:cubicBezTo>
                    <a:cubicBezTo>
                      <a:pt x="47530" y="175331"/>
                      <a:pt x="44206" y="173857"/>
                      <a:pt x="41429" y="171635"/>
                    </a:cubicBezTo>
                    <a:cubicBezTo>
                      <a:pt x="39250" y="169892"/>
                      <a:pt x="37832" y="167264"/>
                      <a:pt x="35511" y="165716"/>
                    </a:cubicBezTo>
                    <a:cubicBezTo>
                      <a:pt x="31841" y="163269"/>
                      <a:pt x="27203" y="162445"/>
                      <a:pt x="23674" y="159798"/>
                    </a:cubicBezTo>
                    <a:cubicBezTo>
                      <a:pt x="19210" y="156450"/>
                      <a:pt x="11837" y="147961"/>
                      <a:pt x="11837" y="147961"/>
                    </a:cubicBezTo>
                    <a:lnTo>
                      <a:pt x="2959" y="121328"/>
                    </a:lnTo>
                    <a:lnTo>
                      <a:pt x="0" y="112450"/>
                    </a:lnTo>
                    <a:cubicBezTo>
                      <a:pt x="986" y="95681"/>
                      <a:pt x="1367" y="78866"/>
                      <a:pt x="2959" y="62144"/>
                    </a:cubicBezTo>
                    <a:cubicBezTo>
                      <a:pt x="3345" y="58095"/>
                      <a:pt x="4316" y="54045"/>
                      <a:pt x="5918" y="50307"/>
                    </a:cubicBezTo>
                    <a:cubicBezTo>
                      <a:pt x="8504" y="44272"/>
                      <a:pt x="15975" y="36501"/>
                      <a:pt x="20715" y="32551"/>
                    </a:cubicBezTo>
                    <a:cubicBezTo>
                      <a:pt x="23447" y="30274"/>
                      <a:pt x="26411" y="28223"/>
                      <a:pt x="29592" y="26633"/>
                    </a:cubicBezTo>
                    <a:cubicBezTo>
                      <a:pt x="34343" y="24258"/>
                      <a:pt x="39456" y="22688"/>
                      <a:pt x="44388" y="20715"/>
                    </a:cubicBezTo>
                    <a:cubicBezTo>
                      <a:pt x="53896" y="11207"/>
                      <a:pt x="46560" y="16512"/>
                      <a:pt x="62144" y="11837"/>
                    </a:cubicBezTo>
                    <a:cubicBezTo>
                      <a:pt x="68119" y="10044"/>
                      <a:pt x="73782" y="7141"/>
                      <a:pt x="79899" y="5918"/>
                    </a:cubicBezTo>
                    <a:cubicBezTo>
                      <a:pt x="97754" y="2347"/>
                      <a:pt x="89923" y="4549"/>
                      <a:pt x="103573" y="0"/>
                    </a:cubicBezTo>
                    <a:cubicBezTo>
                      <a:pt x="109491" y="986"/>
                      <a:pt x="115790" y="651"/>
                      <a:pt x="121328" y="2959"/>
                    </a:cubicBezTo>
                    <a:cubicBezTo>
                      <a:pt x="127894" y="5695"/>
                      <a:pt x="139083" y="14796"/>
                      <a:pt x="139083" y="14796"/>
                    </a:cubicBezTo>
                    <a:cubicBezTo>
                      <a:pt x="141056" y="17755"/>
                      <a:pt x="142325" y="21332"/>
                      <a:pt x="145002" y="23674"/>
                    </a:cubicBezTo>
                    <a:cubicBezTo>
                      <a:pt x="150355" y="28358"/>
                      <a:pt x="156839" y="31565"/>
                      <a:pt x="162757" y="35511"/>
                    </a:cubicBezTo>
                    <a:cubicBezTo>
                      <a:pt x="165716" y="37484"/>
                      <a:pt x="169120" y="38914"/>
                      <a:pt x="171635" y="41429"/>
                    </a:cubicBezTo>
                    <a:cubicBezTo>
                      <a:pt x="173608" y="43402"/>
                      <a:pt x="175161" y="45913"/>
                      <a:pt x="177553" y="47348"/>
                    </a:cubicBezTo>
                    <a:cubicBezTo>
                      <a:pt x="180228" y="48953"/>
                      <a:pt x="183641" y="48912"/>
                      <a:pt x="186431" y="50307"/>
                    </a:cubicBezTo>
                    <a:cubicBezTo>
                      <a:pt x="189612" y="51897"/>
                      <a:pt x="191807" y="55607"/>
                      <a:pt x="195309" y="56225"/>
                    </a:cubicBezTo>
                    <a:cubicBezTo>
                      <a:pt x="208943" y="58631"/>
                      <a:pt x="222950" y="57930"/>
                      <a:pt x="236738" y="59184"/>
                    </a:cubicBezTo>
                    <a:cubicBezTo>
                      <a:pt x="244658" y="59904"/>
                      <a:pt x="252521" y="61157"/>
                      <a:pt x="260412" y="62144"/>
                    </a:cubicBezTo>
                    <a:cubicBezTo>
                      <a:pt x="263371" y="63130"/>
                      <a:pt x="266231" y="64491"/>
                      <a:pt x="269289" y="65103"/>
                    </a:cubicBezTo>
                    <a:cubicBezTo>
                      <a:pt x="276129" y="66471"/>
                      <a:pt x="283110" y="67001"/>
                      <a:pt x="290004" y="68062"/>
                    </a:cubicBezTo>
                    <a:cubicBezTo>
                      <a:pt x="295934" y="68974"/>
                      <a:pt x="301841" y="70035"/>
                      <a:pt x="307759" y="71021"/>
                    </a:cubicBezTo>
                    <a:cubicBezTo>
                      <a:pt x="308745" y="75953"/>
                      <a:pt x="308737" y="81194"/>
                      <a:pt x="310718" y="85817"/>
                    </a:cubicBezTo>
                    <a:cubicBezTo>
                      <a:pt x="311817" y="88382"/>
                      <a:pt x="314963" y="89504"/>
                      <a:pt x="316637" y="91736"/>
                    </a:cubicBezTo>
                    <a:cubicBezTo>
                      <a:pt x="320905" y="97426"/>
                      <a:pt x="323445" y="104461"/>
                      <a:pt x="328474" y="109491"/>
                    </a:cubicBezTo>
                    <a:cubicBezTo>
                      <a:pt x="335089" y="116108"/>
                      <a:pt x="348202" y="113437"/>
                      <a:pt x="349188" y="1154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61" name="Group 207"/>
            <p:cNvGrpSpPr>
              <a:grpSpLocks/>
            </p:cNvGrpSpPr>
            <p:nvPr/>
          </p:nvGrpSpPr>
          <p:grpSpPr bwMode="auto">
            <a:xfrm>
              <a:off x="2692400" y="1793875"/>
              <a:ext cx="3886200" cy="4359275"/>
              <a:chOff x="5073968" y="2570776"/>
              <a:chExt cx="3398026" cy="3812760"/>
            </a:xfrm>
            <a:solidFill>
              <a:schemeClr val="bg1">
                <a:lumMod val="85000"/>
                <a:alpha val="50000"/>
              </a:schemeClr>
            </a:solidFill>
          </p:grpSpPr>
          <p:grpSp>
            <p:nvGrpSpPr>
              <p:cNvPr id="1052" name="Group 151"/>
              <p:cNvGrpSpPr>
                <a:grpSpLocks noChangeAspect="1"/>
              </p:cNvGrpSpPr>
              <p:nvPr/>
            </p:nvGrpSpPr>
            <p:grpSpPr>
              <a:xfrm>
                <a:off x="5073968" y="2626242"/>
                <a:ext cx="3398026" cy="3757294"/>
                <a:chOff x="4002088" y="2532064"/>
                <a:chExt cx="3198817" cy="3537026"/>
              </a:xfrm>
              <a:grpFill/>
            </p:grpSpPr>
            <p:grpSp>
              <p:nvGrpSpPr>
                <p:cNvPr id="1060" name="Group 152"/>
                <p:cNvGrpSpPr/>
                <p:nvPr/>
              </p:nvGrpSpPr>
              <p:grpSpPr>
                <a:xfrm>
                  <a:off x="4957486" y="2532064"/>
                  <a:ext cx="2243419" cy="3537026"/>
                  <a:chOff x="4957486" y="2532064"/>
                  <a:chExt cx="2243419" cy="3537026"/>
                </a:xfrm>
                <a:grpFill/>
              </p:grpSpPr>
              <p:grpSp>
                <p:nvGrpSpPr>
                  <p:cNvPr id="1062" name="Group 50"/>
                  <p:cNvGrpSpPr>
                    <a:grpSpLocks/>
                  </p:cNvGrpSpPr>
                  <p:nvPr/>
                </p:nvGrpSpPr>
                <p:grpSpPr bwMode="auto">
                  <a:xfrm>
                    <a:off x="4957486" y="2532064"/>
                    <a:ext cx="2243419" cy="3537026"/>
                    <a:chOff x="4958044" y="2531641"/>
                    <a:chExt cx="2243146" cy="3538118"/>
                  </a:xfrm>
                  <a:grpFill/>
                </p:grpSpPr>
                <p:sp>
                  <p:nvSpPr>
                    <p:cNvPr id="1066" name="Oval 85"/>
                    <p:cNvSpPr/>
                    <p:nvPr/>
                  </p:nvSpPr>
                  <p:spPr>
                    <a:xfrm>
                      <a:off x="5336105" y="4910450"/>
                      <a:ext cx="96825" cy="169914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7748" h="170249">
                          <a:moveTo>
                            <a:pt x="149" y="112487"/>
                          </a:moveTo>
                          <a:cubicBezTo>
                            <a:pt x="2140" y="101261"/>
                            <a:pt x="37462" y="118941"/>
                            <a:pt x="42536" y="100232"/>
                          </a:cubicBezTo>
                          <a:cubicBezTo>
                            <a:pt x="47610" y="81523"/>
                            <a:pt x="521" y="5072"/>
                            <a:pt x="30592" y="235"/>
                          </a:cubicBezTo>
                          <a:cubicBezTo>
                            <a:pt x="60663" y="-4602"/>
                            <a:pt x="82857" y="66717"/>
                            <a:pt x="89610" y="90262"/>
                          </a:cubicBezTo>
                          <a:cubicBezTo>
                            <a:pt x="96363" y="113807"/>
                            <a:pt x="106347" y="169895"/>
                            <a:pt x="83811" y="154208"/>
                          </a:cubicBezTo>
                          <a:cubicBezTo>
                            <a:pt x="73975" y="167096"/>
                            <a:pt x="44536" y="174542"/>
                            <a:pt x="30592" y="167589"/>
                          </a:cubicBezTo>
                          <a:cubicBezTo>
                            <a:pt x="16648" y="160636"/>
                            <a:pt x="-1842" y="123713"/>
                            <a:pt x="149" y="11248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67" name="Oval 86"/>
                    <p:cNvSpPr/>
                    <p:nvPr/>
                  </p:nvSpPr>
                  <p:spPr>
                    <a:xfrm>
                      <a:off x="4958044" y="5947484"/>
                      <a:ext cx="73016" cy="122275"/>
                    </a:xfrm>
                    <a:custGeom>
                      <a:avLst/>
                      <a:gdLst>
                        <a:gd name="connsiteX0" fmla="*/ 0 w 117307"/>
                        <a:gd name="connsiteY0" fmla="*/ 69154 h 138308"/>
                        <a:gd name="connsiteX1" fmla="*/ 58654 w 117307"/>
                        <a:gd name="connsiteY1" fmla="*/ 0 h 138308"/>
                        <a:gd name="connsiteX2" fmla="*/ 117308 w 117307"/>
                        <a:gd name="connsiteY2" fmla="*/ 69154 h 138308"/>
                        <a:gd name="connsiteX3" fmla="*/ 58654 w 117307"/>
                        <a:gd name="connsiteY3" fmla="*/ 138308 h 138308"/>
                        <a:gd name="connsiteX4" fmla="*/ 0 w 117307"/>
                        <a:gd name="connsiteY4" fmla="*/ 69154 h 138308"/>
                        <a:gd name="connsiteX0" fmla="*/ 0 w 95083"/>
                        <a:gd name="connsiteY0" fmla="*/ 65986 h 138321"/>
                        <a:gd name="connsiteX1" fmla="*/ 36429 w 95083"/>
                        <a:gd name="connsiteY1" fmla="*/ 7 h 138321"/>
                        <a:gd name="connsiteX2" fmla="*/ 95083 w 95083"/>
                        <a:gd name="connsiteY2" fmla="*/ 69161 h 138321"/>
                        <a:gd name="connsiteX3" fmla="*/ 36429 w 95083"/>
                        <a:gd name="connsiteY3" fmla="*/ 138315 h 138321"/>
                        <a:gd name="connsiteX4" fmla="*/ 0 w 95083"/>
                        <a:gd name="connsiteY4" fmla="*/ 65986 h 138321"/>
                        <a:gd name="connsiteX0" fmla="*/ 0 w 99906"/>
                        <a:gd name="connsiteY0" fmla="*/ 68069 h 140402"/>
                        <a:gd name="connsiteX1" fmla="*/ 36429 w 99906"/>
                        <a:gd name="connsiteY1" fmla="*/ 2090 h 140402"/>
                        <a:gd name="connsiteX2" fmla="*/ 93093 w 99906"/>
                        <a:gd name="connsiteY2" fmla="*/ 21424 h 140402"/>
                        <a:gd name="connsiteX3" fmla="*/ 95083 w 99906"/>
                        <a:gd name="connsiteY3" fmla="*/ 71244 h 140402"/>
                        <a:gd name="connsiteX4" fmla="*/ 36429 w 99906"/>
                        <a:gd name="connsiteY4" fmla="*/ 140398 h 140402"/>
                        <a:gd name="connsiteX5" fmla="*/ 0 w 99906"/>
                        <a:gd name="connsiteY5" fmla="*/ 68069 h 140402"/>
                        <a:gd name="connsiteX0" fmla="*/ 0 w 99546"/>
                        <a:gd name="connsiteY0" fmla="*/ 68069 h 140577"/>
                        <a:gd name="connsiteX1" fmla="*/ 36429 w 99546"/>
                        <a:gd name="connsiteY1" fmla="*/ 2090 h 140577"/>
                        <a:gd name="connsiteX2" fmla="*/ 93093 w 99546"/>
                        <a:gd name="connsiteY2" fmla="*/ 21424 h 140577"/>
                        <a:gd name="connsiteX3" fmla="*/ 95083 w 99546"/>
                        <a:gd name="connsiteY3" fmla="*/ 71244 h 140577"/>
                        <a:gd name="connsiteX4" fmla="*/ 42292 w 99546"/>
                        <a:gd name="connsiteY4" fmla="*/ 88099 h 140577"/>
                        <a:gd name="connsiteX5" fmla="*/ 36429 w 99546"/>
                        <a:gd name="connsiteY5" fmla="*/ 140398 h 140577"/>
                        <a:gd name="connsiteX6" fmla="*/ 0 w 99546"/>
                        <a:gd name="connsiteY6" fmla="*/ 68069 h 140577"/>
                        <a:gd name="connsiteX0" fmla="*/ 0 w 99546"/>
                        <a:gd name="connsiteY0" fmla="*/ 68069 h 143371"/>
                        <a:gd name="connsiteX1" fmla="*/ 36429 w 99546"/>
                        <a:gd name="connsiteY1" fmla="*/ 2090 h 143371"/>
                        <a:gd name="connsiteX2" fmla="*/ 93093 w 99546"/>
                        <a:gd name="connsiteY2" fmla="*/ 21424 h 143371"/>
                        <a:gd name="connsiteX3" fmla="*/ 95083 w 99546"/>
                        <a:gd name="connsiteY3" fmla="*/ 71244 h 143371"/>
                        <a:gd name="connsiteX4" fmla="*/ 42292 w 99546"/>
                        <a:gd name="connsiteY4" fmla="*/ 88099 h 143371"/>
                        <a:gd name="connsiteX5" fmla="*/ 36429 w 99546"/>
                        <a:gd name="connsiteY5" fmla="*/ 140398 h 143371"/>
                        <a:gd name="connsiteX6" fmla="*/ 0 w 99546"/>
                        <a:gd name="connsiteY6" fmla="*/ 68069 h 143371"/>
                        <a:gd name="connsiteX0" fmla="*/ 0 w 94958"/>
                        <a:gd name="connsiteY0" fmla="*/ 68069 h 143371"/>
                        <a:gd name="connsiteX1" fmla="*/ 36429 w 94958"/>
                        <a:gd name="connsiteY1" fmla="*/ 2090 h 143371"/>
                        <a:gd name="connsiteX2" fmla="*/ 93093 w 94958"/>
                        <a:gd name="connsiteY2" fmla="*/ 21424 h 143371"/>
                        <a:gd name="connsiteX3" fmla="*/ 66508 w 94958"/>
                        <a:gd name="connsiteY3" fmla="*/ 58544 h 143371"/>
                        <a:gd name="connsiteX4" fmla="*/ 42292 w 94958"/>
                        <a:gd name="connsiteY4" fmla="*/ 88099 h 143371"/>
                        <a:gd name="connsiteX5" fmla="*/ 36429 w 94958"/>
                        <a:gd name="connsiteY5" fmla="*/ 140398 h 143371"/>
                        <a:gd name="connsiteX6" fmla="*/ 0 w 94958"/>
                        <a:gd name="connsiteY6" fmla="*/ 68069 h 143371"/>
                        <a:gd name="connsiteX0" fmla="*/ 0 w 72874"/>
                        <a:gd name="connsiteY0" fmla="*/ 66999 h 142301"/>
                        <a:gd name="connsiteX1" fmla="*/ 36429 w 72874"/>
                        <a:gd name="connsiteY1" fmla="*/ 1020 h 142301"/>
                        <a:gd name="connsiteX2" fmla="*/ 67693 w 72874"/>
                        <a:gd name="connsiteY2" fmla="*/ 29879 h 142301"/>
                        <a:gd name="connsiteX3" fmla="*/ 66508 w 72874"/>
                        <a:gd name="connsiteY3" fmla="*/ 57474 h 142301"/>
                        <a:gd name="connsiteX4" fmla="*/ 42292 w 72874"/>
                        <a:gd name="connsiteY4" fmla="*/ 87029 h 142301"/>
                        <a:gd name="connsiteX5" fmla="*/ 36429 w 72874"/>
                        <a:gd name="connsiteY5" fmla="*/ 139328 h 142301"/>
                        <a:gd name="connsiteX6" fmla="*/ 0 w 72874"/>
                        <a:gd name="connsiteY6" fmla="*/ 66999 h 142301"/>
                        <a:gd name="connsiteX0" fmla="*/ 0 w 72874"/>
                        <a:gd name="connsiteY0" fmla="*/ 47417 h 122061"/>
                        <a:gd name="connsiteX1" fmla="*/ 36429 w 72874"/>
                        <a:gd name="connsiteY1" fmla="*/ 3663 h 122061"/>
                        <a:gd name="connsiteX2" fmla="*/ 67693 w 72874"/>
                        <a:gd name="connsiteY2" fmla="*/ 10297 h 122061"/>
                        <a:gd name="connsiteX3" fmla="*/ 66508 w 72874"/>
                        <a:gd name="connsiteY3" fmla="*/ 37892 h 122061"/>
                        <a:gd name="connsiteX4" fmla="*/ 42292 w 72874"/>
                        <a:gd name="connsiteY4" fmla="*/ 67447 h 122061"/>
                        <a:gd name="connsiteX5" fmla="*/ 36429 w 72874"/>
                        <a:gd name="connsiteY5" fmla="*/ 119746 h 122061"/>
                        <a:gd name="connsiteX6" fmla="*/ 0 w 72874"/>
                        <a:gd name="connsiteY6" fmla="*/ 47417 h 12206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72874" h="122061">
                          <a:moveTo>
                            <a:pt x="0" y="47417"/>
                          </a:moveTo>
                          <a:cubicBezTo>
                            <a:pt x="0" y="28070"/>
                            <a:pt x="25147" y="9850"/>
                            <a:pt x="36429" y="3663"/>
                          </a:cubicBezTo>
                          <a:cubicBezTo>
                            <a:pt x="47711" y="-2524"/>
                            <a:pt x="57917" y="-1229"/>
                            <a:pt x="67693" y="10297"/>
                          </a:cubicBezTo>
                          <a:cubicBezTo>
                            <a:pt x="77469" y="21823"/>
                            <a:pt x="71271" y="23075"/>
                            <a:pt x="66508" y="37892"/>
                          </a:cubicBezTo>
                          <a:cubicBezTo>
                            <a:pt x="61745" y="52709"/>
                            <a:pt x="52068" y="55921"/>
                            <a:pt x="42292" y="67447"/>
                          </a:cubicBezTo>
                          <a:cubicBezTo>
                            <a:pt x="32516" y="78973"/>
                            <a:pt x="53003" y="104034"/>
                            <a:pt x="36429" y="119746"/>
                          </a:cubicBezTo>
                          <a:cubicBezTo>
                            <a:pt x="19855" y="135458"/>
                            <a:pt x="0" y="66764"/>
                            <a:pt x="0" y="4741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68" name="Oval 87"/>
                    <p:cNvSpPr/>
                    <p:nvPr/>
                  </p:nvSpPr>
                  <p:spPr>
                    <a:xfrm>
                      <a:off x="5167850" y="5186760"/>
                      <a:ext cx="153968" cy="166739"/>
                    </a:xfrm>
                    <a:custGeom>
                      <a:avLst/>
                      <a:gdLst>
                        <a:gd name="connsiteX0" fmla="*/ 0 w 117307"/>
                        <a:gd name="connsiteY0" fmla="*/ 57153 h 114305"/>
                        <a:gd name="connsiteX1" fmla="*/ 58654 w 117307"/>
                        <a:gd name="connsiteY1" fmla="*/ 0 h 114305"/>
                        <a:gd name="connsiteX2" fmla="*/ 117308 w 117307"/>
                        <a:gd name="connsiteY2" fmla="*/ 57153 h 114305"/>
                        <a:gd name="connsiteX3" fmla="*/ 58654 w 117307"/>
                        <a:gd name="connsiteY3" fmla="*/ 114306 h 114305"/>
                        <a:gd name="connsiteX4" fmla="*/ 0 w 117307"/>
                        <a:gd name="connsiteY4" fmla="*/ 57153 h 114305"/>
                        <a:gd name="connsiteX0" fmla="*/ 0 w 76033"/>
                        <a:gd name="connsiteY0" fmla="*/ 57219 h 114470"/>
                        <a:gd name="connsiteX1" fmla="*/ 58654 w 76033"/>
                        <a:gd name="connsiteY1" fmla="*/ 66 h 114470"/>
                        <a:gd name="connsiteX2" fmla="*/ 76033 w 76033"/>
                        <a:gd name="connsiteY2" fmla="*/ 66744 h 114470"/>
                        <a:gd name="connsiteX3" fmla="*/ 58654 w 76033"/>
                        <a:gd name="connsiteY3" fmla="*/ 114372 h 114470"/>
                        <a:gd name="connsiteX4" fmla="*/ 0 w 76033"/>
                        <a:gd name="connsiteY4" fmla="*/ 57219 h 114470"/>
                        <a:gd name="connsiteX0" fmla="*/ 0 w 98482"/>
                        <a:gd name="connsiteY0" fmla="*/ 57219 h 114470"/>
                        <a:gd name="connsiteX1" fmla="*/ 58654 w 98482"/>
                        <a:gd name="connsiteY1" fmla="*/ 66 h 114470"/>
                        <a:gd name="connsiteX2" fmla="*/ 76033 w 98482"/>
                        <a:gd name="connsiteY2" fmla="*/ 66744 h 114470"/>
                        <a:gd name="connsiteX3" fmla="*/ 58654 w 98482"/>
                        <a:gd name="connsiteY3" fmla="*/ 114372 h 114470"/>
                        <a:gd name="connsiteX4" fmla="*/ 0 w 98482"/>
                        <a:gd name="connsiteY4" fmla="*/ 57219 h 114470"/>
                        <a:gd name="connsiteX0" fmla="*/ 0 w 135106"/>
                        <a:gd name="connsiteY0" fmla="*/ 60698 h 117949"/>
                        <a:gd name="connsiteX1" fmla="*/ 58654 w 135106"/>
                        <a:gd name="connsiteY1" fmla="*/ 3545 h 117949"/>
                        <a:gd name="connsiteX2" fmla="*/ 135000 w 135106"/>
                        <a:gd name="connsiteY2" fmla="*/ 13074 h 117949"/>
                        <a:gd name="connsiteX3" fmla="*/ 76033 w 135106"/>
                        <a:gd name="connsiteY3" fmla="*/ 70223 h 117949"/>
                        <a:gd name="connsiteX4" fmla="*/ 58654 w 135106"/>
                        <a:gd name="connsiteY4" fmla="*/ 117851 h 117949"/>
                        <a:gd name="connsiteX5" fmla="*/ 0 w 135106"/>
                        <a:gd name="connsiteY5" fmla="*/ 60698 h 117949"/>
                        <a:gd name="connsiteX0" fmla="*/ 701 w 135807"/>
                        <a:gd name="connsiteY0" fmla="*/ 74703 h 131954"/>
                        <a:gd name="connsiteX1" fmla="*/ 103805 w 135807"/>
                        <a:gd name="connsiteY1" fmla="*/ 1675 h 131954"/>
                        <a:gd name="connsiteX2" fmla="*/ 135701 w 135807"/>
                        <a:gd name="connsiteY2" fmla="*/ 27079 h 131954"/>
                        <a:gd name="connsiteX3" fmla="*/ 76734 w 135807"/>
                        <a:gd name="connsiteY3" fmla="*/ 84228 h 131954"/>
                        <a:gd name="connsiteX4" fmla="*/ 59355 w 135807"/>
                        <a:gd name="connsiteY4" fmla="*/ 131856 h 131954"/>
                        <a:gd name="connsiteX5" fmla="*/ 701 w 135807"/>
                        <a:gd name="connsiteY5" fmla="*/ 74703 h 131954"/>
                        <a:gd name="connsiteX0" fmla="*/ 701 w 136129"/>
                        <a:gd name="connsiteY0" fmla="*/ 73063 h 130314"/>
                        <a:gd name="connsiteX1" fmla="*/ 103805 w 136129"/>
                        <a:gd name="connsiteY1" fmla="*/ 35 h 130314"/>
                        <a:gd name="connsiteX2" fmla="*/ 135701 w 136129"/>
                        <a:gd name="connsiteY2" fmla="*/ 25439 h 130314"/>
                        <a:gd name="connsiteX3" fmla="*/ 76734 w 136129"/>
                        <a:gd name="connsiteY3" fmla="*/ 82588 h 130314"/>
                        <a:gd name="connsiteX4" fmla="*/ 59355 w 136129"/>
                        <a:gd name="connsiteY4" fmla="*/ 130216 h 130314"/>
                        <a:gd name="connsiteX5" fmla="*/ 701 w 136129"/>
                        <a:gd name="connsiteY5" fmla="*/ 73063 h 130314"/>
                        <a:gd name="connsiteX0" fmla="*/ 5 w 135111"/>
                        <a:gd name="connsiteY0" fmla="*/ 87025 h 144276"/>
                        <a:gd name="connsiteX1" fmla="*/ 61981 w 135111"/>
                        <a:gd name="connsiteY1" fmla="*/ 4477 h 144276"/>
                        <a:gd name="connsiteX2" fmla="*/ 103109 w 135111"/>
                        <a:gd name="connsiteY2" fmla="*/ 13997 h 144276"/>
                        <a:gd name="connsiteX3" fmla="*/ 135005 w 135111"/>
                        <a:gd name="connsiteY3" fmla="*/ 39401 h 144276"/>
                        <a:gd name="connsiteX4" fmla="*/ 76038 w 135111"/>
                        <a:gd name="connsiteY4" fmla="*/ 96550 h 144276"/>
                        <a:gd name="connsiteX5" fmla="*/ 58659 w 135111"/>
                        <a:gd name="connsiteY5" fmla="*/ 144178 h 144276"/>
                        <a:gd name="connsiteX6" fmla="*/ 5 w 135111"/>
                        <a:gd name="connsiteY6" fmla="*/ 87025 h 144276"/>
                        <a:gd name="connsiteX0" fmla="*/ 5 w 135111"/>
                        <a:gd name="connsiteY0" fmla="*/ 89495 h 146746"/>
                        <a:gd name="connsiteX1" fmla="*/ 61981 w 135111"/>
                        <a:gd name="connsiteY1" fmla="*/ 6947 h 146746"/>
                        <a:gd name="connsiteX2" fmla="*/ 112634 w 135111"/>
                        <a:gd name="connsiteY2" fmla="*/ 6942 h 146746"/>
                        <a:gd name="connsiteX3" fmla="*/ 135005 w 135111"/>
                        <a:gd name="connsiteY3" fmla="*/ 41871 h 146746"/>
                        <a:gd name="connsiteX4" fmla="*/ 76038 w 135111"/>
                        <a:gd name="connsiteY4" fmla="*/ 99020 h 146746"/>
                        <a:gd name="connsiteX5" fmla="*/ 58659 w 135111"/>
                        <a:gd name="connsiteY5" fmla="*/ 146648 h 146746"/>
                        <a:gd name="connsiteX6" fmla="*/ 5 w 135111"/>
                        <a:gd name="connsiteY6" fmla="*/ 89495 h 146746"/>
                        <a:gd name="connsiteX0" fmla="*/ 3060 w 138166"/>
                        <a:gd name="connsiteY0" fmla="*/ 86530 h 143781"/>
                        <a:gd name="connsiteX1" fmla="*/ 14236 w 138166"/>
                        <a:gd name="connsiteY1" fmla="*/ 26207 h 143781"/>
                        <a:gd name="connsiteX2" fmla="*/ 65036 w 138166"/>
                        <a:gd name="connsiteY2" fmla="*/ 3982 h 143781"/>
                        <a:gd name="connsiteX3" fmla="*/ 115689 w 138166"/>
                        <a:gd name="connsiteY3" fmla="*/ 3977 h 143781"/>
                        <a:gd name="connsiteX4" fmla="*/ 138060 w 138166"/>
                        <a:gd name="connsiteY4" fmla="*/ 38906 h 143781"/>
                        <a:gd name="connsiteX5" fmla="*/ 79093 w 138166"/>
                        <a:gd name="connsiteY5" fmla="*/ 96055 h 143781"/>
                        <a:gd name="connsiteX6" fmla="*/ 61714 w 138166"/>
                        <a:gd name="connsiteY6" fmla="*/ 143683 h 143781"/>
                        <a:gd name="connsiteX7" fmla="*/ 3060 w 138166"/>
                        <a:gd name="connsiteY7" fmla="*/ 86530 h 143781"/>
                        <a:gd name="connsiteX0" fmla="*/ 3060 w 138166"/>
                        <a:gd name="connsiteY0" fmla="*/ 89656 h 146907"/>
                        <a:gd name="connsiteX1" fmla="*/ 14236 w 138166"/>
                        <a:gd name="connsiteY1" fmla="*/ 29333 h 146907"/>
                        <a:gd name="connsiteX2" fmla="*/ 26936 w 138166"/>
                        <a:gd name="connsiteY2" fmla="*/ 758 h 146907"/>
                        <a:gd name="connsiteX3" fmla="*/ 65036 w 138166"/>
                        <a:gd name="connsiteY3" fmla="*/ 7108 h 146907"/>
                        <a:gd name="connsiteX4" fmla="*/ 115689 w 138166"/>
                        <a:gd name="connsiteY4" fmla="*/ 7103 h 146907"/>
                        <a:gd name="connsiteX5" fmla="*/ 138060 w 138166"/>
                        <a:gd name="connsiteY5" fmla="*/ 42032 h 146907"/>
                        <a:gd name="connsiteX6" fmla="*/ 79093 w 138166"/>
                        <a:gd name="connsiteY6" fmla="*/ 99181 h 146907"/>
                        <a:gd name="connsiteX7" fmla="*/ 61714 w 138166"/>
                        <a:gd name="connsiteY7" fmla="*/ 146809 h 146907"/>
                        <a:gd name="connsiteX8" fmla="*/ 3060 w 138166"/>
                        <a:gd name="connsiteY8" fmla="*/ 89656 h 146907"/>
                        <a:gd name="connsiteX0" fmla="*/ 1540 w 152521"/>
                        <a:gd name="connsiteY0" fmla="*/ 99181 h 146809"/>
                        <a:gd name="connsiteX1" fmla="*/ 28591 w 152521"/>
                        <a:gd name="connsiteY1" fmla="*/ 29333 h 146809"/>
                        <a:gd name="connsiteX2" fmla="*/ 41291 w 152521"/>
                        <a:gd name="connsiteY2" fmla="*/ 758 h 146809"/>
                        <a:gd name="connsiteX3" fmla="*/ 79391 w 152521"/>
                        <a:gd name="connsiteY3" fmla="*/ 7108 h 146809"/>
                        <a:gd name="connsiteX4" fmla="*/ 130044 w 152521"/>
                        <a:gd name="connsiteY4" fmla="*/ 7103 h 146809"/>
                        <a:gd name="connsiteX5" fmla="*/ 152415 w 152521"/>
                        <a:gd name="connsiteY5" fmla="*/ 42032 h 146809"/>
                        <a:gd name="connsiteX6" fmla="*/ 93448 w 152521"/>
                        <a:gd name="connsiteY6" fmla="*/ 99181 h 146809"/>
                        <a:gd name="connsiteX7" fmla="*/ 76069 w 152521"/>
                        <a:gd name="connsiteY7" fmla="*/ 146809 h 146809"/>
                        <a:gd name="connsiteX8" fmla="*/ 1540 w 152521"/>
                        <a:gd name="connsiteY8" fmla="*/ 99181 h 146809"/>
                        <a:gd name="connsiteX0" fmla="*/ 2038 w 153019"/>
                        <a:gd name="connsiteY0" fmla="*/ 99181 h 165859"/>
                        <a:gd name="connsiteX1" fmla="*/ 29089 w 153019"/>
                        <a:gd name="connsiteY1" fmla="*/ 29333 h 165859"/>
                        <a:gd name="connsiteX2" fmla="*/ 41789 w 153019"/>
                        <a:gd name="connsiteY2" fmla="*/ 758 h 165859"/>
                        <a:gd name="connsiteX3" fmla="*/ 79889 w 153019"/>
                        <a:gd name="connsiteY3" fmla="*/ 7108 h 165859"/>
                        <a:gd name="connsiteX4" fmla="*/ 130542 w 153019"/>
                        <a:gd name="connsiteY4" fmla="*/ 7103 h 165859"/>
                        <a:gd name="connsiteX5" fmla="*/ 152913 w 153019"/>
                        <a:gd name="connsiteY5" fmla="*/ 42032 h 165859"/>
                        <a:gd name="connsiteX6" fmla="*/ 93946 w 153019"/>
                        <a:gd name="connsiteY6" fmla="*/ 99181 h 165859"/>
                        <a:gd name="connsiteX7" fmla="*/ 86092 w 153019"/>
                        <a:gd name="connsiteY7" fmla="*/ 165859 h 165859"/>
                        <a:gd name="connsiteX8" fmla="*/ 2038 w 153019"/>
                        <a:gd name="connsiteY8" fmla="*/ 99181 h 16585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53019" h="165859">
                          <a:moveTo>
                            <a:pt x="2038" y="99181"/>
                          </a:moveTo>
                          <a:cubicBezTo>
                            <a:pt x="-7463" y="76427"/>
                            <a:pt x="18760" y="43091"/>
                            <a:pt x="29089" y="29333"/>
                          </a:cubicBezTo>
                          <a:cubicBezTo>
                            <a:pt x="36243" y="16633"/>
                            <a:pt x="33322" y="4462"/>
                            <a:pt x="41789" y="758"/>
                          </a:cubicBezTo>
                          <a:cubicBezTo>
                            <a:pt x="50256" y="-2946"/>
                            <a:pt x="68272" y="8167"/>
                            <a:pt x="79889" y="7108"/>
                          </a:cubicBezTo>
                          <a:cubicBezTo>
                            <a:pt x="91506" y="6049"/>
                            <a:pt x="118371" y="1282"/>
                            <a:pt x="130542" y="7103"/>
                          </a:cubicBezTo>
                          <a:cubicBezTo>
                            <a:pt x="142713" y="12924"/>
                            <a:pt x="150017" y="30919"/>
                            <a:pt x="152913" y="42032"/>
                          </a:cubicBezTo>
                          <a:cubicBezTo>
                            <a:pt x="155809" y="53145"/>
                            <a:pt x="98733" y="81718"/>
                            <a:pt x="93946" y="99181"/>
                          </a:cubicBezTo>
                          <a:cubicBezTo>
                            <a:pt x="93946" y="130746"/>
                            <a:pt x="101410" y="165859"/>
                            <a:pt x="86092" y="165859"/>
                          </a:cubicBezTo>
                          <a:cubicBezTo>
                            <a:pt x="70774" y="165859"/>
                            <a:pt x="11539" y="121935"/>
                            <a:pt x="2038" y="9918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69" name="Oval 88"/>
                    <p:cNvSpPr/>
                    <p:nvPr/>
                  </p:nvSpPr>
                  <p:spPr>
                    <a:xfrm>
                      <a:off x="5510709" y="4942210"/>
                      <a:ext cx="188889" cy="160387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14861"/>
                        <a:gd name="connsiteY0" fmla="*/ 122392 h 170110"/>
                        <a:gd name="connsiteX1" fmla="*/ 36793 w 114861"/>
                        <a:gd name="connsiteY1" fmla="*/ 615 h 170110"/>
                        <a:gd name="connsiteX2" fmla="*/ 114861 w 114861"/>
                        <a:gd name="connsiteY2" fmla="*/ 84292 h 170110"/>
                        <a:gd name="connsiteX3" fmla="*/ 36793 w 114861"/>
                        <a:gd name="connsiteY3" fmla="*/ 167969 h 170110"/>
                        <a:gd name="connsiteX4" fmla="*/ 0 w 114861"/>
                        <a:gd name="connsiteY4" fmla="*/ 122392 h 170110"/>
                        <a:gd name="connsiteX0" fmla="*/ 13 w 114874"/>
                        <a:gd name="connsiteY0" fmla="*/ 122392 h 156828"/>
                        <a:gd name="connsiteX1" fmla="*/ 36806 w 114874"/>
                        <a:gd name="connsiteY1" fmla="*/ 615 h 156828"/>
                        <a:gd name="connsiteX2" fmla="*/ 114874 w 114874"/>
                        <a:gd name="connsiteY2" fmla="*/ 84292 h 156828"/>
                        <a:gd name="connsiteX3" fmla="*/ 33631 w 114874"/>
                        <a:gd name="connsiteY3" fmla="*/ 155269 h 156828"/>
                        <a:gd name="connsiteX4" fmla="*/ 13 w 114874"/>
                        <a:gd name="connsiteY4" fmla="*/ 122392 h 156828"/>
                        <a:gd name="connsiteX0" fmla="*/ 9 w 115771"/>
                        <a:gd name="connsiteY0" fmla="*/ 122194 h 155137"/>
                        <a:gd name="connsiteX1" fmla="*/ 36802 w 115771"/>
                        <a:gd name="connsiteY1" fmla="*/ 417 h 155137"/>
                        <a:gd name="connsiteX2" fmla="*/ 114870 w 115771"/>
                        <a:gd name="connsiteY2" fmla="*/ 84094 h 155137"/>
                        <a:gd name="connsiteX3" fmla="*/ 66479 w 115771"/>
                        <a:gd name="connsiteY3" fmla="*/ 129367 h 155137"/>
                        <a:gd name="connsiteX4" fmla="*/ 33627 w 115771"/>
                        <a:gd name="connsiteY4" fmla="*/ 155071 h 155137"/>
                        <a:gd name="connsiteX5" fmla="*/ 9 w 115771"/>
                        <a:gd name="connsiteY5" fmla="*/ 122194 h 155137"/>
                        <a:gd name="connsiteX0" fmla="*/ 9 w 125148"/>
                        <a:gd name="connsiteY0" fmla="*/ 121780 h 154723"/>
                        <a:gd name="connsiteX1" fmla="*/ 36802 w 125148"/>
                        <a:gd name="connsiteY1" fmla="*/ 3 h 154723"/>
                        <a:gd name="connsiteX2" fmla="*/ 124395 w 125148"/>
                        <a:gd name="connsiteY2" fmla="*/ 118605 h 154723"/>
                        <a:gd name="connsiteX3" fmla="*/ 66479 w 125148"/>
                        <a:gd name="connsiteY3" fmla="*/ 128953 h 154723"/>
                        <a:gd name="connsiteX4" fmla="*/ 33627 w 125148"/>
                        <a:gd name="connsiteY4" fmla="*/ 154657 h 154723"/>
                        <a:gd name="connsiteX5" fmla="*/ 9 w 125148"/>
                        <a:gd name="connsiteY5" fmla="*/ 121780 h 154723"/>
                        <a:gd name="connsiteX0" fmla="*/ 3247 w 131427"/>
                        <a:gd name="connsiteY0" fmla="*/ 77331 h 110274"/>
                        <a:gd name="connsiteX1" fmla="*/ 122590 w 131427"/>
                        <a:gd name="connsiteY1" fmla="*/ 4 h 110274"/>
                        <a:gd name="connsiteX2" fmla="*/ 127633 w 131427"/>
                        <a:gd name="connsiteY2" fmla="*/ 74156 h 110274"/>
                        <a:gd name="connsiteX3" fmla="*/ 69717 w 131427"/>
                        <a:gd name="connsiteY3" fmla="*/ 84504 h 110274"/>
                        <a:gd name="connsiteX4" fmla="*/ 36865 w 131427"/>
                        <a:gd name="connsiteY4" fmla="*/ 110208 h 110274"/>
                        <a:gd name="connsiteX5" fmla="*/ 3247 w 131427"/>
                        <a:gd name="connsiteY5" fmla="*/ 77331 h 110274"/>
                        <a:gd name="connsiteX0" fmla="*/ 5118 w 160910"/>
                        <a:gd name="connsiteY0" fmla="*/ 124954 h 157897"/>
                        <a:gd name="connsiteX1" fmla="*/ 156211 w 160910"/>
                        <a:gd name="connsiteY1" fmla="*/ 2 h 157897"/>
                        <a:gd name="connsiteX2" fmla="*/ 129504 w 160910"/>
                        <a:gd name="connsiteY2" fmla="*/ 121779 h 157897"/>
                        <a:gd name="connsiteX3" fmla="*/ 71588 w 160910"/>
                        <a:gd name="connsiteY3" fmla="*/ 132127 h 157897"/>
                        <a:gd name="connsiteX4" fmla="*/ 38736 w 160910"/>
                        <a:gd name="connsiteY4" fmla="*/ 157831 h 157897"/>
                        <a:gd name="connsiteX5" fmla="*/ 5118 w 160910"/>
                        <a:gd name="connsiteY5" fmla="*/ 124954 h 157897"/>
                        <a:gd name="connsiteX0" fmla="*/ 1646 w 153341"/>
                        <a:gd name="connsiteY0" fmla="*/ 125884 h 158827"/>
                        <a:gd name="connsiteX1" fmla="*/ 90340 w 153341"/>
                        <a:gd name="connsiteY1" fmla="*/ 69558 h 158827"/>
                        <a:gd name="connsiteX2" fmla="*/ 152739 w 153341"/>
                        <a:gd name="connsiteY2" fmla="*/ 932 h 158827"/>
                        <a:gd name="connsiteX3" fmla="*/ 126032 w 153341"/>
                        <a:gd name="connsiteY3" fmla="*/ 122709 h 158827"/>
                        <a:gd name="connsiteX4" fmla="*/ 68116 w 153341"/>
                        <a:gd name="connsiteY4" fmla="*/ 133057 h 158827"/>
                        <a:gd name="connsiteX5" fmla="*/ 35264 w 153341"/>
                        <a:gd name="connsiteY5" fmla="*/ 158761 h 158827"/>
                        <a:gd name="connsiteX6" fmla="*/ 1646 w 153341"/>
                        <a:gd name="connsiteY6" fmla="*/ 125884 h 158827"/>
                        <a:gd name="connsiteX0" fmla="*/ 1646 w 189305"/>
                        <a:gd name="connsiteY0" fmla="*/ 126728 h 159671"/>
                        <a:gd name="connsiteX1" fmla="*/ 90340 w 189305"/>
                        <a:gd name="connsiteY1" fmla="*/ 70402 h 159671"/>
                        <a:gd name="connsiteX2" fmla="*/ 152739 w 189305"/>
                        <a:gd name="connsiteY2" fmla="*/ 1776 h 159671"/>
                        <a:gd name="connsiteX3" fmla="*/ 188766 w 189305"/>
                        <a:gd name="connsiteY3" fmla="*/ 29127 h 159671"/>
                        <a:gd name="connsiteX4" fmla="*/ 126032 w 189305"/>
                        <a:gd name="connsiteY4" fmla="*/ 123553 h 159671"/>
                        <a:gd name="connsiteX5" fmla="*/ 68116 w 189305"/>
                        <a:gd name="connsiteY5" fmla="*/ 133901 h 159671"/>
                        <a:gd name="connsiteX6" fmla="*/ 35264 w 189305"/>
                        <a:gd name="connsiteY6" fmla="*/ 159605 h 159671"/>
                        <a:gd name="connsiteX7" fmla="*/ 1646 w 189305"/>
                        <a:gd name="connsiteY7" fmla="*/ 126728 h 15967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189305" h="159671">
                          <a:moveTo>
                            <a:pt x="1646" y="126728"/>
                          </a:moveTo>
                          <a:cubicBezTo>
                            <a:pt x="10825" y="111861"/>
                            <a:pt x="65158" y="91227"/>
                            <a:pt x="90340" y="70402"/>
                          </a:cubicBezTo>
                          <a:cubicBezTo>
                            <a:pt x="115522" y="49577"/>
                            <a:pt x="136335" y="8655"/>
                            <a:pt x="152739" y="1776"/>
                          </a:cubicBezTo>
                          <a:cubicBezTo>
                            <a:pt x="169143" y="-5103"/>
                            <a:pt x="193217" y="8831"/>
                            <a:pt x="188766" y="29127"/>
                          </a:cubicBezTo>
                          <a:cubicBezTo>
                            <a:pt x="184315" y="49423"/>
                            <a:pt x="139261" y="106620"/>
                            <a:pt x="126032" y="123553"/>
                          </a:cubicBezTo>
                          <a:cubicBezTo>
                            <a:pt x="112803" y="140486"/>
                            <a:pt x="81656" y="122072"/>
                            <a:pt x="68116" y="133901"/>
                          </a:cubicBezTo>
                          <a:cubicBezTo>
                            <a:pt x="54576" y="145730"/>
                            <a:pt x="46342" y="160800"/>
                            <a:pt x="35264" y="159605"/>
                          </a:cubicBezTo>
                          <a:cubicBezTo>
                            <a:pt x="24186" y="158410"/>
                            <a:pt x="-7533" y="141595"/>
                            <a:pt x="1646" y="126728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0" name="Oval 88"/>
                    <p:cNvSpPr/>
                    <p:nvPr/>
                  </p:nvSpPr>
                  <p:spPr>
                    <a:xfrm>
                      <a:off x="5775789" y="4880278"/>
                      <a:ext cx="273017" cy="95279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14861"/>
                        <a:gd name="connsiteY0" fmla="*/ 122392 h 170110"/>
                        <a:gd name="connsiteX1" fmla="*/ 36793 w 114861"/>
                        <a:gd name="connsiteY1" fmla="*/ 615 h 170110"/>
                        <a:gd name="connsiteX2" fmla="*/ 114861 w 114861"/>
                        <a:gd name="connsiteY2" fmla="*/ 84292 h 170110"/>
                        <a:gd name="connsiteX3" fmla="*/ 36793 w 114861"/>
                        <a:gd name="connsiteY3" fmla="*/ 167969 h 170110"/>
                        <a:gd name="connsiteX4" fmla="*/ 0 w 114861"/>
                        <a:gd name="connsiteY4" fmla="*/ 122392 h 170110"/>
                        <a:gd name="connsiteX0" fmla="*/ 13 w 114874"/>
                        <a:gd name="connsiteY0" fmla="*/ 122392 h 156828"/>
                        <a:gd name="connsiteX1" fmla="*/ 36806 w 114874"/>
                        <a:gd name="connsiteY1" fmla="*/ 615 h 156828"/>
                        <a:gd name="connsiteX2" fmla="*/ 114874 w 114874"/>
                        <a:gd name="connsiteY2" fmla="*/ 84292 h 156828"/>
                        <a:gd name="connsiteX3" fmla="*/ 33631 w 114874"/>
                        <a:gd name="connsiteY3" fmla="*/ 155269 h 156828"/>
                        <a:gd name="connsiteX4" fmla="*/ 13 w 114874"/>
                        <a:gd name="connsiteY4" fmla="*/ 122392 h 156828"/>
                        <a:gd name="connsiteX0" fmla="*/ 9 w 115771"/>
                        <a:gd name="connsiteY0" fmla="*/ 122194 h 155137"/>
                        <a:gd name="connsiteX1" fmla="*/ 36802 w 115771"/>
                        <a:gd name="connsiteY1" fmla="*/ 417 h 155137"/>
                        <a:gd name="connsiteX2" fmla="*/ 114870 w 115771"/>
                        <a:gd name="connsiteY2" fmla="*/ 84094 h 155137"/>
                        <a:gd name="connsiteX3" fmla="*/ 66479 w 115771"/>
                        <a:gd name="connsiteY3" fmla="*/ 129367 h 155137"/>
                        <a:gd name="connsiteX4" fmla="*/ 33627 w 115771"/>
                        <a:gd name="connsiteY4" fmla="*/ 155071 h 155137"/>
                        <a:gd name="connsiteX5" fmla="*/ 9 w 115771"/>
                        <a:gd name="connsiteY5" fmla="*/ 122194 h 155137"/>
                        <a:gd name="connsiteX0" fmla="*/ 9 w 125148"/>
                        <a:gd name="connsiteY0" fmla="*/ 121780 h 154723"/>
                        <a:gd name="connsiteX1" fmla="*/ 36802 w 125148"/>
                        <a:gd name="connsiteY1" fmla="*/ 3 h 154723"/>
                        <a:gd name="connsiteX2" fmla="*/ 124395 w 125148"/>
                        <a:gd name="connsiteY2" fmla="*/ 118605 h 154723"/>
                        <a:gd name="connsiteX3" fmla="*/ 66479 w 125148"/>
                        <a:gd name="connsiteY3" fmla="*/ 128953 h 154723"/>
                        <a:gd name="connsiteX4" fmla="*/ 33627 w 125148"/>
                        <a:gd name="connsiteY4" fmla="*/ 154657 h 154723"/>
                        <a:gd name="connsiteX5" fmla="*/ 9 w 125148"/>
                        <a:gd name="connsiteY5" fmla="*/ 121780 h 154723"/>
                        <a:gd name="connsiteX0" fmla="*/ 3247 w 131427"/>
                        <a:gd name="connsiteY0" fmla="*/ 77331 h 110274"/>
                        <a:gd name="connsiteX1" fmla="*/ 122590 w 131427"/>
                        <a:gd name="connsiteY1" fmla="*/ 4 h 110274"/>
                        <a:gd name="connsiteX2" fmla="*/ 127633 w 131427"/>
                        <a:gd name="connsiteY2" fmla="*/ 74156 h 110274"/>
                        <a:gd name="connsiteX3" fmla="*/ 69717 w 131427"/>
                        <a:gd name="connsiteY3" fmla="*/ 84504 h 110274"/>
                        <a:gd name="connsiteX4" fmla="*/ 36865 w 131427"/>
                        <a:gd name="connsiteY4" fmla="*/ 110208 h 110274"/>
                        <a:gd name="connsiteX5" fmla="*/ 3247 w 131427"/>
                        <a:gd name="connsiteY5" fmla="*/ 77331 h 110274"/>
                        <a:gd name="connsiteX0" fmla="*/ 5118 w 160910"/>
                        <a:gd name="connsiteY0" fmla="*/ 124954 h 157897"/>
                        <a:gd name="connsiteX1" fmla="*/ 156211 w 160910"/>
                        <a:gd name="connsiteY1" fmla="*/ 2 h 157897"/>
                        <a:gd name="connsiteX2" fmla="*/ 129504 w 160910"/>
                        <a:gd name="connsiteY2" fmla="*/ 121779 h 157897"/>
                        <a:gd name="connsiteX3" fmla="*/ 71588 w 160910"/>
                        <a:gd name="connsiteY3" fmla="*/ 132127 h 157897"/>
                        <a:gd name="connsiteX4" fmla="*/ 38736 w 160910"/>
                        <a:gd name="connsiteY4" fmla="*/ 157831 h 157897"/>
                        <a:gd name="connsiteX5" fmla="*/ 5118 w 160910"/>
                        <a:gd name="connsiteY5" fmla="*/ 124954 h 157897"/>
                        <a:gd name="connsiteX0" fmla="*/ 1646 w 153341"/>
                        <a:gd name="connsiteY0" fmla="*/ 125884 h 158827"/>
                        <a:gd name="connsiteX1" fmla="*/ 90340 w 153341"/>
                        <a:gd name="connsiteY1" fmla="*/ 69558 h 158827"/>
                        <a:gd name="connsiteX2" fmla="*/ 152739 w 153341"/>
                        <a:gd name="connsiteY2" fmla="*/ 932 h 158827"/>
                        <a:gd name="connsiteX3" fmla="*/ 126032 w 153341"/>
                        <a:gd name="connsiteY3" fmla="*/ 122709 h 158827"/>
                        <a:gd name="connsiteX4" fmla="*/ 68116 w 153341"/>
                        <a:gd name="connsiteY4" fmla="*/ 133057 h 158827"/>
                        <a:gd name="connsiteX5" fmla="*/ 35264 w 153341"/>
                        <a:gd name="connsiteY5" fmla="*/ 158761 h 158827"/>
                        <a:gd name="connsiteX6" fmla="*/ 1646 w 153341"/>
                        <a:gd name="connsiteY6" fmla="*/ 125884 h 158827"/>
                        <a:gd name="connsiteX0" fmla="*/ 1646 w 189305"/>
                        <a:gd name="connsiteY0" fmla="*/ 126728 h 159671"/>
                        <a:gd name="connsiteX1" fmla="*/ 90340 w 189305"/>
                        <a:gd name="connsiteY1" fmla="*/ 70402 h 159671"/>
                        <a:gd name="connsiteX2" fmla="*/ 152739 w 189305"/>
                        <a:gd name="connsiteY2" fmla="*/ 1776 h 159671"/>
                        <a:gd name="connsiteX3" fmla="*/ 188766 w 189305"/>
                        <a:gd name="connsiteY3" fmla="*/ 29127 h 159671"/>
                        <a:gd name="connsiteX4" fmla="*/ 126032 w 189305"/>
                        <a:gd name="connsiteY4" fmla="*/ 123553 h 159671"/>
                        <a:gd name="connsiteX5" fmla="*/ 68116 w 189305"/>
                        <a:gd name="connsiteY5" fmla="*/ 133901 h 159671"/>
                        <a:gd name="connsiteX6" fmla="*/ 35264 w 189305"/>
                        <a:gd name="connsiteY6" fmla="*/ 159605 h 159671"/>
                        <a:gd name="connsiteX7" fmla="*/ 1646 w 189305"/>
                        <a:gd name="connsiteY7" fmla="*/ 126728 h 159671"/>
                        <a:gd name="connsiteX0" fmla="*/ 1540 w 192374"/>
                        <a:gd name="connsiteY0" fmla="*/ 117203 h 159913"/>
                        <a:gd name="connsiteX1" fmla="*/ 93409 w 192374"/>
                        <a:gd name="connsiteY1" fmla="*/ 70402 h 159913"/>
                        <a:gd name="connsiteX2" fmla="*/ 155808 w 192374"/>
                        <a:gd name="connsiteY2" fmla="*/ 1776 h 159913"/>
                        <a:gd name="connsiteX3" fmla="*/ 191835 w 192374"/>
                        <a:gd name="connsiteY3" fmla="*/ 29127 h 159913"/>
                        <a:gd name="connsiteX4" fmla="*/ 129101 w 192374"/>
                        <a:gd name="connsiteY4" fmla="*/ 123553 h 159913"/>
                        <a:gd name="connsiteX5" fmla="*/ 71185 w 192374"/>
                        <a:gd name="connsiteY5" fmla="*/ 133901 h 159913"/>
                        <a:gd name="connsiteX6" fmla="*/ 38333 w 192374"/>
                        <a:gd name="connsiteY6" fmla="*/ 159605 h 159913"/>
                        <a:gd name="connsiteX7" fmla="*/ 1540 w 192374"/>
                        <a:gd name="connsiteY7" fmla="*/ 117203 h 159913"/>
                        <a:gd name="connsiteX0" fmla="*/ 1578 w 192412"/>
                        <a:gd name="connsiteY0" fmla="*/ 117203 h 160098"/>
                        <a:gd name="connsiteX1" fmla="*/ 93447 w 192412"/>
                        <a:gd name="connsiteY1" fmla="*/ 70402 h 160098"/>
                        <a:gd name="connsiteX2" fmla="*/ 155846 w 192412"/>
                        <a:gd name="connsiteY2" fmla="*/ 1776 h 160098"/>
                        <a:gd name="connsiteX3" fmla="*/ 191873 w 192412"/>
                        <a:gd name="connsiteY3" fmla="*/ 29127 h 160098"/>
                        <a:gd name="connsiteX4" fmla="*/ 129139 w 192412"/>
                        <a:gd name="connsiteY4" fmla="*/ 123553 h 160098"/>
                        <a:gd name="connsiteX5" fmla="*/ 77573 w 192412"/>
                        <a:gd name="connsiteY5" fmla="*/ 137076 h 160098"/>
                        <a:gd name="connsiteX6" fmla="*/ 38371 w 192412"/>
                        <a:gd name="connsiteY6" fmla="*/ 159605 h 160098"/>
                        <a:gd name="connsiteX7" fmla="*/ 1578 w 192412"/>
                        <a:gd name="connsiteY7" fmla="*/ 117203 h 160098"/>
                        <a:gd name="connsiteX0" fmla="*/ 1578 w 192412"/>
                        <a:gd name="connsiteY0" fmla="*/ 117203 h 172587"/>
                        <a:gd name="connsiteX1" fmla="*/ 93447 w 192412"/>
                        <a:gd name="connsiteY1" fmla="*/ 70402 h 172587"/>
                        <a:gd name="connsiteX2" fmla="*/ 155846 w 192412"/>
                        <a:gd name="connsiteY2" fmla="*/ 1776 h 172587"/>
                        <a:gd name="connsiteX3" fmla="*/ 191873 w 192412"/>
                        <a:gd name="connsiteY3" fmla="*/ 29127 h 172587"/>
                        <a:gd name="connsiteX4" fmla="*/ 129139 w 192412"/>
                        <a:gd name="connsiteY4" fmla="*/ 123553 h 172587"/>
                        <a:gd name="connsiteX5" fmla="*/ 77573 w 192412"/>
                        <a:gd name="connsiteY5" fmla="*/ 137076 h 172587"/>
                        <a:gd name="connsiteX6" fmla="*/ 38371 w 192412"/>
                        <a:gd name="connsiteY6" fmla="*/ 172305 h 172587"/>
                        <a:gd name="connsiteX7" fmla="*/ 1578 w 192412"/>
                        <a:gd name="connsiteY7" fmla="*/ 117203 h 172587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29200 w 192473"/>
                        <a:gd name="connsiteY4" fmla="*/ 123553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29200 w 192473"/>
                        <a:gd name="connsiteY4" fmla="*/ 120378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45075 w 192473"/>
                        <a:gd name="connsiteY4" fmla="*/ 139428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74103"/>
                        <a:gd name="connsiteY0" fmla="*/ 115867 h 171548"/>
                        <a:gd name="connsiteX1" fmla="*/ 93508 w 174103"/>
                        <a:gd name="connsiteY1" fmla="*/ 69066 h 171548"/>
                        <a:gd name="connsiteX2" fmla="*/ 155907 w 174103"/>
                        <a:gd name="connsiteY2" fmla="*/ 440 h 171548"/>
                        <a:gd name="connsiteX3" fmla="*/ 172884 w 174103"/>
                        <a:gd name="connsiteY3" fmla="*/ 103991 h 171548"/>
                        <a:gd name="connsiteX4" fmla="*/ 145075 w 174103"/>
                        <a:gd name="connsiteY4" fmla="*/ 138092 h 171548"/>
                        <a:gd name="connsiteX5" fmla="*/ 87159 w 174103"/>
                        <a:gd name="connsiteY5" fmla="*/ 142090 h 171548"/>
                        <a:gd name="connsiteX6" fmla="*/ 38432 w 174103"/>
                        <a:gd name="connsiteY6" fmla="*/ 170969 h 171548"/>
                        <a:gd name="connsiteX7" fmla="*/ 1639 w 174103"/>
                        <a:gd name="connsiteY7" fmla="*/ 115867 h 171548"/>
                        <a:gd name="connsiteX0" fmla="*/ 1639 w 173324"/>
                        <a:gd name="connsiteY0" fmla="*/ 52930 h 108611"/>
                        <a:gd name="connsiteX1" fmla="*/ 93508 w 173324"/>
                        <a:gd name="connsiteY1" fmla="*/ 6129 h 108611"/>
                        <a:gd name="connsiteX2" fmla="*/ 133682 w 173324"/>
                        <a:gd name="connsiteY2" fmla="*/ 29578 h 108611"/>
                        <a:gd name="connsiteX3" fmla="*/ 172884 w 173324"/>
                        <a:gd name="connsiteY3" fmla="*/ 41054 h 108611"/>
                        <a:gd name="connsiteX4" fmla="*/ 145075 w 173324"/>
                        <a:gd name="connsiteY4" fmla="*/ 75155 h 108611"/>
                        <a:gd name="connsiteX5" fmla="*/ 87159 w 173324"/>
                        <a:gd name="connsiteY5" fmla="*/ 79153 h 108611"/>
                        <a:gd name="connsiteX6" fmla="*/ 38432 w 173324"/>
                        <a:gd name="connsiteY6" fmla="*/ 108032 h 108611"/>
                        <a:gd name="connsiteX7" fmla="*/ 1639 w 173324"/>
                        <a:gd name="connsiteY7" fmla="*/ 52930 h 108611"/>
                        <a:gd name="connsiteX0" fmla="*/ 1791 w 173470"/>
                        <a:gd name="connsiteY0" fmla="*/ 47258 h 102939"/>
                        <a:gd name="connsiteX1" fmla="*/ 96835 w 173470"/>
                        <a:gd name="connsiteY1" fmla="*/ 6807 h 102939"/>
                        <a:gd name="connsiteX2" fmla="*/ 133834 w 173470"/>
                        <a:gd name="connsiteY2" fmla="*/ 23906 h 102939"/>
                        <a:gd name="connsiteX3" fmla="*/ 173036 w 173470"/>
                        <a:gd name="connsiteY3" fmla="*/ 35382 h 102939"/>
                        <a:gd name="connsiteX4" fmla="*/ 145227 w 173470"/>
                        <a:gd name="connsiteY4" fmla="*/ 69483 h 102939"/>
                        <a:gd name="connsiteX5" fmla="*/ 87311 w 173470"/>
                        <a:gd name="connsiteY5" fmla="*/ 73481 h 102939"/>
                        <a:gd name="connsiteX6" fmla="*/ 38584 w 173470"/>
                        <a:gd name="connsiteY6" fmla="*/ 102360 h 102939"/>
                        <a:gd name="connsiteX7" fmla="*/ 1791 w 173470"/>
                        <a:gd name="connsiteY7" fmla="*/ 47258 h 102939"/>
                        <a:gd name="connsiteX0" fmla="*/ 1791 w 173470"/>
                        <a:gd name="connsiteY0" fmla="*/ 40451 h 96132"/>
                        <a:gd name="connsiteX1" fmla="*/ 96835 w 173470"/>
                        <a:gd name="connsiteY1" fmla="*/ 0 h 96132"/>
                        <a:gd name="connsiteX2" fmla="*/ 133834 w 173470"/>
                        <a:gd name="connsiteY2" fmla="*/ 17099 h 96132"/>
                        <a:gd name="connsiteX3" fmla="*/ 173036 w 173470"/>
                        <a:gd name="connsiteY3" fmla="*/ 28575 h 96132"/>
                        <a:gd name="connsiteX4" fmla="*/ 145227 w 173470"/>
                        <a:gd name="connsiteY4" fmla="*/ 62676 h 96132"/>
                        <a:gd name="connsiteX5" fmla="*/ 87311 w 173470"/>
                        <a:gd name="connsiteY5" fmla="*/ 66674 h 96132"/>
                        <a:gd name="connsiteX6" fmla="*/ 38584 w 173470"/>
                        <a:gd name="connsiteY6" fmla="*/ 95553 h 96132"/>
                        <a:gd name="connsiteX7" fmla="*/ 1791 w 173470"/>
                        <a:gd name="connsiteY7" fmla="*/ 40451 h 96132"/>
                        <a:gd name="connsiteX0" fmla="*/ 1791 w 192729"/>
                        <a:gd name="connsiteY0" fmla="*/ 40451 h 96132"/>
                        <a:gd name="connsiteX1" fmla="*/ 96835 w 192729"/>
                        <a:gd name="connsiteY1" fmla="*/ 0 h 96132"/>
                        <a:gd name="connsiteX2" fmla="*/ 133834 w 192729"/>
                        <a:gd name="connsiteY2" fmla="*/ 17099 h 96132"/>
                        <a:gd name="connsiteX3" fmla="*/ 173036 w 192729"/>
                        <a:gd name="connsiteY3" fmla="*/ 28575 h 96132"/>
                        <a:gd name="connsiteX4" fmla="*/ 189677 w 192729"/>
                        <a:gd name="connsiteY4" fmla="*/ 91251 h 96132"/>
                        <a:gd name="connsiteX5" fmla="*/ 87311 w 192729"/>
                        <a:gd name="connsiteY5" fmla="*/ 66674 h 96132"/>
                        <a:gd name="connsiteX6" fmla="*/ 38584 w 192729"/>
                        <a:gd name="connsiteY6" fmla="*/ 95553 h 96132"/>
                        <a:gd name="connsiteX7" fmla="*/ 1791 w 192729"/>
                        <a:gd name="connsiteY7" fmla="*/ 40451 h 96132"/>
                        <a:gd name="connsiteX0" fmla="*/ 1791 w 273343"/>
                        <a:gd name="connsiteY0" fmla="*/ 40451 h 96132"/>
                        <a:gd name="connsiteX1" fmla="*/ 96835 w 273343"/>
                        <a:gd name="connsiteY1" fmla="*/ 0 h 96132"/>
                        <a:gd name="connsiteX2" fmla="*/ 133834 w 273343"/>
                        <a:gd name="connsiteY2" fmla="*/ 17099 h 96132"/>
                        <a:gd name="connsiteX3" fmla="*/ 173036 w 273343"/>
                        <a:gd name="connsiteY3" fmla="*/ 28575 h 96132"/>
                        <a:gd name="connsiteX4" fmla="*/ 273264 w 273343"/>
                        <a:gd name="connsiteY4" fmla="*/ 44816 h 96132"/>
                        <a:gd name="connsiteX5" fmla="*/ 189677 w 273343"/>
                        <a:gd name="connsiteY5" fmla="*/ 91251 h 96132"/>
                        <a:gd name="connsiteX6" fmla="*/ 87311 w 273343"/>
                        <a:gd name="connsiteY6" fmla="*/ 66674 h 96132"/>
                        <a:gd name="connsiteX7" fmla="*/ 38584 w 273343"/>
                        <a:gd name="connsiteY7" fmla="*/ 95553 h 96132"/>
                        <a:gd name="connsiteX8" fmla="*/ 1791 w 273343"/>
                        <a:gd name="connsiteY8" fmla="*/ 40451 h 96132"/>
                        <a:gd name="connsiteX0" fmla="*/ 1791 w 273378"/>
                        <a:gd name="connsiteY0" fmla="*/ 40451 h 97753"/>
                        <a:gd name="connsiteX1" fmla="*/ 96835 w 273378"/>
                        <a:gd name="connsiteY1" fmla="*/ 0 h 97753"/>
                        <a:gd name="connsiteX2" fmla="*/ 133834 w 273378"/>
                        <a:gd name="connsiteY2" fmla="*/ 17099 h 97753"/>
                        <a:gd name="connsiteX3" fmla="*/ 173036 w 273378"/>
                        <a:gd name="connsiteY3" fmla="*/ 28575 h 97753"/>
                        <a:gd name="connsiteX4" fmla="*/ 273264 w 273378"/>
                        <a:gd name="connsiteY4" fmla="*/ 44816 h 97753"/>
                        <a:gd name="connsiteX5" fmla="*/ 211902 w 273378"/>
                        <a:gd name="connsiteY5" fmla="*/ 97601 h 97753"/>
                        <a:gd name="connsiteX6" fmla="*/ 87311 w 273378"/>
                        <a:gd name="connsiteY6" fmla="*/ 66674 h 97753"/>
                        <a:gd name="connsiteX7" fmla="*/ 38584 w 273378"/>
                        <a:gd name="connsiteY7" fmla="*/ 95553 h 97753"/>
                        <a:gd name="connsiteX8" fmla="*/ 1791 w 273378"/>
                        <a:gd name="connsiteY8" fmla="*/ 40451 h 97753"/>
                        <a:gd name="connsiteX0" fmla="*/ 1791 w 273378"/>
                        <a:gd name="connsiteY0" fmla="*/ 40451 h 104803"/>
                        <a:gd name="connsiteX1" fmla="*/ 96835 w 273378"/>
                        <a:gd name="connsiteY1" fmla="*/ 0 h 104803"/>
                        <a:gd name="connsiteX2" fmla="*/ 133834 w 273378"/>
                        <a:gd name="connsiteY2" fmla="*/ 17099 h 104803"/>
                        <a:gd name="connsiteX3" fmla="*/ 173036 w 273378"/>
                        <a:gd name="connsiteY3" fmla="*/ 28575 h 104803"/>
                        <a:gd name="connsiteX4" fmla="*/ 273264 w 273378"/>
                        <a:gd name="connsiteY4" fmla="*/ 44816 h 104803"/>
                        <a:gd name="connsiteX5" fmla="*/ 211902 w 273378"/>
                        <a:gd name="connsiteY5" fmla="*/ 97601 h 104803"/>
                        <a:gd name="connsiteX6" fmla="*/ 184363 w 273378"/>
                        <a:gd name="connsiteY6" fmla="*/ 101966 h 104803"/>
                        <a:gd name="connsiteX7" fmla="*/ 87311 w 273378"/>
                        <a:gd name="connsiteY7" fmla="*/ 66674 h 104803"/>
                        <a:gd name="connsiteX8" fmla="*/ 38584 w 273378"/>
                        <a:gd name="connsiteY8" fmla="*/ 95553 h 104803"/>
                        <a:gd name="connsiteX9" fmla="*/ 1791 w 273378"/>
                        <a:gd name="connsiteY9" fmla="*/ 40451 h 104803"/>
                        <a:gd name="connsiteX0" fmla="*/ 1791 w 273378"/>
                        <a:gd name="connsiteY0" fmla="*/ 40451 h 104803"/>
                        <a:gd name="connsiteX1" fmla="*/ 96835 w 273378"/>
                        <a:gd name="connsiteY1" fmla="*/ 0 h 104803"/>
                        <a:gd name="connsiteX2" fmla="*/ 124309 w 273378"/>
                        <a:gd name="connsiteY2" fmla="*/ 36149 h 104803"/>
                        <a:gd name="connsiteX3" fmla="*/ 173036 w 273378"/>
                        <a:gd name="connsiteY3" fmla="*/ 28575 h 104803"/>
                        <a:gd name="connsiteX4" fmla="*/ 273264 w 273378"/>
                        <a:gd name="connsiteY4" fmla="*/ 44816 h 104803"/>
                        <a:gd name="connsiteX5" fmla="*/ 211902 w 273378"/>
                        <a:gd name="connsiteY5" fmla="*/ 97601 h 104803"/>
                        <a:gd name="connsiteX6" fmla="*/ 184363 w 273378"/>
                        <a:gd name="connsiteY6" fmla="*/ 101966 h 104803"/>
                        <a:gd name="connsiteX7" fmla="*/ 87311 w 273378"/>
                        <a:gd name="connsiteY7" fmla="*/ 66674 h 104803"/>
                        <a:gd name="connsiteX8" fmla="*/ 38584 w 273378"/>
                        <a:gd name="connsiteY8" fmla="*/ 95553 h 104803"/>
                        <a:gd name="connsiteX9" fmla="*/ 1791 w 273378"/>
                        <a:gd name="connsiteY9" fmla="*/ 40451 h 104803"/>
                        <a:gd name="connsiteX0" fmla="*/ 1348 w 272935"/>
                        <a:gd name="connsiteY0" fmla="*/ 30926 h 95278"/>
                        <a:gd name="connsiteX1" fmla="*/ 86867 w 272935"/>
                        <a:gd name="connsiteY1" fmla="*/ 0 h 95278"/>
                        <a:gd name="connsiteX2" fmla="*/ 123866 w 272935"/>
                        <a:gd name="connsiteY2" fmla="*/ 26624 h 95278"/>
                        <a:gd name="connsiteX3" fmla="*/ 172593 w 272935"/>
                        <a:gd name="connsiteY3" fmla="*/ 19050 h 95278"/>
                        <a:gd name="connsiteX4" fmla="*/ 272821 w 272935"/>
                        <a:gd name="connsiteY4" fmla="*/ 35291 h 95278"/>
                        <a:gd name="connsiteX5" fmla="*/ 211459 w 272935"/>
                        <a:gd name="connsiteY5" fmla="*/ 88076 h 95278"/>
                        <a:gd name="connsiteX6" fmla="*/ 183920 w 272935"/>
                        <a:gd name="connsiteY6" fmla="*/ 92441 h 95278"/>
                        <a:gd name="connsiteX7" fmla="*/ 86868 w 272935"/>
                        <a:gd name="connsiteY7" fmla="*/ 57149 h 95278"/>
                        <a:gd name="connsiteX8" fmla="*/ 38141 w 272935"/>
                        <a:gd name="connsiteY8" fmla="*/ 86028 h 95278"/>
                        <a:gd name="connsiteX9" fmla="*/ 1348 w 272935"/>
                        <a:gd name="connsiteY9" fmla="*/ 30926 h 95278"/>
                        <a:gd name="connsiteX0" fmla="*/ 1348 w 272935"/>
                        <a:gd name="connsiteY0" fmla="*/ 30926 h 95278"/>
                        <a:gd name="connsiteX1" fmla="*/ 86867 w 272935"/>
                        <a:gd name="connsiteY1" fmla="*/ 0 h 95278"/>
                        <a:gd name="connsiteX2" fmla="*/ 123866 w 272935"/>
                        <a:gd name="connsiteY2" fmla="*/ 26624 h 95278"/>
                        <a:gd name="connsiteX3" fmla="*/ 178943 w 272935"/>
                        <a:gd name="connsiteY3" fmla="*/ 41275 h 95278"/>
                        <a:gd name="connsiteX4" fmla="*/ 272821 w 272935"/>
                        <a:gd name="connsiteY4" fmla="*/ 35291 h 95278"/>
                        <a:gd name="connsiteX5" fmla="*/ 211459 w 272935"/>
                        <a:gd name="connsiteY5" fmla="*/ 88076 h 95278"/>
                        <a:gd name="connsiteX6" fmla="*/ 183920 w 272935"/>
                        <a:gd name="connsiteY6" fmla="*/ 92441 h 95278"/>
                        <a:gd name="connsiteX7" fmla="*/ 86868 w 272935"/>
                        <a:gd name="connsiteY7" fmla="*/ 57149 h 95278"/>
                        <a:gd name="connsiteX8" fmla="*/ 38141 w 272935"/>
                        <a:gd name="connsiteY8" fmla="*/ 86028 h 95278"/>
                        <a:gd name="connsiteX9" fmla="*/ 1348 w 272935"/>
                        <a:gd name="connsiteY9" fmla="*/ 30926 h 9527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272935" h="95278">
                          <a:moveTo>
                            <a:pt x="1348" y="30926"/>
                          </a:moveTo>
                          <a:cubicBezTo>
                            <a:pt x="9469" y="16588"/>
                            <a:pt x="61685" y="20825"/>
                            <a:pt x="86867" y="0"/>
                          </a:cubicBezTo>
                          <a:cubicBezTo>
                            <a:pt x="118399" y="1400"/>
                            <a:pt x="108520" y="19745"/>
                            <a:pt x="123866" y="26624"/>
                          </a:cubicBezTo>
                          <a:cubicBezTo>
                            <a:pt x="139212" y="33503"/>
                            <a:pt x="171051" y="36126"/>
                            <a:pt x="178943" y="41275"/>
                          </a:cubicBezTo>
                          <a:cubicBezTo>
                            <a:pt x="186835" y="46424"/>
                            <a:pt x="270048" y="24845"/>
                            <a:pt x="272821" y="35291"/>
                          </a:cubicBezTo>
                          <a:cubicBezTo>
                            <a:pt x="275594" y="45737"/>
                            <a:pt x="227334" y="80668"/>
                            <a:pt x="211459" y="88076"/>
                          </a:cubicBezTo>
                          <a:cubicBezTo>
                            <a:pt x="195584" y="95484"/>
                            <a:pt x="204685" y="97596"/>
                            <a:pt x="183920" y="92441"/>
                          </a:cubicBezTo>
                          <a:cubicBezTo>
                            <a:pt x="163155" y="87286"/>
                            <a:pt x="110106" y="56101"/>
                            <a:pt x="86868" y="57149"/>
                          </a:cubicBezTo>
                          <a:cubicBezTo>
                            <a:pt x="63630" y="58197"/>
                            <a:pt x="52394" y="90399"/>
                            <a:pt x="38141" y="86028"/>
                          </a:cubicBezTo>
                          <a:cubicBezTo>
                            <a:pt x="23888" y="81657"/>
                            <a:pt x="-6773" y="45264"/>
                            <a:pt x="1348" y="30926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dirty="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1" name="Oval 88"/>
                    <p:cNvSpPr/>
                    <p:nvPr/>
                  </p:nvSpPr>
                  <p:spPr>
                    <a:xfrm>
                      <a:off x="5883726" y="4772294"/>
                      <a:ext cx="146032" cy="84164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14861"/>
                        <a:gd name="connsiteY0" fmla="*/ 122392 h 170110"/>
                        <a:gd name="connsiteX1" fmla="*/ 36793 w 114861"/>
                        <a:gd name="connsiteY1" fmla="*/ 615 h 170110"/>
                        <a:gd name="connsiteX2" fmla="*/ 114861 w 114861"/>
                        <a:gd name="connsiteY2" fmla="*/ 84292 h 170110"/>
                        <a:gd name="connsiteX3" fmla="*/ 36793 w 114861"/>
                        <a:gd name="connsiteY3" fmla="*/ 167969 h 170110"/>
                        <a:gd name="connsiteX4" fmla="*/ 0 w 114861"/>
                        <a:gd name="connsiteY4" fmla="*/ 122392 h 170110"/>
                        <a:gd name="connsiteX0" fmla="*/ 13 w 114874"/>
                        <a:gd name="connsiteY0" fmla="*/ 122392 h 156828"/>
                        <a:gd name="connsiteX1" fmla="*/ 36806 w 114874"/>
                        <a:gd name="connsiteY1" fmla="*/ 615 h 156828"/>
                        <a:gd name="connsiteX2" fmla="*/ 114874 w 114874"/>
                        <a:gd name="connsiteY2" fmla="*/ 84292 h 156828"/>
                        <a:gd name="connsiteX3" fmla="*/ 33631 w 114874"/>
                        <a:gd name="connsiteY3" fmla="*/ 155269 h 156828"/>
                        <a:gd name="connsiteX4" fmla="*/ 13 w 114874"/>
                        <a:gd name="connsiteY4" fmla="*/ 122392 h 156828"/>
                        <a:gd name="connsiteX0" fmla="*/ 9 w 115771"/>
                        <a:gd name="connsiteY0" fmla="*/ 122194 h 155137"/>
                        <a:gd name="connsiteX1" fmla="*/ 36802 w 115771"/>
                        <a:gd name="connsiteY1" fmla="*/ 417 h 155137"/>
                        <a:gd name="connsiteX2" fmla="*/ 114870 w 115771"/>
                        <a:gd name="connsiteY2" fmla="*/ 84094 h 155137"/>
                        <a:gd name="connsiteX3" fmla="*/ 66479 w 115771"/>
                        <a:gd name="connsiteY3" fmla="*/ 129367 h 155137"/>
                        <a:gd name="connsiteX4" fmla="*/ 33627 w 115771"/>
                        <a:gd name="connsiteY4" fmla="*/ 155071 h 155137"/>
                        <a:gd name="connsiteX5" fmla="*/ 9 w 115771"/>
                        <a:gd name="connsiteY5" fmla="*/ 122194 h 155137"/>
                        <a:gd name="connsiteX0" fmla="*/ 9 w 125148"/>
                        <a:gd name="connsiteY0" fmla="*/ 121780 h 154723"/>
                        <a:gd name="connsiteX1" fmla="*/ 36802 w 125148"/>
                        <a:gd name="connsiteY1" fmla="*/ 3 h 154723"/>
                        <a:gd name="connsiteX2" fmla="*/ 124395 w 125148"/>
                        <a:gd name="connsiteY2" fmla="*/ 118605 h 154723"/>
                        <a:gd name="connsiteX3" fmla="*/ 66479 w 125148"/>
                        <a:gd name="connsiteY3" fmla="*/ 128953 h 154723"/>
                        <a:gd name="connsiteX4" fmla="*/ 33627 w 125148"/>
                        <a:gd name="connsiteY4" fmla="*/ 154657 h 154723"/>
                        <a:gd name="connsiteX5" fmla="*/ 9 w 125148"/>
                        <a:gd name="connsiteY5" fmla="*/ 121780 h 154723"/>
                        <a:gd name="connsiteX0" fmla="*/ 3247 w 131427"/>
                        <a:gd name="connsiteY0" fmla="*/ 77331 h 110274"/>
                        <a:gd name="connsiteX1" fmla="*/ 122590 w 131427"/>
                        <a:gd name="connsiteY1" fmla="*/ 4 h 110274"/>
                        <a:gd name="connsiteX2" fmla="*/ 127633 w 131427"/>
                        <a:gd name="connsiteY2" fmla="*/ 74156 h 110274"/>
                        <a:gd name="connsiteX3" fmla="*/ 69717 w 131427"/>
                        <a:gd name="connsiteY3" fmla="*/ 84504 h 110274"/>
                        <a:gd name="connsiteX4" fmla="*/ 36865 w 131427"/>
                        <a:gd name="connsiteY4" fmla="*/ 110208 h 110274"/>
                        <a:gd name="connsiteX5" fmla="*/ 3247 w 131427"/>
                        <a:gd name="connsiteY5" fmla="*/ 77331 h 110274"/>
                        <a:gd name="connsiteX0" fmla="*/ 5118 w 160910"/>
                        <a:gd name="connsiteY0" fmla="*/ 124954 h 157897"/>
                        <a:gd name="connsiteX1" fmla="*/ 156211 w 160910"/>
                        <a:gd name="connsiteY1" fmla="*/ 2 h 157897"/>
                        <a:gd name="connsiteX2" fmla="*/ 129504 w 160910"/>
                        <a:gd name="connsiteY2" fmla="*/ 121779 h 157897"/>
                        <a:gd name="connsiteX3" fmla="*/ 71588 w 160910"/>
                        <a:gd name="connsiteY3" fmla="*/ 132127 h 157897"/>
                        <a:gd name="connsiteX4" fmla="*/ 38736 w 160910"/>
                        <a:gd name="connsiteY4" fmla="*/ 157831 h 157897"/>
                        <a:gd name="connsiteX5" fmla="*/ 5118 w 160910"/>
                        <a:gd name="connsiteY5" fmla="*/ 124954 h 157897"/>
                        <a:gd name="connsiteX0" fmla="*/ 1646 w 153341"/>
                        <a:gd name="connsiteY0" fmla="*/ 125884 h 158827"/>
                        <a:gd name="connsiteX1" fmla="*/ 90340 w 153341"/>
                        <a:gd name="connsiteY1" fmla="*/ 69558 h 158827"/>
                        <a:gd name="connsiteX2" fmla="*/ 152739 w 153341"/>
                        <a:gd name="connsiteY2" fmla="*/ 932 h 158827"/>
                        <a:gd name="connsiteX3" fmla="*/ 126032 w 153341"/>
                        <a:gd name="connsiteY3" fmla="*/ 122709 h 158827"/>
                        <a:gd name="connsiteX4" fmla="*/ 68116 w 153341"/>
                        <a:gd name="connsiteY4" fmla="*/ 133057 h 158827"/>
                        <a:gd name="connsiteX5" fmla="*/ 35264 w 153341"/>
                        <a:gd name="connsiteY5" fmla="*/ 158761 h 158827"/>
                        <a:gd name="connsiteX6" fmla="*/ 1646 w 153341"/>
                        <a:gd name="connsiteY6" fmla="*/ 125884 h 158827"/>
                        <a:gd name="connsiteX0" fmla="*/ 1646 w 189305"/>
                        <a:gd name="connsiteY0" fmla="*/ 126728 h 159671"/>
                        <a:gd name="connsiteX1" fmla="*/ 90340 w 189305"/>
                        <a:gd name="connsiteY1" fmla="*/ 70402 h 159671"/>
                        <a:gd name="connsiteX2" fmla="*/ 152739 w 189305"/>
                        <a:gd name="connsiteY2" fmla="*/ 1776 h 159671"/>
                        <a:gd name="connsiteX3" fmla="*/ 188766 w 189305"/>
                        <a:gd name="connsiteY3" fmla="*/ 29127 h 159671"/>
                        <a:gd name="connsiteX4" fmla="*/ 126032 w 189305"/>
                        <a:gd name="connsiteY4" fmla="*/ 123553 h 159671"/>
                        <a:gd name="connsiteX5" fmla="*/ 68116 w 189305"/>
                        <a:gd name="connsiteY5" fmla="*/ 133901 h 159671"/>
                        <a:gd name="connsiteX6" fmla="*/ 35264 w 189305"/>
                        <a:gd name="connsiteY6" fmla="*/ 159605 h 159671"/>
                        <a:gd name="connsiteX7" fmla="*/ 1646 w 189305"/>
                        <a:gd name="connsiteY7" fmla="*/ 126728 h 159671"/>
                        <a:gd name="connsiteX0" fmla="*/ 1540 w 192374"/>
                        <a:gd name="connsiteY0" fmla="*/ 117203 h 159913"/>
                        <a:gd name="connsiteX1" fmla="*/ 93409 w 192374"/>
                        <a:gd name="connsiteY1" fmla="*/ 70402 h 159913"/>
                        <a:gd name="connsiteX2" fmla="*/ 155808 w 192374"/>
                        <a:gd name="connsiteY2" fmla="*/ 1776 h 159913"/>
                        <a:gd name="connsiteX3" fmla="*/ 191835 w 192374"/>
                        <a:gd name="connsiteY3" fmla="*/ 29127 h 159913"/>
                        <a:gd name="connsiteX4" fmla="*/ 129101 w 192374"/>
                        <a:gd name="connsiteY4" fmla="*/ 123553 h 159913"/>
                        <a:gd name="connsiteX5" fmla="*/ 71185 w 192374"/>
                        <a:gd name="connsiteY5" fmla="*/ 133901 h 159913"/>
                        <a:gd name="connsiteX6" fmla="*/ 38333 w 192374"/>
                        <a:gd name="connsiteY6" fmla="*/ 159605 h 159913"/>
                        <a:gd name="connsiteX7" fmla="*/ 1540 w 192374"/>
                        <a:gd name="connsiteY7" fmla="*/ 117203 h 159913"/>
                        <a:gd name="connsiteX0" fmla="*/ 1578 w 192412"/>
                        <a:gd name="connsiteY0" fmla="*/ 117203 h 160098"/>
                        <a:gd name="connsiteX1" fmla="*/ 93447 w 192412"/>
                        <a:gd name="connsiteY1" fmla="*/ 70402 h 160098"/>
                        <a:gd name="connsiteX2" fmla="*/ 155846 w 192412"/>
                        <a:gd name="connsiteY2" fmla="*/ 1776 h 160098"/>
                        <a:gd name="connsiteX3" fmla="*/ 191873 w 192412"/>
                        <a:gd name="connsiteY3" fmla="*/ 29127 h 160098"/>
                        <a:gd name="connsiteX4" fmla="*/ 129139 w 192412"/>
                        <a:gd name="connsiteY4" fmla="*/ 123553 h 160098"/>
                        <a:gd name="connsiteX5" fmla="*/ 77573 w 192412"/>
                        <a:gd name="connsiteY5" fmla="*/ 137076 h 160098"/>
                        <a:gd name="connsiteX6" fmla="*/ 38371 w 192412"/>
                        <a:gd name="connsiteY6" fmla="*/ 159605 h 160098"/>
                        <a:gd name="connsiteX7" fmla="*/ 1578 w 192412"/>
                        <a:gd name="connsiteY7" fmla="*/ 117203 h 160098"/>
                        <a:gd name="connsiteX0" fmla="*/ 1578 w 192412"/>
                        <a:gd name="connsiteY0" fmla="*/ 117203 h 172587"/>
                        <a:gd name="connsiteX1" fmla="*/ 93447 w 192412"/>
                        <a:gd name="connsiteY1" fmla="*/ 70402 h 172587"/>
                        <a:gd name="connsiteX2" fmla="*/ 155846 w 192412"/>
                        <a:gd name="connsiteY2" fmla="*/ 1776 h 172587"/>
                        <a:gd name="connsiteX3" fmla="*/ 191873 w 192412"/>
                        <a:gd name="connsiteY3" fmla="*/ 29127 h 172587"/>
                        <a:gd name="connsiteX4" fmla="*/ 129139 w 192412"/>
                        <a:gd name="connsiteY4" fmla="*/ 123553 h 172587"/>
                        <a:gd name="connsiteX5" fmla="*/ 77573 w 192412"/>
                        <a:gd name="connsiteY5" fmla="*/ 137076 h 172587"/>
                        <a:gd name="connsiteX6" fmla="*/ 38371 w 192412"/>
                        <a:gd name="connsiteY6" fmla="*/ 172305 h 172587"/>
                        <a:gd name="connsiteX7" fmla="*/ 1578 w 192412"/>
                        <a:gd name="connsiteY7" fmla="*/ 117203 h 172587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29200 w 192473"/>
                        <a:gd name="connsiteY4" fmla="*/ 123553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29200 w 192473"/>
                        <a:gd name="connsiteY4" fmla="*/ 120378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92473"/>
                        <a:gd name="connsiteY0" fmla="*/ 117203 h 172884"/>
                        <a:gd name="connsiteX1" fmla="*/ 93508 w 192473"/>
                        <a:gd name="connsiteY1" fmla="*/ 70402 h 172884"/>
                        <a:gd name="connsiteX2" fmla="*/ 155907 w 192473"/>
                        <a:gd name="connsiteY2" fmla="*/ 1776 h 172884"/>
                        <a:gd name="connsiteX3" fmla="*/ 191934 w 192473"/>
                        <a:gd name="connsiteY3" fmla="*/ 29127 h 172884"/>
                        <a:gd name="connsiteX4" fmla="*/ 145075 w 192473"/>
                        <a:gd name="connsiteY4" fmla="*/ 139428 h 172884"/>
                        <a:gd name="connsiteX5" fmla="*/ 87159 w 192473"/>
                        <a:gd name="connsiteY5" fmla="*/ 143426 h 172884"/>
                        <a:gd name="connsiteX6" fmla="*/ 38432 w 192473"/>
                        <a:gd name="connsiteY6" fmla="*/ 172305 h 172884"/>
                        <a:gd name="connsiteX7" fmla="*/ 1639 w 192473"/>
                        <a:gd name="connsiteY7" fmla="*/ 117203 h 172884"/>
                        <a:gd name="connsiteX0" fmla="*/ 1639 w 174103"/>
                        <a:gd name="connsiteY0" fmla="*/ 115867 h 171548"/>
                        <a:gd name="connsiteX1" fmla="*/ 93508 w 174103"/>
                        <a:gd name="connsiteY1" fmla="*/ 69066 h 171548"/>
                        <a:gd name="connsiteX2" fmla="*/ 155907 w 174103"/>
                        <a:gd name="connsiteY2" fmla="*/ 440 h 171548"/>
                        <a:gd name="connsiteX3" fmla="*/ 172884 w 174103"/>
                        <a:gd name="connsiteY3" fmla="*/ 103991 h 171548"/>
                        <a:gd name="connsiteX4" fmla="*/ 145075 w 174103"/>
                        <a:gd name="connsiteY4" fmla="*/ 138092 h 171548"/>
                        <a:gd name="connsiteX5" fmla="*/ 87159 w 174103"/>
                        <a:gd name="connsiteY5" fmla="*/ 142090 h 171548"/>
                        <a:gd name="connsiteX6" fmla="*/ 38432 w 174103"/>
                        <a:gd name="connsiteY6" fmla="*/ 170969 h 171548"/>
                        <a:gd name="connsiteX7" fmla="*/ 1639 w 174103"/>
                        <a:gd name="connsiteY7" fmla="*/ 115867 h 171548"/>
                        <a:gd name="connsiteX0" fmla="*/ 1639 w 173324"/>
                        <a:gd name="connsiteY0" fmla="*/ 52930 h 108611"/>
                        <a:gd name="connsiteX1" fmla="*/ 93508 w 173324"/>
                        <a:gd name="connsiteY1" fmla="*/ 6129 h 108611"/>
                        <a:gd name="connsiteX2" fmla="*/ 133682 w 173324"/>
                        <a:gd name="connsiteY2" fmla="*/ 29578 h 108611"/>
                        <a:gd name="connsiteX3" fmla="*/ 172884 w 173324"/>
                        <a:gd name="connsiteY3" fmla="*/ 41054 h 108611"/>
                        <a:gd name="connsiteX4" fmla="*/ 145075 w 173324"/>
                        <a:gd name="connsiteY4" fmla="*/ 75155 h 108611"/>
                        <a:gd name="connsiteX5" fmla="*/ 87159 w 173324"/>
                        <a:gd name="connsiteY5" fmla="*/ 79153 h 108611"/>
                        <a:gd name="connsiteX6" fmla="*/ 38432 w 173324"/>
                        <a:gd name="connsiteY6" fmla="*/ 108032 h 108611"/>
                        <a:gd name="connsiteX7" fmla="*/ 1639 w 173324"/>
                        <a:gd name="connsiteY7" fmla="*/ 52930 h 108611"/>
                        <a:gd name="connsiteX0" fmla="*/ 1791 w 173470"/>
                        <a:gd name="connsiteY0" fmla="*/ 47258 h 102939"/>
                        <a:gd name="connsiteX1" fmla="*/ 96835 w 173470"/>
                        <a:gd name="connsiteY1" fmla="*/ 6807 h 102939"/>
                        <a:gd name="connsiteX2" fmla="*/ 133834 w 173470"/>
                        <a:gd name="connsiteY2" fmla="*/ 23906 h 102939"/>
                        <a:gd name="connsiteX3" fmla="*/ 173036 w 173470"/>
                        <a:gd name="connsiteY3" fmla="*/ 35382 h 102939"/>
                        <a:gd name="connsiteX4" fmla="*/ 145227 w 173470"/>
                        <a:gd name="connsiteY4" fmla="*/ 69483 h 102939"/>
                        <a:gd name="connsiteX5" fmla="*/ 87311 w 173470"/>
                        <a:gd name="connsiteY5" fmla="*/ 73481 h 102939"/>
                        <a:gd name="connsiteX6" fmla="*/ 38584 w 173470"/>
                        <a:gd name="connsiteY6" fmla="*/ 102360 h 102939"/>
                        <a:gd name="connsiteX7" fmla="*/ 1791 w 173470"/>
                        <a:gd name="connsiteY7" fmla="*/ 47258 h 102939"/>
                        <a:gd name="connsiteX0" fmla="*/ 1791 w 173470"/>
                        <a:gd name="connsiteY0" fmla="*/ 40451 h 96132"/>
                        <a:gd name="connsiteX1" fmla="*/ 96835 w 173470"/>
                        <a:gd name="connsiteY1" fmla="*/ 0 h 96132"/>
                        <a:gd name="connsiteX2" fmla="*/ 133834 w 173470"/>
                        <a:gd name="connsiteY2" fmla="*/ 17099 h 96132"/>
                        <a:gd name="connsiteX3" fmla="*/ 173036 w 173470"/>
                        <a:gd name="connsiteY3" fmla="*/ 28575 h 96132"/>
                        <a:gd name="connsiteX4" fmla="*/ 145227 w 173470"/>
                        <a:gd name="connsiteY4" fmla="*/ 62676 h 96132"/>
                        <a:gd name="connsiteX5" fmla="*/ 87311 w 173470"/>
                        <a:gd name="connsiteY5" fmla="*/ 66674 h 96132"/>
                        <a:gd name="connsiteX6" fmla="*/ 38584 w 173470"/>
                        <a:gd name="connsiteY6" fmla="*/ 95553 h 96132"/>
                        <a:gd name="connsiteX7" fmla="*/ 1791 w 173470"/>
                        <a:gd name="connsiteY7" fmla="*/ 40451 h 96132"/>
                        <a:gd name="connsiteX0" fmla="*/ 1791 w 192729"/>
                        <a:gd name="connsiteY0" fmla="*/ 40451 h 96132"/>
                        <a:gd name="connsiteX1" fmla="*/ 96835 w 192729"/>
                        <a:gd name="connsiteY1" fmla="*/ 0 h 96132"/>
                        <a:gd name="connsiteX2" fmla="*/ 133834 w 192729"/>
                        <a:gd name="connsiteY2" fmla="*/ 17099 h 96132"/>
                        <a:gd name="connsiteX3" fmla="*/ 173036 w 192729"/>
                        <a:gd name="connsiteY3" fmla="*/ 28575 h 96132"/>
                        <a:gd name="connsiteX4" fmla="*/ 189677 w 192729"/>
                        <a:gd name="connsiteY4" fmla="*/ 91251 h 96132"/>
                        <a:gd name="connsiteX5" fmla="*/ 87311 w 192729"/>
                        <a:gd name="connsiteY5" fmla="*/ 66674 h 96132"/>
                        <a:gd name="connsiteX6" fmla="*/ 38584 w 192729"/>
                        <a:gd name="connsiteY6" fmla="*/ 95553 h 96132"/>
                        <a:gd name="connsiteX7" fmla="*/ 1791 w 192729"/>
                        <a:gd name="connsiteY7" fmla="*/ 40451 h 96132"/>
                        <a:gd name="connsiteX0" fmla="*/ 1791 w 273343"/>
                        <a:gd name="connsiteY0" fmla="*/ 40451 h 96132"/>
                        <a:gd name="connsiteX1" fmla="*/ 96835 w 273343"/>
                        <a:gd name="connsiteY1" fmla="*/ 0 h 96132"/>
                        <a:gd name="connsiteX2" fmla="*/ 133834 w 273343"/>
                        <a:gd name="connsiteY2" fmla="*/ 17099 h 96132"/>
                        <a:gd name="connsiteX3" fmla="*/ 173036 w 273343"/>
                        <a:gd name="connsiteY3" fmla="*/ 28575 h 96132"/>
                        <a:gd name="connsiteX4" fmla="*/ 273264 w 273343"/>
                        <a:gd name="connsiteY4" fmla="*/ 44816 h 96132"/>
                        <a:gd name="connsiteX5" fmla="*/ 189677 w 273343"/>
                        <a:gd name="connsiteY5" fmla="*/ 91251 h 96132"/>
                        <a:gd name="connsiteX6" fmla="*/ 87311 w 273343"/>
                        <a:gd name="connsiteY6" fmla="*/ 66674 h 96132"/>
                        <a:gd name="connsiteX7" fmla="*/ 38584 w 273343"/>
                        <a:gd name="connsiteY7" fmla="*/ 95553 h 96132"/>
                        <a:gd name="connsiteX8" fmla="*/ 1791 w 273343"/>
                        <a:gd name="connsiteY8" fmla="*/ 40451 h 96132"/>
                        <a:gd name="connsiteX0" fmla="*/ 1791 w 273378"/>
                        <a:gd name="connsiteY0" fmla="*/ 40451 h 97753"/>
                        <a:gd name="connsiteX1" fmla="*/ 96835 w 273378"/>
                        <a:gd name="connsiteY1" fmla="*/ 0 h 97753"/>
                        <a:gd name="connsiteX2" fmla="*/ 133834 w 273378"/>
                        <a:gd name="connsiteY2" fmla="*/ 17099 h 97753"/>
                        <a:gd name="connsiteX3" fmla="*/ 173036 w 273378"/>
                        <a:gd name="connsiteY3" fmla="*/ 28575 h 97753"/>
                        <a:gd name="connsiteX4" fmla="*/ 273264 w 273378"/>
                        <a:gd name="connsiteY4" fmla="*/ 44816 h 97753"/>
                        <a:gd name="connsiteX5" fmla="*/ 211902 w 273378"/>
                        <a:gd name="connsiteY5" fmla="*/ 97601 h 97753"/>
                        <a:gd name="connsiteX6" fmla="*/ 87311 w 273378"/>
                        <a:gd name="connsiteY6" fmla="*/ 66674 h 97753"/>
                        <a:gd name="connsiteX7" fmla="*/ 38584 w 273378"/>
                        <a:gd name="connsiteY7" fmla="*/ 95553 h 97753"/>
                        <a:gd name="connsiteX8" fmla="*/ 1791 w 273378"/>
                        <a:gd name="connsiteY8" fmla="*/ 40451 h 97753"/>
                        <a:gd name="connsiteX0" fmla="*/ 1791 w 273378"/>
                        <a:gd name="connsiteY0" fmla="*/ 40451 h 104803"/>
                        <a:gd name="connsiteX1" fmla="*/ 96835 w 273378"/>
                        <a:gd name="connsiteY1" fmla="*/ 0 h 104803"/>
                        <a:gd name="connsiteX2" fmla="*/ 133834 w 273378"/>
                        <a:gd name="connsiteY2" fmla="*/ 17099 h 104803"/>
                        <a:gd name="connsiteX3" fmla="*/ 173036 w 273378"/>
                        <a:gd name="connsiteY3" fmla="*/ 28575 h 104803"/>
                        <a:gd name="connsiteX4" fmla="*/ 273264 w 273378"/>
                        <a:gd name="connsiteY4" fmla="*/ 44816 h 104803"/>
                        <a:gd name="connsiteX5" fmla="*/ 211902 w 273378"/>
                        <a:gd name="connsiteY5" fmla="*/ 97601 h 104803"/>
                        <a:gd name="connsiteX6" fmla="*/ 184363 w 273378"/>
                        <a:gd name="connsiteY6" fmla="*/ 101966 h 104803"/>
                        <a:gd name="connsiteX7" fmla="*/ 87311 w 273378"/>
                        <a:gd name="connsiteY7" fmla="*/ 66674 h 104803"/>
                        <a:gd name="connsiteX8" fmla="*/ 38584 w 273378"/>
                        <a:gd name="connsiteY8" fmla="*/ 95553 h 104803"/>
                        <a:gd name="connsiteX9" fmla="*/ 1791 w 273378"/>
                        <a:gd name="connsiteY9" fmla="*/ 40451 h 104803"/>
                        <a:gd name="connsiteX0" fmla="*/ 1791 w 273378"/>
                        <a:gd name="connsiteY0" fmla="*/ 40451 h 104803"/>
                        <a:gd name="connsiteX1" fmla="*/ 96835 w 273378"/>
                        <a:gd name="connsiteY1" fmla="*/ 0 h 104803"/>
                        <a:gd name="connsiteX2" fmla="*/ 124309 w 273378"/>
                        <a:gd name="connsiteY2" fmla="*/ 36149 h 104803"/>
                        <a:gd name="connsiteX3" fmla="*/ 173036 w 273378"/>
                        <a:gd name="connsiteY3" fmla="*/ 28575 h 104803"/>
                        <a:gd name="connsiteX4" fmla="*/ 273264 w 273378"/>
                        <a:gd name="connsiteY4" fmla="*/ 44816 h 104803"/>
                        <a:gd name="connsiteX5" fmla="*/ 211902 w 273378"/>
                        <a:gd name="connsiteY5" fmla="*/ 97601 h 104803"/>
                        <a:gd name="connsiteX6" fmla="*/ 184363 w 273378"/>
                        <a:gd name="connsiteY6" fmla="*/ 101966 h 104803"/>
                        <a:gd name="connsiteX7" fmla="*/ 87311 w 273378"/>
                        <a:gd name="connsiteY7" fmla="*/ 66674 h 104803"/>
                        <a:gd name="connsiteX8" fmla="*/ 38584 w 273378"/>
                        <a:gd name="connsiteY8" fmla="*/ 95553 h 104803"/>
                        <a:gd name="connsiteX9" fmla="*/ 1791 w 273378"/>
                        <a:gd name="connsiteY9" fmla="*/ 40451 h 104803"/>
                        <a:gd name="connsiteX0" fmla="*/ 1348 w 272935"/>
                        <a:gd name="connsiteY0" fmla="*/ 30926 h 95278"/>
                        <a:gd name="connsiteX1" fmla="*/ 86867 w 272935"/>
                        <a:gd name="connsiteY1" fmla="*/ 0 h 95278"/>
                        <a:gd name="connsiteX2" fmla="*/ 123866 w 272935"/>
                        <a:gd name="connsiteY2" fmla="*/ 26624 h 95278"/>
                        <a:gd name="connsiteX3" fmla="*/ 172593 w 272935"/>
                        <a:gd name="connsiteY3" fmla="*/ 19050 h 95278"/>
                        <a:gd name="connsiteX4" fmla="*/ 272821 w 272935"/>
                        <a:gd name="connsiteY4" fmla="*/ 35291 h 95278"/>
                        <a:gd name="connsiteX5" fmla="*/ 211459 w 272935"/>
                        <a:gd name="connsiteY5" fmla="*/ 88076 h 95278"/>
                        <a:gd name="connsiteX6" fmla="*/ 183920 w 272935"/>
                        <a:gd name="connsiteY6" fmla="*/ 92441 h 95278"/>
                        <a:gd name="connsiteX7" fmla="*/ 86868 w 272935"/>
                        <a:gd name="connsiteY7" fmla="*/ 57149 h 95278"/>
                        <a:gd name="connsiteX8" fmla="*/ 38141 w 272935"/>
                        <a:gd name="connsiteY8" fmla="*/ 86028 h 95278"/>
                        <a:gd name="connsiteX9" fmla="*/ 1348 w 272935"/>
                        <a:gd name="connsiteY9" fmla="*/ 30926 h 95278"/>
                        <a:gd name="connsiteX0" fmla="*/ 1348 w 272935"/>
                        <a:gd name="connsiteY0" fmla="*/ 30926 h 95278"/>
                        <a:gd name="connsiteX1" fmla="*/ 86867 w 272935"/>
                        <a:gd name="connsiteY1" fmla="*/ 0 h 95278"/>
                        <a:gd name="connsiteX2" fmla="*/ 123866 w 272935"/>
                        <a:gd name="connsiteY2" fmla="*/ 26624 h 95278"/>
                        <a:gd name="connsiteX3" fmla="*/ 178943 w 272935"/>
                        <a:gd name="connsiteY3" fmla="*/ 41275 h 95278"/>
                        <a:gd name="connsiteX4" fmla="*/ 272821 w 272935"/>
                        <a:gd name="connsiteY4" fmla="*/ 35291 h 95278"/>
                        <a:gd name="connsiteX5" fmla="*/ 211459 w 272935"/>
                        <a:gd name="connsiteY5" fmla="*/ 88076 h 95278"/>
                        <a:gd name="connsiteX6" fmla="*/ 183920 w 272935"/>
                        <a:gd name="connsiteY6" fmla="*/ 92441 h 95278"/>
                        <a:gd name="connsiteX7" fmla="*/ 86868 w 272935"/>
                        <a:gd name="connsiteY7" fmla="*/ 57149 h 95278"/>
                        <a:gd name="connsiteX8" fmla="*/ 38141 w 272935"/>
                        <a:gd name="connsiteY8" fmla="*/ 86028 h 95278"/>
                        <a:gd name="connsiteX9" fmla="*/ 1348 w 272935"/>
                        <a:gd name="connsiteY9" fmla="*/ 30926 h 95278"/>
                        <a:gd name="connsiteX0" fmla="*/ 1348 w 215636"/>
                        <a:gd name="connsiteY0" fmla="*/ 30926 h 95278"/>
                        <a:gd name="connsiteX1" fmla="*/ 86867 w 215636"/>
                        <a:gd name="connsiteY1" fmla="*/ 0 h 95278"/>
                        <a:gd name="connsiteX2" fmla="*/ 123866 w 215636"/>
                        <a:gd name="connsiteY2" fmla="*/ 26624 h 95278"/>
                        <a:gd name="connsiteX3" fmla="*/ 178943 w 215636"/>
                        <a:gd name="connsiteY3" fmla="*/ 41275 h 95278"/>
                        <a:gd name="connsiteX4" fmla="*/ 190271 w 215636"/>
                        <a:gd name="connsiteY4" fmla="*/ 38466 h 95278"/>
                        <a:gd name="connsiteX5" fmla="*/ 211459 w 215636"/>
                        <a:gd name="connsiteY5" fmla="*/ 88076 h 95278"/>
                        <a:gd name="connsiteX6" fmla="*/ 183920 w 215636"/>
                        <a:gd name="connsiteY6" fmla="*/ 92441 h 95278"/>
                        <a:gd name="connsiteX7" fmla="*/ 86868 w 215636"/>
                        <a:gd name="connsiteY7" fmla="*/ 57149 h 95278"/>
                        <a:gd name="connsiteX8" fmla="*/ 38141 w 215636"/>
                        <a:gd name="connsiteY8" fmla="*/ 86028 h 95278"/>
                        <a:gd name="connsiteX9" fmla="*/ 1348 w 215636"/>
                        <a:gd name="connsiteY9" fmla="*/ 30926 h 95278"/>
                        <a:gd name="connsiteX0" fmla="*/ 1348 w 211519"/>
                        <a:gd name="connsiteY0" fmla="*/ 30926 h 95587"/>
                        <a:gd name="connsiteX1" fmla="*/ 86867 w 211519"/>
                        <a:gd name="connsiteY1" fmla="*/ 0 h 95587"/>
                        <a:gd name="connsiteX2" fmla="*/ 123866 w 211519"/>
                        <a:gd name="connsiteY2" fmla="*/ 26624 h 95587"/>
                        <a:gd name="connsiteX3" fmla="*/ 178943 w 211519"/>
                        <a:gd name="connsiteY3" fmla="*/ 41275 h 95587"/>
                        <a:gd name="connsiteX4" fmla="*/ 211459 w 211519"/>
                        <a:gd name="connsiteY4" fmla="*/ 88076 h 95587"/>
                        <a:gd name="connsiteX5" fmla="*/ 183920 w 211519"/>
                        <a:gd name="connsiteY5" fmla="*/ 92441 h 95587"/>
                        <a:gd name="connsiteX6" fmla="*/ 86868 w 211519"/>
                        <a:gd name="connsiteY6" fmla="*/ 57149 h 95587"/>
                        <a:gd name="connsiteX7" fmla="*/ 38141 w 211519"/>
                        <a:gd name="connsiteY7" fmla="*/ 86028 h 95587"/>
                        <a:gd name="connsiteX8" fmla="*/ 1348 w 211519"/>
                        <a:gd name="connsiteY8" fmla="*/ 30926 h 95587"/>
                        <a:gd name="connsiteX0" fmla="*/ 1348 w 191731"/>
                        <a:gd name="connsiteY0" fmla="*/ 30926 h 92441"/>
                        <a:gd name="connsiteX1" fmla="*/ 86867 w 191731"/>
                        <a:gd name="connsiteY1" fmla="*/ 0 h 92441"/>
                        <a:gd name="connsiteX2" fmla="*/ 123866 w 191731"/>
                        <a:gd name="connsiteY2" fmla="*/ 26624 h 92441"/>
                        <a:gd name="connsiteX3" fmla="*/ 178943 w 191731"/>
                        <a:gd name="connsiteY3" fmla="*/ 41275 h 92441"/>
                        <a:gd name="connsiteX4" fmla="*/ 183920 w 191731"/>
                        <a:gd name="connsiteY4" fmla="*/ 92441 h 92441"/>
                        <a:gd name="connsiteX5" fmla="*/ 86868 w 191731"/>
                        <a:gd name="connsiteY5" fmla="*/ 57149 h 92441"/>
                        <a:gd name="connsiteX6" fmla="*/ 38141 w 191731"/>
                        <a:gd name="connsiteY6" fmla="*/ 86028 h 92441"/>
                        <a:gd name="connsiteX7" fmla="*/ 1348 w 191731"/>
                        <a:gd name="connsiteY7" fmla="*/ 30926 h 92441"/>
                        <a:gd name="connsiteX0" fmla="*/ 1348 w 187823"/>
                        <a:gd name="connsiteY0" fmla="*/ 30926 h 93844"/>
                        <a:gd name="connsiteX1" fmla="*/ 86867 w 187823"/>
                        <a:gd name="connsiteY1" fmla="*/ 0 h 93844"/>
                        <a:gd name="connsiteX2" fmla="*/ 123866 w 187823"/>
                        <a:gd name="connsiteY2" fmla="*/ 26624 h 93844"/>
                        <a:gd name="connsiteX3" fmla="*/ 178943 w 187823"/>
                        <a:gd name="connsiteY3" fmla="*/ 41275 h 93844"/>
                        <a:gd name="connsiteX4" fmla="*/ 183920 w 187823"/>
                        <a:gd name="connsiteY4" fmla="*/ 92441 h 93844"/>
                        <a:gd name="connsiteX5" fmla="*/ 124559 w 187823"/>
                        <a:gd name="connsiteY5" fmla="*/ 81554 h 93844"/>
                        <a:gd name="connsiteX6" fmla="*/ 86868 w 187823"/>
                        <a:gd name="connsiteY6" fmla="*/ 57149 h 93844"/>
                        <a:gd name="connsiteX7" fmla="*/ 38141 w 187823"/>
                        <a:gd name="connsiteY7" fmla="*/ 86028 h 93844"/>
                        <a:gd name="connsiteX8" fmla="*/ 1348 w 187823"/>
                        <a:gd name="connsiteY8" fmla="*/ 30926 h 93844"/>
                        <a:gd name="connsiteX0" fmla="*/ 1348 w 182367"/>
                        <a:gd name="connsiteY0" fmla="*/ 30926 h 86450"/>
                        <a:gd name="connsiteX1" fmla="*/ 86867 w 182367"/>
                        <a:gd name="connsiteY1" fmla="*/ 0 h 86450"/>
                        <a:gd name="connsiteX2" fmla="*/ 123866 w 182367"/>
                        <a:gd name="connsiteY2" fmla="*/ 26624 h 86450"/>
                        <a:gd name="connsiteX3" fmla="*/ 178943 w 182367"/>
                        <a:gd name="connsiteY3" fmla="*/ 41275 h 86450"/>
                        <a:gd name="connsiteX4" fmla="*/ 168045 w 182367"/>
                        <a:gd name="connsiteY4" fmla="*/ 70216 h 86450"/>
                        <a:gd name="connsiteX5" fmla="*/ 124559 w 182367"/>
                        <a:gd name="connsiteY5" fmla="*/ 81554 h 86450"/>
                        <a:gd name="connsiteX6" fmla="*/ 86868 w 182367"/>
                        <a:gd name="connsiteY6" fmla="*/ 57149 h 86450"/>
                        <a:gd name="connsiteX7" fmla="*/ 38141 w 182367"/>
                        <a:gd name="connsiteY7" fmla="*/ 86028 h 86450"/>
                        <a:gd name="connsiteX8" fmla="*/ 1348 w 182367"/>
                        <a:gd name="connsiteY8" fmla="*/ 30926 h 86450"/>
                        <a:gd name="connsiteX0" fmla="*/ 5340 w 151434"/>
                        <a:gd name="connsiteY0" fmla="*/ 18226 h 86870"/>
                        <a:gd name="connsiteX1" fmla="*/ 55934 w 151434"/>
                        <a:gd name="connsiteY1" fmla="*/ 0 h 86870"/>
                        <a:gd name="connsiteX2" fmla="*/ 92933 w 151434"/>
                        <a:gd name="connsiteY2" fmla="*/ 26624 h 86870"/>
                        <a:gd name="connsiteX3" fmla="*/ 148010 w 151434"/>
                        <a:gd name="connsiteY3" fmla="*/ 41275 h 86870"/>
                        <a:gd name="connsiteX4" fmla="*/ 137112 w 151434"/>
                        <a:gd name="connsiteY4" fmla="*/ 70216 h 86870"/>
                        <a:gd name="connsiteX5" fmla="*/ 93626 w 151434"/>
                        <a:gd name="connsiteY5" fmla="*/ 81554 h 86870"/>
                        <a:gd name="connsiteX6" fmla="*/ 55935 w 151434"/>
                        <a:gd name="connsiteY6" fmla="*/ 57149 h 86870"/>
                        <a:gd name="connsiteX7" fmla="*/ 7208 w 151434"/>
                        <a:gd name="connsiteY7" fmla="*/ 86028 h 86870"/>
                        <a:gd name="connsiteX8" fmla="*/ 5340 w 151434"/>
                        <a:gd name="connsiteY8" fmla="*/ 18226 h 86870"/>
                        <a:gd name="connsiteX0" fmla="*/ 869 w 146963"/>
                        <a:gd name="connsiteY0" fmla="*/ 18226 h 83131"/>
                        <a:gd name="connsiteX1" fmla="*/ 51463 w 146963"/>
                        <a:gd name="connsiteY1" fmla="*/ 0 h 83131"/>
                        <a:gd name="connsiteX2" fmla="*/ 88462 w 146963"/>
                        <a:gd name="connsiteY2" fmla="*/ 26624 h 83131"/>
                        <a:gd name="connsiteX3" fmla="*/ 143539 w 146963"/>
                        <a:gd name="connsiteY3" fmla="*/ 41275 h 83131"/>
                        <a:gd name="connsiteX4" fmla="*/ 132641 w 146963"/>
                        <a:gd name="connsiteY4" fmla="*/ 70216 h 83131"/>
                        <a:gd name="connsiteX5" fmla="*/ 89155 w 146963"/>
                        <a:gd name="connsiteY5" fmla="*/ 81554 h 83131"/>
                        <a:gd name="connsiteX6" fmla="*/ 51464 w 146963"/>
                        <a:gd name="connsiteY6" fmla="*/ 57149 h 83131"/>
                        <a:gd name="connsiteX7" fmla="*/ 21787 w 146963"/>
                        <a:gd name="connsiteY7" fmla="*/ 70153 h 83131"/>
                        <a:gd name="connsiteX8" fmla="*/ 869 w 146963"/>
                        <a:gd name="connsiteY8" fmla="*/ 18226 h 831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146963" h="83131">
                          <a:moveTo>
                            <a:pt x="869" y="18226"/>
                          </a:moveTo>
                          <a:cubicBezTo>
                            <a:pt x="5815" y="6534"/>
                            <a:pt x="26281" y="20825"/>
                            <a:pt x="51463" y="0"/>
                          </a:cubicBezTo>
                          <a:cubicBezTo>
                            <a:pt x="82995" y="1400"/>
                            <a:pt x="73116" y="19745"/>
                            <a:pt x="88462" y="26624"/>
                          </a:cubicBezTo>
                          <a:cubicBezTo>
                            <a:pt x="103808" y="33503"/>
                            <a:pt x="133530" y="30306"/>
                            <a:pt x="143539" y="41275"/>
                          </a:cubicBezTo>
                          <a:cubicBezTo>
                            <a:pt x="153548" y="52245"/>
                            <a:pt x="139059" y="65090"/>
                            <a:pt x="132641" y="70216"/>
                          </a:cubicBezTo>
                          <a:cubicBezTo>
                            <a:pt x="126223" y="75342"/>
                            <a:pt x="105330" y="87436"/>
                            <a:pt x="89155" y="81554"/>
                          </a:cubicBezTo>
                          <a:cubicBezTo>
                            <a:pt x="72980" y="75672"/>
                            <a:pt x="68513" y="54816"/>
                            <a:pt x="51464" y="57149"/>
                          </a:cubicBezTo>
                          <a:cubicBezTo>
                            <a:pt x="34415" y="59482"/>
                            <a:pt x="30220" y="76640"/>
                            <a:pt x="21787" y="70153"/>
                          </a:cubicBezTo>
                          <a:cubicBezTo>
                            <a:pt x="13355" y="63666"/>
                            <a:pt x="-4077" y="29918"/>
                            <a:pt x="869" y="18226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dirty="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2" name="Oval 85"/>
                    <p:cNvSpPr/>
                    <p:nvPr/>
                  </p:nvSpPr>
                  <p:spPr>
                    <a:xfrm rot="16200000">
                      <a:off x="5956455" y="4643579"/>
                      <a:ext cx="58195" cy="116660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  <a:gd name="connsiteX0" fmla="*/ 149 w 97748"/>
                        <a:gd name="connsiteY0" fmla="*/ 59088 h 116850"/>
                        <a:gd name="connsiteX1" fmla="*/ 42536 w 97748"/>
                        <a:gd name="connsiteY1" fmla="*/ 46833 h 116850"/>
                        <a:gd name="connsiteX2" fmla="*/ 40117 w 97748"/>
                        <a:gd name="connsiteY2" fmla="*/ 814 h 116850"/>
                        <a:gd name="connsiteX3" fmla="*/ 89610 w 97748"/>
                        <a:gd name="connsiteY3" fmla="*/ 36863 h 116850"/>
                        <a:gd name="connsiteX4" fmla="*/ 83811 w 97748"/>
                        <a:gd name="connsiteY4" fmla="*/ 100809 h 116850"/>
                        <a:gd name="connsiteX5" fmla="*/ 30592 w 97748"/>
                        <a:gd name="connsiteY5" fmla="*/ 114190 h 116850"/>
                        <a:gd name="connsiteX6" fmla="*/ 149 w 97748"/>
                        <a:gd name="connsiteY6" fmla="*/ 59088 h 116850"/>
                        <a:gd name="connsiteX0" fmla="*/ 1 w 97600"/>
                        <a:gd name="connsiteY0" fmla="*/ 58340 h 116102"/>
                        <a:gd name="connsiteX1" fmla="*/ 29688 w 97600"/>
                        <a:gd name="connsiteY1" fmla="*/ 42910 h 116102"/>
                        <a:gd name="connsiteX2" fmla="*/ 39969 w 97600"/>
                        <a:gd name="connsiteY2" fmla="*/ 66 h 116102"/>
                        <a:gd name="connsiteX3" fmla="*/ 89462 w 97600"/>
                        <a:gd name="connsiteY3" fmla="*/ 36115 h 116102"/>
                        <a:gd name="connsiteX4" fmla="*/ 83663 w 97600"/>
                        <a:gd name="connsiteY4" fmla="*/ 100061 h 116102"/>
                        <a:gd name="connsiteX5" fmla="*/ 30444 w 97600"/>
                        <a:gd name="connsiteY5" fmla="*/ 113442 h 116102"/>
                        <a:gd name="connsiteX6" fmla="*/ 1 w 97600"/>
                        <a:gd name="connsiteY6" fmla="*/ 58340 h 116102"/>
                        <a:gd name="connsiteX0" fmla="*/ 1 w 83713"/>
                        <a:gd name="connsiteY0" fmla="*/ 59937 h 118867"/>
                        <a:gd name="connsiteX1" fmla="*/ 29688 w 83713"/>
                        <a:gd name="connsiteY1" fmla="*/ 44507 h 118867"/>
                        <a:gd name="connsiteX2" fmla="*/ 39969 w 83713"/>
                        <a:gd name="connsiteY2" fmla="*/ 1663 h 118867"/>
                        <a:gd name="connsiteX3" fmla="*/ 83663 w 83713"/>
                        <a:gd name="connsiteY3" fmla="*/ 101658 h 118867"/>
                        <a:gd name="connsiteX4" fmla="*/ 30444 w 83713"/>
                        <a:gd name="connsiteY4" fmla="*/ 115039 h 118867"/>
                        <a:gd name="connsiteX5" fmla="*/ 1 w 83713"/>
                        <a:gd name="connsiteY5" fmla="*/ 59937 h 118867"/>
                        <a:gd name="connsiteX0" fmla="*/ 1 w 84357"/>
                        <a:gd name="connsiteY0" fmla="*/ 59289 h 116429"/>
                        <a:gd name="connsiteX1" fmla="*/ 29688 w 84357"/>
                        <a:gd name="connsiteY1" fmla="*/ 43859 h 116429"/>
                        <a:gd name="connsiteX2" fmla="*/ 39969 w 84357"/>
                        <a:gd name="connsiteY2" fmla="*/ 1015 h 116429"/>
                        <a:gd name="connsiteX3" fmla="*/ 29910 w 84357"/>
                        <a:gd name="connsiteY3" fmla="*/ 86040 h 116429"/>
                        <a:gd name="connsiteX4" fmla="*/ 83663 w 84357"/>
                        <a:gd name="connsiteY4" fmla="*/ 101010 h 116429"/>
                        <a:gd name="connsiteX5" fmla="*/ 30444 w 84357"/>
                        <a:gd name="connsiteY5" fmla="*/ 114391 h 116429"/>
                        <a:gd name="connsiteX6" fmla="*/ 1 w 84357"/>
                        <a:gd name="connsiteY6" fmla="*/ 59289 h 116429"/>
                        <a:gd name="connsiteX0" fmla="*/ 1 w 58923"/>
                        <a:gd name="connsiteY0" fmla="*/ 59289 h 116890"/>
                        <a:gd name="connsiteX1" fmla="*/ 29688 w 58923"/>
                        <a:gd name="connsiteY1" fmla="*/ 43859 h 116890"/>
                        <a:gd name="connsiteX2" fmla="*/ 39969 w 58923"/>
                        <a:gd name="connsiteY2" fmla="*/ 1015 h 116890"/>
                        <a:gd name="connsiteX3" fmla="*/ 29910 w 58923"/>
                        <a:gd name="connsiteY3" fmla="*/ 86040 h 116890"/>
                        <a:gd name="connsiteX4" fmla="*/ 57689 w 58923"/>
                        <a:gd name="connsiteY4" fmla="*/ 103395 h 116890"/>
                        <a:gd name="connsiteX5" fmla="*/ 30444 w 58923"/>
                        <a:gd name="connsiteY5" fmla="*/ 114391 h 116890"/>
                        <a:gd name="connsiteX6" fmla="*/ 1 w 58923"/>
                        <a:gd name="connsiteY6" fmla="*/ 59289 h 116890"/>
                        <a:gd name="connsiteX0" fmla="*/ 1 w 57689"/>
                        <a:gd name="connsiteY0" fmla="*/ 59289 h 116890"/>
                        <a:gd name="connsiteX1" fmla="*/ 29688 w 57689"/>
                        <a:gd name="connsiteY1" fmla="*/ 43859 h 116890"/>
                        <a:gd name="connsiteX2" fmla="*/ 39969 w 57689"/>
                        <a:gd name="connsiteY2" fmla="*/ 1015 h 116890"/>
                        <a:gd name="connsiteX3" fmla="*/ 29910 w 57689"/>
                        <a:gd name="connsiteY3" fmla="*/ 86040 h 116890"/>
                        <a:gd name="connsiteX4" fmla="*/ 57689 w 57689"/>
                        <a:gd name="connsiteY4" fmla="*/ 103395 h 116890"/>
                        <a:gd name="connsiteX5" fmla="*/ 30444 w 57689"/>
                        <a:gd name="connsiteY5" fmla="*/ 114391 h 116890"/>
                        <a:gd name="connsiteX6" fmla="*/ 1 w 57689"/>
                        <a:gd name="connsiteY6" fmla="*/ 59289 h 11689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57689" h="116890">
                          <a:moveTo>
                            <a:pt x="1" y="59289"/>
                          </a:moveTo>
                          <a:cubicBezTo>
                            <a:pt x="-125" y="47534"/>
                            <a:pt x="24614" y="62568"/>
                            <a:pt x="29688" y="43859"/>
                          </a:cubicBezTo>
                          <a:cubicBezTo>
                            <a:pt x="34762" y="25150"/>
                            <a:pt x="39932" y="-6015"/>
                            <a:pt x="39969" y="1015"/>
                          </a:cubicBezTo>
                          <a:cubicBezTo>
                            <a:pt x="40006" y="8045"/>
                            <a:pt x="22628" y="69374"/>
                            <a:pt x="29910" y="86040"/>
                          </a:cubicBezTo>
                          <a:cubicBezTo>
                            <a:pt x="37192" y="102706"/>
                            <a:pt x="39102" y="88335"/>
                            <a:pt x="57689" y="103395"/>
                          </a:cubicBezTo>
                          <a:cubicBezTo>
                            <a:pt x="50301" y="111301"/>
                            <a:pt x="40059" y="121742"/>
                            <a:pt x="30444" y="114391"/>
                          </a:cubicBezTo>
                          <a:cubicBezTo>
                            <a:pt x="20829" y="107040"/>
                            <a:pt x="127" y="71044"/>
                            <a:pt x="1" y="59289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3" name="Oval 85"/>
                    <p:cNvSpPr/>
                    <p:nvPr/>
                  </p:nvSpPr>
                  <p:spPr>
                    <a:xfrm rot="9831496">
                      <a:off x="6126204" y="4421263"/>
                      <a:ext cx="104880" cy="144281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  <a:gd name="connsiteX0" fmla="*/ 149 w 97748"/>
                        <a:gd name="connsiteY0" fmla="*/ 59088 h 116850"/>
                        <a:gd name="connsiteX1" fmla="*/ 42536 w 97748"/>
                        <a:gd name="connsiteY1" fmla="*/ 46833 h 116850"/>
                        <a:gd name="connsiteX2" fmla="*/ 40117 w 97748"/>
                        <a:gd name="connsiteY2" fmla="*/ 814 h 116850"/>
                        <a:gd name="connsiteX3" fmla="*/ 89610 w 97748"/>
                        <a:gd name="connsiteY3" fmla="*/ 36863 h 116850"/>
                        <a:gd name="connsiteX4" fmla="*/ 83811 w 97748"/>
                        <a:gd name="connsiteY4" fmla="*/ 100809 h 116850"/>
                        <a:gd name="connsiteX5" fmla="*/ 30592 w 97748"/>
                        <a:gd name="connsiteY5" fmla="*/ 114190 h 116850"/>
                        <a:gd name="connsiteX6" fmla="*/ 149 w 97748"/>
                        <a:gd name="connsiteY6" fmla="*/ 59088 h 116850"/>
                        <a:gd name="connsiteX0" fmla="*/ 1 w 97600"/>
                        <a:gd name="connsiteY0" fmla="*/ 58340 h 116102"/>
                        <a:gd name="connsiteX1" fmla="*/ 29688 w 97600"/>
                        <a:gd name="connsiteY1" fmla="*/ 42910 h 116102"/>
                        <a:gd name="connsiteX2" fmla="*/ 39969 w 97600"/>
                        <a:gd name="connsiteY2" fmla="*/ 66 h 116102"/>
                        <a:gd name="connsiteX3" fmla="*/ 89462 w 97600"/>
                        <a:gd name="connsiteY3" fmla="*/ 36115 h 116102"/>
                        <a:gd name="connsiteX4" fmla="*/ 83663 w 97600"/>
                        <a:gd name="connsiteY4" fmla="*/ 100061 h 116102"/>
                        <a:gd name="connsiteX5" fmla="*/ 30444 w 97600"/>
                        <a:gd name="connsiteY5" fmla="*/ 113442 h 116102"/>
                        <a:gd name="connsiteX6" fmla="*/ 1 w 97600"/>
                        <a:gd name="connsiteY6" fmla="*/ 58340 h 116102"/>
                        <a:gd name="connsiteX0" fmla="*/ 1 w 122101"/>
                        <a:gd name="connsiteY0" fmla="*/ 59525 h 117287"/>
                        <a:gd name="connsiteX1" fmla="*/ 29688 w 122101"/>
                        <a:gd name="connsiteY1" fmla="*/ 44095 h 117287"/>
                        <a:gd name="connsiteX2" fmla="*/ 39969 w 122101"/>
                        <a:gd name="connsiteY2" fmla="*/ 1251 h 117287"/>
                        <a:gd name="connsiteX3" fmla="*/ 120835 w 122101"/>
                        <a:gd name="connsiteY3" fmla="*/ 23702 h 117287"/>
                        <a:gd name="connsiteX4" fmla="*/ 83663 w 122101"/>
                        <a:gd name="connsiteY4" fmla="*/ 101246 h 117287"/>
                        <a:gd name="connsiteX5" fmla="*/ 30444 w 122101"/>
                        <a:gd name="connsiteY5" fmla="*/ 114627 h 117287"/>
                        <a:gd name="connsiteX6" fmla="*/ 1 w 122101"/>
                        <a:gd name="connsiteY6" fmla="*/ 59525 h 117287"/>
                        <a:gd name="connsiteX0" fmla="*/ 1 w 120835"/>
                        <a:gd name="connsiteY0" fmla="*/ 59525 h 117287"/>
                        <a:gd name="connsiteX1" fmla="*/ 29688 w 120835"/>
                        <a:gd name="connsiteY1" fmla="*/ 44095 h 117287"/>
                        <a:gd name="connsiteX2" fmla="*/ 39969 w 120835"/>
                        <a:gd name="connsiteY2" fmla="*/ 1251 h 117287"/>
                        <a:gd name="connsiteX3" fmla="*/ 120835 w 120835"/>
                        <a:gd name="connsiteY3" fmla="*/ 23702 h 117287"/>
                        <a:gd name="connsiteX4" fmla="*/ 83663 w 120835"/>
                        <a:gd name="connsiteY4" fmla="*/ 101246 h 117287"/>
                        <a:gd name="connsiteX5" fmla="*/ 30444 w 120835"/>
                        <a:gd name="connsiteY5" fmla="*/ 114627 h 117287"/>
                        <a:gd name="connsiteX6" fmla="*/ 1 w 120835"/>
                        <a:gd name="connsiteY6" fmla="*/ 59525 h 117287"/>
                        <a:gd name="connsiteX0" fmla="*/ 1 w 123150"/>
                        <a:gd name="connsiteY0" fmla="*/ 58807 h 116569"/>
                        <a:gd name="connsiteX1" fmla="*/ 29688 w 123150"/>
                        <a:gd name="connsiteY1" fmla="*/ 43377 h 116569"/>
                        <a:gd name="connsiteX2" fmla="*/ 39969 w 123150"/>
                        <a:gd name="connsiteY2" fmla="*/ 533 h 116569"/>
                        <a:gd name="connsiteX3" fmla="*/ 120835 w 123150"/>
                        <a:gd name="connsiteY3" fmla="*/ 22984 h 116569"/>
                        <a:gd name="connsiteX4" fmla="*/ 104570 w 123150"/>
                        <a:gd name="connsiteY4" fmla="*/ 66595 h 116569"/>
                        <a:gd name="connsiteX5" fmla="*/ 83663 w 123150"/>
                        <a:gd name="connsiteY5" fmla="*/ 100528 h 116569"/>
                        <a:gd name="connsiteX6" fmla="*/ 30444 w 123150"/>
                        <a:gd name="connsiteY6" fmla="*/ 113909 h 116569"/>
                        <a:gd name="connsiteX7" fmla="*/ 1 w 123150"/>
                        <a:gd name="connsiteY7" fmla="*/ 58807 h 116569"/>
                        <a:gd name="connsiteX0" fmla="*/ 1 w 122598"/>
                        <a:gd name="connsiteY0" fmla="*/ 58728 h 116490"/>
                        <a:gd name="connsiteX1" fmla="*/ 29688 w 122598"/>
                        <a:gd name="connsiteY1" fmla="*/ 43298 h 116490"/>
                        <a:gd name="connsiteX2" fmla="*/ 39969 w 122598"/>
                        <a:gd name="connsiteY2" fmla="*/ 454 h 116490"/>
                        <a:gd name="connsiteX3" fmla="*/ 120835 w 122598"/>
                        <a:gd name="connsiteY3" fmla="*/ 22905 h 116490"/>
                        <a:gd name="connsiteX4" fmla="*/ 82826 w 122598"/>
                        <a:gd name="connsiteY4" fmla="*/ 49868 h 116490"/>
                        <a:gd name="connsiteX5" fmla="*/ 104570 w 122598"/>
                        <a:gd name="connsiteY5" fmla="*/ 66516 h 116490"/>
                        <a:gd name="connsiteX6" fmla="*/ 83663 w 122598"/>
                        <a:gd name="connsiteY6" fmla="*/ 100449 h 116490"/>
                        <a:gd name="connsiteX7" fmla="*/ 30444 w 122598"/>
                        <a:gd name="connsiteY7" fmla="*/ 113830 h 116490"/>
                        <a:gd name="connsiteX8" fmla="*/ 1 w 122598"/>
                        <a:gd name="connsiteY8" fmla="*/ 58728 h 116490"/>
                        <a:gd name="connsiteX0" fmla="*/ 1 w 122598"/>
                        <a:gd name="connsiteY0" fmla="*/ 58728 h 116490"/>
                        <a:gd name="connsiteX1" fmla="*/ 29688 w 122598"/>
                        <a:gd name="connsiteY1" fmla="*/ 43298 h 116490"/>
                        <a:gd name="connsiteX2" fmla="*/ 39969 w 122598"/>
                        <a:gd name="connsiteY2" fmla="*/ 454 h 116490"/>
                        <a:gd name="connsiteX3" fmla="*/ 120835 w 122598"/>
                        <a:gd name="connsiteY3" fmla="*/ 22905 h 116490"/>
                        <a:gd name="connsiteX4" fmla="*/ 82826 w 122598"/>
                        <a:gd name="connsiteY4" fmla="*/ 49868 h 116490"/>
                        <a:gd name="connsiteX5" fmla="*/ 87606 w 122598"/>
                        <a:gd name="connsiteY5" fmla="*/ 70247 h 116490"/>
                        <a:gd name="connsiteX6" fmla="*/ 83663 w 122598"/>
                        <a:gd name="connsiteY6" fmla="*/ 100449 h 116490"/>
                        <a:gd name="connsiteX7" fmla="*/ 30444 w 122598"/>
                        <a:gd name="connsiteY7" fmla="*/ 113830 h 116490"/>
                        <a:gd name="connsiteX8" fmla="*/ 1 w 122598"/>
                        <a:gd name="connsiteY8" fmla="*/ 58728 h 116490"/>
                        <a:gd name="connsiteX0" fmla="*/ 1 w 254819"/>
                        <a:gd name="connsiteY0" fmla="*/ 58678 h 116440"/>
                        <a:gd name="connsiteX1" fmla="*/ 29688 w 254819"/>
                        <a:gd name="connsiteY1" fmla="*/ 43248 h 116440"/>
                        <a:gd name="connsiteX2" fmla="*/ 39969 w 254819"/>
                        <a:gd name="connsiteY2" fmla="*/ 404 h 116440"/>
                        <a:gd name="connsiteX3" fmla="*/ 120835 w 254819"/>
                        <a:gd name="connsiteY3" fmla="*/ 22855 h 116440"/>
                        <a:gd name="connsiteX4" fmla="*/ 254598 w 254819"/>
                        <a:gd name="connsiteY4" fmla="*/ 76576 h 116440"/>
                        <a:gd name="connsiteX5" fmla="*/ 82826 w 254819"/>
                        <a:gd name="connsiteY5" fmla="*/ 49818 h 116440"/>
                        <a:gd name="connsiteX6" fmla="*/ 87606 w 254819"/>
                        <a:gd name="connsiteY6" fmla="*/ 70197 h 116440"/>
                        <a:gd name="connsiteX7" fmla="*/ 83663 w 254819"/>
                        <a:gd name="connsiteY7" fmla="*/ 100399 h 116440"/>
                        <a:gd name="connsiteX8" fmla="*/ 30444 w 254819"/>
                        <a:gd name="connsiteY8" fmla="*/ 113780 h 116440"/>
                        <a:gd name="connsiteX9" fmla="*/ 1 w 254819"/>
                        <a:gd name="connsiteY9" fmla="*/ 58678 h 116440"/>
                        <a:gd name="connsiteX0" fmla="*/ 1 w 318737"/>
                        <a:gd name="connsiteY0" fmla="*/ 58751 h 116513"/>
                        <a:gd name="connsiteX1" fmla="*/ 29688 w 318737"/>
                        <a:gd name="connsiteY1" fmla="*/ 43321 h 116513"/>
                        <a:gd name="connsiteX2" fmla="*/ 39969 w 318737"/>
                        <a:gd name="connsiteY2" fmla="*/ 477 h 116513"/>
                        <a:gd name="connsiteX3" fmla="*/ 120835 w 318737"/>
                        <a:gd name="connsiteY3" fmla="*/ 22928 h 116513"/>
                        <a:gd name="connsiteX4" fmla="*/ 313807 w 318737"/>
                        <a:gd name="connsiteY4" fmla="*/ 67642 h 116513"/>
                        <a:gd name="connsiteX5" fmla="*/ 254598 w 318737"/>
                        <a:gd name="connsiteY5" fmla="*/ 76649 h 116513"/>
                        <a:gd name="connsiteX6" fmla="*/ 82826 w 318737"/>
                        <a:gd name="connsiteY6" fmla="*/ 49891 h 116513"/>
                        <a:gd name="connsiteX7" fmla="*/ 87606 w 318737"/>
                        <a:gd name="connsiteY7" fmla="*/ 70270 h 116513"/>
                        <a:gd name="connsiteX8" fmla="*/ 83663 w 318737"/>
                        <a:gd name="connsiteY8" fmla="*/ 100472 h 116513"/>
                        <a:gd name="connsiteX9" fmla="*/ 30444 w 318737"/>
                        <a:gd name="connsiteY9" fmla="*/ 113853 h 116513"/>
                        <a:gd name="connsiteX10" fmla="*/ 1 w 318737"/>
                        <a:gd name="connsiteY10" fmla="*/ 58751 h 116513"/>
                        <a:gd name="connsiteX0" fmla="*/ 1 w 322540"/>
                        <a:gd name="connsiteY0" fmla="*/ 58751 h 116513"/>
                        <a:gd name="connsiteX1" fmla="*/ 29688 w 322540"/>
                        <a:gd name="connsiteY1" fmla="*/ 43321 h 116513"/>
                        <a:gd name="connsiteX2" fmla="*/ 39969 w 322540"/>
                        <a:gd name="connsiteY2" fmla="*/ 477 h 116513"/>
                        <a:gd name="connsiteX3" fmla="*/ 120835 w 322540"/>
                        <a:gd name="connsiteY3" fmla="*/ 22928 h 116513"/>
                        <a:gd name="connsiteX4" fmla="*/ 313807 w 322540"/>
                        <a:gd name="connsiteY4" fmla="*/ 67642 h 116513"/>
                        <a:gd name="connsiteX5" fmla="*/ 289018 w 322540"/>
                        <a:gd name="connsiteY5" fmla="*/ 95949 h 116513"/>
                        <a:gd name="connsiteX6" fmla="*/ 82826 w 322540"/>
                        <a:gd name="connsiteY6" fmla="*/ 49891 h 116513"/>
                        <a:gd name="connsiteX7" fmla="*/ 87606 w 322540"/>
                        <a:gd name="connsiteY7" fmla="*/ 70270 h 116513"/>
                        <a:gd name="connsiteX8" fmla="*/ 83663 w 322540"/>
                        <a:gd name="connsiteY8" fmla="*/ 100472 h 116513"/>
                        <a:gd name="connsiteX9" fmla="*/ 30444 w 322540"/>
                        <a:gd name="connsiteY9" fmla="*/ 113853 h 116513"/>
                        <a:gd name="connsiteX10" fmla="*/ 1 w 322540"/>
                        <a:gd name="connsiteY10" fmla="*/ 58751 h 116513"/>
                        <a:gd name="connsiteX0" fmla="*/ 1 w 291145"/>
                        <a:gd name="connsiteY0" fmla="*/ 58669 h 116431"/>
                        <a:gd name="connsiteX1" fmla="*/ 29688 w 291145"/>
                        <a:gd name="connsiteY1" fmla="*/ 43239 h 116431"/>
                        <a:gd name="connsiteX2" fmla="*/ 39969 w 291145"/>
                        <a:gd name="connsiteY2" fmla="*/ 395 h 116431"/>
                        <a:gd name="connsiteX3" fmla="*/ 120835 w 291145"/>
                        <a:gd name="connsiteY3" fmla="*/ 22846 h 116431"/>
                        <a:gd name="connsiteX4" fmla="*/ 188123 w 291145"/>
                        <a:gd name="connsiteY4" fmla="*/ 38576 h 116431"/>
                        <a:gd name="connsiteX5" fmla="*/ 289018 w 291145"/>
                        <a:gd name="connsiteY5" fmla="*/ 95867 h 116431"/>
                        <a:gd name="connsiteX6" fmla="*/ 82826 w 291145"/>
                        <a:gd name="connsiteY6" fmla="*/ 49809 h 116431"/>
                        <a:gd name="connsiteX7" fmla="*/ 87606 w 291145"/>
                        <a:gd name="connsiteY7" fmla="*/ 70188 h 116431"/>
                        <a:gd name="connsiteX8" fmla="*/ 83663 w 291145"/>
                        <a:gd name="connsiteY8" fmla="*/ 100390 h 116431"/>
                        <a:gd name="connsiteX9" fmla="*/ 30444 w 291145"/>
                        <a:gd name="connsiteY9" fmla="*/ 113771 h 116431"/>
                        <a:gd name="connsiteX10" fmla="*/ 1 w 291145"/>
                        <a:gd name="connsiteY10" fmla="*/ 58669 h 116431"/>
                        <a:gd name="connsiteX0" fmla="*/ 1 w 291352"/>
                        <a:gd name="connsiteY0" fmla="*/ 59685 h 117447"/>
                        <a:gd name="connsiteX1" fmla="*/ 29688 w 291352"/>
                        <a:gd name="connsiteY1" fmla="*/ 44255 h 117447"/>
                        <a:gd name="connsiteX2" fmla="*/ 39969 w 291352"/>
                        <a:gd name="connsiteY2" fmla="*/ 1411 h 117447"/>
                        <a:gd name="connsiteX3" fmla="*/ 95065 w 291352"/>
                        <a:gd name="connsiteY3" fmla="*/ 12992 h 117447"/>
                        <a:gd name="connsiteX4" fmla="*/ 188123 w 291352"/>
                        <a:gd name="connsiteY4" fmla="*/ 39592 h 117447"/>
                        <a:gd name="connsiteX5" fmla="*/ 289018 w 291352"/>
                        <a:gd name="connsiteY5" fmla="*/ 96883 h 117447"/>
                        <a:gd name="connsiteX6" fmla="*/ 82826 w 291352"/>
                        <a:gd name="connsiteY6" fmla="*/ 50825 h 117447"/>
                        <a:gd name="connsiteX7" fmla="*/ 87606 w 291352"/>
                        <a:gd name="connsiteY7" fmla="*/ 71204 h 117447"/>
                        <a:gd name="connsiteX8" fmla="*/ 83663 w 291352"/>
                        <a:gd name="connsiteY8" fmla="*/ 101406 h 117447"/>
                        <a:gd name="connsiteX9" fmla="*/ 30444 w 291352"/>
                        <a:gd name="connsiteY9" fmla="*/ 114787 h 117447"/>
                        <a:gd name="connsiteX10" fmla="*/ 1 w 291352"/>
                        <a:gd name="connsiteY10" fmla="*/ 59685 h 117447"/>
                        <a:gd name="connsiteX0" fmla="*/ 1 w 289918"/>
                        <a:gd name="connsiteY0" fmla="*/ 59685 h 117447"/>
                        <a:gd name="connsiteX1" fmla="*/ 29688 w 289918"/>
                        <a:gd name="connsiteY1" fmla="*/ 44255 h 117447"/>
                        <a:gd name="connsiteX2" fmla="*/ 39969 w 289918"/>
                        <a:gd name="connsiteY2" fmla="*/ 1411 h 117447"/>
                        <a:gd name="connsiteX3" fmla="*/ 95065 w 289918"/>
                        <a:gd name="connsiteY3" fmla="*/ 12992 h 117447"/>
                        <a:gd name="connsiteX4" fmla="*/ 188123 w 289918"/>
                        <a:gd name="connsiteY4" fmla="*/ 39592 h 117447"/>
                        <a:gd name="connsiteX5" fmla="*/ 289018 w 289918"/>
                        <a:gd name="connsiteY5" fmla="*/ 96883 h 117447"/>
                        <a:gd name="connsiteX6" fmla="*/ 127072 w 289918"/>
                        <a:gd name="connsiteY6" fmla="*/ 53599 h 117447"/>
                        <a:gd name="connsiteX7" fmla="*/ 82826 w 289918"/>
                        <a:gd name="connsiteY7" fmla="*/ 50825 h 117447"/>
                        <a:gd name="connsiteX8" fmla="*/ 87606 w 289918"/>
                        <a:gd name="connsiteY8" fmla="*/ 71204 h 117447"/>
                        <a:gd name="connsiteX9" fmla="*/ 83663 w 289918"/>
                        <a:gd name="connsiteY9" fmla="*/ 101406 h 117447"/>
                        <a:gd name="connsiteX10" fmla="*/ 30444 w 289918"/>
                        <a:gd name="connsiteY10" fmla="*/ 114787 h 117447"/>
                        <a:gd name="connsiteX11" fmla="*/ 1 w 289918"/>
                        <a:gd name="connsiteY11" fmla="*/ 59685 h 117447"/>
                        <a:gd name="connsiteX0" fmla="*/ 1 w 188527"/>
                        <a:gd name="connsiteY0" fmla="*/ 59685 h 117447"/>
                        <a:gd name="connsiteX1" fmla="*/ 29688 w 188527"/>
                        <a:gd name="connsiteY1" fmla="*/ 44255 h 117447"/>
                        <a:gd name="connsiteX2" fmla="*/ 39969 w 188527"/>
                        <a:gd name="connsiteY2" fmla="*/ 1411 h 117447"/>
                        <a:gd name="connsiteX3" fmla="*/ 95065 w 188527"/>
                        <a:gd name="connsiteY3" fmla="*/ 12992 h 117447"/>
                        <a:gd name="connsiteX4" fmla="*/ 188123 w 188527"/>
                        <a:gd name="connsiteY4" fmla="*/ 39592 h 117447"/>
                        <a:gd name="connsiteX5" fmla="*/ 127072 w 188527"/>
                        <a:gd name="connsiteY5" fmla="*/ 53599 h 117447"/>
                        <a:gd name="connsiteX6" fmla="*/ 82826 w 188527"/>
                        <a:gd name="connsiteY6" fmla="*/ 50825 h 117447"/>
                        <a:gd name="connsiteX7" fmla="*/ 87606 w 188527"/>
                        <a:gd name="connsiteY7" fmla="*/ 71204 h 117447"/>
                        <a:gd name="connsiteX8" fmla="*/ 83663 w 188527"/>
                        <a:gd name="connsiteY8" fmla="*/ 101406 h 117447"/>
                        <a:gd name="connsiteX9" fmla="*/ 30444 w 188527"/>
                        <a:gd name="connsiteY9" fmla="*/ 114787 h 117447"/>
                        <a:gd name="connsiteX10" fmla="*/ 1 w 188527"/>
                        <a:gd name="connsiteY10" fmla="*/ 59685 h 117447"/>
                        <a:gd name="connsiteX0" fmla="*/ 1 w 188166"/>
                        <a:gd name="connsiteY0" fmla="*/ 59685 h 117447"/>
                        <a:gd name="connsiteX1" fmla="*/ 29688 w 188166"/>
                        <a:gd name="connsiteY1" fmla="*/ 44255 h 117447"/>
                        <a:gd name="connsiteX2" fmla="*/ 39969 w 188166"/>
                        <a:gd name="connsiteY2" fmla="*/ 1411 h 117447"/>
                        <a:gd name="connsiteX3" fmla="*/ 95065 w 188166"/>
                        <a:gd name="connsiteY3" fmla="*/ 12992 h 117447"/>
                        <a:gd name="connsiteX4" fmla="*/ 188123 w 188166"/>
                        <a:gd name="connsiteY4" fmla="*/ 39592 h 117447"/>
                        <a:gd name="connsiteX5" fmla="*/ 82826 w 188166"/>
                        <a:gd name="connsiteY5" fmla="*/ 50825 h 117447"/>
                        <a:gd name="connsiteX6" fmla="*/ 87606 w 188166"/>
                        <a:gd name="connsiteY6" fmla="*/ 71204 h 117447"/>
                        <a:gd name="connsiteX7" fmla="*/ 83663 w 188166"/>
                        <a:gd name="connsiteY7" fmla="*/ 101406 h 117447"/>
                        <a:gd name="connsiteX8" fmla="*/ 30444 w 188166"/>
                        <a:gd name="connsiteY8" fmla="*/ 114787 h 117447"/>
                        <a:gd name="connsiteX9" fmla="*/ 1 w 188166"/>
                        <a:gd name="connsiteY9" fmla="*/ 59685 h 117447"/>
                        <a:gd name="connsiteX0" fmla="*/ 1 w 188166"/>
                        <a:gd name="connsiteY0" fmla="*/ 59685 h 117137"/>
                        <a:gd name="connsiteX1" fmla="*/ 29688 w 188166"/>
                        <a:gd name="connsiteY1" fmla="*/ 44255 h 117137"/>
                        <a:gd name="connsiteX2" fmla="*/ 39969 w 188166"/>
                        <a:gd name="connsiteY2" fmla="*/ 1411 h 117137"/>
                        <a:gd name="connsiteX3" fmla="*/ 95065 w 188166"/>
                        <a:gd name="connsiteY3" fmla="*/ 12992 h 117137"/>
                        <a:gd name="connsiteX4" fmla="*/ 188123 w 188166"/>
                        <a:gd name="connsiteY4" fmla="*/ 39592 h 117137"/>
                        <a:gd name="connsiteX5" fmla="*/ 82826 w 188166"/>
                        <a:gd name="connsiteY5" fmla="*/ 50825 h 117137"/>
                        <a:gd name="connsiteX6" fmla="*/ 83663 w 188166"/>
                        <a:gd name="connsiteY6" fmla="*/ 101406 h 117137"/>
                        <a:gd name="connsiteX7" fmla="*/ 30444 w 188166"/>
                        <a:gd name="connsiteY7" fmla="*/ 114787 h 117137"/>
                        <a:gd name="connsiteX8" fmla="*/ 1 w 188166"/>
                        <a:gd name="connsiteY8" fmla="*/ 59685 h 117137"/>
                        <a:gd name="connsiteX0" fmla="*/ 1 w 188160"/>
                        <a:gd name="connsiteY0" fmla="*/ 59685 h 117394"/>
                        <a:gd name="connsiteX1" fmla="*/ 29688 w 188160"/>
                        <a:gd name="connsiteY1" fmla="*/ 44255 h 117394"/>
                        <a:gd name="connsiteX2" fmla="*/ 39969 w 188160"/>
                        <a:gd name="connsiteY2" fmla="*/ 1411 h 117394"/>
                        <a:gd name="connsiteX3" fmla="*/ 95065 w 188160"/>
                        <a:gd name="connsiteY3" fmla="*/ 12992 h 117394"/>
                        <a:gd name="connsiteX4" fmla="*/ 188123 w 188160"/>
                        <a:gd name="connsiteY4" fmla="*/ 39592 h 117394"/>
                        <a:gd name="connsiteX5" fmla="*/ 83663 w 188160"/>
                        <a:gd name="connsiteY5" fmla="*/ 101406 h 117394"/>
                        <a:gd name="connsiteX6" fmla="*/ 30444 w 188160"/>
                        <a:gd name="connsiteY6" fmla="*/ 114787 h 117394"/>
                        <a:gd name="connsiteX7" fmla="*/ 1 w 188160"/>
                        <a:gd name="connsiteY7" fmla="*/ 59685 h 117394"/>
                        <a:gd name="connsiteX0" fmla="*/ 1 w 95135"/>
                        <a:gd name="connsiteY0" fmla="*/ 59731 h 117440"/>
                        <a:gd name="connsiteX1" fmla="*/ 29688 w 95135"/>
                        <a:gd name="connsiteY1" fmla="*/ 44301 h 117440"/>
                        <a:gd name="connsiteX2" fmla="*/ 39969 w 95135"/>
                        <a:gd name="connsiteY2" fmla="*/ 1457 h 117440"/>
                        <a:gd name="connsiteX3" fmla="*/ 95065 w 95135"/>
                        <a:gd name="connsiteY3" fmla="*/ 13038 h 117440"/>
                        <a:gd name="connsiteX4" fmla="*/ 52230 w 95135"/>
                        <a:gd name="connsiteY4" fmla="*/ 42720 h 117440"/>
                        <a:gd name="connsiteX5" fmla="*/ 83663 w 95135"/>
                        <a:gd name="connsiteY5" fmla="*/ 101452 h 117440"/>
                        <a:gd name="connsiteX6" fmla="*/ 30444 w 95135"/>
                        <a:gd name="connsiteY6" fmla="*/ 114833 h 117440"/>
                        <a:gd name="connsiteX7" fmla="*/ 1 w 95135"/>
                        <a:gd name="connsiteY7" fmla="*/ 59731 h 117440"/>
                        <a:gd name="connsiteX0" fmla="*/ 1 w 95135"/>
                        <a:gd name="connsiteY0" fmla="*/ 59731 h 117440"/>
                        <a:gd name="connsiteX1" fmla="*/ 29688 w 95135"/>
                        <a:gd name="connsiteY1" fmla="*/ 44301 h 117440"/>
                        <a:gd name="connsiteX2" fmla="*/ 39969 w 95135"/>
                        <a:gd name="connsiteY2" fmla="*/ 1457 h 117440"/>
                        <a:gd name="connsiteX3" fmla="*/ 95065 w 95135"/>
                        <a:gd name="connsiteY3" fmla="*/ 13038 h 117440"/>
                        <a:gd name="connsiteX4" fmla="*/ 52230 w 95135"/>
                        <a:gd name="connsiteY4" fmla="*/ 42720 h 117440"/>
                        <a:gd name="connsiteX5" fmla="*/ 83663 w 95135"/>
                        <a:gd name="connsiteY5" fmla="*/ 101452 h 117440"/>
                        <a:gd name="connsiteX6" fmla="*/ 30444 w 95135"/>
                        <a:gd name="connsiteY6" fmla="*/ 114833 h 117440"/>
                        <a:gd name="connsiteX7" fmla="*/ 1 w 95135"/>
                        <a:gd name="connsiteY7" fmla="*/ 59731 h 117440"/>
                        <a:gd name="connsiteX0" fmla="*/ 1 w 95141"/>
                        <a:gd name="connsiteY0" fmla="*/ 59731 h 118943"/>
                        <a:gd name="connsiteX1" fmla="*/ 29688 w 95141"/>
                        <a:gd name="connsiteY1" fmla="*/ 44301 h 118943"/>
                        <a:gd name="connsiteX2" fmla="*/ 39969 w 95141"/>
                        <a:gd name="connsiteY2" fmla="*/ 1457 h 118943"/>
                        <a:gd name="connsiteX3" fmla="*/ 95065 w 95141"/>
                        <a:gd name="connsiteY3" fmla="*/ 13038 h 118943"/>
                        <a:gd name="connsiteX4" fmla="*/ 52230 w 95141"/>
                        <a:gd name="connsiteY4" fmla="*/ 42720 h 118943"/>
                        <a:gd name="connsiteX5" fmla="*/ 64063 w 95141"/>
                        <a:gd name="connsiteY5" fmla="*/ 106515 h 118943"/>
                        <a:gd name="connsiteX6" fmla="*/ 30444 w 95141"/>
                        <a:gd name="connsiteY6" fmla="*/ 114833 h 118943"/>
                        <a:gd name="connsiteX7" fmla="*/ 1 w 95141"/>
                        <a:gd name="connsiteY7" fmla="*/ 59731 h 1189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95141" h="118943">
                          <a:moveTo>
                            <a:pt x="1" y="59731"/>
                          </a:moveTo>
                          <a:cubicBezTo>
                            <a:pt x="-125" y="47976"/>
                            <a:pt x="24614" y="63010"/>
                            <a:pt x="29688" y="44301"/>
                          </a:cubicBezTo>
                          <a:cubicBezTo>
                            <a:pt x="34762" y="25592"/>
                            <a:pt x="29073" y="6667"/>
                            <a:pt x="39969" y="1457"/>
                          </a:cubicBezTo>
                          <a:cubicBezTo>
                            <a:pt x="50865" y="-3753"/>
                            <a:pt x="93022" y="6161"/>
                            <a:pt x="95065" y="13038"/>
                          </a:cubicBezTo>
                          <a:cubicBezTo>
                            <a:pt x="97108" y="19915"/>
                            <a:pt x="57397" y="27141"/>
                            <a:pt x="52230" y="42720"/>
                          </a:cubicBezTo>
                          <a:cubicBezTo>
                            <a:pt x="47063" y="58299"/>
                            <a:pt x="40877" y="72789"/>
                            <a:pt x="64063" y="106515"/>
                          </a:cubicBezTo>
                          <a:cubicBezTo>
                            <a:pt x="37783" y="119047"/>
                            <a:pt x="41121" y="122630"/>
                            <a:pt x="30444" y="114833"/>
                          </a:cubicBezTo>
                          <a:cubicBezTo>
                            <a:pt x="19767" y="107036"/>
                            <a:pt x="127" y="71486"/>
                            <a:pt x="1" y="5973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4" name="Oval 85"/>
                    <p:cNvSpPr/>
                    <p:nvPr/>
                  </p:nvSpPr>
                  <p:spPr>
                    <a:xfrm rot="16200000">
                      <a:off x="6710699" y="3608314"/>
                      <a:ext cx="61932" cy="77779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  <a:gd name="connsiteX0" fmla="*/ 149 w 97748"/>
                        <a:gd name="connsiteY0" fmla="*/ 59088 h 116850"/>
                        <a:gd name="connsiteX1" fmla="*/ 42536 w 97748"/>
                        <a:gd name="connsiteY1" fmla="*/ 46833 h 116850"/>
                        <a:gd name="connsiteX2" fmla="*/ 40117 w 97748"/>
                        <a:gd name="connsiteY2" fmla="*/ 814 h 116850"/>
                        <a:gd name="connsiteX3" fmla="*/ 89610 w 97748"/>
                        <a:gd name="connsiteY3" fmla="*/ 36863 h 116850"/>
                        <a:gd name="connsiteX4" fmla="*/ 83811 w 97748"/>
                        <a:gd name="connsiteY4" fmla="*/ 100809 h 116850"/>
                        <a:gd name="connsiteX5" fmla="*/ 30592 w 97748"/>
                        <a:gd name="connsiteY5" fmla="*/ 114190 h 116850"/>
                        <a:gd name="connsiteX6" fmla="*/ 149 w 97748"/>
                        <a:gd name="connsiteY6" fmla="*/ 59088 h 116850"/>
                        <a:gd name="connsiteX0" fmla="*/ 1 w 97600"/>
                        <a:gd name="connsiteY0" fmla="*/ 58340 h 116102"/>
                        <a:gd name="connsiteX1" fmla="*/ 29688 w 97600"/>
                        <a:gd name="connsiteY1" fmla="*/ 42910 h 116102"/>
                        <a:gd name="connsiteX2" fmla="*/ 39969 w 97600"/>
                        <a:gd name="connsiteY2" fmla="*/ 66 h 116102"/>
                        <a:gd name="connsiteX3" fmla="*/ 89462 w 97600"/>
                        <a:gd name="connsiteY3" fmla="*/ 36115 h 116102"/>
                        <a:gd name="connsiteX4" fmla="*/ 83663 w 97600"/>
                        <a:gd name="connsiteY4" fmla="*/ 100061 h 116102"/>
                        <a:gd name="connsiteX5" fmla="*/ 30444 w 97600"/>
                        <a:gd name="connsiteY5" fmla="*/ 113442 h 116102"/>
                        <a:gd name="connsiteX6" fmla="*/ 1 w 97600"/>
                        <a:gd name="connsiteY6" fmla="*/ 58340 h 116102"/>
                        <a:gd name="connsiteX0" fmla="*/ 1 w 91180"/>
                        <a:gd name="connsiteY0" fmla="*/ 58340 h 113511"/>
                        <a:gd name="connsiteX1" fmla="*/ 29688 w 91180"/>
                        <a:gd name="connsiteY1" fmla="*/ 42910 h 113511"/>
                        <a:gd name="connsiteX2" fmla="*/ 39969 w 91180"/>
                        <a:gd name="connsiteY2" fmla="*/ 66 h 113511"/>
                        <a:gd name="connsiteX3" fmla="*/ 89462 w 91180"/>
                        <a:gd name="connsiteY3" fmla="*/ 36115 h 113511"/>
                        <a:gd name="connsiteX4" fmla="*/ 59851 w 91180"/>
                        <a:gd name="connsiteY4" fmla="*/ 69104 h 113511"/>
                        <a:gd name="connsiteX5" fmla="*/ 30444 w 91180"/>
                        <a:gd name="connsiteY5" fmla="*/ 113442 h 113511"/>
                        <a:gd name="connsiteX6" fmla="*/ 1 w 91180"/>
                        <a:gd name="connsiteY6" fmla="*/ 58340 h 113511"/>
                        <a:gd name="connsiteX0" fmla="*/ 55 w 91234"/>
                        <a:gd name="connsiteY0" fmla="*/ 58340 h 85238"/>
                        <a:gd name="connsiteX1" fmla="*/ 29742 w 91234"/>
                        <a:gd name="connsiteY1" fmla="*/ 42910 h 85238"/>
                        <a:gd name="connsiteX2" fmla="*/ 40023 w 91234"/>
                        <a:gd name="connsiteY2" fmla="*/ 66 h 85238"/>
                        <a:gd name="connsiteX3" fmla="*/ 89516 w 91234"/>
                        <a:gd name="connsiteY3" fmla="*/ 36115 h 85238"/>
                        <a:gd name="connsiteX4" fmla="*/ 59905 w 91234"/>
                        <a:gd name="connsiteY4" fmla="*/ 69104 h 85238"/>
                        <a:gd name="connsiteX5" fmla="*/ 23355 w 91234"/>
                        <a:gd name="connsiteY5" fmla="*/ 84870 h 85238"/>
                        <a:gd name="connsiteX6" fmla="*/ 55 w 91234"/>
                        <a:gd name="connsiteY6" fmla="*/ 58340 h 85238"/>
                        <a:gd name="connsiteX0" fmla="*/ 55 w 77701"/>
                        <a:gd name="connsiteY0" fmla="*/ 61019 h 87917"/>
                        <a:gd name="connsiteX1" fmla="*/ 29742 w 77701"/>
                        <a:gd name="connsiteY1" fmla="*/ 45589 h 87917"/>
                        <a:gd name="connsiteX2" fmla="*/ 40023 w 77701"/>
                        <a:gd name="connsiteY2" fmla="*/ 2745 h 87917"/>
                        <a:gd name="connsiteX3" fmla="*/ 72848 w 77701"/>
                        <a:gd name="connsiteY3" fmla="*/ 19744 h 87917"/>
                        <a:gd name="connsiteX4" fmla="*/ 59905 w 77701"/>
                        <a:gd name="connsiteY4" fmla="*/ 71783 h 87917"/>
                        <a:gd name="connsiteX5" fmla="*/ 23355 w 77701"/>
                        <a:gd name="connsiteY5" fmla="*/ 87549 h 87917"/>
                        <a:gd name="connsiteX6" fmla="*/ 55 w 77701"/>
                        <a:gd name="connsiteY6" fmla="*/ 61019 h 87917"/>
                        <a:gd name="connsiteX0" fmla="*/ 55 w 77701"/>
                        <a:gd name="connsiteY0" fmla="*/ 61019 h 87653"/>
                        <a:gd name="connsiteX1" fmla="*/ 29742 w 77701"/>
                        <a:gd name="connsiteY1" fmla="*/ 45589 h 87653"/>
                        <a:gd name="connsiteX2" fmla="*/ 40023 w 77701"/>
                        <a:gd name="connsiteY2" fmla="*/ 2745 h 87653"/>
                        <a:gd name="connsiteX3" fmla="*/ 72848 w 77701"/>
                        <a:gd name="connsiteY3" fmla="*/ 19744 h 87653"/>
                        <a:gd name="connsiteX4" fmla="*/ 59905 w 77701"/>
                        <a:gd name="connsiteY4" fmla="*/ 50352 h 87653"/>
                        <a:gd name="connsiteX5" fmla="*/ 23355 w 77701"/>
                        <a:gd name="connsiteY5" fmla="*/ 87549 h 87653"/>
                        <a:gd name="connsiteX6" fmla="*/ 55 w 77701"/>
                        <a:gd name="connsiteY6" fmla="*/ 61019 h 87653"/>
                        <a:gd name="connsiteX0" fmla="*/ 55 w 73842"/>
                        <a:gd name="connsiteY0" fmla="*/ 67065 h 93699"/>
                        <a:gd name="connsiteX1" fmla="*/ 29742 w 73842"/>
                        <a:gd name="connsiteY1" fmla="*/ 51635 h 93699"/>
                        <a:gd name="connsiteX2" fmla="*/ 40023 w 73842"/>
                        <a:gd name="connsiteY2" fmla="*/ 8791 h 93699"/>
                        <a:gd name="connsiteX3" fmla="*/ 65704 w 73842"/>
                        <a:gd name="connsiteY3" fmla="*/ 13884 h 93699"/>
                        <a:gd name="connsiteX4" fmla="*/ 59905 w 73842"/>
                        <a:gd name="connsiteY4" fmla="*/ 56398 h 93699"/>
                        <a:gd name="connsiteX5" fmla="*/ 23355 w 73842"/>
                        <a:gd name="connsiteY5" fmla="*/ 93595 h 93699"/>
                        <a:gd name="connsiteX6" fmla="*/ 55 w 73842"/>
                        <a:gd name="connsiteY6" fmla="*/ 67065 h 93699"/>
                        <a:gd name="connsiteX0" fmla="*/ 55 w 68153"/>
                        <a:gd name="connsiteY0" fmla="*/ 67065 h 109152"/>
                        <a:gd name="connsiteX1" fmla="*/ 29742 w 68153"/>
                        <a:gd name="connsiteY1" fmla="*/ 51635 h 109152"/>
                        <a:gd name="connsiteX2" fmla="*/ 40023 w 68153"/>
                        <a:gd name="connsiteY2" fmla="*/ 8791 h 109152"/>
                        <a:gd name="connsiteX3" fmla="*/ 65704 w 68153"/>
                        <a:gd name="connsiteY3" fmla="*/ 13884 h 109152"/>
                        <a:gd name="connsiteX4" fmla="*/ 59905 w 68153"/>
                        <a:gd name="connsiteY4" fmla="*/ 56398 h 109152"/>
                        <a:gd name="connsiteX5" fmla="*/ 58495 w 68153"/>
                        <a:gd name="connsiteY5" fmla="*/ 107558 h 109152"/>
                        <a:gd name="connsiteX6" fmla="*/ 23355 w 68153"/>
                        <a:gd name="connsiteY6" fmla="*/ 93595 h 109152"/>
                        <a:gd name="connsiteX7" fmla="*/ 55 w 68153"/>
                        <a:gd name="connsiteY7" fmla="*/ 67065 h 109152"/>
                        <a:gd name="connsiteX0" fmla="*/ 55 w 62086"/>
                        <a:gd name="connsiteY0" fmla="*/ 58408 h 100495"/>
                        <a:gd name="connsiteX1" fmla="*/ 29742 w 62086"/>
                        <a:gd name="connsiteY1" fmla="*/ 42978 h 100495"/>
                        <a:gd name="connsiteX2" fmla="*/ 40023 w 62086"/>
                        <a:gd name="connsiteY2" fmla="*/ 134 h 100495"/>
                        <a:gd name="connsiteX3" fmla="*/ 56179 w 62086"/>
                        <a:gd name="connsiteY3" fmla="*/ 33805 h 100495"/>
                        <a:gd name="connsiteX4" fmla="*/ 59905 w 62086"/>
                        <a:gd name="connsiteY4" fmla="*/ 47741 h 100495"/>
                        <a:gd name="connsiteX5" fmla="*/ 58495 w 62086"/>
                        <a:gd name="connsiteY5" fmla="*/ 98901 h 100495"/>
                        <a:gd name="connsiteX6" fmla="*/ 23355 w 62086"/>
                        <a:gd name="connsiteY6" fmla="*/ 84938 h 100495"/>
                        <a:gd name="connsiteX7" fmla="*/ 55 w 62086"/>
                        <a:gd name="connsiteY7" fmla="*/ 58408 h 100495"/>
                        <a:gd name="connsiteX0" fmla="*/ 55 w 62086"/>
                        <a:gd name="connsiteY0" fmla="*/ 36212 h 78299"/>
                        <a:gd name="connsiteX1" fmla="*/ 29742 w 62086"/>
                        <a:gd name="connsiteY1" fmla="*/ 20782 h 78299"/>
                        <a:gd name="connsiteX2" fmla="*/ 35261 w 62086"/>
                        <a:gd name="connsiteY2" fmla="*/ 8897 h 78299"/>
                        <a:gd name="connsiteX3" fmla="*/ 56179 w 62086"/>
                        <a:gd name="connsiteY3" fmla="*/ 11609 h 78299"/>
                        <a:gd name="connsiteX4" fmla="*/ 59905 w 62086"/>
                        <a:gd name="connsiteY4" fmla="*/ 25545 h 78299"/>
                        <a:gd name="connsiteX5" fmla="*/ 58495 w 62086"/>
                        <a:gd name="connsiteY5" fmla="*/ 76705 h 78299"/>
                        <a:gd name="connsiteX6" fmla="*/ 23355 w 62086"/>
                        <a:gd name="connsiteY6" fmla="*/ 62742 h 78299"/>
                        <a:gd name="connsiteX7" fmla="*/ 55 w 62086"/>
                        <a:gd name="connsiteY7" fmla="*/ 36212 h 782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62086" h="78299">
                          <a:moveTo>
                            <a:pt x="55" y="36212"/>
                          </a:moveTo>
                          <a:cubicBezTo>
                            <a:pt x="1120" y="29219"/>
                            <a:pt x="24668" y="39491"/>
                            <a:pt x="29742" y="20782"/>
                          </a:cubicBezTo>
                          <a:cubicBezTo>
                            <a:pt x="34816" y="2073"/>
                            <a:pt x="30855" y="10426"/>
                            <a:pt x="35261" y="8897"/>
                          </a:cubicBezTo>
                          <a:cubicBezTo>
                            <a:pt x="39667" y="7368"/>
                            <a:pt x="49426" y="-11936"/>
                            <a:pt x="56179" y="11609"/>
                          </a:cubicBezTo>
                          <a:cubicBezTo>
                            <a:pt x="62932" y="35154"/>
                            <a:pt x="63488" y="14299"/>
                            <a:pt x="59905" y="25545"/>
                          </a:cubicBezTo>
                          <a:cubicBezTo>
                            <a:pt x="56322" y="36791"/>
                            <a:pt x="64587" y="70506"/>
                            <a:pt x="58495" y="76705"/>
                          </a:cubicBezTo>
                          <a:cubicBezTo>
                            <a:pt x="52403" y="82904"/>
                            <a:pt x="33095" y="69491"/>
                            <a:pt x="23355" y="62742"/>
                          </a:cubicBezTo>
                          <a:cubicBezTo>
                            <a:pt x="13615" y="55993"/>
                            <a:pt x="-1010" y="43205"/>
                            <a:pt x="55" y="362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5" name="Oval 85"/>
                    <p:cNvSpPr/>
                    <p:nvPr/>
                  </p:nvSpPr>
                  <p:spPr>
                    <a:xfrm rot="16200000">
                      <a:off x="7148003" y="3077124"/>
                      <a:ext cx="60344" cy="46031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  <a:gd name="connsiteX0" fmla="*/ 149 w 97748"/>
                        <a:gd name="connsiteY0" fmla="*/ 59088 h 116850"/>
                        <a:gd name="connsiteX1" fmla="*/ 42536 w 97748"/>
                        <a:gd name="connsiteY1" fmla="*/ 46833 h 116850"/>
                        <a:gd name="connsiteX2" fmla="*/ 40117 w 97748"/>
                        <a:gd name="connsiteY2" fmla="*/ 814 h 116850"/>
                        <a:gd name="connsiteX3" fmla="*/ 89610 w 97748"/>
                        <a:gd name="connsiteY3" fmla="*/ 36863 h 116850"/>
                        <a:gd name="connsiteX4" fmla="*/ 83811 w 97748"/>
                        <a:gd name="connsiteY4" fmla="*/ 100809 h 116850"/>
                        <a:gd name="connsiteX5" fmla="*/ 30592 w 97748"/>
                        <a:gd name="connsiteY5" fmla="*/ 114190 h 116850"/>
                        <a:gd name="connsiteX6" fmla="*/ 149 w 97748"/>
                        <a:gd name="connsiteY6" fmla="*/ 59088 h 116850"/>
                        <a:gd name="connsiteX0" fmla="*/ 1 w 97600"/>
                        <a:gd name="connsiteY0" fmla="*/ 58340 h 116102"/>
                        <a:gd name="connsiteX1" fmla="*/ 29688 w 97600"/>
                        <a:gd name="connsiteY1" fmla="*/ 42910 h 116102"/>
                        <a:gd name="connsiteX2" fmla="*/ 39969 w 97600"/>
                        <a:gd name="connsiteY2" fmla="*/ 66 h 116102"/>
                        <a:gd name="connsiteX3" fmla="*/ 89462 w 97600"/>
                        <a:gd name="connsiteY3" fmla="*/ 36115 h 116102"/>
                        <a:gd name="connsiteX4" fmla="*/ 83663 w 97600"/>
                        <a:gd name="connsiteY4" fmla="*/ 100061 h 116102"/>
                        <a:gd name="connsiteX5" fmla="*/ 30444 w 97600"/>
                        <a:gd name="connsiteY5" fmla="*/ 113442 h 116102"/>
                        <a:gd name="connsiteX6" fmla="*/ 1 w 97600"/>
                        <a:gd name="connsiteY6" fmla="*/ 58340 h 116102"/>
                        <a:gd name="connsiteX0" fmla="*/ 1 w 91180"/>
                        <a:gd name="connsiteY0" fmla="*/ 58340 h 113511"/>
                        <a:gd name="connsiteX1" fmla="*/ 29688 w 91180"/>
                        <a:gd name="connsiteY1" fmla="*/ 42910 h 113511"/>
                        <a:gd name="connsiteX2" fmla="*/ 39969 w 91180"/>
                        <a:gd name="connsiteY2" fmla="*/ 66 h 113511"/>
                        <a:gd name="connsiteX3" fmla="*/ 89462 w 91180"/>
                        <a:gd name="connsiteY3" fmla="*/ 36115 h 113511"/>
                        <a:gd name="connsiteX4" fmla="*/ 59851 w 91180"/>
                        <a:gd name="connsiteY4" fmla="*/ 69104 h 113511"/>
                        <a:gd name="connsiteX5" fmla="*/ 30444 w 91180"/>
                        <a:gd name="connsiteY5" fmla="*/ 113442 h 113511"/>
                        <a:gd name="connsiteX6" fmla="*/ 1 w 91180"/>
                        <a:gd name="connsiteY6" fmla="*/ 58340 h 113511"/>
                        <a:gd name="connsiteX0" fmla="*/ 55 w 91234"/>
                        <a:gd name="connsiteY0" fmla="*/ 58340 h 85238"/>
                        <a:gd name="connsiteX1" fmla="*/ 29742 w 91234"/>
                        <a:gd name="connsiteY1" fmla="*/ 42910 h 85238"/>
                        <a:gd name="connsiteX2" fmla="*/ 40023 w 91234"/>
                        <a:gd name="connsiteY2" fmla="*/ 66 h 85238"/>
                        <a:gd name="connsiteX3" fmla="*/ 89516 w 91234"/>
                        <a:gd name="connsiteY3" fmla="*/ 36115 h 85238"/>
                        <a:gd name="connsiteX4" fmla="*/ 59905 w 91234"/>
                        <a:gd name="connsiteY4" fmla="*/ 69104 h 85238"/>
                        <a:gd name="connsiteX5" fmla="*/ 23355 w 91234"/>
                        <a:gd name="connsiteY5" fmla="*/ 84870 h 85238"/>
                        <a:gd name="connsiteX6" fmla="*/ 55 w 91234"/>
                        <a:gd name="connsiteY6" fmla="*/ 58340 h 85238"/>
                        <a:gd name="connsiteX0" fmla="*/ 55 w 77701"/>
                        <a:gd name="connsiteY0" fmla="*/ 61019 h 87917"/>
                        <a:gd name="connsiteX1" fmla="*/ 29742 w 77701"/>
                        <a:gd name="connsiteY1" fmla="*/ 45589 h 87917"/>
                        <a:gd name="connsiteX2" fmla="*/ 40023 w 77701"/>
                        <a:gd name="connsiteY2" fmla="*/ 2745 h 87917"/>
                        <a:gd name="connsiteX3" fmla="*/ 72848 w 77701"/>
                        <a:gd name="connsiteY3" fmla="*/ 19744 h 87917"/>
                        <a:gd name="connsiteX4" fmla="*/ 59905 w 77701"/>
                        <a:gd name="connsiteY4" fmla="*/ 71783 h 87917"/>
                        <a:gd name="connsiteX5" fmla="*/ 23355 w 77701"/>
                        <a:gd name="connsiteY5" fmla="*/ 87549 h 87917"/>
                        <a:gd name="connsiteX6" fmla="*/ 55 w 77701"/>
                        <a:gd name="connsiteY6" fmla="*/ 61019 h 87917"/>
                        <a:gd name="connsiteX0" fmla="*/ 55 w 77701"/>
                        <a:gd name="connsiteY0" fmla="*/ 61019 h 87653"/>
                        <a:gd name="connsiteX1" fmla="*/ 29742 w 77701"/>
                        <a:gd name="connsiteY1" fmla="*/ 45589 h 87653"/>
                        <a:gd name="connsiteX2" fmla="*/ 40023 w 77701"/>
                        <a:gd name="connsiteY2" fmla="*/ 2745 h 87653"/>
                        <a:gd name="connsiteX3" fmla="*/ 72848 w 77701"/>
                        <a:gd name="connsiteY3" fmla="*/ 19744 h 87653"/>
                        <a:gd name="connsiteX4" fmla="*/ 59905 w 77701"/>
                        <a:gd name="connsiteY4" fmla="*/ 50352 h 87653"/>
                        <a:gd name="connsiteX5" fmla="*/ 23355 w 77701"/>
                        <a:gd name="connsiteY5" fmla="*/ 87549 h 87653"/>
                        <a:gd name="connsiteX6" fmla="*/ 55 w 77701"/>
                        <a:gd name="connsiteY6" fmla="*/ 61019 h 87653"/>
                        <a:gd name="connsiteX0" fmla="*/ 55 w 73842"/>
                        <a:gd name="connsiteY0" fmla="*/ 67065 h 93699"/>
                        <a:gd name="connsiteX1" fmla="*/ 29742 w 73842"/>
                        <a:gd name="connsiteY1" fmla="*/ 51635 h 93699"/>
                        <a:gd name="connsiteX2" fmla="*/ 40023 w 73842"/>
                        <a:gd name="connsiteY2" fmla="*/ 8791 h 93699"/>
                        <a:gd name="connsiteX3" fmla="*/ 65704 w 73842"/>
                        <a:gd name="connsiteY3" fmla="*/ 13884 h 93699"/>
                        <a:gd name="connsiteX4" fmla="*/ 59905 w 73842"/>
                        <a:gd name="connsiteY4" fmla="*/ 56398 h 93699"/>
                        <a:gd name="connsiteX5" fmla="*/ 23355 w 73842"/>
                        <a:gd name="connsiteY5" fmla="*/ 93595 h 93699"/>
                        <a:gd name="connsiteX6" fmla="*/ 55 w 73842"/>
                        <a:gd name="connsiteY6" fmla="*/ 67065 h 93699"/>
                        <a:gd name="connsiteX0" fmla="*/ 55 w 68153"/>
                        <a:gd name="connsiteY0" fmla="*/ 67065 h 109152"/>
                        <a:gd name="connsiteX1" fmla="*/ 29742 w 68153"/>
                        <a:gd name="connsiteY1" fmla="*/ 51635 h 109152"/>
                        <a:gd name="connsiteX2" fmla="*/ 40023 w 68153"/>
                        <a:gd name="connsiteY2" fmla="*/ 8791 h 109152"/>
                        <a:gd name="connsiteX3" fmla="*/ 65704 w 68153"/>
                        <a:gd name="connsiteY3" fmla="*/ 13884 h 109152"/>
                        <a:gd name="connsiteX4" fmla="*/ 59905 w 68153"/>
                        <a:gd name="connsiteY4" fmla="*/ 56398 h 109152"/>
                        <a:gd name="connsiteX5" fmla="*/ 58495 w 68153"/>
                        <a:gd name="connsiteY5" fmla="*/ 107558 h 109152"/>
                        <a:gd name="connsiteX6" fmla="*/ 23355 w 68153"/>
                        <a:gd name="connsiteY6" fmla="*/ 93595 h 109152"/>
                        <a:gd name="connsiteX7" fmla="*/ 55 w 68153"/>
                        <a:gd name="connsiteY7" fmla="*/ 67065 h 109152"/>
                        <a:gd name="connsiteX0" fmla="*/ 55 w 62086"/>
                        <a:gd name="connsiteY0" fmla="*/ 58408 h 100495"/>
                        <a:gd name="connsiteX1" fmla="*/ 29742 w 62086"/>
                        <a:gd name="connsiteY1" fmla="*/ 42978 h 100495"/>
                        <a:gd name="connsiteX2" fmla="*/ 40023 w 62086"/>
                        <a:gd name="connsiteY2" fmla="*/ 134 h 100495"/>
                        <a:gd name="connsiteX3" fmla="*/ 56179 w 62086"/>
                        <a:gd name="connsiteY3" fmla="*/ 33805 h 100495"/>
                        <a:gd name="connsiteX4" fmla="*/ 59905 w 62086"/>
                        <a:gd name="connsiteY4" fmla="*/ 47741 h 100495"/>
                        <a:gd name="connsiteX5" fmla="*/ 58495 w 62086"/>
                        <a:gd name="connsiteY5" fmla="*/ 98901 h 100495"/>
                        <a:gd name="connsiteX6" fmla="*/ 23355 w 62086"/>
                        <a:gd name="connsiteY6" fmla="*/ 84938 h 100495"/>
                        <a:gd name="connsiteX7" fmla="*/ 55 w 62086"/>
                        <a:gd name="connsiteY7" fmla="*/ 58408 h 100495"/>
                        <a:gd name="connsiteX0" fmla="*/ 55 w 62086"/>
                        <a:gd name="connsiteY0" fmla="*/ 36212 h 78299"/>
                        <a:gd name="connsiteX1" fmla="*/ 29742 w 62086"/>
                        <a:gd name="connsiteY1" fmla="*/ 20782 h 78299"/>
                        <a:gd name="connsiteX2" fmla="*/ 35261 w 62086"/>
                        <a:gd name="connsiteY2" fmla="*/ 8897 h 78299"/>
                        <a:gd name="connsiteX3" fmla="*/ 56179 w 62086"/>
                        <a:gd name="connsiteY3" fmla="*/ 11609 h 78299"/>
                        <a:gd name="connsiteX4" fmla="*/ 59905 w 62086"/>
                        <a:gd name="connsiteY4" fmla="*/ 25545 h 78299"/>
                        <a:gd name="connsiteX5" fmla="*/ 58495 w 62086"/>
                        <a:gd name="connsiteY5" fmla="*/ 76705 h 78299"/>
                        <a:gd name="connsiteX6" fmla="*/ 23355 w 62086"/>
                        <a:gd name="connsiteY6" fmla="*/ 62742 h 78299"/>
                        <a:gd name="connsiteX7" fmla="*/ 55 w 62086"/>
                        <a:gd name="connsiteY7" fmla="*/ 36212 h 78299"/>
                        <a:gd name="connsiteX0" fmla="*/ 116 w 62147"/>
                        <a:gd name="connsiteY0" fmla="*/ 36212 h 79817"/>
                        <a:gd name="connsiteX1" fmla="*/ 29803 w 62147"/>
                        <a:gd name="connsiteY1" fmla="*/ 20782 h 79817"/>
                        <a:gd name="connsiteX2" fmla="*/ 35322 w 62147"/>
                        <a:gd name="connsiteY2" fmla="*/ 8897 h 79817"/>
                        <a:gd name="connsiteX3" fmla="*/ 56240 w 62147"/>
                        <a:gd name="connsiteY3" fmla="*/ 11609 h 79817"/>
                        <a:gd name="connsiteX4" fmla="*/ 59966 w 62147"/>
                        <a:gd name="connsiteY4" fmla="*/ 25545 h 79817"/>
                        <a:gd name="connsiteX5" fmla="*/ 58556 w 62147"/>
                        <a:gd name="connsiteY5" fmla="*/ 76705 h 79817"/>
                        <a:gd name="connsiteX6" fmla="*/ 21035 w 62147"/>
                        <a:gd name="connsiteY6" fmla="*/ 72270 h 79817"/>
                        <a:gd name="connsiteX7" fmla="*/ 116 w 62147"/>
                        <a:gd name="connsiteY7" fmla="*/ 36212 h 79817"/>
                        <a:gd name="connsiteX0" fmla="*/ 116 w 61117"/>
                        <a:gd name="connsiteY0" fmla="*/ 30436 h 74041"/>
                        <a:gd name="connsiteX1" fmla="*/ 29803 w 61117"/>
                        <a:gd name="connsiteY1" fmla="*/ 15006 h 74041"/>
                        <a:gd name="connsiteX2" fmla="*/ 35322 w 61117"/>
                        <a:gd name="connsiteY2" fmla="*/ 3121 h 74041"/>
                        <a:gd name="connsiteX3" fmla="*/ 51477 w 61117"/>
                        <a:gd name="connsiteY3" fmla="*/ 41552 h 74041"/>
                        <a:gd name="connsiteX4" fmla="*/ 59966 w 61117"/>
                        <a:gd name="connsiteY4" fmla="*/ 19769 h 74041"/>
                        <a:gd name="connsiteX5" fmla="*/ 58556 w 61117"/>
                        <a:gd name="connsiteY5" fmla="*/ 70929 h 74041"/>
                        <a:gd name="connsiteX6" fmla="*/ 21035 w 61117"/>
                        <a:gd name="connsiteY6" fmla="*/ 66494 h 74041"/>
                        <a:gd name="connsiteX7" fmla="*/ 116 w 61117"/>
                        <a:gd name="connsiteY7" fmla="*/ 30436 h 74041"/>
                        <a:gd name="connsiteX0" fmla="*/ 116 w 61117"/>
                        <a:gd name="connsiteY0" fmla="*/ 21383 h 64988"/>
                        <a:gd name="connsiteX1" fmla="*/ 29803 w 61117"/>
                        <a:gd name="connsiteY1" fmla="*/ 5953 h 64988"/>
                        <a:gd name="connsiteX2" fmla="*/ 32940 w 61117"/>
                        <a:gd name="connsiteY2" fmla="*/ 22643 h 64988"/>
                        <a:gd name="connsiteX3" fmla="*/ 51477 w 61117"/>
                        <a:gd name="connsiteY3" fmla="*/ 32499 h 64988"/>
                        <a:gd name="connsiteX4" fmla="*/ 59966 w 61117"/>
                        <a:gd name="connsiteY4" fmla="*/ 10716 h 64988"/>
                        <a:gd name="connsiteX5" fmla="*/ 58556 w 61117"/>
                        <a:gd name="connsiteY5" fmla="*/ 61876 h 64988"/>
                        <a:gd name="connsiteX6" fmla="*/ 21035 w 61117"/>
                        <a:gd name="connsiteY6" fmla="*/ 57441 h 64988"/>
                        <a:gd name="connsiteX7" fmla="*/ 116 w 61117"/>
                        <a:gd name="connsiteY7" fmla="*/ 21383 h 64988"/>
                        <a:gd name="connsiteX0" fmla="*/ 116 w 60202"/>
                        <a:gd name="connsiteY0" fmla="*/ 21383 h 64083"/>
                        <a:gd name="connsiteX1" fmla="*/ 29803 w 60202"/>
                        <a:gd name="connsiteY1" fmla="*/ 5953 h 64083"/>
                        <a:gd name="connsiteX2" fmla="*/ 32940 w 60202"/>
                        <a:gd name="connsiteY2" fmla="*/ 22643 h 64083"/>
                        <a:gd name="connsiteX3" fmla="*/ 51477 w 60202"/>
                        <a:gd name="connsiteY3" fmla="*/ 32499 h 64083"/>
                        <a:gd name="connsiteX4" fmla="*/ 58556 w 60202"/>
                        <a:gd name="connsiteY4" fmla="*/ 61876 h 64083"/>
                        <a:gd name="connsiteX5" fmla="*/ 21035 w 60202"/>
                        <a:gd name="connsiteY5" fmla="*/ 57441 h 64083"/>
                        <a:gd name="connsiteX6" fmla="*/ 116 w 60202"/>
                        <a:gd name="connsiteY6" fmla="*/ 21383 h 64083"/>
                        <a:gd name="connsiteX0" fmla="*/ 116 w 60202"/>
                        <a:gd name="connsiteY0" fmla="*/ 2664 h 45364"/>
                        <a:gd name="connsiteX1" fmla="*/ 32940 w 60202"/>
                        <a:gd name="connsiteY1" fmla="*/ 3924 h 45364"/>
                        <a:gd name="connsiteX2" fmla="*/ 51477 w 60202"/>
                        <a:gd name="connsiteY2" fmla="*/ 13780 h 45364"/>
                        <a:gd name="connsiteX3" fmla="*/ 58556 w 60202"/>
                        <a:gd name="connsiteY3" fmla="*/ 43157 h 45364"/>
                        <a:gd name="connsiteX4" fmla="*/ 21035 w 60202"/>
                        <a:gd name="connsiteY4" fmla="*/ 38722 h 45364"/>
                        <a:gd name="connsiteX5" fmla="*/ 116 w 60202"/>
                        <a:gd name="connsiteY5" fmla="*/ 2664 h 4536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60202" h="45364">
                          <a:moveTo>
                            <a:pt x="116" y="2664"/>
                          </a:moveTo>
                          <a:cubicBezTo>
                            <a:pt x="2100" y="-3136"/>
                            <a:pt x="24380" y="2071"/>
                            <a:pt x="32940" y="3924"/>
                          </a:cubicBezTo>
                          <a:cubicBezTo>
                            <a:pt x="41500" y="5777"/>
                            <a:pt x="47208" y="7241"/>
                            <a:pt x="51477" y="13780"/>
                          </a:cubicBezTo>
                          <a:cubicBezTo>
                            <a:pt x="55746" y="20319"/>
                            <a:pt x="63630" y="39000"/>
                            <a:pt x="58556" y="43157"/>
                          </a:cubicBezTo>
                          <a:cubicBezTo>
                            <a:pt x="53482" y="47314"/>
                            <a:pt x="30775" y="45471"/>
                            <a:pt x="21035" y="38722"/>
                          </a:cubicBezTo>
                          <a:cubicBezTo>
                            <a:pt x="11295" y="31973"/>
                            <a:pt x="-1345" y="11245"/>
                            <a:pt x="116" y="2664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76" name="Oval 85"/>
                    <p:cNvSpPr/>
                    <p:nvPr/>
                  </p:nvSpPr>
                  <p:spPr>
                    <a:xfrm rot="16200000">
                      <a:off x="6741653" y="2535622"/>
                      <a:ext cx="60344" cy="52381"/>
                    </a:xfrm>
                    <a:custGeom>
                      <a:avLst/>
                      <a:gdLst>
                        <a:gd name="connsiteX0" fmla="*/ 0 w 156136"/>
                        <a:gd name="connsiteY0" fmla="*/ 83677 h 167353"/>
                        <a:gd name="connsiteX1" fmla="*/ 78068 w 156136"/>
                        <a:gd name="connsiteY1" fmla="*/ 0 h 167353"/>
                        <a:gd name="connsiteX2" fmla="*/ 156136 w 156136"/>
                        <a:gd name="connsiteY2" fmla="*/ 83677 h 167353"/>
                        <a:gd name="connsiteX3" fmla="*/ 78068 w 156136"/>
                        <a:gd name="connsiteY3" fmla="*/ 167354 h 167353"/>
                        <a:gd name="connsiteX4" fmla="*/ 0 w 156136"/>
                        <a:gd name="connsiteY4" fmla="*/ 83677 h 167353"/>
                        <a:gd name="connsiteX0" fmla="*/ 0 w 108511"/>
                        <a:gd name="connsiteY0" fmla="*/ 112619 h 168616"/>
                        <a:gd name="connsiteX1" fmla="*/ 30443 w 108511"/>
                        <a:gd name="connsiteY1" fmla="*/ 367 h 168616"/>
                        <a:gd name="connsiteX2" fmla="*/ 108511 w 108511"/>
                        <a:gd name="connsiteY2" fmla="*/ 84044 h 168616"/>
                        <a:gd name="connsiteX3" fmla="*/ 30443 w 108511"/>
                        <a:gd name="connsiteY3" fmla="*/ 167721 h 168616"/>
                        <a:gd name="connsiteX4" fmla="*/ 0 w 108511"/>
                        <a:gd name="connsiteY4" fmla="*/ 112619 h 168616"/>
                        <a:gd name="connsiteX0" fmla="*/ 184 w 108695"/>
                        <a:gd name="connsiteY0" fmla="*/ 112383 h 167812"/>
                        <a:gd name="connsiteX1" fmla="*/ 42571 w 108695"/>
                        <a:gd name="connsiteY1" fmla="*/ 100128 h 167812"/>
                        <a:gd name="connsiteX2" fmla="*/ 30627 w 108695"/>
                        <a:gd name="connsiteY2" fmla="*/ 131 h 167812"/>
                        <a:gd name="connsiteX3" fmla="*/ 108695 w 108695"/>
                        <a:gd name="connsiteY3" fmla="*/ 83808 h 167812"/>
                        <a:gd name="connsiteX4" fmla="*/ 30627 w 108695"/>
                        <a:gd name="connsiteY4" fmla="*/ 167485 h 167812"/>
                        <a:gd name="connsiteX5" fmla="*/ 184 w 108695"/>
                        <a:gd name="connsiteY5" fmla="*/ 112383 h 167812"/>
                        <a:gd name="connsiteX0" fmla="*/ 156 w 89617"/>
                        <a:gd name="connsiteY0" fmla="*/ 112297 h 167603"/>
                        <a:gd name="connsiteX1" fmla="*/ 42543 w 89617"/>
                        <a:gd name="connsiteY1" fmla="*/ 100042 h 167603"/>
                        <a:gd name="connsiteX2" fmla="*/ 30599 w 89617"/>
                        <a:gd name="connsiteY2" fmla="*/ 45 h 167603"/>
                        <a:gd name="connsiteX3" fmla="*/ 89617 w 89617"/>
                        <a:gd name="connsiteY3" fmla="*/ 90072 h 167603"/>
                        <a:gd name="connsiteX4" fmla="*/ 30599 w 89617"/>
                        <a:gd name="connsiteY4" fmla="*/ 167399 h 167603"/>
                        <a:gd name="connsiteX5" fmla="*/ 156 w 89617"/>
                        <a:gd name="connsiteY5" fmla="*/ 112297 h 167603"/>
                        <a:gd name="connsiteX0" fmla="*/ 156 w 89617"/>
                        <a:gd name="connsiteY0" fmla="*/ 112585 h 167891"/>
                        <a:gd name="connsiteX1" fmla="*/ 42543 w 89617"/>
                        <a:gd name="connsiteY1" fmla="*/ 100330 h 167891"/>
                        <a:gd name="connsiteX2" fmla="*/ 30599 w 89617"/>
                        <a:gd name="connsiteY2" fmla="*/ 333 h 167891"/>
                        <a:gd name="connsiteX3" fmla="*/ 89617 w 89617"/>
                        <a:gd name="connsiteY3" fmla="*/ 90360 h 167891"/>
                        <a:gd name="connsiteX4" fmla="*/ 30599 w 89617"/>
                        <a:gd name="connsiteY4" fmla="*/ 167687 h 167891"/>
                        <a:gd name="connsiteX5" fmla="*/ 156 w 89617"/>
                        <a:gd name="connsiteY5" fmla="*/ 112585 h 167891"/>
                        <a:gd name="connsiteX0" fmla="*/ 149 w 93336"/>
                        <a:gd name="connsiteY0" fmla="*/ 112487 h 170249"/>
                        <a:gd name="connsiteX1" fmla="*/ 42536 w 93336"/>
                        <a:gd name="connsiteY1" fmla="*/ 100232 h 170249"/>
                        <a:gd name="connsiteX2" fmla="*/ 30592 w 93336"/>
                        <a:gd name="connsiteY2" fmla="*/ 235 h 170249"/>
                        <a:gd name="connsiteX3" fmla="*/ 89610 w 93336"/>
                        <a:gd name="connsiteY3" fmla="*/ 90262 h 170249"/>
                        <a:gd name="connsiteX4" fmla="*/ 83811 w 93336"/>
                        <a:gd name="connsiteY4" fmla="*/ 154208 h 170249"/>
                        <a:gd name="connsiteX5" fmla="*/ 30592 w 93336"/>
                        <a:gd name="connsiteY5" fmla="*/ 167589 h 170249"/>
                        <a:gd name="connsiteX6" fmla="*/ 149 w 93336"/>
                        <a:gd name="connsiteY6" fmla="*/ 112487 h 170249"/>
                        <a:gd name="connsiteX0" fmla="*/ 149 w 97748"/>
                        <a:gd name="connsiteY0" fmla="*/ 112487 h 170249"/>
                        <a:gd name="connsiteX1" fmla="*/ 42536 w 97748"/>
                        <a:gd name="connsiteY1" fmla="*/ 100232 h 170249"/>
                        <a:gd name="connsiteX2" fmla="*/ 30592 w 97748"/>
                        <a:gd name="connsiteY2" fmla="*/ 235 h 170249"/>
                        <a:gd name="connsiteX3" fmla="*/ 89610 w 97748"/>
                        <a:gd name="connsiteY3" fmla="*/ 90262 h 170249"/>
                        <a:gd name="connsiteX4" fmla="*/ 83811 w 97748"/>
                        <a:gd name="connsiteY4" fmla="*/ 154208 h 170249"/>
                        <a:gd name="connsiteX5" fmla="*/ 30592 w 97748"/>
                        <a:gd name="connsiteY5" fmla="*/ 167589 h 170249"/>
                        <a:gd name="connsiteX6" fmla="*/ 149 w 97748"/>
                        <a:gd name="connsiteY6" fmla="*/ 112487 h 170249"/>
                        <a:gd name="connsiteX0" fmla="*/ 149 w 97748"/>
                        <a:gd name="connsiteY0" fmla="*/ 59088 h 116850"/>
                        <a:gd name="connsiteX1" fmla="*/ 42536 w 97748"/>
                        <a:gd name="connsiteY1" fmla="*/ 46833 h 116850"/>
                        <a:gd name="connsiteX2" fmla="*/ 40117 w 97748"/>
                        <a:gd name="connsiteY2" fmla="*/ 814 h 116850"/>
                        <a:gd name="connsiteX3" fmla="*/ 89610 w 97748"/>
                        <a:gd name="connsiteY3" fmla="*/ 36863 h 116850"/>
                        <a:gd name="connsiteX4" fmla="*/ 83811 w 97748"/>
                        <a:gd name="connsiteY4" fmla="*/ 100809 h 116850"/>
                        <a:gd name="connsiteX5" fmla="*/ 30592 w 97748"/>
                        <a:gd name="connsiteY5" fmla="*/ 114190 h 116850"/>
                        <a:gd name="connsiteX6" fmla="*/ 149 w 97748"/>
                        <a:gd name="connsiteY6" fmla="*/ 59088 h 116850"/>
                        <a:gd name="connsiteX0" fmla="*/ 1 w 97600"/>
                        <a:gd name="connsiteY0" fmla="*/ 58340 h 116102"/>
                        <a:gd name="connsiteX1" fmla="*/ 29688 w 97600"/>
                        <a:gd name="connsiteY1" fmla="*/ 42910 h 116102"/>
                        <a:gd name="connsiteX2" fmla="*/ 39969 w 97600"/>
                        <a:gd name="connsiteY2" fmla="*/ 66 h 116102"/>
                        <a:gd name="connsiteX3" fmla="*/ 89462 w 97600"/>
                        <a:gd name="connsiteY3" fmla="*/ 36115 h 116102"/>
                        <a:gd name="connsiteX4" fmla="*/ 83663 w 97600"/>
                        <a:gd name="connsiteY4" fmla="*/ 100061 h 116102"/>
                        <a:gd name="connsiteX5" fmla="*/ 30444 w 97600"/>
                        <a:gd name="connsiteY5" fmla="*/ 113442 h 116102"/>
                        <a:gd name="connsiteX6" fmla="*/ 1 w 97600"/>
                        <a:gd name="connsiteY6" fmla="*/ 58340 h 116102"/>
                        <a:gd name="connsiteX0" fmla="*/ 1 w 91180"/>
                        <a:gd name="connsiteY0" fmla="*/ 58340 h 113511"/>
                        <a:gd name="connsiteX1" fmla="*/ 29688 w 91180"/>
                        <a:gd name="connsiteY1" fmla="*/ 42910 h 113511"/>
                        <a:gd name="connsiteX2" fmla="*/ 39969 w 91180"/>
                        <a:gd name="connsiteY2" fmla="*/ 66 h 113511"/>
                        <a:gd name="connsiteX3" fmla="*/ 89462 w 91180"/>
                        <a:gd name="connsiteY3" fmla="*/ 36115 h 113511"/>
                        <a:gd name="connsiteX4" fmla="*/ 59851 w 91180"/>
                        <a:gd name="connsiteY4" fmla="*/ 69104 h 113511"/>
                        <a:gd name="connsiteX5" fmla="*/ 30444 w 91180"/>
                        <a:gd name="connsiteY5" fmla="*/ 113442 h 113511"/>
                        <a:gd name="connsiteX6" fmla="*/ 1 w 91180"/>
                        <a:gd name="connsiteY6" fmla="*/ 58340 h 113511"/>
                        <a:gd name="connsiteX0" fmla="*/ 55 w 91234"/>
                        <a:gd name="connsiteY0" fmla="*/ 58340 h 85238"/>
                        <a:gd name="connsiteX1" fmla="*/ 29742 w 91234"/>
                        <a:gd name="connsiteY1" fmla="*/ 42910 h 85238"/>
                        <a:gd name="connsiteX2" fmla="*/ 40023 w 91234"/>
                        <a:gd name="connsiteY2" fmla="*/ 66 h 85238"/>
                        <a:gd name="connsiteX3" fmla="*/ 89516 w 91234"/>
                        <a:gd name="connsiteY3" fmla="*/ 36115 h 85238"/>
                        <a:gd name="connsiteX4" fmla="*/ 59905 w 91234"/>
                        <a:gd name="connsiteY4" fmla="*/ 69104 h 85238"/>
                        <a:gd name="connsiteX5" fmla="*/ 23355 w 91234"/>
                        <a:gd name="connsiteY5" fmla="*/ 84870 h 85238"/>
                        <a:gd name="connsiteX6" fmla="*/ 55 w 91234"/>
                        <a:gd name="connsiteY6" fmla="*/ 58340 h 85238"/>
                        <a:gd name="connsiteX0" fmla="*/ 55 w 77701"/>
                        <a:gd name="connsiteY0" fmla="*/ 61019 h 87917"/>
                        <a:gd name="connsiteX1" fmla="*/ 29742 w 77701"/>
                        <a:gd name="connsiteY1" fmla="*/ 45589 h 87917"/>
                        <a:gd name="connsiteX2" fmla="*/ 40023 w 77701"/>
                        <a:gd name="connsiteY2" fmla="*/ 2745 h 87917"/>
                        <a:gd name="connsiteX3" fmla="*/ 72848 w 77701"/>
                        <a:gd name="connsiteY3" fmla="*/ 19744 h 87917"/>
                        <a:gd name="connsiteX4" fmla="*/ 59905 w 77701"/>
                        <a:gd name="connsiteY4" fmla="*/ 71783 h 87917"/>
                        <a:gd name="connsiteX5" fmla="*/ 23355 w 77701"/>
                        <a:gd name="connsiteY5" fmla="*/ 87549 h 87917"/>
                        <a:gd name="connsiteX6" fmla="*/ 55 w 77701"/>
                        <a:gd name="connsiteY6" fmla="*/ 61019 h 87917"/>
                        <a:gd name="connsiteX0" fmla="*/ 55 w 77701"/>
                        <a:gd name="connsiteY0" fmla="*/ 61019 h 87653"/>
                        <a:gd name="connsiteX1" fmla="*/ 29742 w 77701"/>
                        <a:gd name="connsiteY1" fmla="*/ 45589 h 87653"/>
                        <a:gd name="connsiteX2" fmla="*/ 40023 w 77701"/>
                        <a:gd name="connsiteY2" fmla="*/ 2745 h 87653"/>
                        <a:gd name="connsiteX3" fmla="*/ 72848 w 77701"/>
                        <a:gd name="connsiteY3" fmla="*/ 19744 h 87653"/>
                        <a:gd name="connsiteX4" fmla="*/ 59905 w 77701"/>
                        <a:gd name="connsiteY4" fmla="*/ 50352 h 87653"/>
                        <a:gd name="connsiteX5" fmla="*/ 23355 w 77701"/>
                        <a:gd name="connsiteY5" fmla="*/ 87549 h 87653"/>
                        <a:gd name="connsiteX6" fmla="*/ 55 w 77701"/>
                        <a:gd name="connsiteY6" fmla="*/ 61019 h 87653"/>
                        <a:gd name="connsiteX0" fmla="*/ 55 w 73842"/>
                        <a:gd name="connsiteY0" fmla="*/ 67065 h 93699"/>
                        <a:gd name="connsiteX1" fmla="*/ 29742 w 73842"/>
                        <a:gd name="connsiteY1" fmla="*/ 51635 h 93699"/>
                        <a:gd name="connsiteX2" fmla="*/ 40023 w 73842"/>
                        <a:gd name="connsiteY2" fmla="*/ 8791 h 93699"/>
                        <a:gd name="connsiteX3" fmla="*/ 65704 w 73842"/>
                        <a:gd name="connsiteY3" fmla="*/ 13884 h 93699"/>
                        <a:gd name="connsiteX4" fmla="*/ 59905 w 73842"/>
                        <a:gd name="connsiteY4" fmla="*/ 56398 h 93699"/>
                        <a:gd name="connsiteX5" fmla="*/ 23355 w 73842"/>
                        <a:gd name="connsiteY5" fmla="*/ 93595 h 93699"/>
                        <a:gd name="connsiteX6" fmla="*/ 55 w 73842"/>
                        <a:gd name="connsiteY6" fmla="*/ 67065 h 93699"/>
                        <a:gd name="connsiteX0" fmla="*/ 55 w 68153"/>
                        <a:gd name="connsiteY0" fmla="*/ 67065 h 109152"/>
                        <a:gd name="connsiteX1" fmla="*/ 29742 w 68153"/>
                        <a:gd name="connsiteY1" fmla="*/ 51635 h 109152"/>
                        <a:gd name="connsiteX2" fmla="*/ 40023 w 68153"/>
                        <a:gd name="connsiteY2" fmla="*/ 8791 h 109152"/>
                        <a:gd name="connsiteX3" fmla="*/ 65704 w 68153"/>
                        <a:gd name="connsiteY3" fmla="*/ 13884 h 109152"/>
                        <a:gd name="connsiteX4" fmla="*/ 59905 w 68153"/>
                        <a:gd name="connsiteY4" fmla="*/ 56398 h 109152"/>
                        <a:gd name="connsiteX5" fmla="*/ 58495 w 68153"/>
                        <a:gd name="connsiteY5" fmla="*/ 107558 h 109152"/>
                        <a:gd name="connsiteX6" fmla="*/ 23355 w 68153"/>
                        <a:gd name="connsiteY6" fmla="*/ 93595 h 109152"/>
                        <a:gd name="connsiteX7" fmla="*/ 55 w 68153"/>
                        <a:gd name="connsiteY7" fmla="*/ 67065 h 109152"/>
                        <a:gd name="connsiteX0" fmla="*/ 55 w 62086"/>
                        <a:gd name="connsiteY0" fmla="*/ 58408 h 100495"/>
                        <a:gd name="connsiteX1" fmla="*/ 29742 w 62086"/>
                        <a:gd name="connsiteY1" fmla="*/ 42978 h 100495"/>
                        <a:gd name="connsiteX2" fmla="*/ 40023 w 62086"/>
                        <a:gd name="connsiteY2" fmla="*/ 134 h 100495"/>
                        <a:gd name="connsiteX3" fmla="*/ 56179 w 62086"/>
                        <a:gd name="connsiteY3" fmla="*/ 33805 h 100495"/>
                        <a:gd name="connsiteX4" fmla="*/ 59905 w 62086"/>
                        <a:gd name="connsiteY4" fmla="*/ 47741 h 100495"/>
                        <a:gd name="connsiteX5" fmla="*/ 58495 w 62086"/>
                        <a:gd name="connsiteY5" fmla="*/ 98901 h 100495"/>
                        <a:gd name="connsiteX6" fmla="*/ 23355 w 62086"/>
                        <a:gd name="connsiteY6" fmla="*/ 84938 h 100495"/>
                        <a:gd name="connsiteX7" fmla="*/ 55 w 62086"/>
                        <a:gd name="connsiteY7" fmla="*/ 58408 h 100495"/>
                        <a:gd name="connsiteX0" fmla="*/ 55 w 62086"/>
                        <a:gd name="connsiteY0" fmla="*/ 36212 h 78299"/>
                        <a:gd name="connsiteX1" fmla="*/ 29742 w 62086"/>
                        <a:gd name="connsiteY1" fmla="*/ 20782 h 78299"/>
                        <a:gd name="connsiteX2" fmla="*/ 35261 w 62086"/>
                        <a:gd name="connsiteY2" fmla="*/ 8897 h 78299"/>
                        <a:gd name="connsiteX3" fmla="*/ 56179 w 62086"/>
                        <a:gd name="connsiteY3" fmla="*/ 11609 h 78299"/>
                        <a:gd name="connsiteX4" fmla="*/ 59905 w 62086"/>
                        <a:gd name="connsiteY4" fmla="*/ 25545 h 78299"/>
                        <a:gd name="connsiteX5" fmla="*/ 58495 w 62086"/>
                        <a:gd name="connsiteY5" fmla="*/ 76705 h 78299"/>
                        <a:gd name="connsiteX6" fmla="*/ 23355 w 62086"/>
                        <a:gd name="connsiteY6" fmla="*/ 62742 h 78299"/>
                        <a:gd name="connsiteX7" fmla="*/ 55 w 62086"/>
                        <a:gd name="connsiteY7" fmla="*/ 36212 h 78299"/>
                        <a:gd name="connsiteX0" fmla="*/ 116 w 62147"/>
                        <a:gd name="connsiteY0" fmla="*/ 36212 h 79817"/>
                        <a:gd name="connsiteX1" fmla="*/ 29803 w 62147"/>
                        <a:gd name="connsiteY1" fmla="*/ 20782 h 79817"/>
                        <a:gd name="connsiteX2" fmla="*/ 35322 w 62147"/>
                        <a:gd name="connsiteY2" fmla="*/ 8897 h 79817"/>
                        <a:gd name="connsiteX3" fmla="*/ 56240 w 62147"/>
                        <a:gd name="connsiteY3" fmla="*/ 11609 h 79817"/>
                        <a:gd name="connsiteX4" fmla="*/ 59966 w 62147"/>
                        <a:gd name="connsiteY4" fmla="*/ 25545 h 79817"/>
                        <a:gd name="connsiteX5" fmla="*/ 58556 w 62147"/>
                        <a:gd name="connsiteY5" fmla="*/ 76705 h 79817"/>
                        <a:gd name="connsiteX6" fmla="*/ 21035 w 62147"/>
                        <a:gd name="connsiteY6" fmla="*/ 72270 h 79817"/>
                        <a:gd name="connsiteX7" fmla="*/ 116 w 62147"/>
                        <a:gd name="connsiteY7" fmla="*/ 36212 h 79817"/>
                        <a:gd name="connsiteX0" fmla="*/ 116 w 61117"/>
                        <a:gd name="connsiteY0" fmla="*/ 30436 h 74041"/>
                        <a:gd name="connsiteX1" fmla="*/ 29803 w 61117"/>
                        <a:gd name="connsiteY1" fmla="*/ 15006 h 74041"/>
                        <a:gd name="connsiteX2" fmla="*/ 35322 w 61117"/>
                        <a:gd name="connsiteY2" fmla="*/ 3121 h 74041"/>
                        <a:gd name="connsiteX3" fmla="*/ 51477 w 61117"/>
                        <a:gd name="connsiteY3" fmla="*/ 41552 h 74041"/>
                        <a:gd name="connsiteX4" fmla="*/ 59966 w 61117"/>
                        <a:gd name="connsiteY4" fmla="*/ 19769 h 74041"/>
                        <a:gd name="connsiteX5" fmla="*/ 58556 w 61117"/>
                        <a:gd name="connsiteY5" fmla="*/ 70929 h 74041"/>
                        <a:gd name="connsiteX6" fmla="*/ 21035 w 61117"/>
                        <a:gd name="connsiteY6" fmla="*/ 66494 h 74041"/>
                        <a:gd name="connsiteX7" fmla="*/ 116 w 61117"/>
                        <a:gd name="connsiteY7" fmla="*/ 30436 h 74041"/>
                        <a:gd name="connsiteX0" fmla="*/ 116 w 61117"/>
                        <a:gd name="connsiteY0" fmla="*/ 21383 h 64988"/>
                        <a:gd name="connsiteX1" fmla="*/ 29803 w 61117"/>
                        <a:gd name="connsiteY1" fmla="*/ 5953 h 64988"/>
                        <a:gd name="connsiteX2" fmla="*/ 32940 w 61117"/>
                        <a:gd name="connsiteY2" fmla="*/ 22643 h 64988"/>
                        <a:gd name="connsiteX3" fmla="*/ 51477 w 61117"/>
                        <a:gd name="connsiteY3" fmla="*/ 32499 h 64988"/>
                        <a:gd name="connsiteX4" fmla="*/ 59966 w 61117"/>
                        <a:gd name="connsiteY4" fmla="*/ 10716 h 64988"/>
                        <a:gd name="connsiteX5" fmla="*/ 58556 w 61117"/>
                        <a:gd name="connsiteY5" fmla="*/ 61876 h 64988"/>
                        <a:gd name="connsiteX6" fmla="*/ 21035 w 61117"/>
                        <a:gd name="connsiteY6" fmla="*/ 57441 h 64988"/>
                        <a:gd name="connsiteX7" fmla="*/ 116 w 61117"/>
                        <a:gd name="connsiteY7" fmla="*/ 21383 h 64988"/>
                        <a:gd name="connsiteX0" fmla="*/ 116 w 60202"/>
                        <a:gd name="connsiteY0" fmla="*/ 21383 h 64083"/>
                        <a:gd name="connsiteX1" fmla="*/ 29803 w 60202"/>
                        <a:gd name="connsiteY1" fmla="*/ 5953 h 64083"/>
                        <a:gd name="connsiteX2" fmla="*/ 32940 w 60202"/>
                        <a:gd name="connsiteY2" fmla="*/ 22643 h 64083"/>
                        <a:gd name="connsiteX3" fmla="*/ 51477 w 60202"/>
                        <a:gd name="connsiteY3" fmla="*/ 32499 h 64083"/>
                        <a:gd name="connsiteX4" fmla="*/ 58556 w 60202"/>
                        <a:gd name="connsiteY4" fmla="*/ 61876 h 64083"/>
                        <a:gd name="connsiteX5" fmla="*/ 21035 w 60202"/>
                        <a:gd name="connsiteY5" fmla="*/ 57441 h 64083"/>
                        <a:gd name="connsiteX6" fmla="*/ 116 w 60202"/>
                        <a:gd name="connsiteY6" fmla="*/ 21383 h 64083"/>
                        <a:gd name="connsiteX0" fmla="*/ 116 w 60202"/>
                        <a:gd name="connsiteY0" fmla="*/ 2664 h 45364"/>
                        <a:gd name="connsiteX1" fmla="*/ 32940 w 60202"/>
                        <a:gd name="connsiteY1" fmla="*/ 3924 h 45364"/>
                        <a:gd name="connsiteX2" fmla="*/ 51477 w 60202"/>
                        <a:gd name="connsiteY2" fmla="*/ 13780 h 45364"/>
                        <a:gd name="connsiteX3" fmla="*/ 58556 w 60202"/>
                        <a:gd name="connsiteY3" fmla="*/ 43157 h 45364"/>
                        <a:gd name="connsiteX4" fmla="*/ 21035 w 60202"/>
                        <a:gd name="connsiteY4" fmla="*/ 38722 h 45364"/>
                        <a:gd name="connsiteX5" fmla="*/ 116 w 60202"/>
                        <a:gd name="connsiteY5" fmla="*/ 2664 h 45364"/>
                        <a:gd name="connsiteX0" fmla="*/ 116 w 73727"/>
                        <a:gd name="connsiteY0" fmla="*/ 2851 h 45551"/>
                        <a:gd name="connsiteX1" fmla="*/ 32940 w 73727"/>
                        <a:gd name="connsiteY1" fmla="*/ 4111 h 45551"/>
                        <a:gd name="connsiteX2" fmla="*/ 72908 w 73727"/>
                        <a:gd name="connsiteY2" fmla="*/ 18729 h 45551"/>
                        <a:gd name="connsiteX3" fmla="*/ 58556 w 73727"/>
                        <a:gd name="connsiteY3" fmla="*/ 43344 h 45551"/>
                        <a:gd name="connsiteX4" fmla="*/ 21035 w 73727"/>
                        <a:gd name="connsiteY4" fmla="*/ 38909 h 45551"/>
                        <a:gd name="connsiteX5" fmla="*/ 116 w 73727"/>
                        <a:gd name="connsiteY5" fmla="*/ 2851 h 45551"/>
                        <a:gd name="connsiteX0" fmla="*/ 24 w 73635"/>
                        <a:gd name="connsiteY0" fmla="*/ 4082 h 58544"/>
                        <a:gd name="connsiteX1" fmla="*/ 32848 w 73635"/>
                        <a:gd name="connsiteY1" fmla="*/ 5342 h 58544"/>
                        <a:gd name="connsiteX2" fmla="*/ 72816 w 73635"/>
                        <a:gd name="connsiteY2" fmla="*/ 19960 h 58544"/>
                        <a:gd name="connsiteX3" fmla="*/ 58464 w 73635"/>
                        <a:gd name="connsiteY3" fmla="*/ 44575 h 58544"/>
                        <a:gd name="connsiteX4" fmla="*/ 28087 w 73635"/>
                        <a:gd name="connsiteY4" fmla="*/ 56809 h 58544"/>
                        <a:gd name="connsiteX5" fmla="*/ 24 w 73635"/>
                        <a:gd name="connsiteY5" fmla="*/ 4082 h 58544"/>
                        <a:gd name="connsiteX0" fmla="*/ 60 w 59384"/>
                        <a:gd name="connsiteY0" fmla="*/ 20242 h 52091"/>
                        <a:gd name="connsiteX1" fmla="*/ 18597 w 59384"/>
                        <a:gd name="connsiteY1" fmla="*/ 67 h 52091"/>
                        <a:gd name="connsiteX2" fmla="*/ 58565 w 59384"/>
                        <a:gd name="connsiteY2" fmla="*/ 14685 h 52091"/>
                        <a:gd name="connsiteX3" fmla="*/ 44213 w 59384"/>
                        <a:gd name="connsiteY3" fmla="*/ 39300 h 52091"/>
                        <a:gd name="connsiteX4" fmla="*/ 13836 w 59384"/>
                        <a:gd name="connsiteY4" fmla="*/ 51534 h 52091"/>
                        <a:gd name="connsiteX5" fmla="*/ 60 w 59384"/>
                        <a:gd name="connsiteY5" fmla="*/ 20242 h 5209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59384" h="52091">
                          <a:moveTo>
                            <a:pt x="60" y="20242"/>
                          </a:moveTo>
                          <a:cubicBezTo>
                            <a:pt x="853" y="11664"/>
                            <a:pt x="8846" y="993"/>
                            <a:pt x="18597" y="67"/>
                          </a:cubicBezTo>
                          <a:cubicBezTo>
                            <a:pt x="28348" y="-859"/>
                            <a:pt x="54296" y="8146"/>
                            <a:pt x="58565" y="14685"/>
                          </a:cubicBezTo>
                          <a:cubicBezTo>
                            <a:pt x="62834" y="21224"/>
                            <a:pt x="49287" y="35143"/>
                            <a:pt x="44213" y="39300"/>
                          </a:cubicBezTo>
                          <a:cubicBezTo>
                            <a:pt x="39139" y="43457"/>
                            <a:pt x="21195" y="54710"/>
                            <a:pt x="13836" y="51534"/>
                          </a:cubicBezTo>
                          <a:cubicBezTo>
                            <a:pt x="6477" y="48358"/>
                            <a:pt x="-733" y="28820"/>
                            <a:pt x="60" y="2024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grpSp>
                <p:nvGrpSpPr>
                  <p:cNvPr id="1063" name="Group 155"/>
                  <p:cNvGrpSpPr/>
                  <p:nvPr/>
                </p:nvGrpSpPr>
                <p:grpSpPr>
                  <a:xfrm>
                    <a:off x="4986338" y="2725738"/>
                    <a:ext cx="1206499" cy="1941512"/>
                    <a:chOff x="4986338" y="2725738"/>
                    <a:chExt cx="1206499" cy="1941512"/>
                  </a:xfrm>
                  <a:grpFill/>
                </p:grpSpPr>
                <p:sp>
                  <p:nvSpPr>
                    <p:cNvPr id="1064" name="Freeform 156"/>
                    <p:cNvSpPr/>
                    <p:nvPr/>
                  </p:nvSpPr>
                  <p:spPr bwMode="auto">
                    <a:xfrm rot="8302761">
                      <a:off x="5835649" y="4452938"/>
                      <a:ext cx="357188" cy="214312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508809 w 628017"/>
                        <a:gd name="connsiteY0" fmla="*/ 2356 h 376001"/>
                        <a:gd name="connsiteX1" fmla="*/ 6361 w 628017"/>
                        <a:gd name="connsiteY1" fmla="*/ 130721 h 376001"/>
                        <a:gd name="connsiteX2" fmla="*/ 228411 w 628017"/>
                        <a:gd name="connsiteY2" fmla="*/ 374859 h 376001"/>
                        <a:gd name="connsiteX3" fmla="*/ 609906 w 628017"/>
                        <a:gd name="connsiteY3" fmla="*/ 235794 h 376001"/>
                        <a:gd name="connsiteX4" fmla="*/ 508809 w 628017"/>
                        <a:gd name="connsiteY4" fmla="*/ 2356 h 376001"/>
                        <a:gd name="connsiteX0" fmla="*/ 504040 w 616834"/>
                        <a:gd name="connsiteY0" fmla="*/ 2903 h 376548"/>
                        <a:gd name="connsiteX1" fmla="*/ 351553 w 616834"/>
                        <a:gd name="connsiteY1" fmla="*/ 107249 h 376548"/>
                        <a:gd name="connsiteX2" fmla="*/ 1592 w 616834"/>
                        <a:gd name="connsiteY2" fmla="*/ 131268 h 376548"/>
                        <a:gd name="connsiteX3" fmla="*/ 223642 w 616834"/>
                        <a:gd name="connsiteY3" fmla="*/ 375406 h 376548"/>
                        <a:gd name="connsiteX4" fmla="*/ 605137 w 616834"/>
                        <a:gd name="connsiteY4" fmla="*/ 236341 h 376548"/>
                        <a:gd name="connsiteX5" fmla="*/ 504040 w 616834"/>
                        <a:gd name="connsiteY5" fmla="*/ 2903 h 376548"/>
                        <a:gd name="connsiteX0" fmla="*/ 495452 w 616175"/>
                        <a:gd name="connsiteY0" fmla="*/ 51280 h 274874"/>
                        <a:gd name="connsiteX1" fmla="*/ 351553 w 616175"/>
                        <a:gd name="connsiteY1" fmla="*/ 5575 h 274874"/>
                        <a:gd name="connsiteX2" fmla="*/ 1592 w 616175"/>
                        <a:gd name="connsiteY2" fmla="*/ 29594 h 274874"/>
                        <a:gd name="connsiteX3" fmla="*/ 223642 w 616175"/>
                        <a:gd name="connsiteY3" fmla="*/ 273732 h 274874"/>
                        <a:gd name="connsiteX4" fmla="*/ 605137 w 616175"/>
                        <a:gd name="connsiteY4" fmla="*/ 134667 h 274874"/>
                        <a:gd name="connsiteX5" fmla="*/ 495452 w 616175"/>
                        <a:gd name="connsiteY5" fmla="*/ 51280 h 274874"/>
                        <a:gd name="connsiteX0" fmla="*/ 495452 w 532377"/>
                        <a:gd name="connsiteY0" fmla="*/ 51265 h 274847"/>
                        <a:gd name="connsiteX1" fmla="*/ 351553 w 532377"/>
                        <a:gd name="connsiteY1" fmla="*/ 5560 h 274847"/>
                        <a:gd name="connsiteX2" fmla="*/ 1592 w 532377"/>
                        <a:gd name="connsiteY2" fmla="*/ 29579 h 274847"/>
                        <a:gd name="connsiteX3" fmla="*/ 223642 w 532377"/>
                        <a:gd name="connsiteY3" fmla="*/ 273717 h 274847"/>
                        <a:gd name="connsiteX4" fmla="*/ 509239 w 532377"/>
                        <a:gd name="connsiteY4" fmla="*/ 133533 h 274847"/>
                        <a:gd name="connsiteX5" fmla="*/ 495452 w 532377"/>
                        <a:gd name="connsiteY5" fmla="*/ 51265 h 274847"/>
                        <a:gd name="connsiteX0" fmla="*/ 497505 w 534430"/>
                        <a:gd name="connsiteY0" fmla="*/ 51265 h 274847"/>
                        <a:gd name="connsiteX1" fmla="*/ 353606 w 534430"/>
                        <a:gd name="connsiteY1" fmla="*/ 5560 h 274847"/>
                        <a:gd name="connsiteX2" fmla="*/ 3645 w 534430"/>
                        <a:gd name="connsiteY2" fmla="*/ 29579 h 274847"/>
                        <a:gd name="connsiteX3" fmla="*/ 173951 w 534430"/>
                        <a:gd name="connsiteY3" fmla="*/ 138081 h 274847"/>
                        <a:gd name="connsiteX4" fmla="*/ 225695 w 534430"/>
                        <a:gd name="connsiteY4" fmla="*/ 273717 h 274847"/>
                        <a:gd name="connsiteX5" fmla="*/ 511292 w 534430"/>
                        <a:gd name="connsiteY5" fmla="*/ 133533 h 274847"/>
                        <a:gd name="connsiteX6" fmla="*/ 497505 w 534430"/>
                        <a:gd name="connsiteY6" fmla="*/ 51265 h 274847"/>
                        <a:gd name="connsiteX0" fmla="*/ 493884 w 530809"/>
                        <a:gd name="connsiteY0" fmla="*/ 51265 h 274847"/>
                        <a:gd name="connsiteX1" fmla="*/ 349985 w 530809"/>
                        <a:gd name="connsiteY1" fmla="*/ 5560 h 274847"/>
                        <a:gd name="connsiteX2" fmla="*/ 24 w 530809"/>
                        <a:gd name="connsiteY2" fmla="*/ 29579 h 274847"/>
                        <a:gd name="connsiteX3" fmla="*/ 170330 w 530809"/>
                        <a:gd name="connsiteY3" fmla="*/ 138081 h 274847"/>
                        <a:gd name="connsiteX4" fmla="*/ 222074 w 530809"/>
                        <a:gd name="connsiteY4" fmla="*/ 273717 h 274847"/>
                        <a:gd name="connsiteX5" fmla="*/ 507671 w 530809"/>
                        <a:gd name="connsiteY5" fmla="*/ 133533 h 274847"/>
                        <a:gd name="connsiteX6" fmla="*/ 493884 w 530809"/>
                        <a:gd name="connsiteY6" fmla="*/ 51265 h 274847"/>
                        <a:gd name="connsiteX0" fmla="*/ 493884 w 530809"/>
                        <a:gd name="connsiteY0" fmla="*/ 51265 h 186504"/>
                        <a:gd name="connsiteX1" fmla="*/ 349985 w 530809"/>
                        <a:gd name="connsiteY1" fmla="*/ 5560 h 186504"/>
                        <a:gd name="connsiteX2" fmla="*/ 24 w 530809"/>
                        <a:gd name="connsiteY2" fmla="*/ 29579 h 186504"/>
                        <a:gd name="connsiteX3" fmla="*/ 170330 w 530809"/>
                        <a:gd name="connsiteY3" fmla="*/ 138081 h 186504"/>
                        <a:gd name="connsiteX4" fmla="*/ 390510 w 530809"/>
                        <a:gd name="connsiteY4" fmla="*/ 180265 h 186504"/>
                        <a:gd name="connsiteX5" fmla="*/ 507671 w 530809"/>
                        <a:gd name="connsiteY5" fmla="*/ 133533 h 186504"/>
                        <a:gd name="connsiteX6" fmla="*/ 493884 w 530809"/>
                        <a:gd name="connsiteY6" fmla="*/ 51265 h 186504"/>
                        <a:gd name="connsiteX0" fmla="*/ 495721 w 532646"/>
                        <a:gd name="connsiteY0" fmla="*/ 51265 h 186504"/>
                        <a:gd name="connsiteX1" fmla="*/ 351822 w 532646"/>
                        <a:gd name="connsiteY1" fmla="*/ 5560 h 186504"/>
                        <a:gd name="connsiteX2" fmla="*/ 1861 w 532646"/>
                        <a:gd name="connsiteY2" fmla="*/ 29579 h 186504"/>
                        <a:gd name="connsiteX3" fmla="*/ 213626 w 532646"/>
                        <a:gd name="connsiteY3" fmla="*/ 107499 h 186504"/>
                        <a:gd name="connsiteX4" fmla="*/ 392347 w 532646"/>
                        <a:gd name="connsiteY4" fmla="*/ 180265 h 186504"/>
                        <a:gd name="connsiteX5" fmla="*/ 509508 w 532646"/>
                        <a:gd name="connsiteY5" fmla="*/ 133533 h 186504"/>
                        <a:gd name="connsiteX6" fmla="*/ 495721 w 532646"/>
                        <a:gd name="connsiteY6" fmla="*/ 51265 h 186504"/>
                        <a:gd name="connsiteX0" fmla="*/ 496902 w 533827"/>
                        <a:gd name="connsiteY0" fmla="*/ 70457 h 205696"/>
                        <a:gd name="connsiteX1" fmla="*/ 353003 w 533827"/>
                        <a:gd name="connsiteY1" fmla="*/ 24752 h 205696"/>
                        <a:gd name="connsiteX2" fmla="*/ 107632 w 533827"/>
                        <a:gd name="connsiteY2" fmla="*/ 439 h 205696"/>
                        <a:gd name="connsiteX3" fmla="*/ 3042 w 533827"/>
                        <a:gd name="connsiteY3" fmla="*/ 48771 h 205696"/>
                        <a:gd name="connsiteX4" fmla="*/ 214807 w 533827"/>
                        <a:gd name="connsiteY4" fmla="*/ 126691 h 205696"/>
                        <a:gd name="connsiteX5" fmla="*/ 393528 w 533827"/>
                        <a:gd name="connsiteY5" fmla="*/ 199457 h 205696"/>
                        <a:gd name="connsiteX6" fmla="*/ 510689 w 533827"/>
                        <a:gd name="connsiteY6" fmla="*/ 152725 h 205696"/>
                        <a:gd name="connsiteX7" fmla="*/ 496902 w 533827"/>
                        <a:gd name="connsiteY7" fmla="*/ 70457 h 205696"/>
                        <a:gd name="connsiteX0" fmla="*/ 472353 w 509278"/>
                        <a:gd name="connsiteY0" fmla="*/ 70457 h 205696"/>
                        <a:gd name="connsiteX1" fmla="*/ 328454 w 509278"/>
                        <a:gd name="connsiteY1" fmla="*/ 24752 h 205696"/>
                        <a:gd name="connsiteX2" fmla="*/ 83083 w 509278"/>
                        <a:gd name="connsiteY2" fmla="*/ 439 h 205696"/>
                        <a:gd name="connsiteX3" fmla="*/ 4427 w 509278"/>
                        <a:gd name="connsiteY3" fmla="*/ 91234 h 205696"/>
                        <a:gd name="connsiteX4" fmla="*/ 190258 w 509278"/>
                        <a:gd name="connsiteY4" fmla="*/ 126691 h 205696"/>
                        <a:gd name="connsiteX5" fmla="*/ 368979 w 509278"/>
                        <a:gd name="connsiteY5" fmla="*/ 199457 h 205696"/>
                        <a:gd name="connsiteX6" fmla="*/ 486140 w 509278"/>
                        <a:gd name="connsiteY6" fmla="*/ 152725 h 205696"/>
                        <a:gd name="connsiteX7" fmla="*/ 472353 w 509278"/>
                        <a:gd name="connsiteY7" fmla="*/ 70457 h 205696"/>
                        <a:gd name="connsiteX0" fmla="*/ 471911 w 508836"/>
                        <a:gd name="connsiteY0" fmla="*/ 51265 h 186504"/>
                        <a:gd name="connsiteX1" fmla="*/ 328012 w 508836"/>
                        <a:gd name="connsiteY1" fmla="*/ 5560 h 186504"/>
                        <a:gd name="connsiteX2" fmla="*/ 86111 w 508836"/>
                        <a:gd name="connsiteY2" fmla="*/ 19749 h 186504"/>
                        <a:gd name="connsiteX3" fmla="*/ 3985 w 508836"/>
                        <a:gd name="connsiteY3" fmla="*/ 72042 h 186504"/>
                        <a:gd name="connsiteX4" fmla="*/ 189816 w 508836"/>
                        <a:gd name="connsiteY4" fmla="*/ 107499 h 186504"/>
                        <a:gd name="connsiteX5" fmla="*/ 368537 w 508836"/>
                        <a:gd name="connsiteY5" fmla="*/ 180265 h 186504"/>
                        <a:gd name="connsiteX6" fmla="*/ 485698 w 508836"/>
                        <a:gd name="connsiteY6" fmla="*/ 133533 h 186504"/>
                        <a:gd name="connsiteX7" fmla="*/ 471911 w 508836"/>
                        <a:gd name="connsiteY7" fmla="*/ 51265 h 186504"/>
                        <a:gd name="connsiteX0" fmla="*/ 437213 w 474138"/>
                        <a:gd name="connsiteY0" fmla="*/ 51265 h 186504"/>
                        <a:gd name="connsiteX1" fmla="*/ 293314 w 474138"/>
                        <a:gd name="connsiteY1" fmla="*/ 5560 h 186504"/>
                        <a:gd name="connsiteX2" fmla="*/ 51413 w 474138"/>
                        <a:gd name="connsiteY2" fmla="*/ 19749 h 186504"/>
                        <a:gd name="connsiteX3" fmla="*/ 9907 w 474138"/>
                        <a:gd name="connsiteY3" fmla="*/ 113936 h 186504"/>
                        <a:gd name="connsiteX4" fmla="*/ 155118 w 474138"/>
                        <a:gd name="connsiteY4" fmla="*/ 107499 h 186504"/>
                        <a:gd name="connsiteX5" fmla="*/ 333839 w 474138"/>
                        <a:gd name="connsiteY5" fmla="*/ 180265 h 186504"/>
                        <a:gd name="connsiteX6" fmla="*/ 451000 w 474138"/>
                        <a:gd name="connsiteY6" fmla="*/ 133533 h 186504"/>
                        <a:gd name="connsiteX7" fmla="*/ 437213 w 474138"/>
                        <a:gd name="connsiteY7" fmla="*/ 51265 h 1865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474138" h="186504">
                          <a:moveTo>
                            <a:pt x="437213" y="51265"/>
                          </a:moveTo>
                          <a:cubicBezTo>
                            <a:pt x="410932" y="29936"/>
                            <a:pt x="377055" y="-15834"/>
                            <a:pt x="293314" y="5560"/>
                          </a:cubicBezTo>
                          <a:lnTo>
                            <a:pt x="51413" y="19749"/>
                          </a:lnTo>
                          <a:cubicBezTo>
                            <a:pt x="-6914" y="23752"/>
                            <a:pt x="-7377" y="99311"/>
                            <a:pt x="9907" y="113936"/>
                          </a:cubicBezTo>
                          <a:cubicBezTo>
                            <a:pt x="27191" y="128561"/>
                            <a:pt x="118110" y="66809"/>
                            <a:pt x="155118" y="107499"/>
                          </a:cubicBezTo>
                          <a:cubicBezTo>
                            <a:pt x="192126" y="148189"/>
                            <a:pt x="263073" y="183196"/>
                            <a:pt x="333839" y="180265"/>
                          </a:cubicBezTo>
                          <a:cubicBezTo>
                            <a:pt x="415566" y="192873"/>
                            <a:pt x="389027" y="190537"/>
                            <a:pt x="451000" y="133533"/>
                          </a:cubicBezTo>
                          <a:cubicBezTo>
                            <a:pt x="497733" y="71449"/>
                            <a:pt x="463494" y="72594"/>
                            <a:pt x="437213" y="51265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65" name="Freeform 157"/>
                    <p:cNvSpPr/>
                    <p:nvPr/>
                  </p:nvSpPr>
                  <p:spPr bwMode="auto">
                    <a:xfrm rot="4450231">
                      <a:off x="5034757" y="2677319"/>
                      <a:ext cx="223837" cy="320675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229268 w 499490"/>
                        <a:gd name="connsiteY0" fmla="*/ 680 h 443283"/>
                        <a:gd name="connsiteX1" fmla="*/ 2905 w 499490"/>
                        <a:gd name="connsiteY1" fmla="*/ 227430 h 443283"/>
                        <a:gd name="connsiteX2" fmla="*/ 111769 w 499490"/>
                        <a:gd name="connsiteY2" fmla="*/ 442141 h 443283"/>
                        <a:gd name="connsiteX3" fmla="*/ 493264 w 499490"/>
                        <a:gd name="connsiteY3" fmla="*/ 303076 h 443283"/>
                        <a:gd name="connsiteX4" fmla="*/ 229268 w 499490"/>
                        <a:gd name="connsiteY4" fmla="*/ 680 h 443283"/>
                        <a:gd name="connsiteX0" fmla="*/ 229268 w 512732"/>
                        <a:gd name="connsiteY0" fmla="*/ 46 h 442649"/>
                        <a:gd name="connsiteX1" fmla="*/ 2905 w 512732"/>
                        <a:gd name="connsiteY1" fmla="*/ 226796 h 442649"/>
                        <a:gd name="connsiteX2" fmla="*/ 111769 w 512732"/>
                        <a:gd name="connsiteY2" fmla="*/ 441507 h 442649"/>
                        <a:gd name="connsiteX3" fmla="*/ 493264 w 512732"/>
                        <a:gd name="connsiteY3" fmla="*/ 302442 h 442649"/>
                        <a:gd name="connsiteX4" fmla="*/ 444422 w 512732"/>
                        <a:gd name="connsiteY4" fmla="*/ 245432 h 442649"/>
                        <a:gd name="connsiteX5" fmla="*/ 229268 w 512732"/>
                        <a:gd name="connsiteY5" fmla="*/ 46 h 442649"/>
                        <a:gd name="connsiteX0" fmla="*/ 230315 w 513779"/>
                        <a:gd name="connsiteY0" fmla="*/ 44 h 400286"/>
                        <a:gd name="connsiteX1" fmla="*/ 3952 w 513779"/>
                        <a:gd name="connsiteY1" fmla="*/ 226794 h 400286"/>
                        <a:gd name="connsiteX2" fmla="*/ 99654 w 513779"/>
                        <a:gd name="connsiteY2" fmla="*/ 398368 h 400286"/>
                        <a:gd name="connsiteX3" fmla="*/ 494311 w 513779"/>
                        <a:gd name="connsiteY3" fmla="*/ 302440 h 400286"/>
                        <a:gd name="connsiteX4" fmla="*/ 445469 w 513779"/>
                        <a:gd name="connsiteY4" fmla="*/ 245430 h 400286"/>
                        <a:gd name="connsiteX5" fmla="*/ 230315 w 513779"/>
                        <a:gd name="connsiteY5" fmla="*/ 44 h 400286"/>
                        <a:gd name="connsiteX0" fmla="*/ 231156 w 514620"/>
                        <a:gd name="connsiteY0" fmla="*/ 44 h 400286"/>
                        <a:gd name="connsiteX1" fmla="*/ 4793 w 514620"/>
                        <a:gd name="connsiteY1" fmla="*/ 226794 h 400286"/>
                        <a:gd name="connsiteX2" fmla="*/ 100495 w 514620"/>
                        <a:gd name="connsiteY2" fmla="*/ 398368 h 400286"/>
                        <a:gd name="connsiteX3" fmla="*/ 495152 w 514620"/>
                        <a:gd name="connsiteY3" fmla="*/ 302440 h 400286"/>
                        <a:gd name="connsiteX4" fmla="*/ 446310 w 514620"/>
                        <a:gd name="connsiteY4" fmla="*/ 245430 h 400286"/>
                        <a:gd name="connsiteX5" fmla="*/ 231156 w 514620"/>
                        <a:gd name="connsiteY5" fmla="*/ 44 h 400286"/>
                        <a:gd name="connsiteX0" fmla="*/ 168188 w 451652"/>
                        <a:gd name="connsiteY0" fmla="*/ 2 h 400244"/>
                        <a:gd name="connsiteX1" fmla="*/ 25423 w 451652"/>
                        <a:gd name="connsiteY1" fmla="*/ 241481 h 400244"/>
                        <a:gd name="connsiteX2" fmla="*/ 37527 w 451652"/>
                        <a:gd name="connsiteY2" fmla="*/ 398326 h 400244"/>
                        <a:gd name="connsiteX3" fmla="*/ 432184 w 451652"/>
                        <a:gd name="connsiteY3" fmla="*/ 302398 h 400244"/>
                        <a:gd name="connsiteX4" fmla="*/ 383342 w 451652"/>
                        <a:gd name="connsiteY4" fmla="*/ 245388 h 400244"/>
                        <a:gd name="connsiteX5" fmla="*/ 168188 w 451652"/>
                        <a:gd name="connsiteY5" fmla="*/ 2 h 4002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451652" h="400244">
                          <a:moveTo>
                            <a:pt x="168188" y="2"/>
                          </a:moveTo>
                          <a:cubicBezTo>
                            <a:pt x="108535" y="-649"/>
                            <a:pt x="47200" y="175094"/>
                            <a:pt x="25423" y="241481"/>
                          </a:cubicBezTo>
                          <a:cubicBezTo>
                            <a:pt x="3646" y="307868"/>
                            <a:pt x="-23934" y="402853"/>
                            <a:pt x="37527" y="398326"/>
                          </a:cubicBezTo>
                          <a:cubicBezTo>
                            <a:pt x="119254" y="410934"/>
                            <a:pt x="370211" y="359402"/>
                            <a:pt x="432184" y="302398"/>
                          </a:cubicBezTo>
                          <a:cubicBezTo>
                            <a:pt x="481235" y="250735"/>
                            <a:pt x="427341" y="295787"/>
                            <a:pt x="383342" y="245388"/>
                          </a:cubicBezTo>
                          <a:cubicBezTo>
                            <a:pt x="339343" y="194989"/>
                            <a:pt x="227841" y="653"/>
                            <a:pt x="168188" y="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</p:grpSp>
            <p:sp>
              <p:nvSpPr>
                <p:cNvPr id="1061" name="Freeform 153"/>
                <p:cNvSpPr/>
                <p:nvPr/>
              </p:nvSpPr>
              <p:spPr bwMode="auto">
                <a:xfrm rot="8302761">
                  <a:off x="4002088" y="4259263"/>
                  <a:ext cx="487362" cy="279400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400455 w 517074"/>
                    <a:gd name="connsiteY0" fmla="*/ 1010 h 421811"/>
                    <a:gd name="connsiteX1" fmla="*/ 11193 w 517074"/>
                    <a:gd name="connsiteY1" fmla="*/ 158802 h 421811"/>
                    <a:gd name="connsiteX2" fmla="*/ 120057 w 517074"/>
                    <a:gd name="connsiteY2" fmla="*/ 373513 h 421811"/>
                    <a:gd name="connsiteX3" fmla="*/ 331053 w 517074"/>
                    <a:gd name="connsiteY3" fmla="*/ 413816 h 421811"/>
                    <a:gd name="connsiteX4" fmla="*/ 501552 w 517074"/>
                    <a:gd name="connsiteY4" fmla="*/ 234448 h 421811"/>
                    <a:gd name="connsiteX5" fmla="*/ 400455 w 517074"/>
                    <a:gd name="connsiteY5" fmla="*/ 1010 h 421811"/>
                    <a:gd name="connsiteX0" fmla="*/ 400455 w 517074"/>
                    <a:gd name="connsiteY0" fmla="*/ 1010 h 413815"/>
                    <a:gd name="connsiteX1" fmla="*/ 11193 w 517074"/>
                    <a:gd name="connsiteY1" fmla="*/ 158802 h 413815"/>
                    <a:gd name="connsiteX2" fmla="*/ 120057 w 517074"/>
                    <a:gd name="connsiteY2" fmla="*/ 373513 h 413815"/>
                    <a:gd name="connsiteX3" fmla="*/ 331053 w 517074"/>
                    <a:gd name="connsiteY3" fmla="*/ 413816 h 413815"/>
                    <a:gd name="connsiteX4" fmla="*/ 501552 w 517074"/>
                    <a:gd name="connsiteY4" fmla="*/ 234448 h 413815"/>
                    <a:gd name="connsiteX5" fmla="*/ 400455 w 517074"/>
                    <a:gd name="connsiteY5" fmla="*/ 1010 h 413815"/>
                    <a:gd name="connsiteX0" fmla="*/ 400455 w 517074"/>
                    <a:gd name="connsiteY0" fmla="*/ 1010 h 436945"/>
                    <a:gd name="connsiteX1" fmla="*/ 11193 w 517074"/>
                    <a:gd name="connsiteY1" fmla="*/ 158802 h 436945"/>
                    <a:gd name="connsiteX2" fmla="*/ 120057 w 517074"/>
                    <a:gd name="connsiteY2" fmla="*/ 373513 h 436945"/>
                    <a:gd name="connsiteX3" fmla="*/ 338006 w 517074"/>
                    <a:gd name="connsiteY3" fmla="*/ 436944 h 436945"/>
                    <a:gd name="connsiteX4" fmla="*/ 501552 w 517074"/>
                    <a:gd name="connsiteY4" fmla="*/ 234448 h 436945"/>
                    <a:gd name="connsiteX5" fmla="*/ 400455 w 517074"/>
                    <a:gd name="connsiteY5" fmla="*/ 1010 h 436945"/>
                    <a:gd name="connsiteX0" fmla="*/ 399893 w 516512"/>
                    <a:gd name="connsiteY0" fmla="*/ 1010 h 443156"/>
                    <a:gd name="connsiteX1" fmla="*/ 10631 w 516512"/>
                    <a:gd name="connsiteY1" fmla="*/ 158802 h 443156"/>
                    <a:gd name="connsiteX2" fmla="*/ 119495 w 516512"/>
                    <a:gd name="connsiteY2" fmla="*/ 373513 h 443156"/>
                    <a:gd name="connsiteX3" fmla="*/ 242095 w 516512"/>
                    <a:gd name="connsiteY3" fmla="*/ 380788 h 443156"/>
                    <a:gd name="connsiteX4" fmla="*/ 337444 w 516512"/>
                    <a:gd name="connsiteY4" fmla="*/ 436944 h 443156"/>
                    <a:gd name="connsiteX5" fmla="*/ 500990 w 516512"/>
                    <a:gd name="connsiteY5" fmla="*/ 234448 h 443156"/>
                    <a:gd name="connsiteX6" fmla="*/ 399893 w 516512"/>
                    <a:gd name="connsiteY6" fmla="*/ 1010 h 443156"/>
                    <a:gd name="connsiteX0" fmla="*/ 413302 w 529921"/>
                    <a:gd name="connsiteY0" fmla="*/ 1010 h 443156"/>
                    <a:gd name="connsiteX1" fmla="*/ 24040 w 529921"/>
                    <a:gd name="connsiteY1" fmla="*/ 158802 h 443156"/>
                    <a:gd name="connsiteX2" fmla="*/ 62827 w 529921"/>
                    <a:gd name="connsiteY2" fmla="*/ 372425 h 443156"/>
                    <a:gd name="connsiteX3" fmla="*/ 255504 w 529921"/>
                    <a:gd name="connsiteY3" fmla="*/ 380788 h 443156"/>
                    <a:gd name="connsiteX4" fmla="*/ 350853 w 529921"/>
                    <a:gd name="connsiteY4" fmla="*/ 436944 h 443156"/>
                    <a:gd name="connsiteX5" fmla="*/ 514399 w 529921"/>
                    <a:gd name="connsiteY5" fmla="*/ 234448 h 443156"/>
                    <a:gd name="connsiteX6" fmla="*/ 413302 w 529921"/>
                    <a:gd name="connsiteY6" fmla="*/ 1010 h 443156"/>
                    <a:gd name="connsiteX0" fmla="*/ 488995 w 605614"/>
                    <a:gd name="connsiteY0" fmla="*/ 988 h 443134"/>
                    <a:gd name="connsiteX1" fmla="*/ 99733 w 605614"/>
                    <a:gd name="connsiteY1" fmla="*/ 158780 h 443134"/>
                    <a:gd name="connsiteX2" fmla="*/ 1000 w 605614"/>
                    <a:gd name="connsiteY2" fmla="*/ 355496 h 443134"/>
                    <a:gd name="connsiteX3" fmla="*/ 138520 w 605614"/>
                    <a:gd name="connsiteY3" fmla="*/ 372403 h 443134"/>
                    <a:gd name="connsiteX4" fmla="*/ 331197 w 605614"/>
                    <a:gd name="connsiteY4" fmla="*/ 380766 h 443134"/>
                    <a:gd name="connsiteX5" fmla="*/ 426546 w 605614"/>
                    <a:gd name="connsiteY5" fmla="*/ 436922 h 443134"/>
                    <a:gd name="connsiteX6" fmla="*/ 590092 w 605614"/>
                    <a:gd name="connsiteY6" fmla="*/ 234426 h 443134"/>
                    <a:gd name="connsiteX7" fmla="*/ 488995 w 605614"/>
                    <a:gd name="connsiteY7" fmla="*/ 988 h 443134"/>
                    <a:gd name="connsiteX0" fmla="*/ 641557 w 764235"/>
                    <a:gd name="connsiteY0" fmla="*/ 91 h 442237"/>
                    <a:gd name="connsiteX1" fmla="*/ 18713 w 764235"/>
                    <a:gd name="connsiteY1" fmla="*/ 207495 h 442237"/>
                    <a:gd name="connsiteX2" fmla="*/ 153562 w 764235"/>
                    <a:gd name="connsiteY2" fmla="*/ 354599 h 442237"/>
                    <a:gd name="connsiteX3" fmla="*/ 291082 w 764235"/>
                    <a:gd name="connsiteY3" fmla="*/ 371506 h 442237"/>
                    <a:gd name="connsiteX4" fmla="*/ 483759 w 764235"/>
                    <a:gd name="connsiteY4" fmla="*/ 379869 h 442237"/>
                    <a:gd name="connsiteX5" fmla="*/ 579108 w 764235"/>
                    <a:gd name="connsiteY5" fmla="*/ 436025 h 442237"/>
                    <a:gd name="connsiteX6" fmla="*/ 742654 w 764235"/>
                    <a:gd name="connsiteY6" fmla="*/ 233529 h 442237"/>
                    <a:gd name="connsiteX7" fmla="*/ 641557 w 764235"/>
                    <a:gd name="connsiteY7" fmla="*/ 91 h 442237"/>
                    <a:gd name="connsiteX0" fmla="*/ 634007 w 756685"/>
                    <a:gd name="connsiteY0" fmla="*/ 108 h 442254"/>
                    <a:gd name="connsiteX1" fmla="*/ 11163 w 756685"/>
                    <a:gd name="connsiteY1" fmla="*/ 207512 h 442254"/>
                    <a:gd name="connsiteX2" fmla="*/ 146012 w 756685"/>
                    <a:gd name="connsiteY2" fmla="*/ 354616 h 442254"/>
                    <a:gd name="connsiteX3" fmla="*/ 283532 w 756685"/>
                    <a:gd name="connsiteY3" fmla="*/ 371523 h 442254"/>
                    <a:gd name="connsiteX4" fmla="*/ 476209 w 756685"/>
                    <a:gd name="connsiteY4" fmla="*/ 379886 h 442254"/>
                    <a:gd name="connsiteX5" fmla="*/ 571558 w 756685"/>
                    <a:gd name="connsiteY5" fmla="*/ 436042 h 442254"/>
                    <a:gd name="connsiteX6" fmla="*/ 735104 w 756685"/>
                    <a:gd name="connsiteY6" fmla="*/ 233546 h 442254"/>
                    <a:gd name="connsiteX7" fmla="*/ 634007 w 756685"/>
                    <a:gd name="connsiteY7" fmla="*/ 108 h 442254"/>
                    <a:gd name="connsiteX0" fmla="*/ 626214 w 741511"/>
                    <a:gd name="connsiteY0" fmla="*/ 8302 h 450448"/>
                    <a:gd name="connsiteX1" fmla="*/ 306711 w 741511"/>
                    <a:gd name="connsiteY1" fmla="*/ 67573 h 450448"/>
                    <a:gd name="connsiteX2" fmla="*/ 3370 w 741511"/>
                    <a:gd name="connsiteY2" fmla="*/ 215706 h 450448"/>
                    <a:gd name="connsiteX3" fmla="*/ 138219 w 741511"/>
                    <a:gd name="connsiteY3" fmla="*/ 362810 h 450448"/>
                    <a:gd name="connsiteX4" fmla="*/ 275739 w 741511"/>
                    <a:gd name="connsiteY4" fmla="*/ 379717 h 450448"/>
                    <a:gd name="connsiteX5" fmla="*/ 468416 w 741511"/>
                    <a:gd name="connsiteY5" fmla="*/ 388080 h 450448"/>
                    <a:gd name="connsiteX6" fmla="*/ 563765 w 741511"/>
                    <a:gd name="connsiteY6" fmla="*/ 444236 h 450448"/>
                    <a:gd name="connsiteX7" fmla="*/ 727311 w 741511"/>
                    <a:gd name="connsiteY7" fmla="*/ 241740 h 450448"/>
                    <a:gd name="connsiteX8" fmla="*/ 626214 w 741511"/>
                    <a:gd name="connsiteY8" fmla="*/ 8302 h 450448"/>
                    <a:gd name="connsiteX0" fmla="*/ 636890 w 752187"/>
                    <a:gd name="connsiteY0" fmla="*/ 8302 h 450448"/>
                    <a:gd name="connsiteX1" fmla="*/ 317387 w 752187"/>
                    <a:gd name="connsiteY1" fmla="*/ 67573 h 450448"/>
                    <a:gd name="connsiteX2" fmla="*/ 14046 w 752187"/>
                    <a:gd name="connsiteY2" fmla="*/ 215706 h 450448"/>
                    <a:gd name="connsiteX3" fmla="*/ 148895 w 752187"/>
                    <a:gd name="connsiteY3" fmla="*/ 362810 h 450448"/>
                    <a:gd name="connsiteX4" fmla="*/ 286415 w 752187"/>
                    <a:gd name="connsiteY4" fmla="*/ 379717 h 450448"/>
                    <a:gd name="connsiteX5" fmla="*/ 479092 w 752187"/>
                    <a:gd name="connsiteY5" fmla="*/ 388080 h 450448"/>
                    <a:gd name="connsiteX6" fmla="*/ 574441 w 752187"/>
                    <a:gd name="connsiteY6" fmla="*/ 444236 h 450448"/>
                    <a:gd name="connsiteX7" fmla="*/ 737987 w 752187"/>
                    <a:gd name="connsiteY7" fmla="*/ 241740 h 450448"/>
                    <a:gd name="connsiteX8" fmla="*/ 636890 w 752187"/>
                    <a:gd name="connsiteY8" fmla="*/ 8302 h 450448"/>
                    <a:gd name="connsiteX0" fmla="*/ 636890 w 1242660"/>
                    <a:gd name="connsiteY0" fmla="*/ 204853 h 646999"/>
                    <a:gd name="connsiteX1" fmla="*/ 317387 w 1242660"/>
                    <a:gd name="connsiteY1" fmla="*/ 264124 h 646999"/>
                    <a:gd name="connsiteX2" fmla="*/ 14046 w 1242660"/>
                    <a:gd name="connsiteY2" fmla="*/ 412257 h 646999"/>
                    <a:gd name="connsiteX3" fmla="*/ 148895 w 1242660"/>
                    <a:gd name="connsiteY3" fmla="*/ 559361 h 646999"/>
                    <a:gd name="connsiteX4" fmla="*/ 286415 w 1242660"/>
                    <a:gd name="connsiteY4" fmla="*/ 576268 h 646999"/>
                    <a:gd name="connsiteX5" fmla="*/ 479092 w 1242660"/>
                    <a:gd name="connsiteY5" fmla="*/ 584631 h 646999"/>
                    <a:gd name="connsiteX6" fmla="*/ 574441 w 1242660"/>
                    <a:gd name="connsiteY6" fmla="*/ 640787 h 646999"/>
                    <a:gd name="connsiteX7" fmla="*/ 737987 w 1242660"/>
                    <a:gd name="connsiteY7" fmla="*/ 438291 h 646999"/>
                    <a:gd name="connsiteX8" fmla="*/ 1242241 w 1242660"/>
                    <a:gd name="connsiteY8" fmla="*/ 5091 h 646999"/>
                    <a:gd name="connsiteX9" fmla="*/ 636890 w 1242660"/>
                    <a:gd name="connsiteY9" fmla="*/ 204853 h 646999"/>
                    <a:gd name="connsiteX0" fmla="*/ 636890 w 1256529"/>
                    <a:gd name="connsiteY0" fmla="*/ 204853 h 646999"/>
                    <a:gd name="connsiteX1" fmla="*/ 317387 w 1256529"/>
                    <a:gd name="connsiteY1" fmla="*/ 264124 h 646999"/>
                    <a:gd name="connsiteX2" fmla="*/ 14046 w 1256529"/>
                    <a:gd name="connsiteY2" fmla="*/ 412257 h 646999"/>
                    <a:gd name="connsiteX3" fmla="*/ 148895 w 1256529"/>
                    <a:gd name="connsiteY3" fmla="*/ 559361 h 646999"/>
                    <a:gd name="connsiteX4" fmla="*/ 286415 w 1256529"/>
                    <a:gd name="connsiteY4" fmla="*/ 576268 h 646999"/>
                    <a:gd name="connsiteX5" fmla="*/ 479092 w 1256529"/>
                    <a:gd name="connsiteY5" fmla="*/ 584631 h 646999"/>
                    <a:gd name="connsiteX6" fmla="*/ 574441 w 1256529"/>
                    <a:gd name="connsiteY6" fmla="*/ 640787 h 646999"/>
                    <a:gd name="connsiteX7" fmla="*/ 737987 w 1256529"/>
                    <a:gd name="connsiteY7" fmla="*/ 438291 h 646999"/>
                    <a:gd name="connsiteX8" fmla="*/ 1073746 w 1256529"/>
                    <a:gd name="connsiteY8" fmla="*/ 300323 h 646999"/>
                    <a:gd name="connsiteX9" fmla="*/ 1242241 w 1256529"/>
                    <a:gd name="connsiteY9" fmla="*/ 5091 h 646999"/>
                    <a:gd name="connsiteX10" fmla="*/ 636890 w 1256529"/>
                    <a:gd name="connsiteY10" fmla="*/ 204853 h 646999"/>
                    <a:gd name="connsiteX0" fmla="*/ 636890 w 1275413"/>
                    <a:gd name="connsiteY0" fmla="*/ 204853 h 646999"/>
                    <a:gd name="connsiteX1" fmla="*/ 317387 w 1275413"/>
                    <a:gd name="connsiteY1" fmla="*/ 264124 h 646999"/>
                    <a:gd name="connsiteX2" fmla="*/ 14046 w 1275413"/>
                    <a:gd name="connsiteY2" fmla="*/ 412257 h 646999"/>
                    <a:gd name="connsiteX3" fmla="*/ 148895 w 1275413"/>
                    <a:gd name="connsiteY3" fmla="*/ 559361 h 646999"/>
                    <a:gd name="connsiteX4" fmla="*/ 286415 w 1275413"/>
                    <a:gd name="connsiteY4" fmla="*/ 576268 h 646999"/>
                    <a:gd name="connsiteX5" fmla="*/ 479092 w 1275413"/>
                    <a:gd name="connsiteY5" fmla="*/ 584631 h 646999"/>
                    <a:gd name="connsiteX6" fmla="*/ 574441 w 1275413"/>
                    <a:gd name="connsiteY6" fmla="*/ 640787 h 646999"/>
                    <a:gd name="connsiteX7" fmla="*/ 737987 w 1275413"/>
                    <a:gd name="connsiteY7" fmla="*/ 438291 h 646999"/>
                    <a:gd name="connsiteX8" fmla="*/ 1073746 w 1275413"/>
                    <a:gd name="connsiteY8" fmla="*/ 300323 h 646999"/>
                    <a:gd name="connsiteX9" fmla="*/ 1174711 w 1275413"/>
                    <a:gd name="connsiteY9" fmla="*/ 121314 h 646999"/>
                    <a:gd name="connsiteX10" fmla="*/ 1242241 w 1275413"/>
                    <a:gd name="connsiteY10" fmla="*/ 5091 h 646999"/>
                    <a:gd name="connsiteX11" fmla="*/ 636890 w 1275413"/>
                    <a:gd name="connsiteY11" fmla="*/ 204853 h 646999"/>
                    <a:gd name="connsiteX0" fmla="*/ 636890 w 1282047"/>
                    <a:gd name="connsiteY0" fmla="*/ 207145 h 649291"/>
                    <a:gd name="connsiteX1" fmla="*/ 317387 w 1282047"/>
                    <a:gd name="connsiteY1" fmla="*/ 266416 h 649291"/>
                    <a:gd name="connsiteX2" fmla="*/ 14046 w 1282047"/>
                    <a:gd name="connsiteY2" fmla="*/ 414549 h 649291"/>
                    <a:gd name="connsiteX3" fmla="*/ 148895 w 1282047"/>
                    <a:gd name="connsiteY3" fmla="*/ 561653 h 649291"/>
                    <a:gd name="connsiteX4" fmla="*/ 286415 w 1282047"/>
                    <a:gd name="connsiteY4" fmla="*/ 578560 h 649291"/>
                    <a:gd name="connsiteX5" fmla="*/ 479092 w 1282047"/>
                    <a:gd name="connsiteY5" fmla="*/ 586923 h 649291"/>
                    <a:gd name="connsiteX6" fmla="*/ 574441 w 1282047"/>
                    <a:gd name="connsiteY6" fmla="*/ 643079 h 649291"/>
                    <a:gd name="connsiteX7" fmla="*/ 737987 w 1282047"/>
                    <a:gd name="connsiteY7" fmla="*/ 440583 h 649291"/>
                    <a:gd name="connsiteX8" fmla="*/ 1073746 w 1282047"/>
                    <a:gd name="connsiteY8" fmla="*/ 302615 h 649291"/>
                    <a:gd name="connsiteX9" fmla="*/ 1174711 w 1282047"/>
                    <a:gd name="connsiteY9" fmla="*/ 123606 h 649291"/>
                    <a:gd name="connsiteX10" fmla="*/ 1207524 w 1282047"/>
                    <a:gd name="connsiteY10" fmla="*/ 51451 h 649291"/>
                    <a:gd name="connsiteX11" fmla="*/ 1242241 w 1282047"/>
                    <a:gd name="connsiteY11" fmla="*/ 7383 h 649291"/>
                    <a:gd name="connsiteX12" fmla="*/ 636890 w 1282047"/>
                    <a:gd name="connsiteY12" fmla="*/ 207145 h 649291"/>
                    <a:gd name="connsiteX0" fmla="*/ 636890 w 1215280"/>
                    <a:gd name="connsiteY0" fmla="*/ 190023 h 632169"/>
                    <a:gd name="connsiteX1" fmla="*/ 317387 w 1215280"/>
                    <a:gd name="connsiteY1" fmla="*/ 249294 h 632169"/>
                    <a:gd name="connsiteX2" fmla="*/ 14046 w 1215280"/>
                    <a:gd name="connsiteY2" fmla="*/ 397427 h 632169"/>
                    <a:gd name="connsiteX3" fmla="*/ 148895 w 1215280"/>
                    <a:gd name="connsiteY3" fmla="*/ 544531 h 632169"/>
                    <a:gd name="connsiteX4" fmla="*/ 286415 w 1215280"/>
                    <a:gd name="connsiteY4" fmla="*/ 561438 h 632169"/>
                    <a:gd name="connsiteX5" fmla="*/ 479092 w 1215280"/>
                    <a:gd name="connsiteY5" fmla="*/ 569801 h 632169"/>
                    <a:gd name="connsiteX6" fmla="*/ 574441 w 1215280"/>
                    <a:gd name="connsiteY6" fmla="*/ 625957 h 632169"/>
                    <a:gd name="connsiteX7" fmla="*/ 737987 w 1215280"/>
                    <a:gd name="connsiteY7" fmla="*/ 423461 h 632169"/>
                    <a:gd name="connsiteX8" fmla="*/ 1073746 w 1215280"/>
                    <a:gd name="connsiteY8" fmla="*/ 285493 h 632169"/>
                    <a:gd name="connsiteX9" fmla="*/ 1174711 w 1215280"/>
                    <a:gd name="connsiteY9" fmla="*/ 106484 h 632169"/>
                    <a:gd name="connsiteX10" fmla="*/ 1207524 w 1215280"/>
                    <a:gd name="connsiteY10" fmla="*/ 34329 h 632169"/>
                    <a:gd name="connsiteX11" fmla="*/ 1130499 w 1215280"/>
                    <a:gd name="connsiteY11" fmla="*/ 10111 h 632169"/>
                    <a:gd name="connsiteX12" fmla="*/ 636890 w 1215280"/>
                    <a:gd name="connsiteY12" fmla="*/ 190023 h 632169"/>
                    <a:gd name="connsiteX0" fmla="*/ 642988 w 1221378"/>
                    <a:gd name="connsiteY0" fmla="*/ 190023 h 632169"/>
                    <a:gd name="connsiteX1" fmla="*/ 323485 w 1221378"/>
                    <a:gd name="connsiteY1" fmla="*/ 249294 h 632169"/>
                    <a:gd name="connsiteX2" fmla="*/ 33062 w 1221378"/>
                    <a:gd name="connsiteY2" fmla="*/ 254856 h 632169"/>
                    <a:gd name="connsiteX3" fmla="*/ 20144 w 1221378"/>
                    <a:gd name="connsiteY3" fmla="*/ 397427 h 632169"/>
                    <a:gd name="connsiteX4" fmla="*/ 154993 w 1221378"/>
                    <a:gd name="connsiteY4" fmla="*/ 544531 h 632169"/>
                    <a:gd name="connsiteX5" fmla="*/ 292513 w 1221378"/>
                    <a:gd name="connsiteY5" fmla="*/ 561438 h 632169"/>
                    <a:gd name="connsiteX6" fmla="*/ 485190 w 1221378"/>
                    <a:gd name="connsiteY6" fmla="*/ 569801 h 632169"/>
                    <a:gd name="connsiteX7" fmla="*/ 580539 w 1221378"/>
                    <a:gd name="connsiteY7" fmla="*/ 625957 h 632169"/>
                    <a:gd name="connsiteX8" fmla="*/ 744085 w 1221378"/>
                    <a:gd name="connsiteY8" fmla="*/ 423461 h 632169"/>
                    <a:gd name="connsiteX9" fmla="*/ 1079844 w 1221378"/>
                    <a:gd name="connsiteY9" fmla="*/ 285493 h 632169"/>
                    <a:gd name="connsiteX10" fmla="*/ 1180809 w 1221378"/>
                    <a:gd name="connsiteY10" fmla="*/ 106484 h 632169"/>
                    <a:gd name="connsiteX11" fmla="*/ 1213622 w 1221378"/>
                    <a:gd name="connsiteY11" fmla="*/ 34329 h 632169"/>
                    <a:gd name="connsiteX12" fmla="*/ 1136597 w 1221378"/>
                    <a:gd name="connsiteY12" fmla="*/ 10111 h 632169"/>
                    <a:gd name="connsiteX13" fmla="*/ 642988 w 1221378"/>
                    <a:gd name="connsiteY13" fmla="*/ 190023 h 632169"/>
                    <a:gd name="connsiteX0" fmla="*/ 682608 w 1260998"/>
                    <a:gd name="connsiteY0" fmla="*/ 190023 h 632169"/>
                    <a:gd name="connsiteX1" fmla="*/ 363105 w 1260998"/>
                    <a:gd name="connsiteY1" fmla="*/ 249294 h 632169"/>
                    <a:gd name="connsiteX2" fmla="*/ 72682 w 1260998"/>
                    <a:gd name="connsiteY2" fmla="*/ 254856 h 632169"/>
                    <a:gd name="connsiteX3" fmla="*/ 112 w 1260998"/>
                    <a:gd name="connsiteY3" fmla="*/ 376034 h 632169"/>
                    <a:gd name="connsiteX4" fmla="*/ 59764 w 1260998"/>
                    <a:gd name="connsiteY4" fmla="*/ 397427 h 632169"/>
                    <a:gd name="connsiteX5" fmla="*/ 194613 w 1260998"/>
                    <a:gd name="connsiteY5" fmla="*/ 544531 h 632169"/>
                    <a:gd name="connsiteX6" fmla="*/ 332133 w 1260998"/>
                    <a:gd name="connsiteY6" fmla="*/ 561438 h 632169"/>
                    <a:gd name="connsiteX7" fmla="*/ 524810 w 1260998"/>
                    <a:gd name="connsiteY7" fmla="*/ 569801 h 632169"/>
                    <a:gd name="connsiteX8" fmla="*/ 620159 w 1260998"/>
                    <a:gd name="connsiteY8" fmla="*/ 625957 h 632169"/>
                    <a:gd name="connsiteX9" fmla="*/ 783705 w 1260998"/>
                    <a:gd name="connsiteY9" fmla="*/ 423461 h 632169"/>
                    <a:gd name="connsiteX10" fmla="*/ 1119464 w 1260998"/>
                    <a:gd name="connsiteY10" fmla="*/ 285493 h 632169"/>
                    <a:gd name="connsiteX11" fmla="*/ 1220429 w 1260998"/>
                    <a:gd name="connsiteY11" fmla="*/ 106484 h 632169"/>
                    <a:gd name="connsiteX12" fmla="*/ 1253242 w 1260998"/>
                    <a:gd name="connsiteY12" fmla="*/ 34329 h 632169"/>
                    <a:gd name="connsiteX13" fmla="*/ 1176217 w 1260998"/>
                    <a:gd name="connsiteY13" fmla="*/ 10111 h 632169"/>
                    <a:gd name="connsiteX14" fmla="*/ 682608 w 1260998"/>
                    <a:gd name="connsiteY14" fmla="*/ 190023 h 632169"/>
                    <a:gd name="connsiteX0" fmla="*/ 682582 w 1260972"/>
                    <a:gd name="connsiteY0" fmla="*/ 190023 h 632169"/>
                    <a:gd name="connsiteX1" fmla="*/ 363079 w 1260972"/>
                    <a:gd name="connsiteY1" fmla="*/ 249294 h 632169"/>
                    <a:gd name="connsiteX2" fmla="*/ 72656 w 1260972"/>
                    <a:gd name="connsiteY2" fmla="*/ 254856 h 632169"/>
                    <a:gd name="connsiteX3" fmla="*/ 86 w 1260972"/>
                    <a:gd name="connsiteY3" fmla="*/ 376034 h 632169"/>
                    <a:gd name="connsiteX4" fmla="*/ 69856 w 1260972"/>
                    <a:gd name="connsiteY4" fmla="*/ 467370 h 632169"/>
                    <a:gd name="connsiteX5" fmla="*/ 194587 w 1260972"/>
                    <a:gd name="connsiteY5" fmla="*/ 544531 h 632169"/>
                    <a:gd name="connsiteX6" fmla="*/ 332107 w 1260972"/>
                    <a:gd name="connsiteY6" fmla="*/ 561438 h 632169"/>
                    <a:gd name="connsiteX7" fmla="*/ 524784 w 1260972"/>
                    <a:gd name="connsiteY7" fmla="*/ 569801 h 632169"/>
                    <a:gd name="connsiteX8" fmla="*/ 620133 w 1260972"/>
                    <a:gd name="connsiteY8" fmla="*/ 625957 h 632169"/>
                    <a:gd name="connsiteX9" fmla="*/ 783679 w 1260972"/>
                    <a:gd name="connsiteY9" fmla="*/ 423461 h 632169"/>
                    <a:gd name="connsiteX10" fmla="*/ 1119438 w 1260972"/>
                    <a:gd name="connsiteY10" fmla="*/ 285493 h 632169"/>
                    <a:gd name="connsiteX11" fmla="*/ 1220403 w 1260972"/>
                    <a:gd name="connsiteY11" fmla="*/ 106484 h 632169"/>
                    <a:gd name="connsiteX12" fmla="*/ 1253216 w 1260972"/>
                    <a:gd name="connsiteY12" fmla="*/ 34329 h 632169"/>
                    <a:gd name="connsiteX13" fmla="*/ 1176191 w 1260972"/>
                    <a:gd name="connsiteY13" fmla="*/ 10111 h 632169"/>
                    <a:gd name="connsiteX14" fmla="*/ 682582 w 1260972"/>
                    <a:gd name="connsiteY14" fmla="*/ 190023 h 632169"/>
                    <a:gd name="connsiteX0" fmla="*/ 682582 w 1260972"/>
                    <a:gd name="connsiteY0" fmla="*/ 190023 h 632169"/>
                    <a:gd name="connsiteX1" fmla="*/ 363079 w 1260972"/>
                    <a:gd name="connsiteY1" fmla="*/ 249294 h 632169"/>
                    <a:gd name="connsiteX2" fmla="*/ 72656 w 1260972"/>
                    <a:gd name="connsiteY2" fmla="*/ 254856 h 632169"/>
                    <a:gd name="connsiteX3" fmla="*/ 86 w 1260972"/>
                    <a:gd name="connsiteY3" fmla="*/ 376034 h 632169"/>
                    <a:gd name="connsiteX4" fmla="*/ 69856 w 1260972"/>
                    <a:gd name="connsiteY4" fmla="*/ 467370 h 632169"/>
                    <a:gd name="connsiteX5" fmla="*/ 194587 w 1260972"/>
                    <a:gd name="connsiteY5" fmla="*/ 544531 h 632169"/>
                    <a:gd name="connsiteX6" fmla="*/ 332107 w 1260972"/>
                    <a:gd name="connsiteY6" fmla="*/ 561438 h 632169"/>
                    <a:gd name="connsiteX7" fmla="*/ 524784 w 1260972"/>
                    <a:gd name="connsiteY7" fmla="*/ 569801 h 632169"/>
                    <a:gd name="connsiteX8" fmla="*/ 620133 w 1260972"/>
                    <a:gd name="connsiteY8" fmla="*/ 625957 h 632169"/>
                    <a:gd name="connsiteX9" fmla="*/ 783679 w 1260972"/>
                    <a:gd name="connsiteY9" fmla="*/ 423461 h 632169"/>
                    <a:gd name="connsiteX10" fmla="*/ 1119438 w 1260972"/>
                    <a:gd name="connsiteY10" fmla="*/ 285493 h 632169"/>
                    <a:gd name="connsiteX11" fmla="*/ 1220403 w 1260972"/>
                    <a:gd name="connsiteY11" fmla="*/ 106484 h 632169"/>
                    <a:gd name="connsiteX12" fmla="*/ 1253216 w 1260972"/>
                    <a:gd name="connsiteY12" fmla="*/ 34329 h 632169"/>
                    <a:gd name="connsiteX13" fmla="*/ 1176191 w 1260972"/>
                    <a:gd name="connsiteY13" fmla="*/ 10111 h 632169"/>
                    <a:gd name="connsiteX14" fmla="*/ 682582 w 1260972"/>
                    <a:gd name="connsiteY14" fmla="*/ 190023 h 632169"/>
                    <a:gd name="connsiteX0" fmla="*/ 682582 w 1260972"/>
                    <a:gd name="connsiteY0" fmla="*/ 190023 h 632169"/>
                    <a:gd name="connsiteX1" fmla="*/ 363079 w 1260972"/>
                    <a:gd name="connsiteY1" fmla="*/ 249294 h 632169"/>
                    <a:gd name="connsiteX2" fmla="*/ 72656 w 1260972"/>
                    <a:gd name="connsiteY2" fmla="*/ 254856 h 632169"/>
                    <a:gd name="connsiteX3" fmla="*/ 86 w 1260972"/>
                    <a:gd name="connsiteY3" fmla="*/ 376034 h 632169"/>
                    <a:gd name="connsiteX4" fmla="*/ 69856 w 1260972"/>
                    <a:gd name="connsiteY4" fmla="*/ 467370 h 632169"/>
                    <a:gd name="connsiteX5" fmla="*/ 194587 w 1260972"/>
                    <a:gd name="connsiteY5" fmla="*/ 544531 h 632169"/>
                    <a:gd name="connsiteX6" fmla="*/ 332107 w 1260972"/>
                    <a:gd name="connsiteY6" fmla="*/ 561438 h 632169"/>
                    <a:gd name="connsiteX7" fmla="*/ 524784 w 1260972"/>
                    <a:gd name="connsiteY7" fmla="*/ 569801 h 632169"/>
                    <a:gd name="connsiteX8" fmla="*/ 620133 w 1260972"/>
                    <a:gd name="connsiteY8" fmla="*/ 625957 h 632169"/>
                    <a:gd name="connsiteX9" fmla="*/ 783679 w 1260972"/>
                    <a:gd name="connsiteY9" fmla="*/ 423461 h 632169"/>
                    <a:gd name="connsiteX10" fmla="*/ 1119438 w 1260972"/>
                    <a:gd name="connsiteY10" fmla="*/ 285493 h 632169"/>
                    <a:gd name="connsiteX11" fmla="*/ 1220403 w 1260972"/>
                    <a:gd name="connsiteY11" fmla="*/ 106484 h 632169"/>
                    <a:gd name="connsiteX12" fmla="*/ 1253216 w 1260972"/>
                    <a:gd name="connsiteY12" fmla="*/ 34329 h 632169"/>
                    <a:gd name="connsiteX13" fmla="*/ 1176191 w 1260972"/>
                    <a:gd name="connsiteY13" fmla="*/ 10111 h 632169"/>
                    <a:gd name="connsiteX14" fmla="*/ 682582 w 1260972"/>
                    <a:gd name="connsiteY14" fmla="*/ 190023 h 6321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260972" h="632169">
                      <a:moveTo>
                        <a:pt x="682582" y="190023"/>
                      </a:moveTo>
                      <a:cubicBezTo>
                        <a:pt x="547063" y="229887"/>
                        <a:pt x="466886" y="214727"/>
                        <a:pt x="363079" y="249294"/>
                      </a:cubicBezTo>
                      <a:cubicBezTo>
                        <a:pt x="293309" y="267069"/>
                        <a:pt x="123213" y="230167"/>
                        <a:pt x="72656" y="254856"/>
                      </a:cubicBezTo>
                      <a:cubicBezTo>
                        <a:pt x="-51706" y="313720"/>
                        <a:pt x="31901" y="313168"/>
                        <a:pt x="86" y="376034"/>
                      </a:cubicBezTo>
                      <a:cubicBezTo>
                        <a:pt x="-2067" y="399796"/>
                        <a:pt x="37439" y="439287"/>
                        <a:pt x="69856" y="467370"/>
                      </a:cubicBezTo>
                      <a:cubicBezTo>
                        <a:pt x="102273" y="495453"/>
                        <a:pt x="188123" y="508927"/>
                        <a:pt x="194587" y="544531"/>
                      </a:cubicBezTo>
                      <a:cubicBezTo>
                        <a:pt x="201051" y="580135"/>
                        <a:pt x="290328" y="540884"/>
                        <a:pt x="332107" y="561438"/>
                      </a:cubicBezTo>
                      <a:cubicBezTo>
                        <a:pt x="373886" y="581992"/>
                        <a:pt x="488459" y="559229"/>
                        <a:pt x="524784" y="569801"/>
                      </a:cubicBezTo>
                      <a:cubicBezTo>
                        <a:pt x="561109" y="580373"/>
                        <a:pt x="573618" y="653652"/>
                        <a:pt x="620133" y="625957"/>
                      </a:cubicBezTo>
                      <a:cubicBezTo>
                        <a:pt x="683716" y="602780"/>
                        <a:pt x="762428" y="481800"/>
                        <a:pt x="783679" y="423461"/>
                      </a:cubicBezTo>
                      <a:cubicBezTo>
                        <a:pt x="854371" y="354053"/>
                        <a:pt x="1035396" y="357693"/>
                        <a:pt x="1119438" y="285493"/>
                      </a:cubicBezTo>
                      <a:cubicBezTo>
                        <a:pt x="1196856" y="234774"/>
                        <a:pt x="1192320" y="155689"/>
                        <a:pt x="1220403" y="106484"/>
                      </a:cubicBezTo>
                      <a:cubicBezTo>
                        <a:pt x="1249855" y="64254"/>
                        <a:pt x="1241961" y="53699"/>
                        <a:pt x="1253216" y="34329"/>
                      </a:cubicBezTo>
                      <a:cubicBezTo>
                        <a:pt x="1264471" y="14959"/>
                        <a:pt x="1278452" y="-16207"/>
                        <a:pt x="1176191" y="10111"/>
                      </a:cubicBezTo>
                      <a:cubicBezTo>
                        <a:pt x="1159342" y="-28795"/>
                        <a:pt x="818101" y="150159"/>
                        <a:pt x="682582" y="1900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053" name="Group 199"/>
              <p:cNvGrpSpPr>
                <a:grpSpLocks noChangeAspect="1"/>
              </p:cNvGrpSpPr>
              <p:nvPr/>
            </p:nvGrpSpPr>
            <p:grpSpPr>
              <a:xfrm>
                <a:off x="7118413" y="2570776"/>
                <a:ext cx="964429" cy="2589553"/>
                <a:chOff x="7400449" y="2421915"/>
                <a:chExt cx="856269" cy="2299136"/>
              </a:xfrm>
              <a:grpFill/>
            </p:grpSpPr>
            <p:sp>
              <p:nvSpPr>
                <p:cNvPr id="1054" name="Freeform 201"/>
                <p:cNvSpPr/>
                <p:nvPr/>
              </p:nvSpPr>
              <p:spPr>
                <a:xfrm rot="4450231">
                  <a:off x="8181972" y="2427897"/>
                  <a:ext cx="80727" cy="68764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229268 w 499490"/>
                    <a:gd name="connsiteY0" fmla="*/ 680 h 443283"/>
                    <a:gd name="connsiteX1" fmla="*/ 2905 w 499490"/>
                    <a:gd name="connsiteY1" fmla="*/ 227430 h 443283"/>
                    <a:gd name="connsiteX2" fmla="*/ 111769 w 499490"/>
                    <a:gd name="connsiteY2" fmla="*/ 442141 h 443283"/>
                    <a:gd name="connsiteX3" fmla="*/ 493264 w 499490"/>
                    <a:gd name="connsiteY3" fmla="*/ 303076 h 443283"/>
                    <a:gd name="connsiteX4" fmla="*/ 229268 w 499490"/>
                    <a:gd name="connsiteY4" fmla="*/ 680 h 443283"/>
                    <a:gd name="connsiteX0" fmla="*/ 229268 w 512732"/>
                    <a:gd name="connsiteY0" fmla="*/ 46 h 442649"/>
                    <a:gd name="connsiteX1" fmla="*/ 2905 w 512732"/>
                    <a:gd name="connsiteY1" fmla="*/ 226796 h 442649"/>
                    <a:gd name="connsiteX2" fmla="*/ 111769 w 512732"/>
                    <a:gd name="connsiteY2" fmla="*/ 441507 h 442649"/>
                    <a:gd name="connsiteX3" fmla="*/ 493264 w 512732"/>
                    <a:gd name="connsiteY3" fmla="*/ 302442 h 442649"/>
                    <a:gd name="connsiteX4" fmla="*/ 444422 w 512732"/>
                    <a:gd name="connsiteY4" fmla="*/ 245432 h 442649"/>
                    <a:gd name="connsiteX5" fmla="*/ 229268 w 512732"/>
                    <a:gd name="connsiteY5" fmla="*/ 46 h 442649"/>
                    <a:gd name="connsiteX0" fmla="*/ 230315 w 513779"/>
                    <a:gd name="connsiteY0" fmla="*/ 44 h 400286"/>
                    <a:gd name="connsiteX1" fmla="*/ 3952 w 513779"/>
                    <a:gd name="connsiteY1" fmla="*/ 226794 h 400286"/>
                    <a:gd name="connsiteX2" fmla="*/ 99654 w 513779"/>
                    <a:gd name="connsiteY2" fmla="*/ 398368 h 400286"/>
                    <a:gd name="connsiteX3" fmla="*/ 494311 w 513779"/>
                    <a:gd name="connsiteY3" fmla="*/ 302440 h 400286"/>
                    <a:gd name="connsiteX4" fmla="*/ 445469 w 513779"/>
                    <a:gd name="connsiteY4" fmla="*/ 245430 h 400286"/>
                    <a:gd name="connsiteX5" fmla="*/ 230315 w 513779"/>
                    <a:gd name="connsiteY5" fmla="*/ 44 h 400286"/>
                    <a:gd name="connsiteX0" fmla="*/ 231156 w 514620"/>
                    <a:gd name="connsiteY0" fmla="*/ 44 h 400286"/>
                    <a:gd name="connsiteX1" fmla="*/ 4793 w 514620"/>
                    <a:gd name="connsiteY1" fmla="*/ 226794 h 400286"/>
                    <a:gd name="connsiteX2" fmla="*/ 100495 w 514620"/>
                    <a:gd name="connsiteY2" fmla="*/ 398368 h 400286"/>
                    <a:gd name="connsiteX3" fmla="*/ 495152 w 514620"/>
                    <a:gd name="connsiteY3" fmla="*/ 302440 h 400286"/>
                    <a:gd name="connsiteX4" fmla="*/ 446310 w 514620"/>
                    <a:gd name="connsiteY4" fmla="*/ 245430 h 400286"/>
                    <a:gd name="connsiteX5" fmla="*/ 231156 w 514620"/>
                    <a:gd name="connsiteY5" fmla="*/ 44 h 400286"/>
                    <a:gd name="connsiteX0" fmla="*/ 168188 w 451652"/>
                    <a:gd name="connsiteY0" fmla="*/ 2 h 400244"/>
                    <a:gd name="connsiteX1" fmla="*/ 25423 w 451652"/>
                    <a:gd name="connsiteY1" fmla="*/ 241481 h 400244"/>
                    <a:gd name="connsiteX2" fmla="*/ 37527 w 451652"/>
                    <a:gd name="connsiteY2" fmla="*/ 398326 h 400244"/>
                    <a:gd name="connsiteX3" fmla="*/ 432184 w 451652"/>
                    <a:gd name="connsiteY3" fmla="*/ 302398 h 400244"/>
                    <a:gd name="connsiteX4" fmla="*/ 383342 w 451652"/>
                    <a:gd name="connsiteY4" fmla="*/ 245388 h 400244"/>
                    <a:gd name="connsiteX5" fmla="*/ 168188 w 451652"/>
                    <a:gd name="connsiteY5" fmla="*/ 2 h 400244"/>
                    <a:gd name="connsiteX0" fmla="*/ 168188 w 392477"/>
                    <a:gd name="connsiteY0" fmla="*/ 2 h 400466"/>
                    <a:gd name="connsiteX1" fmla="*/ 25423 w 392477"/>
                    <a:gd name="connsiteY1" fmla="*/ 241481 h 400466"/>
                    <a:gd name="connsiteX2" fmla="*/ 37527 w 392477"/>
                    <a:gd name="connsiteY2" fmla="*/ 398326 h 400466"/>
                    <a:gd name="connsiteX3" fmla="*/ 251696 w 392477"/>
                    <a:gd name="connsiteY3" fmla="*/ 309130 h 400466"/>
                    <a:gd name="connsiteX4" fmla="*/ 383342 w 392477"/>
                    <a:gd name="connsiteY4" fmla="*/ 245388 h 400466"/>
                    <a:gd name="connsiteX5" fmla="*/ 168188 w 392477"/>
                    <a:gd name="connsiteY5" fmla="*/ 2 h 400466"/>
                    <a:gd name="connsiteX0" fmla="*/ 168188 w 274413"/>
                    <a:gd name="connsiteY0" fmla="*/ 265 h 400729"/>
                    <a:gd name="connsiteX1" fmla="*/ 25423 w 274413"/>
                    <a:gd name="connsiteY1" fmla="*/ 241744 h 400729"/>
                    <a:gd name="connsiteX2" fmla="*/ 37527 w 274413"/>
                    <a:gd name="connsiteY2" fmla="*/ 398589 h 400729"/>
                    <a:gd name="connsiteX3" fmla="*/ 251696 w 274413"/>
                    <a:gd name="connsiteY3" fmla="*/ 309393 h 400729"/>
                    <a:gd name="connsiteX4" fmla="*/ 217501 w 274413"/>
                    <a:gd name="connsiteY4" fmla="*/ 196748 h 400729"/>
                    <a:gd name="connsiteX5" fmla="*/ 168188 w 274413"/>
                    <a:gd name="connsiteY5" fmla="*/ 265 h 400729"/>
                    <a:gd name="connsiteX0" fmla="*/ 168188 w 237096"/>
                    <a:gd name="connsiteY0" fmla="*/ 265 h 401953"/>
                    <a:gd name="connsiteX1" fmla="*/ 25423 w 237096"/>
                    <a:gd name="connsiteY1" fmla="*/ 241744 h 401953"/>
                    <a:gd name="connsiteX2" fmla="*/ 37527 w 237096"/>
                    <a:gd name="connsiteY2" fmla="*/ 398589 h 401953"/>
                    <a:gd name="connsiteX3" fmla="*/ 175329 w 237096"/>
                    <a:gd name="connsiteY3" fmla="*/ 331285 h 401953"/>
                    <a:gd name="connsiteX4" fmla="*/ 217501 w 237096"/>
                    <a:gd name="connsiteY4" fmla="*/ 196748 h 401953"/>
                    <a:gd name="connsiteX5" fmla="*/ 168188 w 237096"/>
                    <a:gd name="connsiteY5" fmla="*/ 265 h 401953"/>
                    <a:gd name="connsiteX0" fmla="*/ 168188 w 237096"/>
                    <a:gd name="connsiteY0" fmla="*/ 3688 h 405376"/>
                    <a:gd name="connsiteX1" fmla="*/ 25423 w 237096"/>
                    <a:gd name="connsiteY1" fmla="*/ 245167 h 405376"/>
                    <a:gd name="connsiteX2" fmla="*/ 37527 w 237096"/>
                    <a:gd name="connsiteY2" fmla="*/ 402012 h 405376"/>
                    <a:gd name="connsiteX3" fmla="*/ 175329 w 237096"/>
                    <a:gd name="connsiteY3" fmla="*/ 334708 h 405376"/>
                    <a:gd name="connsiteX4" fmla="*/ 217501 w 237096"/>
                    <a:gd name="connsiteY4" fmla="*/ 200171 h 405376"/>
                    <a:gd name="connsiteX5" fmla="*/ 168188 w 237096"/>
                    <a:gd name="connsiteY5" fmla="*/ 3688 h 405376"/>
                    <a:gd name="connsiteX0" fmla="*/ 168188 w 235421"/>
                    <a:gd name="connsiteY0" fmla="*/ 3688 h 402167"/>
                    <a:gd name="connsiteX1" fmla="*/ 25423 w 235421"/>
                    <a:gd name="connsiteY1" fmla="*/ 245167 h 402167"/>
                    <a:gd name="connsiteX2" fmla="*/ 37527 w 235421"/>
                    <a:gd name="connsiteY2" fmla="*/ 402012 h 402167"/>
                    <a:gd name="connsiteX3" fmla="*/ 217501 w 235421"/>
                    <a:gd name="connsiteY3" fmla="*/ 200171 h 402167"/>
                    <a:gd name="connsiteX4" fmla="*/ 168188 w 235421"/>
                    <a:gd name="connsiteY4" fmla="*/ 3688 h 402167"/>
                    <a:gd name="connsiteX0" fmla="*/ 168188 w 235421"/>
                    <a:gd name="connsiteY0" fmla="*/ 3688 h 402595"/>
                    <a:gd name="connsiteX1" fmla="*/ 25423 w 235421"/>
                    <a:gd name="connsiteY1" fmla="*/ 245167 h 402595"/>
                    <a:gd name="connsiteX2" fmla="*/ 37527 w 235421"/>
                    <a:gd name="connsiteY2" fmla="*/ 402012 h 402595"/>
                    <a:gd name="connsiteX3" fmla="*/ 217501 w 235421"/>
                    <a:gd name="connsiteY3" fmla="*/ 200171 h 402595"/>
                    <a:gd name="connsiteX4" fmla="*/ 168188 w 235421"/>
                    <a:gd name="connsiteY4" fmla="*/ 3688 h 402595"/>
                    <a:gd name="connsiteX0" fmla="*/ 171350 w 236788"/>
                    <a:gd name="connsiteY0" fmla="*/ 3140 h 451128"/>
                    <a:gd name="connsiteX1" fmla="*/ 25592 w 236788"/>
                    <a:gd name="connsiteY1" fmla="*/ 293700 h 451128"/>
                    <a:gd name="connsiteX2" fmla="*/ 37696 w 236788"/>
                    <a:gd name="connsiteY2" fmla="*/ 450545 h 451128"/>
                    <a:gd name="connsiteX3" fmla="*/ 217670 w 236788"/>
                    <a:gd name="connsiteY3" fmla="*/ 248704 h 451128"/>
                    <a:gd name="connsiteX4" fmla="*/ 171350 w 236788"/>
                    <a:gd name="connsiteY4" fmla="*/ 3140 h 451128"/>
                    <a:gd name="connsiteX0" fmla="*/ 171350 w 284643"/>
                    <a:gd name="connsiteY0" fmla="*/ 18721 h 466709"/>
                    <a:gd name="connsiteX1" fmla="*/ 25592 w 284643"/>
                    <a:gd name="connsiteY1" fmla="*/ 309281 h 466709"/>
                    <a:gd name="connsiteX2" fmla="*/ 37696 w 284643"/>
                    <a:gd name="connsiteY2" fmla="*/ 466126 h 466709"/>
                    <a:gd name="connsiteX3" fmla="*/ 217670 w 284643"/>
                    <a:gd name="connsiteY3" fmla="*/ 264285 h 466709"/>
                    <a:gd name="connsiteX4" fmla="*/ 283687 w 284643"/>
                    <a:gd name="connsiteY4" fmla="*/ 54630 h 466709"/>
                    <a:gd name="connsiteX5" fmla="*/ 171350 w 284643"/>
                    <a:gd name="connsiteY5" fmla="*/ 18721 h 466709"/>
                    <a:gd name="connsiteX0" fmla="*/ 171350 w 284643"/>
                    <a:gd name="connsiteY0" fmla="*/ 13405 h 461393"/>
                    <a:gd name="connsiteX1" fmla="*/ 25592 w 284643"/>
                    <a:gd name="connsiteY1" fmla="*/ 303965 h 461393"/>
                    <a:gd name="connsiteX2" fmla="*/ 37696 w 284643"/>
                    <a:gd name="connsiteY2" fmla="*/ 460810 h 461393"/>
                    <a:gd name="connsiteX3" fmla="*/ 217670 w 284643"/>
                    <a:gd name="connsiteY3" fmla="*/ 258969 h 461393"/>
                    <a:gd name="connsiteX4" fmla="*/ 283687 w 284643"/>
                    <a:gd name="connsiteY4" fmla="*/ 49314 h 461393"/>
                    <a:gd name="connsiteX5" fmla="*/ 171350 w 284643"/>
                    <a:gd name="connsiteY5" fmla="*/ 13405 h 461393"/>
                    <a:gd name="connsiteX0" fmla="*/ 171350 w 284643"/>
                    <a:gd name="connsiteY0" fmla="*/ 11721 h 459709"/>
                    <a:gd name="connsiteX1" fmla="*/ 25592 w 284643"/>
                    <a:gd name="connsiteY1" fmla="*/ 302281 h 459709"/>
                    <a:gd name="connsiteX2" fmla="*/ 37696 w 284643"/>
                    <a:gd name="connsiteY2" fmla="*/ 459126 h 459709"/>
                    <a:gd name="connsiteX3" fmla="*/ 217670 w 284643"/>
                    <a:gd name="connsiteY3" fmla="*/ 257285 h 459709"/>
                    <a:gd name="connsiteX4" fmla="*/ 283687 w 284643"/>
                    <a:gd name="connsiteY4" fmla="*/ 47630 h 459709"/>
                    <a:gd name="connsiteX5" fmla="*/ 171350 w 284643"/>
                    <a:gd name="connsiteY5" fmla="*/ 11721 h 459709"/>
                    <a:gd name="connsiteX0" fmla="*/ 171350 w 284643"/>
                    <a:gd name="connsiteY0" fmla="*/ 10902 h 458890"/>
                    <a:gd name="connsiteX1" fmla="*/ 25592 w 284643"/>
                    <a:gd name="connsiteY1" fmla="*/ 301462 h 458890"/>
                    <a:gd name="connsiteX2" fmla="*/ 37696 w 284643"/>
                    <a:gd name="connsiteY2" fmla="*/ 458307 h 458890"/>
                    <a:gd name="connsiteX3" fmla="*/ 217670 w 284643"/>
                    <a:gd name="connsiteY3" fmla="*/ 256466 h 458890"/>
                    <a:gd name="connsiteX4" fmla="*/ 283687 w 284643"/>
                    <a:gd name="connsiteY4" fmla="*/ 46811 h 458890"/>
                    <a:gd name="connsiteX5" fmla="*/ 171350 w 284643"/>
                    <a:gd name="connsiteY5" fmla="*/ 10902 h 458890"/>
                    <a:gd name="connsiteX0" fmla="*/ 139949 w 282991"/>
                    <a:gd name="connsiteY0" fmla="*/ 10529 h 462849"/>
                    <a:gd name="connsiteX1" fmla="*/ 23940 w 282991"/>
                    <a:gd name="connsiteY1" fmla="*/ 305421 h 462849"/>
                    <a:gd name="connsiteX2" fmla="*/ 36044 w 282991"/>
                    <a:gd name="connsiteY2" fmla="*/ 462266 h 462849"/>
                    <a:gd name="connsiteX3" fmla="*/ 216018 w 282991"/>
                    <a:gd name="connsiteY3" fmla="*/ 260425 h 462849"/>
                    <a:gd name="connsiteX4" fmla="*/ 282035 w 282991"/>
                    <a:gd name="connsiteY4" fmla="*/ 50770 h 462849"/>
                    <a:gd name="connsiteX5" fmla="*/ 139949 w 282991"/>
                    <a:gd name="connsiteY5" fmla="*/ 10529 h 462849"/>
                    <a:gd name="connsiteX0" fmla="*/ 139949 w 283971"/>
                    <a:gd name="connsiteY0" fmla="*/ 13151 h 465471"/>
                    <a:gd name="connsiteX1" fmla="*/ 23940 w 283971"/>
                    <a:gd name="connsiteY1" fmla="*/ 308043 h 465471"/>
                    <a:gd name="connsiteX2" fmla="*/ 36044 w 283971"/>
                    <a:gd name="connsiteY2" fmla="*/ 464888 h 465471"/>
                    <a:gd name="connsiteX3" fmla="*/ 216018 w 283971"/>
                    <a:gd name="connsiteY3" fmla="*/ 263047 h 465471"/>
                    <a:gd name="connsiteX4" fmla="*/ 283035 w 283971"/>
                    <a:gd name="connsiteY4" fmla="*/ 37033 h 465471"/>
                    <a:gd name="connsiteX5" fmla="*/ 139949 w 283971"/>
                    <a:gd name="connsiteY5" fmla="*/ 13151 h 465471"/>
                    <a:gd name="connsiteX0" fmla="*/ 120318 w 264340"/>
                    <a:gd name="connsiteY0" fmla="*/ 13153 h 348654"/>
                    <a:gd name="connsiteX1" fmla="*/ 4309 w 264340"/>
                    <a:gd name="connsiteY1" fmla="*/ 308045 h 348654"/>
                    <a:gd name="connsiteX2" fmla="*/ 59472 w 264340"/>
                    <a:gd name="connsiteY2" fmla="*/ 343243 h 348654"/>
                    <a:gd name="connsiteX3" fmla="*/ 196387 w 264340"/>
                    <a:gd name="connsiteY3" fmla="*/ 263049 h 348654"/>
                    <a:gd name="connsiteX4" fmla="*/ 263404 w 264340"/>
                    <a:gd name="connsiteY4" fmla="*/ 37035 h 348654"/>
                    <a:gd name="connsiteX5" fmla="*/ 120318 w 264340"/>
                    <a:gd name="connsiteY5" fmla="*/ 13153 h 348654"/>
                    <a:gd name="connsiteX0" fmla="*/ 119325 w 263347"/>
                    <a:gd name="connsiteY0" fmla="*/ 523 h 333116"/>
                    <a:gd name="connsiteX1" fmla="*/ 4514 w 263347"/>
                    <a:gd name="connsiteY1" fmla="*/ 60391 h 333116"/>
                    <a:gd name="connsiteX2" fmla="*/ 58479 w 263347"/>
                    <a:gd name="connsiteY2" fmla="*/ 330613 h 333116"/>
                    <a:gd name="connsiteX3" fmla="*/ 195394 w 263347"/>
                    <a:gd name="connsiteY3" fmla="*/ 250419 h 333116"/>
                    <a:gd name="connsiteX4" fmla="*/ 262411 w 263347"/>
                    <a:gd name="connsiteY4" fmla="*/ 24405 h 333116"/>
                    <a:gd name="connsiteX5" fmla="*/ 119325 w 263347"/>
                    <a:gd name="connsiteY5" fmla="*/ 523 h 333116"/>
                    <a:gd name="connsiteX0" fmla="*/ 122870 w 266892"/>
                    <a:gd name="connsiteY0" fmla="*/ 523 h 264618"/>
                    <a:gd name="connsiteX1" fmla="*/ 8059 w 266892"/>
                    <a:gd name="connsiteY1" fmla="*/ 60391 h 264618"/>
                    <a:gd name="connsiteX2" fmla="*/ 50577 w 266892"/>
                    <a:gd name="connsiteY2" fmla="*/ 118507 h 264618"/>
                    <a:gd name="connsiteX3" fmla="*/ 198939 w 266892"/>
                    <a:gd name="connsiteY3" fmla="*/ 250419 h 264618"/>
                    <a:gd name="connsiteX4" fmla="*/ 265956 w 266892"/>
                    <a:gd name="connsiteY4" fmla="*/ 24405 h 264618"/>
                    <a:gd name="connsiteX5" fmla="*/ 122870 w 266892"/>
                    <a:gd name="connsiteY5" fmla="*/ 523 h 264618"/>
                    <a:gd name="connsiteX0" fmla="*/ 122870 w 266593"/>
                    <a:gd name="connsiteY0" fmla="*/ 523 h 140228"/>
                    <a:gd name="connsiteX1" fmla="*/ 8059 w 266593"/>
                    <a:gd name="connsiteY1" fmla="*/ 60391 h 140228"/>
                    <a:gd name="connsiteX2" fmla="*/ 50577 w 266593"/>
                    <a:gd name="connsiteY2" fmla="*/ 118507 h 140228"/>
                    <a:gd name="connsiteX3" fmla="*/ 176057 w 266593"/>
                    <a:gd name="connsiteY3" fmla="*/ 102668 h 140228"/>
                    <a:gd name="connsiteX4" fmla="*/ 265956 w 266593"/>
                    <a:gd name="connsiteY4" fmla="*/ 24405 h 140228"/>
                    <a:gd name="connsiteX5" fmla="*/ 122870 w 266593"/>
                    <a:gd name="connsiteY5" fmla="*/ 523 h 140228"/>
                    <a:gd name="connsiteX0" fmla="*/ 122870 w 266856"/>
                    <a:gd name="connsiteY0" fmla="*/ 1708 h 120023"/>
                    <a:gd name="connsiteX1" fmla="*/ 8059 w 266856"/>
                    <a:gd name="connsiteY1" fmla="*/ 61576 h 120023"/>
                    <a:gd name="connsiteX2" fmla="*/ 50577 w 266856"/>
                    <a:gd name="connsiteY2" fmla="*/ 119692 h 120023"/>
                    <a:gd name="connsiteX3" fmla="*/ 265956 w 266856"/>
                    <a:gd name="connsiteY3" fmla="*/ 25590 h 120023"/>
                    <a:gd name="connsiteX4" fmla="*/ 122870 w 266856"/>
                    <a:gd name="connsiteY4" fmla="*/ 1708 h 120023"/>
                    <a:gd name="connsiteX0" fmla="*/ 162732 w 306777"/>
                    <a:gd name="connsiteY0" fmla="*/ 599 h 118818"/>
                    <a:gd name="connsiteX1" fmla="*/ 2188 w 306777"/>
                    <a:gd name="connsiteY1" fmla="*/ 41428 h 118818"/>
                    <a:gd name="connsiteX2" fmla="*/ 90439 w 306777"/>
                    <a:gd name="connsiteY2" fmla="*/ 118583 h 118818"/>
                    <a:gd name="connsiteX3" fmla="*/ 305818 w 306777"/>
                    <a:gd name="connsiteY3" fmla="*/ 24481 h 118818"/>
                    <a:gd name="connsiteX4" fmla="*/ 162732 w 306777"/>
                    <a:gd name="connsiteY4" fmla="*/ 599 h 118818"/>
                    <a:gd name="connsiteX0" fmla="*/ 161930 w 305975"/>
                    <a:gd name="connsiteY0" fmla="*/ 599 h 119285"/>
                    <a:gd name="connsiteX1" fmla="*/ 1386 w 305975"/>
                    <a:gd name="connsiteY1" fmla="*/ 41428 h 119285"/>
                    <a:gd name="connsiteX2" fmla="*/ 89637 w 305975"/>
                    <a:gd name="connsiteY2" fmla="*/ 118583 h 119285"/>
                    <a:gd name="connsiteX3" fmla="*/ 144843 w 305975"/>
                    <a:gd name="connsiteY3" fmla="*/ 67180 h 119285"/>
                    <a:gd name="connsiteX4" fmla="*/ 305016 w 305975"/>
                    <a:gd name="connsiteY4" fmla="*/ 24481 h 119285"/>
                    <a:gd name="connsiteX5" fmla="*/ 161930 w 305975"/>
                    <a:gd name="connsiteY5" fmla="*/ 599 h 119285"/>
                    <a:gd name="connsiteX0" fmla="*/ 161930 w 271336"/>
                    <a:gd name="connsiteY0" fmla="*/ 7 h 118692"/>
                    <a:gd name="connsiteX1" fmla="*/ 1386 w 271336"/>
                    <a:gd name="connsiteY1" fmla="*/ 40836 h 118692"/>
                    <a:gd name="connsiteX2" fmla="*/ 89637 w 271336"/>
                    <a:gd name="connsiteY2" fmla="*/ 117991 h 118692"/>
                    <a:gd name="connsiteX3" fmla="*/ 144843 w 271336"/>
                    <a:gd name="connsiteY3" fmla="*/ 66588 h 118692"/>
                    <a:gd name="connsiteX4" fmla="*/ 270050 w 271336"/>
                    <a:gd name="connsiteY4" fmla="*/ 43555 h 118692"/>
                    <a:gd name="connsiteX5" fmla="*/ 161930 w 271336"/>
                    <a:gd name="connsiteY5" fmla="*/ 7 h 1186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1336" h="118692">
                      <a:moveTo>
                        <a:pt x="161930" y="7"/>
                      </a:moveTo>
                      <a:cubicBezTo>
                        <a:pt x="117153" y="-446"/>
                        <a:pt x="13435" y="21172"/>
                        <a:pt x="1386" y="40836"/>
                      </a:cubicBezTo>
                      <a:cubicBezTo>
                        <a:pt x="-10663" y="60500"/>
                        <a:pt x="58993" y="111343"/>
                        <a:pt x="89637" y="117991"/>
                      </a:cubicBezTo>
                      <a:cubicBezTo>
                        <a:pt x="120281" y="124639"/>
                        <a:pt x="108947" y="82272"/>
                        <a:pt x="144843" y="66588"/>
                      </a:cubicBezTo>
                      <a:cubicBezTo>
                        <a:pt x="180739" y="50904"/>
                        <a:pt x="273937" y="57008"/>
                        <a:pt x="270050" y="43555"/>
                      </a:cubicBezTo>
                      <a:cubicBezTo>
                        <a:pt x="282099" y="23891"/>
                        <a:pt x="206707" y="460"/>
                        <a:pt x="161930" y="7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5" name="Freeform 202"/>
                <p:cNvSpPr/>
                <p:nvPr/>
              </p:nvSpPr>
              <p:spPr>
                <a:xfrm rot="4450231">
                  <a:off x="7727809" y="4616260"/>
                  <a:ext cx="108525" cy="101058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229268 w 499490"/>
                    <a:gd name="connsiteY0" fmla="*/ 680 h 443283"/>
                    <a:gd name="connsiteX1" fmla="*/ 2905 w 499490"/>
                    <a:gd name="connsiteY1" fmla="*/ 227430 h 443283"/>
                    <a:gd name="connsiteX2" fmla="*/ 111769 w 499490"/>
                    <a:gd name="connsiteY2" fmla="*/ 442141 h 443283"/>
                    <a:gd name="connsiteX3" fmla="*/ 493264 w 499490"/>
                    <a:gd name="connsiteY3" fmla="*/ 303076 h 443283"/>
                    <a:gd name="connsiteX4" fmla="*/ 229268 w 499490"/>
                    <a:gd name="connsiteY4" fmla="*/ 680 h 443283"/>
                    <a:gd name="connsiteX0" fmla="*/ 229268 w 512732"/>
                    <a:gd name="connsiteY0" fmla="*/ 46 h 442649"/>
                    <a:gd name="connsiteX1" fmla="*/ 2905 w 512732"/>
                    <a:gd name="connsiteY1" fmla="*/ 226796 h 442649"/>
                    <a:gd name="connsiteX2" fmla="*/ 111769 w 512732"/>
                    <a:gd name="connsiteY2" fmla="*/ 441507 h 442649"/>
                    <a:gd name="connsiteX3" fmla="*/ 493264 w 512732"/>
                    <a:gd name="connsiteY3" fmla="*/ 302442 h 442649"/>
                    <a:gd name="connsiteX4" fmla="*/ 444422 w 512732"/>
                    <a:gd name="connsiteY4" fmla="*/ 245432 h 442649"/>
                    <a:gd name="connsiteX5" fmla="*/ 229268 w 512732"/>
                    <a:gd name="connsiteY5" fmla="*/ 46 h 442649"/>
                    <a:gd name="connsiteX0" fmla="*/ 230315 w 513779"/>
                    <a:gd name="connsiteY0" fmla="*/ 44 h 400286"/>
                    <a:gd name="connsiteX1" fmla="*/ 3952 w 513779"/>
                    <a:gd name="connsiteY1" fmla="*/ 226794 h 400286"/>
                    <a:gd name="connsiteX2" fmla="*/ 99654 w 513779"/>
                    <a:gd name="connsiteY2" fmla="*/ 398368 h 400286"/>
                    <a:gd name="connsiteX3" fmla="*/ 494311 w 513779"/>
                    <a:gd name="connsiteY3" fmla="*/ 302440 h 400286"/>
                    <a:gd name="connsiteX4" fmla="*/ 445469 w 513779"/>
                    <a:gd name="connsiteY4" fmla="*/ 245430 h 400286"/>
                    <a:gd name="connsiteX5" fmla="*/ 230315 w 513779"/>
                    <a:gd name="connsiteY5" fmla="*/ 44 h 400286"/>
                    <a:gd name="connsiteX0" fmla="*/ 231156 w 514620"/>
                    <a:gd name="connsiteY0" fmla="*/ 44 h 400286"/>
                    <a:gd name="connsiteX1" fmla="*/ 4793 w 514620"/>
                    <a:gd name="connsiteY1" fmla="*/ 226794 h 400286"/>
                    <a:gd name="connsiteX2" fmla="*/ 100495 w 514620"/>
                    <a:gd name="connsiteY2" fmla="*/ 398368 h 400286"/>
                    <a:gd name="connsiteX3" fmla="*/ 495152 w 514620"/>
                    <a:gd name="connsiteY3" fmla="*/ 302440 h 400286"/>
                    <a:gd name="connsiteX4" fmla="*/ 446310 w 514620"/>
                    <a:gd name="connsiteY4" fmla="*/ 245430 h 400286"/>
                    <a:gd name="connsiteX5" fmla="*/ 231156 w 514620"/>
                    <a:gd name="connsiteY5" fmla="*/ 44 h 400286"/>
                    <a:gd name="connsiteX0" fmla="*/ 168188 w 451652"/>
                    <a:gd name="connsiteY0" fmla="*/ 2 h 400244"/>
                    <a:gd name="connsiteX1" fmla="*/ 25423 w 451652"/>
                    <a:gd name="connsiteY1" fmla="*/ 241481 h 400244"/>
                    <a:gd name="connsiteX2" fmla="*/ 37527 w 451652"/>
                    <a:gd name="connsiteY2" fmla="*/ 398326 h 400244"/>
                    <a:gd name="connsiteX3" fmla="*/ 432184 w 451652"/>
                    <a:gd name="connsiteY3" fmla="*/ 302398 h 400244"/>
                    <a:gd name="connsiteX4" fmla="*/ 383342 w 451652"/>
                    <a:gd name="connsiteY4" fmla="*/ 245388 h 400244"/>
                    <a:gd name="connsiteX5" fmla="*/ 168188 w 451652"/>
                    <a:gd name="connsiteY5" fmla="*/ 2 h 400244"/>
                    <a:gd name="connsiteX0" fmla="*/ 168188 w 392477"/>
                    <a:gd name="connsiteY0" fmla="*/ 2 h 400466"/>
                    <a:gd name="connsiteX1" fmla="*/ 25423 w 392477"/>
                    <a:gd name="connsiteY1" fmla="*/ 241481 h 400466"/>
                    <a:gd name="connsiteX2" fmla="*/ 37527 w 392477"/>
                    <a:gd name="connsiteY2" fmla="*/ 398326 h 400466"/>
                    <a:gd name="connsiteX3" fmla="*/ 251696 w 392477"/>
                    <a:gd name="connsiteY3" fmla="*/ 309130 h 400466"/>
                    <a:gd name="connsiteX4" fmla="*/ 383342 w 392477"/>
                    <a:gd name="connsiteY4" fmla="*/ 245388 h 400466"/>
                    <a:gd name="connsiteX5" fmla="*/ 168188 w 392477"/>
                    <a:gd name="connsiteY5" fmla="*/ 2 h 400466"/>
                    <a:gd name="connsiteX0" fmla="*/ 168188 w 274413"/>
                    <a:gd name="connsiteY0" fmla="*/ 265 h 400729"/>
                    <a:gd name="connsiteX1" fmla="*/ 25423 w 274413"/>
                    <a:gd name="connsiteY1" fmla="*/ 241744 h 400729"/>
                    <a:gd name="connsiteX2" fmla="*/ 37527 w 274413"/>
                    <a:gd name="connsiteY2" fmla="*/ 398589 h 400729"/>
                    <a:gd name="connsiteX3" fmla="*/ 251696 w 274413"/>
                    <a:gd name="connsiteY3" fmla="*/ 309393 h 400729"/>
                    <a:gd name="connsiteX4" fmla="*/ 217501 w 274413"/>
                    <a:gd name="connsiteY4" fmla="*/ 196748 h 400729"/>
                    <a:gd name="connsiteX5" fmla="*/ 168188 w 274413"/>
                    <a:gd name="connsiteY5" fmla="*/ 265 h 400729"/>
                    <a:gd name="connsiteX0" fmla="*/ 168188 w 237096"/>
                    <a:gd name="connsiteY0" fmla="*/ 265 h 401953"/>
                    <a:gd name="connsiteX1" fmla="*/ 25423 w 237096"/>
                    <a:gd name="connsiteY1" fmla="*/ 241744 h 401953"/>
                    <a:gd name="connsiteX2" fmla="*/ 37527 w 237096"/>
                    <a:gd name="connsiteY2" fmla="*/ 398589 h 401953"/>
                    <a:gd name="connsiteX3" fmla="*/ 175329 w 237096"/>
                    <a:gd name="connsiteY3" fmla="*/ 331285 h 401953"/>
                    <a:gd name="connsiteX4" fmla="*/ 217501 w 237096"/>
                    <a:gd name="connsiteY4" fmla="*/ 196748 h 401953"/>
                    <a:gd name="connsiteX5" fmla="*/ 168188 w 237096"/>
                    <a:gd name="connsiteY5" fmla="*/ 265 h 401953"/>
                    <a:gd name="connsiteX0" fmla="*/ 168188 w 237096"/>
                    <a:gd name="connsiteY0" fmla="*/ 3688 h 405376"/>
                    <a:gd name="connsiteX1" fmla="*/ 25423 w 237096"/>
                    <a:gd name="connsiteY1" fmla="*/ 245167 h 405376"/>
                    <a:gd name="connsiteX2" fmla="*/ 37527 w 237096"/>
                    <a:gd name="connsiteY2" fmla="*/ 402012 h 405376"/>
                    <a:gd name="connsiteX3" fmla="*/ 175329 w 237096"/>
                    <a:gd name="connsiteY3" fmla="*/ 334708 h 405376"/>
                    <a:gd name="connsiteX4" fmla="*/ 217501 w 237096"/>
                    <a:gd name="connsiteY4" fmla="*/ 200171 h 405376"/>
                    <a:gd name="connsiteX5" fmla="*/ 168188 w 237096"/>
                    <a:gd name="connsiteY5" fmla="*/ 3688 h 405376"/>
                    <a:gd name="connsiteX0" fmla="*/ 168188 w 235421"/>
                    <a:gd name="connsiteY0" fmla="*/ 3688 h 402167"/>
                    <a:gd name="connsiteX1" fmla="*/ 25423 w 235421"/>
                    <a:gd name="connsiteY1" fmla="*/ 245167 h 402167"/>
                    <a:gd name="connsiteX2" fmla="*/ 37527 w 235421"/>
                    <a:gd name="connsiteY2" fmla="*/ 402012 h 402167"/>
                    <a:gd name="connsiteX3" fmla="*/ 217501 w 235421"/>
                    <a:gd name="connsiteY3" fmla="*/ 200171 h 402167"/>
                    <a:gd name="connsiteX4" fmla="*/ 168188 w 235421"/>
                    <a:gd name="connsiteY4" fmla="*/ 3688 h 402167"/>
                    <a:gd name="connsiteX0" fmla="*/ 168188 w 235421"/>
                    <a:gd name="connsiteY0" fmla="*/ 3688 h 402595"/>
                    <a:gd name="connsiteX1" fmla="*/ 25423 w 235421"/>
                    <a:gd name="connsiteY1" fmla="*/ 245167 h 402595"/>
                    <a:gd name="connsiteX2" fmla="*/ 37527 w 235421"/>
                    <a:gd name="connsiteY2" fmla="*/ 402012 h 402595"/>
                    <a:gd name="connsiteX3" fmla="*/ 217501 w 235421"/>
                    <a:gd name="connsiteY3" fmla="*/ 200171 h 402595"/>
                    <a:gd name="connsiteX4" fmla="*/ 168188 w 235421"/>
                    <a:gd name="connsiteY4" fmla="*/ 3688 h 402595"/>
                    <a:gd name="connsiteX0" fmla="*/ 171350 w 236788"/>
                    <a:gd name="connsiteY0" fmla="*/ 3140 h 451128"/>
                    <a:gd name="connsiteX1" fmla="*/ 25592 w 236788"/>
                    <a:gd name="connsiteY1" fmla="*/ 293700 h 451128"/>
                    <a:gd name="connsiteX2" fmla="*/ 37696 w 236788"/>
                    <a:gd name="connsiteY2" fmla="*/ 450545 h 451128"/>
                    <a:gd name="connsiteX3" fmla="*/ 217670 w 236788"/>
                    <a:gd name="connsiteY3" fmla="*/ 248704 h 451128"/>
                    <a:gd name="connsiteX4" fmla="*/ 171350 w 236788"/>
                    <a:gd name="connsiteY4" fmla="*/ 3140 h 451128"/>
                    <a:gd name="connsiteX0" fmla="*/ 171350 w 284643"/>
                    <a:gd name="connsiteY0" fmla="*/ 18721 h 466709"/>
                    <a:gd name="connsiteX1" fmla="*/ 25592 w 284643"/>
                    <a:gd name="connsiteY1" fmla="*/ 309281 h 466709"/>
                    <a:gd name="connsiteX2" fmla="*/ 37696 w 284643"/>
                    <a:gd name="connsiteY2" fmla="*/ 466126 h 466709"/>
                    <a:gd name="connsiteX3" fmla="*/ 217670 w 284643"/>
                    <a:gd name="connsiteY3" fmla="*/ 264285 h 466709"/>
                    <a:gd name="connsiteX4" fmla="*/ 283687 w 284643"/>
                    <a:gd name="connsiteY4" fmla="*/ 54630 h 466709"/>
                    <a:gd name="connsiteX5" fmla="*/ 171350 w 284643"/>
                    <a:gd name="connsiteY5" fmla="*/ 18721 h 466709"/>
                    <a:gd name="connsiteX0" fmla="*/ 171350 w 284643"/>
                    <a:gd name="connsiteY0" fmla="*/ 13405 h 461393"/>
                    <a:gd name="connsiteX1" fmla="*/ 25592 w 284643"/>
                    <a:gd name="connsiteY1" fmla="*/ 303965 h 461393"/>
                    <a:gd name="connsiteX2" fmla="*/ 37696 w 284643"/>
                    <a:gd name="connsiteY2" fmla="*/ 460810 h 461393"/>
                    <a:gd name="connsiteX3" fmla="*/ 217670 w 284643"/>
                    <a:gd name="connsiteY3" fmla="*/ 258969 h 461393"/>
                    <a:gd name="connsiteX4" fmla="*/ 283687 w 284643"/>
                    <a:gd name="connsiteY4" fmla="*/ 49314 h 461393"/>
                    <a:gd name="connsiteX5" fmla="*/ 171350 w 284643"/>
                    <a:gd name="connsiteY5" fmla="*/ 13405 h 461393"/>
                    <a:gd name="connsiteX0" fmla="*/ 171350 w 284643"/>
                    <a:gd name="connsiteY0" fmla="*/ 11721 h 459709"/>
                    <a:gd name="connsiteX1" fmla="*/ 25592 w 284643"/>
                    <a:gd name="connsiteY1" fmla="*/ 302281 h 459709"/>
                    <a:gd name="connsiteX2" fmla="*/ 37696 w 284643"/>
                    <a:gd name="connsiteY2" fmla="*/ 459126 h 459709"/>
                    <a:gd name="connsiteX3" fmla="*/ 217670 w 284643"/>
                    <a:gd name="connsiteY3" fmla="*/ 257285 h 459709"/>
                    <a:gd name="connsiteX4" fmla="*/ 283687 w 284643"/>
                    <a:gd name="connsiteY4" fmla="*/ 47630 h 459709"/>
                    <a:gd name="connsiteX5" fmla="*/ 171350 w 284643"/>
                    <a:gd name="connsiteY5" fmla="*/ 11721 h 459709"/>
                    <a:gd name="connsiteX0" fmla="*/ 171350 w 284643"/>
                    <a:gd name="connsiteY0" fmla="*/ 10902 h 458890"/>
                    <a:gd name="connsiteX1" fmla="*/ 25592 w 284643"/>
                    <a:gd name="connsiteY1" fmla="*/ 301462 h 458890"/>
                    <a:gd name="connsiteX2" fmla="*/ 37696 w 284643"/>
                    <a:gd name="connsiteY2" fmla="*/ 458307 h 458890"/>
                    <a:gd name="connsiteX3" fmla="*/ 217670 w 284643"/>
                    <a:gd name="connsiteY3" fmla="*/ 256466 h 458890"/>
                    <a:gd name="connsiteX4" fmla="*/ 283687 w 284643"/>
                    <a:gd name="connsiteY4" fmla="*/ 46811 h 458890"/>
                    <a:gd name="connsiteX5" fmla="*/ 171350 w 284643"/>
                    <a:gd name="connsiteY5" fmla="*/ 10902 h 458890"/>
                    <a:gd name="connsiteX0" fmla="*/ 139949 w 282991"/>
                    <a:gd name="connsiteY0" fmla="*/ 10529 h 462849"/>
                    <a:gd name="connsiteX1" fmla="*/ 23940 w 282991"/>
                    <a:gd name="connsiteY1" fmla="*/ 305421 h 462849"/>
                    <a:gd name="connsiteX2" fmla="*/ 36044 w 282991"/>
                    <a:gd name="connsiteY2" fmla="*/ 462266 h 462849"/>
                    <a:gd name="connsiteX3" fmla="*/ 216018 w 282991"/>
                    <a:gd name="connsiteY3" fmla="*/ 260425 h 462849"/>
                    <a:gd name="connsiteX4" fmla="*/ 282035 w 282991"/>
                    <a:gd name="connsiteY4" fmla="*/ 50770 h 462849"/>
                    <a:gd name="connsiteX5" fmla="*/ 139949 w 282991"/>
                    <a:gd name="connsiteY5" fmla="*/ 10529 h 462849"/>
                    <a:gd name="connsiteX0" fmla="*/ 139949 w 283971"/>
                    <a:gd name="connsiteY0" fmla="*/ 13151 h 465471"/>
                    <a:gd name="connsiteX1" fmla="*/ 23940 w 283971"/>
                    <a:gd name="connsiteY1" fmla="*/ 308043 h 465471"/>
                    <a:gd name="connsiteX2" fmla="*/ 36044 w 283971"/>
                    <a:gd name="connsiteY2" fmla="*/ 464888 h 465471"/>
                    <a:gd name="connsiteX3" fmla="*/ 216018 w 283971"/>
                    <a:gd name="connsiteY3" fmla="*/ 263047 h 465471"/>
                    <a:gd name="connsiteX4" fmla="*/ 283035 w 283971"/>
                    <a:gd name="connsiteY4" fmla="*/ 37033 h 465471"/>
                    <a:gd name="connsiteX5" fmla="*/ 139949 w 283971"/>
                    <a:gd name="connsiteY5" fmla="*/ 13151 h 465471"/>
                    <a:gd name="connsiteX0" fmla="*/ 120318 w 264340"/>
                    <a:gd name="connsiteY0" fmla="*/ 13153 h 348654"/>
                    <a:gd name="connsiteX1" fmla="*/ 4309 w 264340"/>
                    <a:gd name="connsiteY1" fmla="*/ 308045 h 348654"/>
                    <a:gd name="connsiteX2" fmla="*/ 59472 w 264340"/>
                    <a:gd name="connsiteY2" fmla="*/ 343243 h 348654"/>
                    <a:gd name="connsiteX3" fmla="*/ 196387 w 264340"/>
                    <a:gd name="connsiteY3" fmla="*/ 263049 h 348654"/>
                    <a:gd name="connsiteX4" fmla="*/ 263404 w 264340"/>
                    <a:gd name="connsiteY4" fmla="*/ 37035 h 348654"/>
                    <a:gd name="connsiteX5" fmla="*/ 120318 w 264340"/>
                    <a:gd name="connsiteY5" fmla="*/ 13153 h 348654"/>
                    <a:gd name="connsiteX0" fmla="*/ 119325 w 263347"/>
                    <a:gd name="connsiteY0" fmla="*/ 523 h 333116"/>
                    <a:gd name="connsiteX1" fmla="*/ 4514 w 263347"/>
                    <a:gd name="connsiteY1" fmla="*/ 60391 h 333116"/>
                    <a:gd name="connsiteX2" fmla="*/ 58479 w 263347"/>
                    <a:gd name="connsiteY2" fmla="*/ 330613 h 333116"/>
                    <a:gd name="connsiteX3" fmla="*/ 195394 w 263347"/>
                    <a:gd name="connsiteY3" fmla="*/ 250419 h 333116"/>
                    <a:gd name="connsiteX4" fmla="*/ 262411 w 263347"/>
                    <a:gd name="connsiteY4" fmla="*/ 24405 h 333116"/>
                    <a:gd name="connsiteX5" fmla="*/ 119325 w 263347"/>
                    <a:gd name="connsiteY5" fmla="*/ 523 h 333116"/>
                    <a:gd name="connsiteX0" fmla="*/ 122870 w 266892"/>
                    <a:gd name="connsiteY0" fmla="*/ 523 h 264618"/>
                    <a:gd name="connsiteX1" fmla="*/ 8059 w 266892"/>
                    <a:gd name="connsiteY1" fmla="*/ 60391 h 264618"/>
                    <a:gd name="connsiteX2" fmla="*/ 50577 w 266892"/>
                    <a:gd name="connsiteY2" fmla="*/ 118507 h 264618"/>
                    <a:gd name="connsiteX3" fmla="*/ 198939 w 266892"/>
                    <a:gd name="connsiteY3" fmla="*/ 250419 h 264618"/>
                    <a:gd name="connsiteX4" fmla="*/ 265956 w 266892"/>
                    <a:gd name="connsiteY4" fmla="*/ 24405 h 264618"/>
                    <a:gd name="connsiteX5" fmla="*/ 122870 w 266892"/>
                    <a:gd name="connsiteY5" fmla="*/ 523 h 264618"/>
                    <a:gd name="connsiteX0" fmla="*/ 122870 w 266593"/>
                    <a:gd name="connsiteY0" fmla="*/ 523 h 140228"/>
                    <a:gd name="connsiteX1" fmla="*/ 8059 w 266593"/>
                    <a:gd name="connsiteY1" fmla="*/ 60391 h 140228"/>
                    <a:gd name="connsiteX2" fmla="*/ 50577 w 266593"/>
                    <a:gd name="connsiteY2" fmla="*/ 118507 h 140228"/>
                    <a:gd name="connsiteX3" fmla="*/ 176057 w 266593"/>
                    <a:gd name="connsiteY3" fmla="*/ 102668 h 140228"/>
                    <a:gd name="connsiteX4" fmla="*/ 265956 w 266593"/>
                    <a:gd name="connsiteY4" fmla="*/ 24405 h 140228"/>
                    <a:gd name="connsiteX5" fmla="*/ 122870 w 266593"/>
                    <a:gd name="connsiteY5" fmla="*/ 523 h 140228"/>
                    <a:gd name="connsiteX0" fmla="*/ 122870 w 266856"/>
                    <a:gd name="connsiteY0" fmla="*/ 1708 h 120023"/>
                    <a:gd name="connsiteX1" fmla="*/ 8059 w 266856"/>
                    <a:gd name="connsiteY1" fmla="*/ 61576 h 120023"/>
                    <a:gd name="connsiteX2" fmla="*/ 50577 w 266856"/>
                    <a:gd name="connsiteY2" fmla="*/ 119692 h 120023"/>
                    <a:gd name="connsiteX3" fmla="*/ 265956 w 266856"/>
                    <a:gd name="connsiteY3" fmla="*/ 25590 h 120023"/>
                    <a:gd name="connsiteX4" fmla="*/ 122870 w 266856"/>
                    <a:gd name="connsiteY4" fmla="*/ 1708 h 120023"/>
                    <a:gd name="connsiteX0" fmla="*/ 162732 w 306777"/>
                    <a:gd name="connsiteY0" fmla="*/ 599 h 118818"/>
                    <a:gd name="connsiteX1" fmla="*/ 2188 w 306777"/>
                    <a:gd name="connsiteY1" fmla="*/ 41428 h 118818"/>
                    <a:gd name="connsiteX2" fmla="*/ 90439 w 306777"/>
                    <a:gd name="connsiteY2" fmla="*/ 118583 h 118818"/>
                    <a:gd name="connsiteX3" fmla="*/ 305818 w 306777"/>
                    <a:gd name="connsiteY3" fmla="*/ 24481 h 118818"/>
                    <a:gd name="connsiteX4" fmla="*/ 162732 w 306777"/>
                    <a:gd name="connsiteY4" fmla="*/ 599 h 118818"/>
                    <a:gd name="connsiteX0" fmla="*/ 161930 w 305975"/>
                    <a:gd name="connsiteY0" fmla="*/ 599 h 119285"/>
                    <a:gd name="connsiteX1" fmla="*/ 1386 w 305975"/>
                    <a:gd name="connsiteY1" fmla="*/ 41428 h 119285"/>
                    <a:gd name="connsiteX2" fmla="*/ 89637 w 305975"/>
                    <a:gd name="connsiteY2" fmla="*/ 118583 h 119285"/>
                    <a:gd name="connsiteX3" fmla="*/ 144843 w 305975"/>
                    <a:gd name="connsiteY3" fmla="*/ 67180 h 119285"/>
                    <a:gd name="connsiteX4" fmla="*/ 305016 w 305975"/>
                    <a:gd name="connsiteY4" fmla="*/ 24481 h 119285"/>
                    <a:gd name="connsiteX5" fmla="*/ 161930 w 305975"/>
                    <a:gd name="connsiteY5" fmla="*/ 599 h 119285"/>
                    <a:gd name="connsiteX0" fmla="*/ 161930 w 271336"/>
                    <a:gd name="connsiteY0" fmla="*/ 7 h 118692"/>
                    <a:gd name="connsiteX1" fmla="*/ 1386 w 271336"/>
                    <a:gd name="connsiteY1" fmla="*/ 40836 h 118692"/>
                    <a:gd name="connsiteX2" fmla="*/ 89637 w 271336"/>
                    <a:gd name="connsiteY2" fmla="*/ 117991 h 118692"/>
                    <a:gd name="connsiteX3" fmla="*/ 144843 w 271336"/>
                    <a:gd name="connsiteY3" fmla="*/ 66588 h 118692"/>
                    <a:gd name="connsiteX4" fmla="*/ 270050 w 271336"/>
                    <a:gd name="connsiteY4" fmla="*/ 43555 h 118692"/>
                    <a:gd name="connsiteX5" fmla="*/ 161930 w 271336"/>
                    <a:gd name="connsiteY5" fmla="*/ 7 h 118692"/>
                    <a:gd name="connsiteX0" fmla="*/ 161930 w 278196"/>
                    <a:gd name="connsiteY0" fmla="*/ 7 h 119052"/>
                    <a:gd name="connsiteX1" fmla="*/ 1386 w 278196"/>
                    <a:gd name="connsiteY1" fmla="*/ 40836 h 119052"/>
                    <a:gd name="connsiteX2" fmla="*/ 89637 w 278196"/>
                    <a:gd name="connsiteY2" fmla="*/ 117991 h 119052"/>
                    <a:gd name="connsiteX3" fmla="*/ 256402 w 278196"/>
                    <a:gd name="connsiteY3" fmla="*/ 82830 h 119052"/>
                    <a:gd name="connsiteX4" fmla="*/ 270050 w 278196"/>
                    <a:gd name="connsiteY4" fmla="*/ 43555 h 119052"/>
                    <a:gd name="connsiteX5" fmla="*/ 161930 w 278196"/>
                    <a:gd name="connsiteY5" fmla="*/ 7 h 119052"/>
                    <a:gd name="connsiteX0" fmla="*/ 161135 w 277401"/>
                    <a:gd name="connsiteY0" fmla="*/ 5 h 118292"/>
                    <a:gd name="connsiteX1" fmla="*/ 591 w 277401"/>
                    <a:gd name="connsiteY1" fmla="*/ 40834 h 118292"/>
                    <a:gd name="connsiteX2" fmla="*/ 106268 w 277401"/>
                    <a:gd name="connsiteY2" fmla="*/ 76938 h 118292"/>
                    <a:gd name="connsiteX3" fmla="*/ 88842 w 277401"/>
                    <a:gd name="connsiteY3" fmla="*/ 117989 h 118292"/>
                    <a:gd name="connsiteX4" fmla="*/ 255607 w 277401"/>
                    <a:gd name="connsiteY4" fmla="*/ 82828 h 118292"/>
                    <a:gd name="connsiteX5" fmla="*/ 269255 w 277401"/>
                    <a:gd name="connsiteY5" fmla="*/ 43553 h 118292"/>
                    <a:gd name="connsiteX6" fmla="*/ 161135 w 277401"/>
                    <a:gd name="connsiteY6" fmla="*/ 5 h 118292"/>
                    <a:gd name="connsiteX0" fmla="*/ 162232 w 278498"/>
                    <a:gd name="connsiteY0" fmla="*/ 5 h 118385"/>
                    <a:gd name="connsiteX1" fmla="*/ 1688 w 278498"/>
                    <a:gd name="connsiteY1" fmla="*/ 40834 h 118385"/>
                    <a:gd name="connsiteX2" fmla="*/ 78729 w 278498"/>
                    <a:gd name="connsiteY2" fmla="*/ 85148 h 118385"/>
                    <a:gd name="connsiteX3" fmla="*/ 89939 w 278498"/>
                    <a:gd name="connsiteY3" fmla="*/ 117989 h 118385"/>
                    <a:gd name="connsiteX4" fmla="*/ 256704 w 278498"/>
                    <a:gd name="connsiteY4" fmla="*/ 82828 h 118385"/>
                    <a:gd name="connsiteX5" fmla="*/ 270352 w 278498"/>
                    <a:gd name="connsiteY5" fmla="*/ 43553 h 118385"/>
                    <a:gd name="connsiteX6" fmla="*/ 162232 w 278498"/>
                    <a:gd name="connsiteY6" fmla="*/ 5 h 118385"/>
                    <a:gd name="connsiteX0" fmla="*/ 162232 w 278498"/>
                    <a:gd name="connsiteY0" fmla="*/ 5 h 124242"/>
                    <a:gd name="connsiteX1" fmla="*/ 1688 w 278498"/>
                    <a:gd name="connsiteY1" fmla="*/ 40834 h 124242"/>
                    <a:gd name="connsiteX2" fmla="*/ 78729 w 278498"/>
                    <a:gd name="connsiteY2" fmla="*/ 85148 h 124242"/>
                    <a:gd name="connsiteX3" fmla="*/ 158983 w 278498"/>
                    <a:gd name="connsiteY3" fmla="*/ 123917 h 124242"/>
                    <a:gd name="connsiteX4" fmla="*/ 256704 w 278498"/>
                    <a:gd name="connsiteY4" fmla="*/ 82828 h 124242"/>
                    <a:gd name="connsiteX5" fmla="*/ 270352 w 278498"/>
                    <a:gd name="connsiteY5" fmla="*/ 43553 h 124242"/>
                    <a:gd name="connsiteX6" fmla="*/ 162232 w 278498"/>
                    <a:gd name="connsiteY6" fmla="*/ 5 h 124242"/>
                    <a:gd name="connsiteX0" fmla="*/ 102869 w 219135"/>
                    <a:gd name="connsiteY0" fmla="*/ 3 h 124240"/>
                    <a:gd name="connsiteX1" fmla="*/ 6044 w 219135"/>
                    <a:gd name="connsiteY1" fmla="*/ 41855 h 124240"/>
                    <a:gd name="connsiteX2" fmla="*/ 19366 w 219135"/>
                    <a:gd name="connsiteY2" fmla="*/ 85146 h 124240"/>
                    <a:gd name="connsiteX3" fmla="*/ 99620 w 219135"/>
                    <a:gd name="connsiteY3" fmla="*/ 123915 h 124240"/>
                    <a:gd name="connsiteX4" fmla="*/ 197341 w 219135"/>
                    <a:gd name="connsiteY4" fmla="*/ 82826 h 124240"/>
                    <a:gd name="connsiteX5" fmla="*/ 210989 w 219135"/>
                    <a:gd name="connsiteY5" fmla="*/ 43551 h 124240"/>
                    <a:gd name="connsiteX6" fmla="*/ 102869 w 219135"/>
                    <a:gd name="connsiteY6" fmla="*/ 3 h 124240"/>
                    <a:gd name="connsiteX0" fmla="*/ 143329 w 259595"/>
                    <a:gd name="connsiteY0" fmla="*/ 3 h 124240"/>
                    <a:gd name="connsiteX1" fmla="*/ 46504 w 259595"/>
                    <a:gd name="connsiteY1" fmla="*/ 41855 h 124240"/>
                    <a:gd name="connsiteX2" fmla="*/ 3541 w 259595"/>
                    <a:gd name="connsiteY2" fmla="*/ 85205 h 124240"/>
                    <a:gd name="connsiteX3" fmla="*/ 140080 w 259595"/>
                    <a:gd name="connsiteY3" fmla="*/ 123915 h 124240"/>
                    <a:gd name="connsiteX4" fmla="*/ 237801 w 259595"/>
                    <a:gd name="connsiteY4" fmla="*/ 82826 h 124240"/>
                    <a:gd name="connsiteX5" fmla="*/ 251449 w 259595"/>
                    <a:gd name="connsiteY5" fmla="*/ 43551 h 124240"/>
                    <a:gd name="connsiteX6" fmla="*/ 143329 w 259595"/>
                    <a:gd name="connsiteY6" fmla="*/ 3 h 124240"/>
                    <a:gd name="connsiteX0" fmla="*/ 140138 w 256404"/>
                    <a:gd name="connsiteY0" fmla="*/ 3 h 124588"/>
                    <a:gd name="connsiteX1" fmla="*/ 43313 w 256404"/>
                    <a:gd name="connsiteY1" fmla="*/ 41855 h 124588"/>
                    <a:gd name="connsiteX2" fmla="*/ 350 w 256404"/>
                    <a:gd name="connsiteY2" fmla="*/ 85205 h 124588"/>
                    <a:gd name="connsiteX3" fmla="*/ 91709 w 256404"/>
                    <a:gd name="connsiteY3" fmla="*/ 94380 h 124588"/>
                    <a:gd name="connsiteX4" fmla="*/ 136889 w 256404"/>
                    <a:gd name="connsiteY4" fmla="*/ 123915 h 124588"/>
                    <a:gd name="connsiteX5" fmla="*/ 234610 w 256404"/>
                    <a:gd name="connsiteY5" fmla="*/ 82826 h 124588"/>
                    <a:gd name="connsiteX6" fmla="*/ 248258 w 256404"/>
                    <a:gd name="connsiteY6" fmla="*/ 43551 h 124588"/>
                    <a:gd name="connsiteX7" fmla="*/ 140138 w 256404"/>
                    <a:gd name="connsiteY7" fmla="*/ 3 h 124588"/>
                    <a:gd name="connsiteX0" fmla="*/ 139995 w 256261"/>
                    <a:gd name="connsiteY0" fmla="*/ 18228 h 142813"/>
                    <a:gd name="connsiteX1" fmla="*/ 27805 w 256261"/>
                    <a:gd name="connsiteY1" fmla="*/ 1943 h 142813"/>
                    <a:gd name="connsiteX2" fmla="*/ 43170 w 256261"/>
                    <a:gd name="connsiteY2" fmla="*/ 60080 h 142813"/>
                    <a:gd name="connsiteX3" fmla="*/ 207 w 256261"/>
                    <a:gd name="connsiteY3" fmla="*/ 103430 h 142813"/>
                    <a:gd name="connsiteX4" fmla="*/ 91566 w 256261"/>
                    <a:gd name="connsiteY4" fmla="*/ 112605 h 142813"/>
                    <a:gd name="connsiteX5" fmla="*/ 136746 w 256261"/>
                    <a:gd name="connsiteY5" fmla="*/ 142140 h 142813"/>
                    <a:gd name="connsiteX6" fmla="*/ 234467 w 256261"/>
                    <a:gd name="connsiteY6" fmla="*/ 101051 h 142813"/>
                    <a:gd name="connsiteX7" fmla="*/ 248115 w 256261"/>
                    <a:gd name="connsiteY7" fmla="*/ 61776 h 142813"/>
                    <a:gd name="connsiteX8" fmla="*/ 139995 w 256261"/>
                    <a:gd name="connsiteY8" fmla="*/ 18228 h 142813"/>
                    <a:gd name="connsiteX0" fmla="*/ 156016 w 272282"/>
                    <a:gd name="connsiteY0" fmla="*/ 18228 h 142813"/>
                    <a:gd name="connsiteX1" fmla="*/ 43826 w 272282"/>
                    <a:gd name="connsiteY1" fmla="*/ 1943 h 142813"/>
                    <a:gd name="connsiteX2" fmla="*/ 801 w 272282"/>
                    <a:gd name="connsiteY2" fmla="*/ 63958 h 142813"/>
                    <a:gd name="connsiteX3" fmla="*/ 16228 w 272282"/>
                    <a:gd name="connsiteY3" fmla="*/ 103430 h 142813"/>
                    <a:gd name="connsiteX4" fmla="*/ 107587 w 272282"/>
                    <a:gd name="connsiteY4" fmla="*/ 112605 h 142813"/>
                    <a:gd name="connsiteX5" fmla="*/ 152767 w 272282"/>
                    <a:gd name="connsiteY5" fmla="*/ 142140 h 142813"/>
                    <a:gd name="connsiteX6" fmla="*/ 250488 w 272282"/>
                    <a:gd name="connsiteY6" fmla="*/ 101051 h 142813"/>
                    <a:gd name="connsiteX7" fmla="*/ 264136 w 272282"/>
                    <a:gd name="connsiteY7" fmla="*/ 61776 h 142813"/>
                    <a:gd name="connsiteX8" fmla="*/ 156016 w 272282"/>
                    <a:gd name="connsiteY8" fmla="*/ 18228 h 142813"/>
                    <a:gd name="connsiteX0" fmla="*/ 190067 w 306333"/>
                    <a:gd name="connsiteY0" fmla="*/ 18228 h 142813"/>
                    <a:gd name="connsiteX1" fmla="*/ 77877 w 306333"/>
                    <a:gd name="connsiteY1" fmla="*/ 1943 h 142813"/>
                    <a:gd name="connsiteX2" fmla="*/ 34852 w 306333"/>
                    <a:gd name="connsiteY2" fmla="*/ 63958 h 142813"/>
                    <a:gd name="connsiteX3" fmla="*/ 326 w 306333"/>
                    <a:gd name="connsiteY3" fmla="*/ 92029 h 142813"/>
                    <a:gd name="connsiteX4" fmla="*/ 141638 w 306333"/>
                    <a:gd name="connsiteY4" fmla="*/ 112605 h 142813"/>
                    <a:gd name="connsiteX5" fmla="*/ 186818 w 306333"/>
                    <a:gd name="connsiteY5" fmla="*/ 142140 h 142813"/>
                    <a:gd name="connsiteX6" fmla="*/ 284539 w 306333"/>
                    <a:gd name="connsiteY6" fmla="*/ 101051 h 142813"/>
                    <a:gd name="connsiteX7" fmla="*/ 298187 w 306333"/>
                    <a:gd name="connsiteY7" fmla="*/ 61776 h 142813"/>
                    <a:gd name="connsiteX8" fmla="*/ 190067 w 306333"/>
                    <a:gd name="connsiteY8" fmla="*/ 18228 h 142813"/>
                    <a:gd name="connsiteX0" fmla="*/ 190067 w 306333"/>
                    <a:gd name="connsiteY0" fmla="*/ 18228 h 174497"/>
                    <a:gd name="connsiteX1" fmla="*/ 77877 w 306333"/>
                    <a:gd name="connsiteY1" fmla="*/ 1943 h 174497"/>
                    <a:gd name="connsiteX2" fmla="*/ 34852 w 306333"/>
                    <a:gd name="connsiteY2" fmla="*/ 63958 h 174497"/>
                    <a:gd name="connsiteX3" fmla="*/ 326 w 306333"/>
                    <a:gd name="connsiteY3" fmla="*/ 92029 h 174497"/>
                    <a:gd name="connsiteX4" fmla="*/ 164181 w 306333"/>
                    <a:gd name="connsiteY4" fmla="*/ 173655 h 174497"/>
                    <a:gd name="connsiteX5" fmla="*/ 186818 w 306333"/>
                    <a:gd name="connsiteY5" fmla="*/ 142140 h 174497"/>
                    <a:gd name="connsiteX6" fmla="*/ 284539 w 306333"/>
                    <a:gd name="connsiteY6" fmla="*/ 101051 h 174497"/>
                    <a:gd name="connsiteX7" fmla="*/ 298187 w 306333"/>
                    <a:gd name="connsiteY7" fmla="*/ 61776 h 174497"/>
                    <a:gd name="connsiteX8" fmla="*/ 190067 w 306333"/>
                    <a:gd name="connsiteY8" fmla="*/ 18228 h 174497"/>
                    <a:gd name="connsiteX0" fmla="*/ 190067 w 362113"/>
                    <a:gd name="connsiteY0" fmla="*/ 18228 h 174495"/>
                    <a:gd name="connsiteX1" fmla="*/ 77877 w 362113"/>
                    <a:gd name="connsiteY1" fmla="*/ 1943 h 174495"/>
                    <a:gd name="connsiteX2" fmla="*/ 34852 w 362113"/>
                    <a:gd name="connsiteY2" fmla="*/ 63958 h 174495"/>
                    <a:gd name="connsiteX3" fmla="*/ 326 w 362113"/>
                    <a:gd name="connsiteY3" fmla="*/ 92029 h 174495"/>
                    <a:gd name="connsiteX4" fmla="*/ 164181 w 362113"/>
                    <a:gd name="connsiteY4" fmla="*/ 173655 h 174495"/>
                    <a:gd name="connsiteX5" fmla="*/ 186818 w 362113"/>
                    <a:gd name="connsiteY5" fmla="*/ 142140 h 174495"/>
                    <a:gd name="connsiteX6" fmla="*/ 353472 w 362113"/>
                    <a:gd name="connsiteY6" fmla="*/ 78078 h 174495"/>
                    <a:gd name="connsiteX7" fmla="*/ 298187 w 362113"/>
                    <a:gd name="connsiteY7" fmla="*/ 61776 h 174495"/>
                    <a:gd name="connsiteX8" fmla="*/ 190067 w 362113"/>
                    <a:gd name="connsiteY8" fmla="*/ 18228 h 174495"/>
                    <a:gd name="connsiteX0" fmla="*/ 190067 w 364772"/>
                    <a:gd name="connsiteY0" fmla="*/ 18165 h 174433"/>
                    <a:gd name="connsiteX1" fmla="*/ 77877 w 364772"/>
                    <a:gd name="connsiteY1" fmla="*/ 1880 h 174433"/>
                    <a:gd name="connsiteX2" fmla="*/ 34852 w 364772"/>
                    <a:gd name="connsiteY2" fmla="*/ 63895 h 174433"/>
                    <a:gd name="connsiteX3" fmla="*/ 326 w 364772"/>
                    <a:gd name="connsiteY3" fmla="*/ 91966 h 174433"/>
                    <a:gd name="connsiteX4" fmla="*/ 164181 w 364772"/>
                    <a:gd name="connsiteY4" fmla="*/ 173592 h 174433"/>
                    <a:gd name="connsiteX5" fmla="*/ 186818 w 364772"/>
                    <a:gd name="connsiteY5" fmla="*/ 142077 h 174433"/>
                    <a:gd name="connsiteX6" fmla="*/ 353472 w 364772"/>
                    <a:gd name="connsiteY6" fmla="*/ 78015 h 174433"/>
                    <a:gd name="connsiteX7" fmla="*/ 324720 w 364772"/>
                    <a:gd name="connsiteY7" fmla="*/ 57322 h 174433"/>
                    <a:gd name="connsiteX8" fmla="*/ 190067 w 364772"/>
                    <a:gd name="connsiteY8" fmla="*/ 18165 h 1744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4772" h="174433">
                      <a:moveTo>
                        <a:pt x="190067" y="18165"/>
                      </a:moveTo>
                      <a:cubicBezTo>
                        <a:pt x="148927" y="8925"/>
                        <a:pt x="94014" y="-5095"/>
                        <a:pt x="77877" y="1880"/>
                      </a:cubicBezTo>
                      <a:cubicBezTo>
                        <a:pt x="61740" y="8855"/>
                        <a:pt x="47777" y="48881"/>
                        <a:pt x="34852" y="63895"/>
                      </a:cubicBezTo>
                      <a:cubicBezTo>
                        <a:pt x="21927" y="78909"/>
                        <a:pt x="-3153" y="79754"/>
                        <a:pt x="326" y="91966"/>
                      </a:cubicBezTo>
                      <a:cubicBezTo>
                        <a:pt x="3805" y="104178"/>
                        <a:pt x="141425" y="167140"/>
                        <a:pt x="164181" y="173592"/>
                      </a:cubicBezTo>
                      <a:cubicBezTo>
                        <a:pt x="186937" y="180044"/>
                        <a:pt x="158414" y="147461"/>
                        <a:pt x="186818" y="142077"/>
                      </a:cubicBezTo>
                      <a:cubicBezTo>
                        <a:pt x="215222" y="136693"/>
                        <a:pt x="317576" y="93699"/>
                        <a:pt x="353472" y="78015"/>
                      </a:cubicBezTo>
                      <a:cubicBezTo>
                        <a:pt x="389368" y="62331"/>
                        <a:pt x="328607" y="70775"/>
                        <a:pt x="324720" y="57322"/>
                      </a:cubicBezTo>
                      <a:cubicBezTo>
                        <a:pt x="336769" y="37658"/>
                        <a:pt x="231207" y="27405"/>
                        <a:pt x="190067" y="18165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6" name="Oval 88"/>
                <p:cNvSpPr/>
                <p:nvPr/>
              </p:nvSpPr>
              <p:spPr>
                <a:xfrm>
                  <a:off x="7400449" y="4612312"/>
                  <a:ext cx="171753" cy="106869"/>
                </a:xfrm>
                <a:custGeom>
                  <a:avLst/>
                  <a:gdLst>
                    <a:gd name="connsiteX0" fmla="*/ 0 w 156136"/>
                    <a:gd name="connsiteY0" fmla="*/ 83677 h 167353"/>
                    <a:gd name="connsiteX1" fmla="*/ 78068 w 156136"/>
                    <a:gd name="connsiteY1" fmla="*/ 0 h 167353"/>
                    <a:gd name="connsiteX2" fmla="*/ 156136 w 156136"/>
                    <a:gd name="connsiteY2" fmla="*/ 83677 h 167353"/>
                    <a:gd name="connsiteX3" fmla="*/ 78068 w 156136"/>
                    <a:gd name="connsiteY3" fmla="*/ 167354 h 167353"/>
                    <a:gd name="connsiteX4" fmla="*/ 0 w 156136"/>
                    <a:gd name="connsiteY4" fmla="*/ 83677 h 167353"/>
                    <a:gd name="connsiteX0" fmla="*/ 0 w 114861"/>
                    <a:gd name="connsiteY0" fmla="*/ 122392 h 170110"/>
                    <a:gd name="connsiteX1" fmla="*/ 36793 w 114861"/>
                    <a:gd name="connsiteY1" fmla="*/ 615 h 170110"/>
                    <a:gd name="connsiteX2" fmla="*/ 114861 w 114861"/>
                    <a:gd name="connsiteY2" fmla="*/ 84292 h 170110"/>
                    <a:gd name="connsiteX3" fmla="*/ 36793 w 114861"/>
                    <a:gd name="connsiteY3" fmla="*/ 167969 h 170110"/>
                    <a:gd name="connsiteX4" fmla="*/ 0 w 114861"/>
                    <a:gd name="connsiteY4" fmla="*/ 122392 h 170110"/>
                    <a:gd name="connsiteX0" fmla="*/ 13 w 114874"/>
                    <a:gd name="connsiteY0" fmla="*/ 122392 h 156828"/>
                    <a:gd name="connsiteX1" fmla="*/ 36806 w 114874"/>
                    <a:gd name="connsiteY1" fmla="*/ 615 h 156828"/>
                    <a:gd name="connsiteX2" fmla="*/ 114874 w 114874"/>
                    <a:gd name="connsiteY2" fmla="*/ 84292 h 156828"/>
                    <a:gd name="connsiteX3" fmla="*/ 33631 w 114874"/>
                    <a:gd name="connsiteY3" fmla="*/ 155269 h 156828"/>
                    <a:gd name="connsiteX4" fmla="*/ 13 w 114874"/>
                    <a:gd name="connsiteY4" fmla="*/ 122392 h 156828"/>
                    <a:gd name="connsiteX0" fmla="*/ 9 w 115771"/>
                    <a:gd name="connsiteY0" fmla="*/ 122194 h 155137"/>
                    <a:gd name="connsiteX1" fmla="*/ 36802 w 115771"/>
                    <a:gd name="connsiteY1" fmla="*/ 417 h 155137"/>
                    <a:gd name="connsiteX2" fmla="*/ 114870 w 115771"/>
                    <a:gd name="connsiteY2" fmla="*/ 84094 h 155137"/>
                    <a:gd name="connsiteX3" fmla="*/ 66479 w 115771"/>
                    <a:gd name="connsiteY3" fmla="*/ 129367 h 155137"/>
                    <a:gd name="connsiteX4" fmla="*/ 33627 w 115771"/>
                    <a:gd name="connsiteY4" fmla="*/ 155071 h 155137"/>
                    <a:gd name="connsiteX5" fmla="*/ 9 w 115771"/>
                    <a:gd name="connsiteY5" fmla="*/ 122194 h 155137"/>
                    <a:gd name="connsiteX0" fmla="*/ 9 w 125148"/>
                    <a:gd name="connsiteY0" fmla="*/ 121780 h 154723"/>
                    <a:gd name="connsiteX1" fmla="*/ 36802 w 125148"/>
                    <a:gd name="connsiteY1" fmla="*/ 3 h 154723"/>
                    <a:gd name="connsiteX2" fmla="*/ 124395 w 125148"/>
                    <a:gd name="connsiteY2" fmla="*/ 118605 h 154723"/>
                    <a:gd name="connsiteX3" fmla="*/ 66479 w 125148"/>
                    <a:gd name="connsiteY3" fmla="*/ 128953 h 154723"/>
                    <a:gd name="connsiteX4" fmla="*/ 33627 w 125148"/>
                    <a:gd name="connsiteY4" fmla="*/ 154657 h 154723"/>
                    <a:gd name="connsiteX5" fmla="*/ 9 w 125148"/>
                    <a:gd name="connsiteY5" fmla="*/ 121780 h 154723"/>
                    <a:gd name="connsiteX0" fmla="*/ 3247 w 131427"/>
                    <a:gd name="connsiteY0" fmla="*/ 77331 h 110274"/>
                    <a:gd name="connsiteX1" fmla="*/ 122590 w 131427"/>
                    <a:gd name="connsiteY1" fmla="*/ 4 h 110274"/>
                    <a:gd name="connsiteX2" fmla="*/ 127633 w 131427"/>
                    <a:gd name="connsiteY2" fmla="*/ 74156 h 110274"/>
                    <a:gd name="connsiteX3" fmla="*/ 69717 w 131427"/>
                    <a:gd name="connsiteY3" fmla="*/ 84504 h 110274"/>
                    <a:gd name="connsiteX4" fmla="*/ 36865 w 131427"/>
                    <a:gd name="connsiteY4" fmla="*/ 110208 h 110274"/>
                    <a:gd name="connsiteX5" fmla="*/ 3247 w 131427"/>
                    <a:gd name="connsiteY5" fmla="*/ 77331 h 110274"/>
                    <a:gd name="connsiteX0" fmla="*/ 5118 w 160910"/>
                    <a:gd name="connsiteY0" fmla="*/ 124954 h 157897"/>
                    <a:gd name="connsiteX1" fmla="*/ 156211 w 160910"/>
                    <a:gd name="connsiteY1" fmla="*/ 2 h 157897"/>
                    <a:gd name="connsiteX2" fmla="*/ 129504 w 160910"/>
                    <a:gd name="connsiteY2" fmla="*/ 121779 h 157897"/>
                    <a:gd name="connsiteX3" fmla="*/ 71588 w 160910"/>
                    <a:gd name="connsiteY3" fmla="*/ 132127 h 157897"/>
                    <a:gd name="connsiteX4" fmla="*/ 38736 w 160910"/>
                    <a:gd name="connsiteY4" fmla="*/ 157831 h 157897"/>
                    <a:gd name="connsiteX5" fmla="*/ 5118 w 160910"/>
                    <a:gd name="connsiteY5" fmla="*/ 124954 h 157897"/>
                    <a:gd name="connsiteX0" fmla="*/ 1646 w 153341"/>
                    <a:gd name="connsiteY0" fmla="*/ 125884 h 158827"/>
                    <a:gd name="connsiteX1" fmla="*/ 90340 w 153341"/>
                    <a:gd name="connsiteY1" fmla="*/ 69558 h 158827"/>
                    <a:gd name="connsiteX2" fmla="*/ 152739 w 153341"/>
                    <a:gd name="connsiteY2" fmla="*/ 932 h 158827"/>
                    <a:gd name="connsiteX3" fmla="*/ 126032 w 153341"/>
                    <a:gd name="connsiteY3" fmla="*/ 122709 h 158827"/>
                    <a:gd name="connsiteX4" fmla="*/ 68116 w 153341"/>
                    <a:gd name="connsiteY4" fmla="*/ 133057 h 158827"/>
                    <a:gd name="connsiteX5" fmla="*/ 35264 w 153341"/>
                    <a:gd name="connsiteY5" fmla="*/ 158761 h 158827"/>
                    <a:gd name="connsiteX6" fmla="*/ 1646 w 153341"/>
                    <a:gd name="connsiteY6" fmla="*/ 125884 h 158827"/>
                    <a:gd name="connsiteX0" fmla="*/ 1646 w 189305"/>
                    <a:gd name="connsiteY0" fmla="*/ 126728 h 159671"/>
                    <a:gd name="connsiteX1" fmla="*/ 90340 w 189305"/>
                    <a:gd name="connsiteY1" fmla="*/ 70402 h 159671"/>
                    <a:gd name="connsiteX2" fmla="*/ 152739 w 189305"/>
                    <a:gd name="connsiteY2" fmla="*/ 1776 h 159671"/>
                    <a:gd name="connsiteX3" fmla="*/ 188766 w 189305"/>
                    <a:gd name="connsiteY3" fmla="*/ 29127 h 159671"/>
                    <a:gd name="connsiteX4" fmla="*/ 126032 w 189305"/>
                    <a:gd name="connsiteY4" fmla="*/ 123553 h 159671"/>
                    <a:gd name="connsiteX5" fmla="*/ 68116 w 189305"/>
                    <a:gd name="connsiteY5" fmla="*/ 133901 h 159671"/>
                    <a:gd name="connsiteX6" fmla="*/ 35264 w 189305"/>
                    <a:gd name="connsiteY6" fmla="*/ 159605 h 159671"/>
                    <a:gd name="connsiteX7" fmla="*/ 1646 w 189305"/>
                    <a:gd name="connsiteY7" fmla="*/ 126728 h 159671"/>
                    <a:gd name="connsiteX0" fmla="*/ 1540 w 192374"/>
                    <a:gd name="connsiteY0" fmla="*/ 117203 h 159913"/>
                    <a:gd name="connsiteX1" fmla="*/ 93409 w 192374"/>
                    <a:gd name="connsiteY1" fmla="*/ 70402 h 159913"/>
                    <a:gd name="connsiteX2" fmla="*/ 155808 w 192374"/>
                    <a:gd name="connsiteY2" fmla="*/ 1776 h 159913"/>
                    <a:gd name="connsiteX3" fmla="*/ 191835 w 192374"/>
                    <a:gd name="connsiteY3" fmla="*/ 29127 h 159913"/>
                    <a:gd name="connsiteX4" fmla="*/ 129101 w 192374"/>
                    <a:gd name="connsiteY4" fmla="*/ 123553 h 159913"/>
                    <a:gd name="connsiteX5" fmla="*/ 71185 w 192374"/>
                    <a:gd name="connsiteY5" fmla="*/ 133901 h 159913"/>
                    <a:gd name="connsiteX6" fmla="*/ 38333 w 192374"/>
                    <a:gd name="connsiteY6" fmla="*/ 159605 h 159913"/>
                    <a:gd name="connsiteX7" fmla="*/ 1540 w 192374"/>
                    <a:gd name="connsiteY7" fmla="*/ 117203 h 159913"/>
                    <a:gd name="connsiteX0" fmla="*/ 1578 w 192412"/>
                    <a:gd name="connsiteY0" fmla="*/ 117203 h 160098"/>
                    <a:gd name="connsiteX1" fmla="*/ 93447 w 192412"/>
                    <a:gd name="connsiteY1" fmla="*/ 70402 h 160098"/>
                    <a:gd name="connsiteX2" fmla="*/ 155846 w 192412"/>
                    <a:gd name="connsiteY2" fmla="*/ 1776 h 160098"/>
                    <a:gd name="connsiteX3" fmla="*/ 191873 w 192412"/>
                    <a:gd name="connsiteY3" fmla="*/ 29127 h 160098"/>
                    <a:gd name="connsiteX4" fmla="*/ 129139 w 192412"/>
                    <a:gd name="connsiteY4" fmla="*/ 123553 h 160098"/>
                    <a:gd name="connsiteX5" fmla="*/ 77573 w 192412"/>
                    <a:gd name="connsiteY5" fmla="*/ 137076 h 160098"/>
                    <a:gd name="connsiteX6" fmla="*/ 38371 w 192412"/>
                    <a:gd name="connsiteY6" fmla="*/ 159605 h 160098"/>
                    <a:gd name="connsiteX7" fmla="*/ 1578 w 192412"/>
                    <a:gd name="connsiteY7" fmla="*/ 117203 h 160098"/>
                    <a:gd name="connsiteX0" fmla="*/ 1578 w 192412"/>
                    <a:gd name="connsiteY0" fmla="*/ 117203 h 172587"/>
                    <a:gd name="connsiteX1" fmla="*/ 93447 w 192412"/>
                    <a:gd name="connsiteY1" fmla="*/ 70402 h 172587"/>
                    <a:gd name="connsiteX2" fmla="*/ 155846 w 192412"/>
                    <a:gd name="connsiteY2" fmla="*/ 1776 h 172587"/>
                    <a:gd name="connsiteX3" fmla="*/ 191873 w 192412"/>
                    <a:gd name="connsiteY3" fmla="*/ 29127 h 172587"/>
                    <a:gd name="connsiteX4" fmla="*/ 129139 w 192412"/>
                    <a:gd name="connsiteY4" fmla="*/ 123553 h 172587"/>
                    <a:gd name="connsiteX5" fmla="*/ 77573 w 192412"/>
                    <a:gd name="connsiteY5" fmla="*/ 137076 h 172587"/>
                    <a:gd name="connsiteX6" fmla="*/ 38371 w 192412"/>
                    <a:gd name="connsiteY6" fmla="*/ 172305 h 172587"/>
                    <a:gd name="connsiteX7" fmla="*/ 1578 w 192412"/>
                    <a:gd name="connsiteY7" fmla="*/ 117203 h 172587"/>
                    <a:gd name="connsiteX0" fmla="*/ 1639 w 192473"/>
                    <a:gd name="connsiteY0" fmla="*/ 117203 h 172884"/>
                    <a:gd name="connsiteX1" fmla="*/ 93508 w 192473"/>
                    <a:gd name="connsiteY1" fmla="*/ 70402 h 172884"/>
                    <a:gd name="connsiteX2" fmla="*/ 155907 w 192473"/>
                    <a:gd name="connsiteY2" fmla="*/ 1776 h 172884"/>
                    <a:gd name="connsiteX3" fmla="*/ 191934 w 192473"/>
                    <a:gd name="connsiteY3" fmla="*/ 29127 h 172884"/>
                    <a:gd name="connsiteX4" fmla="*/ 129200 w 192473"/>
                    <a:gd name="connsiteY4" fmla="*/ 123553 h 172884"/>
                    <a:gd name="connsiteX5" fmla="*/ 87159 w 192473"/>
                    <a:gd name="connsiteY5" fmla="*/ 143426 h 172884"/>
                    <a:gd name="connsiteX6" fmla="*/ 38432 w 192473"/>
                    <a:gd name="connsiteY6" fmla="*/ 172305 h 172884"/>
                    <a:gd name="connsiteX7" fmla="*/ 1639 w 192473"/>
                    <a:gd name="connsiteY7" fmla="*/ 117203 h 172884"/>
                    <a:gd name="connsiteX0" fmla="*/ 1639 w 192473"/>
                    <a:gd name="connsiteY0" fmla="*/ 117203 h 172884"/>
                    <a:gd name="connsiteX1" fmla="*/ 93508 w 192473"/>
                    <a:gd name="connsiteY1" fmla="*/ 70402 h 172884"/>
                    <a:gd name="connsiteX2" fmla="*/ 155907 w 192473"/>
                    <a:gd name="connsiteY2" fmla="*/ 1776 h 172884"/>
                    <a:gd name="connsiteX3" fmla="*/ 191934 w 192473"/>
                    <a:gd name="connsiteY3" fmla="*/ 29127 h 172884"/>
                    <a:gd name="connsiteX4" fmla="*/ 129200 w 192473"/>
                    <a:gd name="connsiteY4" fmla="*/ 120378 h 172884"/>
                    <a:gd name="connsiteX5" fmla="*/ 87159 w 192473"/>
                    <a:gd name="connsiteY5" fmla="*/ 143426 h 172884"/>
                    <a:gd name="connsiteX6" fmla="*/ 38432 w 192473"/>
                    <a:gd name="connsiteY6" fmla="*/ 172305 h 172884"/>
                    <a:gd name="connsiteX7" fmla="*/ 1639 w 192473"/>
                    <a:gd name="connsiteY7" fmla="*/ 117203 h 172884"/>
                    <a:gd name="connsiteX0" fmla="*/ 1639 w 192473"/>
                    <a:gd name="connsiteY0" fmla="*/ 117203 h 172884"/>
                    <a:gd name="connsiteX1" fmla="*/ 93508 w 192473"/>
                    <a:gd name="connsiteY1" fmla="*/ 70402 h 172884"/>
                    <a:gd name="connsiteX2" fmla="*/ 155907 w 192473"/>
                    <a:gd name="connsiteY2" fmla="*/ 1776 h 172884"/>
                    <a:gd name="connsiteX3" fmla="*/ 191934 w 192473"/>
                    <a:gd name="connsiteY3" fmla="*/ 29127 h 172884"/>
                    <a:gd name="connsiteX4" fmla="*/ 145075 w 192473"/>
                    <a:gd name="connsiteY4" fmla="*/ 139428 h 172884"/>
                    <a:gd name="connsiteX5" fmla="*/ 87159 w 192473"/>
                    <a:gd name="connsiteY5" fmla="*/ 143426 h 172884"/>
                    <a:gd name="connsiteX6" fmla="*/ 38432 w 192473"/>
                    <a:gd name="connsiteY6" fmla="*/ 172305 h 172884"/>
                    <a:gd name="connsiteX7" fmla="*/ 1639 w 192473"/>
                    <a:gd name="connsiteY7" fmla="*/ 117203 h 172884"/>
                    <a:gd name="connsiteX0" fmla="*/ 1639 w 174103"/>
                    <a:gd name="connsiteY0" fmla="*/ 115867 h 171548"/>
                    <a:gd name="connsiteX1" fmla="*/ 93508 w 174103"/>
                    <a:gd name="connsiteY1" fmla="*/ 69066 h 171548"/>
                    <a:gd name="connsiteX2" fmla="*/ 155907 w 174103"/>
                    <a:gd name="connsiteY2" fmla="*/ 440 h 171548"/>
                    <a:gd name="connsiteX3" fmla="*/ 172884 w 174103"/>
                    <a:gd name="connsiteY3" fmla="*/ 103991 h 171548"/>
                    <a:gd name="connsiteX4" fmla="*/ 145075 w 174103"/>
                    <a:gd name="connsiteY4" fmla="*/ 138092 h 171548"/>
                    <a:gd name="connsiteX5" fmla="*/ 87159 w 174103"/>
                    <a:gd name="connsiteY5" fmla="*/ 142090 h 171548"/>
                    <a:gd name="connsiteX6" fmla="*/ 38432 w 174103"/>
                    <a:gd name="connsiteY6" fmla="*/ 170969 h 171548"/>
                    <a:gd name="connsiteX7" fmla="*/ 1639 w 174103"/>
                    <a:gd name="connsiteY7" fmla="*/ 115867 h 171548"/>
                    <a:gd name="connsiteX0" fmla="*/ 1639 w 173324"/>
                    <a:gd name="connsiteY0" fmla="*/ 52930 h 108611"/>
                    <a:gd name="connsiteX1" fmla="*/ 93508 w 173324"/>
                    <a:gd name="connsiteY1" fmla="*/ 6129 h 108611"/>
                    <a:gd name="connsiteX2" fmla="*/ 133682 w 173324"/>
                    <a:gd name="connsiteY2" fmla="*/ 29578 h 108611"/>
                    <a:gd name="connsiteX3" fmla="*/ 172884 w 173324"/>
                    <a:gd name="connsiteY3" fmla="*/ 41054 h 108611"/>
                    <a:gd name="connsiteX4" fmla="*/ 145075 w 173324"/>
                    <a:gd name="connsiteY4" fmla="*/ 75155 h 108611"/>
                    <a:gd name="connsiteX5" fmla="*/ 87159 w 173324"/>
                    <a:gd name="connsiteY5" fmla="*/ 79153 h 108611"/>
                    <a:gd name="connsiteX6" fmla="*/ 38432 w 173324"/>
                    <a:gd name="connsiteY6" fmla="*/ 108032 h 108611"/>
                    <a:gd name="connsiteX7" fmla="*/ 1639 w 173324"/>
                    <a:gd name="connsiteY7" fmla="*/ 52930 h 108611"/>
                    <a:gd name="connsiteX0" fmla="*/ 1791 w 173470"/>
                    <a:gd name="connsiteY0" fmla="*/ 47258 h 102939"/>
                    <a:gd name="connsiteX1" fmla="*/ 96835 w 173470"/>
                    <a:gd name="connsiteY1" fmla="*/ 6807 h 102939"/>
                    <a:gd name="connsiteX2" fmla="*/ 133834 w 173470"/>
                    <a:gd name="connsiteY2" fmla="*/ 23906 h 102939"/>
                    <a:gd name="connsiteX3" fmla="*/ 173036 w 173470"/>
                    <a:gd name="connsiteY3" fmla="*/ 35382 h 102939"/>
                    <a:gd name="connsiteX4" fmla="*/ 145227 w 173470"/>
                    <a:gd name="connsiteY4" fmla="*/ 69483 h 102939"/>
                    <a:gd name="connsiteX5" fmla="*/ 87311 w 173470"/>
                    <a:gd name="connsiteY5" fmla="*/ 73481 h 102939"/>
                    <a:gd name="connsiteX6" fmla="*/ 38584 w 173470"/>
                    <a:gd name="connsiteY6" fmla="*/ 102360 h 102939"/>
                    <a:gd name="connsiteX7" fmla="*/ 1791 w 173470"/>
                    <a:gd name="connsiteY7" fmla="*/ 47258 h 102939"/>
                    <a:gd name="connsiteX0" fmla="*/ 1791 w 173470"/>
                    <a:gd name="connsiteY0" fmla="*/ 40451 h 96132"/>
                    <a:gd name="connsiteX1" fmla="*/ 96835 w 173470"/>
                    <a:gd name="connsiteY1" fmla="*/ 0 h 96132"/>
                    <a:gd name="connsiteX2" fmla="*/ 133834 w 173470"/>
                    <a:gd name="connsiteY2" fmla="*/ 17099 h 96132"/>
                    <a:gd name="connsiteX3" fmla="*/ 173036 w 173470"/>
                    <a:gd name="connsiteY3" fmla="*/ 28575 h 96132"/>
                    <a:gd name="connsiteX4" fmla="*/ 145227 w 173470"/>
                    <a:gd name="connsiteY4" fmla="*/ 62676 h 96132"/>
                    <a:gd name="connsiteX5" fmla="*/ 87311 w 173470"/>
                    <a:gd name="connsiteY5" fmla="*/ 66674 h 96132"/>
                    <a:gd name="connsiteX6" fmla="*/ 38584 w 173470"/>
                    <a:gd name="connsiteY6" fmla="*/ 95553 h 96132"/>
                    <a:gd name="connsiteX7" fmla="*/ 1791 w 173470"/>
                    <a:gd name="connsiteY7" fmla="*/ 40451 h 96132"/>
                    <a:gd name="connsiteX0" fmla="*/ 1791 w 192729"/>
                    <a:gd name="connsiteY0" fmla="*/ 40451 h 96132"/>
                    <a:gd name="connsiteX1" fmla="*/ 96835 w 192729"/>
                    <a:gd name="connsiteY1" fmla="*/ 0 h 96132"/>
                    <a:gd name="connsiteX2" fmla="*/ 133834 w 192729"/>
                    <a:gd name="connsiteY2" fmla="*/ 17099 h 96132"/>
                    <a:gd name="connsiteX3" fmla="*/ 173036 w 192729"/>
                    <a:gd name="connsiteY3" fmla="*/ 28575 h 96132"/>
                    <a:gd name="connsiteX4" fmla="*/ 189677 w 192729"/>
                    <a:gd name="connsiteY4" fmla="*/ 91251 h 96132"/>
                    <a:gd name="connsiteX5" fmla="*/ 87311 w 192729"/>
                    <a:gd name="connsiteY5" fmla="*/ 66674 h 96132"/>
                    <a:gd name="connsiteX6" fmla="*/ 38584 w 192729"/>
                    <a:gd name="connsiteY6" fmla="*/ 95553 h 96132"/>
                    <a:gd name="connsiteX7" fmla="*/ 1791 w 192729"/>
                    <a:gd name="connsiteY7" fmla="*/ 40451 h 96132"/>
                    <a:gd name="connsiteX0" fmla="*/ 1791 w 273343"/>
                    <a:gd name="connsiteY0" fmla="*/ 40451 h 96132"/>
                    <a:gd name="connsiteX1" fmla="*/ 96835 w 273343"/>
                    <a:gd name="connsiteY1" fmla="*/ 0 h 96132"/>
                    <a:gd name="connsiteX2" fmla="*/ 133834 w 273343"/>
                    <a:gd name="connsiteY2" fmla="*/ 17099 h 96132"/>
                    <a:gd name="connsiteX3" fmla="*/ 173036 w 273343"/>
                    <a:gd name="connsiteY3" fmla="*/ 28575 h 96132"/>
                    <a:gd name="connsiteX4" fmla="*/ 273264 w 273343"/>
                    <a:gd name="connsiteY4" fmla="*/ 44816 h 96132"/>
                    <a:gd name="connsiteX5" fmla="*/ 189677 w 273343"/>
                    <a:gd name="connsiteY5" fmla="*/ 91251 h 96132"/>
                    <a:gd name="connsiteX6" fmla="*/ 87311 w 273343"/>
                    <a:gd name="connsiteY6" fmla="*/ 66674 h 96132"/>
                    <a:gd name="connsiteX7" fmla="*/ 38584 w 273343"/>
                    <a:gd name="connsiteY7" fmla="*/ 95553 h 96132"/>
                    <a:gd name="connsiteX8" fmla="*/ 1791 w 273343"/>
                    <a:gd name="connsiteY8" fmla="*/ 40451 h 96132"/>
                    <a:gd name="connsiteX0" fmla="*/ 1791 w 273378"/>
                    <a:gd name="connsiteY0" fmla="*/ 40451 h 97753"/>
                    <a:gd name="connsiteX1" fmla="*/ 96835 w 273378"/>
                    <a:gd name="connsiteY1" fmla="*/ 0 h 97753"/>
                    <a:gd name="connsiteX2" fmla="*/ 133834 w 273378"/>
                    <a:gd name="connsiteY2" fmla="*/ 17099 h 97753"/>
                    <a:gd name="connsiteX3" fmla="*/ 173036 w 273378"/>
                    <a:gd name="connsiteY3" fmla="*/ 28575 h 97753"/>
                    <a:gd name="connsiteX4" fmla="*/ 273264 w 273378"/>
                    <a:gd name="connsiteY4" fmla="*/ 44816 h 97753"/>
                    <a:gd name="connsiteX5" fmla="*/ 211902 w 273378"/>
                    <a:gd name="connsiteY5" fmla="*/ 97601 h 97753"/>
                    <a:gd name="connsiteX6" fmla="*/ 87311 w 273378"/>
                    <a:gd name="connsiteY6" fmla="*/ 66674 h 97753"/>
                    <a:gd name="connsiteX7" fmla="*/ 38584 w 273378"/>
                    <a:gd name="connsiteY7" fmla="*/ 95553 h 97753"/>
                    <a:gd name="connsiteX8" fmla="*/ 1791 w 273378"/>
                    <a:gd name="connsiteY8" fmla="*/ 40451 h 97753"/>
                    <a:gd name="connsiteX0" fmla="*/ 1791 w 273378"/>
                    <a:gd name="connsiteY0" fmla="*/ 40451 h 104803"/>
                    <a:gd name="connsiteX1" fmla="*/ 96835 w 273378"/>
                    <a:gd name="connsiteY1" fmla="*/ 0 h 104803"/>
                    <a:gd name="connsiteX2" fmla="*/ 133834 w 273378"/>
                    <a:gd name="connsiteY2" fmla="*/ 17099 h 104803"/>
                    <a:gd name="connsiteX3" fmla="*/ 173036 w 273378"/>
                    <a:gd name="connsiteY3" fmla="*/ 28575 h 104803"/>
                    <a:gd name="connsiteX4" fmla="*/ 273264 w 273378"/>
                    <a:gd name="connsiteY4" fmla="*/ 44816 h 104803"/>
                    <a:gd name="connsiteX5" fmla="*/ 211902 w 273378"/>
                    <a:gd name="connsiteY5" fmla="*/ 97601 h 104803"/>
                    <a:gd name="connsiteX6" fmla="*/ 184363 w 273378"/>
                    <a:gd name="connsiteY6" fmla="*/ 101966 h 104803"/>
                    <a:gd name="connsiteX7" fmla="*/ 87311 w 273378"/>
                    <a:gd name="connsiteY7" fmla="*/ 66674 h 104803"/>
                    <a:gd name="connsiteX8" fmla="*/ 38584 w 273378"/>
                    <a:gd name="connsiteY8" fmla="*/ 95553 h 104803"/>
                    <a:gd name="connsiteX9" fmla="*/ 1791 w 273378"/>
                    <a:gd name="connsiteY9" fmla="*/ 40451 h 104803"/>
                    <a:gd name="connsiteX0" fmla="*/ 1791 w 273378"/>
                    <a:gd name="connsiteY0" fmla="*/ 40451 h 104803"/>
                    <a:gd name="connsiteX1" fmla="*/ 96835 w 273378"/>
                    <a:gd name="connsiteY1" fmla="*/ 0 h 104803"/>
                    <a:gd name="connsiteX2" fmla="*/ 124309 w 273378"/>
                    <a:gd name="connsiteY2" fmla="*/ 36149 h 104803"/>
                    <a:gd name="connsiteX3" fmla="*/ 173036 w 273378"/>
                    <a:gd name="connsiteY3" fmla="*/ 28575 h 104803"/>
                    <a:gd name="connsiteX4" fmla="*/ 273264 w 273378"/>
                    <a:gd name="connsiteY4" fmla="*/ 44816 h 104803"/>
                    <a:gd name="connsiteX5" fmla="*/ 211902 w 273378"/>
                    <a:gd name="connsiteY5" fmla="*/ 97601 h 104803"/>
                    <a:gd name="connsiteX6" fmla="*/ 184363 w 273378"/>
                    <a:gd name="connsiteY6" fmla="*/ 101966 h 104803"/>
                    <a:gd name="connsiteX7" fmla="*/ 87311 w 273378"/>
                    <a:gd name="connsiteY7" fmla="*/ 66674 h 104803"/>
                    <a:gd name="connsiteX8" fmla="*/ 38584 w 273378"/>
                    <a:gd name="connsiteY8" fmla="*/ 95553 h 104803"/>
                    <a:gd name="connsiteX9" fmla="*/ 1791 w 273378"/>
                    <a:gd name="connsiteY9" fmla="*/ 40451 h 104803"/>
                    <a:gd name="connsiteX0" fmla="*/ 1348 w 272935"/>
                    <a:gd name="connsiteY0" fmla="*/ 30926 h 95278"/>
                    <a:gd name="connsiteX1" fmla="*/ 86867 w 272935"/>
                    <a:gd name="connsiteY1" fmla="*/ 0 h 95278"/>
                    <a:gd name="connsiteX2" fmla="*/ 123866 w 272935"/>
                    <a:gd name="connsiteY2" fmla="*/ 26624 h 95278"/>
                    <a:gd name="connsiteX3" fmla="*/ 172593 w 272935"/>
                    <a:gd name="connsiteY3" fmla="*/ 19050 h 95278"/>
                    <a:gd name="connsiteX4" fmla="*/ 272821 w 272935"/>
                    <a:gd name="connsiteY4" fmla="*/ 35291 h 95278"/>
                    <a:gd name="connsiteX5" fmla="*/ 211459 w 272935"/>
                    <a:gd name="connsiteY5" fmla="*/ 88076 h 95278"/>
                    <a:gd name="connsiteX6" fmla="*/ 183920 w 272935"/>
                    <a:gd name="connsiteY6" fmla="*/ 92441 h 95278"/>
                    <a:gd name="connsiteX7" fmla="*/ 86868 w 272935"/>
                    <a:gd name="connsiteY7" fmla="*/ 57149 h 95278"/>
                    <a:gd name="connsiteX8" fmla="*/ 38141 w 272935"/>
                    <a:gd name="connsiteY8" fmla="*/ 86028 h 95278"/>
                    <a:gd name="connsiteX9" fmla="*/ 1348 w 272935"/>
                    <a:gd name="connsiteY9" fmla="*/ 30926 h 95278"/>
                    <a:gd name="connsiteX0" fmla="*/ 1348 w 272935"/>
                    <a:gd name="connsiteY0" fmla="*/ 30926 h 95278"/>
                    <a:gd name="connsiteX1" fmla="*/ 86867 w 272935"/>
                    <a:gd name="connsiteY1" fmla="*/ 0 h 95278"/>
                    <a:gd name="connsiteX2" fmla="*/ 123866 w 272935"/>
                    <a:gd name="connsiteY2" fmla="*/ 26624 h 95278"/>
                    <a:gd name="connsiteX3" fmla="*/ 178943 w 272935"/>
                    <a:gd name="connsiteY3" fmla="*/ 41275 h 95278"/>
                    <a:gd name="connsiteX4" fmla="*/ 272821 w 272935"/>
                    <a:gd name="connsiteY4" fmla="*/ 35291 h 95278"/>
                    <a:gd name="connsiteX5" fmla="*/ 211459 w 272935"/>
                    <a:gd name="connsiteY5" fmla="*/ 88076 h 95278"/>
                    <a:gd name="connsiteX6" fmla="*/ 183920 w 272935"/>
                    <a:gd name="connsiteY6" fmla="*/ 92441 h 95278"/>
                    <a:gd name="connsiteX7" fmla="*/ 86868 w 272935"/>
                    <a:gd name="connsiteY7" fmla="*/ 57149 h 95278"/>
                    <a:gd name="connsiteX8" fmla="*/ 38141 w 272935"/>
                    <a:gd name="connsiteY8" fmla="*/ 86028 h 95278"/>
                    <a:gd name="connsiteX9" fmla="*/ 1348 w 272935"/>
                    <a:gd name="connsiteY9" fmla="*/ 30926 h 95278"/>
                    <a:gd name="connsiteX0" fmla="*/ 1348 w 215636"/>
                    <a:gd name="connsiteY0" fmla="*/ 30926 h 95278"/>
                    <a:gd name="connsiteX1" fmla="*/ 86867 w 215636"/>
                    <a:gd name="connsiteY1" fmla="*/ 0 h 95278"/>
                    <a:gd name="connsiteX2" fmla="*/ 123866 w 215636"/>
                    <a:gd name="connsiteY2" fmla="*/ 26624 h 95278"/>
                    <a:gd name="connsiteX3" fmla="*/ 178943 w 215636"/>
                    <a:gd name="connsiteY3" fmla="*/ 41275 h 95278"/>
                    <a:gd name="connsiteX4" fmla="*/ 190271 w 215636"/>
                    <a:gd name="connsiteY4" fmla="*/ 38466 h 95278"/>
                    <a:gd name="connsiteX5" fmla="*/ 211459 w 215636"/>
                    <a:gd name="connsiteY5" fmla="*/ 88076 h 95278"/>
                    <a:gd name="connsiteX6" fmla="*/ 183920 w 215636"/>
                    <a:gd name="connsiteY6" fmla="*/ 92441 h 95278"/>
                    <a:gd name="connsiteX7" fmla="*/ 86868 w 215636"/>
                    <a:gd name="connsiteY7" fmla="*/ 57149 h 95278"/>
                    <a:gd name="connsiteX8" fmla="*/ 38141 w 215636"/>
                    <a:gd name="connsiteY8" fmla="*/ 86028 h 95278"/>
                    <a:gd name="connsiteX9" fmla="*/ 1348 w 215636"/>
                    <a:gd name="connsiteY9" fmla="*/ 30926 h 95278"/>
                    <a:gd name="connsiteX0" fmla="*/ 1348 w 211519"/>
                    <a:gd name="connsiteY0" fmla="*/ 30926 h 95587"/>
                    <a:gd name="connsiteX1" fmla="*/ 86867 w 211519"/>
                    <a:gd name="connsiteY1" fmla="*/ 0 h 95587"/>
                    <a:gd name="connsiteX2" fmla="*/ 123866 w 211519"/>
                    <a:gd name="connsiteY2" fmla="*/ 26624 h 95587"/>
                    <a:gd name="connsiteX3" fmla="*/ 178943 w 211519"/>
                    <a:gd name="connsiteY3" fmla="*/ 41275 h 95587"/>
                    <a:gd name="connsiteX4" fmla="*/ 211459 w 211519"/>
                    <a:gd name="connsiteY4" fmla="*/ 88076 h 95587"/>
                    <a:gd name="connsiteX5" fmla="*/ 183920 w 211519"/>
                    <a:gd name="connsiteY5" fmla="*/ 92441 h 95587"/>
                    <a:gd name="connsiteX6" fmla="*/ 86868 w 211519"/>
                    <a:gd name="connsiteY6" fmla="*/ 57149 h 95587"/>
                    <a:gd name="connsiteX7" fmla="*/ 38141 w 211519"/>
                    <a:gd name="connsiteY7" fmla="*/ 86028 h 95587"/>
                    <a:gd name="connsiteX8" fmla="*/ 1348 w 211519"/>
                    <a:gd name="connsiteY8" fmla="*/ 30926 h 95587"/>
                    <a:gd name="connsiteX0" fmla="*/ 1348 w 191731"/>
                    <a:gd name="connsiteY0" fmla="*/ 30926 h 92441"/>
                    <a:gd name="connsiteX1" fmla="*/ 86867 w 191731"/>
                    <a:gd name="connsiteY1" fmla="*/ 0 h 92441"/>
                    <a:gd name="connsiteX2" fmla="*/ 123866 w 191731"/>
                    <a:gd name="connsiteY2" fmla="*/ 26624 h 92441"/>
                    <a:gd name="connsiteX3" fmla="*/ 178943 w 191731"/>
                    <a:gd name="connsiteY3" fmla="*/ 41275 h 92441"/>
                    <a:gd name="connsiteX4" fmla="*/ 183920 w 191731"/>
                    <a:gd name="connsiteY4" fmla="*/ 92441 h 92441"/>
                    <a:gd name="connsiteX5" fmla="*/ 86868 w 191731"/>
                    <a:gd name="connsiteY5" fmla="*/ 57149 h 92441"/>
                    <a:gd name="connsiteX6" fmla="*/ 38141 w 191731"/>
                    <a:gd name="connsiteY6" fmla="*/ 86028 h 92441"/>
                    <a:gd name="connsiteX7" fmla="*/ 1348 w 191731"/>
                    <a:gd name="connsiteY7" fmla="*/ 30926 h 92441"/>
                    <a:gd name="connsiteX0" fmla="*/ 1348 w 187823"/>
                    <a:gd name="connsiteY0" fmla="*/ 30926 h 93844"/>
                    <a:gd name="connsiteX1" fmla="*/ 86867 w 187823"/>
                    <a:gd name="connsiteY1" fmla="*/ 0 h 93844"/>
                    <a:gd name="connsiteX2" fmla="*/ 123866 w 187823"/>
                    <a:gd name="connsiteY2" fmla="*/ 26624 h 93844"/>
                    <a:gd name="connsiteX3" fmla="*/ 178943 w 187823"/>
                    <a:gd name="connsiteY3" fmla="*/ 41275 h 93844"/>
                    <a:gd name="connsiteX4" fmla="*/ 183920 w 187823"/>
                    <a:gd name="connsiteY4" fmla="*/ 92441 h 93844"/>
                    <a:gd name="connsiteX5" fmla="*/ 124559 w 187823"/>
                    <a:gd name="connsiteY5" fmla="*/ 81554 h 93844"/>
                    <a:gd name="connsiteX6" fmla="*/ 86868 w 187823"/>
                    <a:gd name="connsiteY6" fmla="*/ 57149 h 93844"/>
                    <a:gd name="connsiteX7" fmla="*/ 38141 w 187823"/>
                    <a:gd name="connsiteY7" fmla="*/ 86028 h 93844"/>
                    <a:gd name="connsiteX8" fmla="*/ 1348 w 187823"/>
                    <a:gd name="connsiteY8" fmla="*/ 30926 h 93844"/>
                    <a:gd name="connsiteX0" fmla="*/ 1348 w 182367"/>
                    <a:gd name="connsiteY0" fmla="*/ 30926 h 86450"/>
                    <a:gd name="connsiteX1" fmla="*/ 86867 w 182367"/>
                    <a:gd name="connsiteY1" fmla="*/ 0 h 86450"/>
                    <a:gd name="connsiteX2" fmla="*/ 123866 w 182367"/>
                    <a:gd name="connsiteY2" fmla="*/ 26624 h 86450"/>
                    <a:gd name="connsiteX3" fmla="*/ 178943 w 182367"/>
                    <a:gd name="connsiteY3" fmla="*/ 41275 h 86450"/>
                    <a:gd name="connsiteX4" fmla="*/ 168045 w 182367"/>
                    <a:gd name="connsiteY4" fmla="*/ 70216 h 86450"/>
                    <a:gd name="connsiteX5" fmla="*/ 124559 w 182367"/>
                    <a:gd name="connsiteY5" fmla="*/ 81554 h 86450"/>
                    <a:gd name="connsiteX6" fmla="*/ 86868 w 182367"/>
                    <a:gd name="connsiteY6" fmla="*/ 57149 h 86450"/>
                    <a:gd name="connsiteX7" fmla="*/ 38141 w 182367"/>
                    <a:gd name="connsiteY7" fmla="*/ 86028 h 86450"/>
                    <a:gd name="connsiteX8" fmla="*/ 1348 w 182367"/>
                    <a:gd name="connsiteY8" fmla="*/ 30926 h 86450"/>
                    <a:gd name="connsiteX0" fmla="*/ 5340 w 151434"/>
                    <a:gd name="connsiteY0" fmla="*/ 18226 h 86870"/>
                    <a:gd name="connsiteX1" fmla="*/ 55934 w 151434"/>
                    <a:gd name="connsiteY1" fmla="*/ 0 h 86870"/>
                    <a:gd name="connsiteX2" fmla="*/ 92933 w 151434"/>
                    <a:gd name="connsiteY2" fmla="*/ 26624 h 86870"/>
                    <a:gd name="connsiteX3" fmla="*/ 148010 w 151434"/>
                    <a:gd name="connsiteY3" fmla="*/ 41275 h 86870"/>
                    <a:gd name="connsiteX4" fmla="*/ 137112 w 151434"/>
                    <a:gd name="connsiteY4" fmla="*/ 70216 h 86870"/>
                    <a:gd name="connsiteX5" fmla="*/ 93626 w 151434"/>
                    <a:gd name="connsiteY5" fmla="*/ 81554 h 86870"/>
                    <a:gd name="connsiteX6" fmla="*/ 55935 w 151434"/>
                    <a:gd name="connsiteY6" fmla="*/ 57149 h 86870"/>
                    <a:gd name="connsiteX7" fmla="*/ 7208 w 151434"/>
                    <a:gd name="connsiteY7" fmla="*/ 86028 h 86870"/>
                    <a:gd name="connsiteX8" fmla="*/ 5340 w 151434"/>
                    <a:gd name="connsiteY8" fmla="*/ 18226 h 86870"/>
                    <a:gd name="connsiteX0" fmla="*/ 869 w 146963"/>
                    <a:gd name="connsiteY0" fmla="*/ 18226 h 83131"/>
                    <a:gd name="connsiteX1" fmla="*/ 51463 w 146963"/>
                    <a:gd name="connsiteY1" fmla="*/ 0 h 83131"/>
                    <a:gd name="connsiteX2" fmla="*/ 88462 w 146963"/>
                    <a:gd name="connsiteY2" fmla="*/ 26624 h 83131"/>
                    <a:gd name="connsiteX3" fmla="*/ 143539 w 146963"/>
                    <a:gd name="connsiteY3" fmla="*/ 41275 h 83131"/>
                    <a:gd name="connsiteX4" fmla="*/ 132641 w 146963"/>
                    <a:gd name="connsiteY4" fmla="*/ 70216 h 83131"/>
                    <a:gd name="connsiteX5" fmla="*/ 89155 w 146963"/>
                    <a:gd name="connsiteY5" fmla="*/ 81554 h 83131"/>
                    <a:gd name="connsiteX6" fmla="*/ 51464 w 146963"/>
                    <a:gd name="connsiteY6" fmla="*/ 57149 h 83131"/>
                    <a:gd name="connsiteX7" fmla="*/ 21787 w 146963"/>
                    <a:gd name="connsiteY7" fmla="*/ 70153 h 83131"/>
                    <a:gd name="connsiteX8" fmla="*/ 869 w 146963"/>
                    <a:gd name="connsiteY8" fmla="*/ 18226 h 831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6963" h="83131">
                      <a:moveTo>
                        <a:pt x="869" y="18226"/>
                      </a:moveTo>
                      <a:cubicBezTo>
                        <a:pt x="5815" y="6534"/>
                        <a:pt x="26281" y="20825"/>
                        <a:pt x="51463" y="0"/>
                      </a:cubicBezTo>
                      <a:cubicBezTo>
                        <a:pt x="82995" y="1400"/>
                        <a:pt x="73116" y="19745"/>
                        <a:pt x="88462" y="26624"/>
                      </a:cubicBezTo>
                      <a:cubicBezTo>
                        <a:pt x="103808" y="33503"/>
                        <a:pt x="133530" y="30306"/>
                        <a:pt x="143539" y="41275"/>
                      </a:cubicBezTo>
                      <a:cubicBezTo>
                        <a:pt x="153548" y="52245"/>
                        <a:pt x="139059" y="65090"/>
                        <a:pt x="132641" y="70216"/>
                      </a:cubicBezTo>
                      <a:cubicBezTo>
                        <a:pt x="126223" y="75342"/>
                        <a:pt x="105330" y="87436"/>
                        <a:pt x="89155" y="81554"/>
                      </a:cubicBezTo>
                      <a:cubicBezTo>
                        <a:pt x="72980" y="75672"/>
                        <a:pt x="68513" y="54816"/>
                        <a:pt x="51464" y="57149"/>
                      </a:cubicBezTo>
                      <a:cubicBezTo>
                        <a:pt x="34415" y="59482"/>
                        <a:pt x="30220" y="76640"/>
                        <a:pt x="21787" y="70153"/>
                      </a:cubicBezTo>
                      <a:cubicBezTo>
                        <a:pt x="13355" y="63666"/>
                        <a:pt x="-4077" y="29918"/>
                        <a:pt x="869" y="18226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7" name="Freeform 204"/>
                <p:cNvSpPr/>
                <p:nvPr/>
              </p:nvSpPr>
              <p:spPr bwMode="auto">
                <a:xfrm rot="8302761">
                  <a:off x="7499168" y="4238535"/>
                  <a:ext cx="159462" cy="136463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508809 w 628017"/>
                    <a:gd name="connsiteY0" fmla="*/ 2356 h 376001"/>
                    <a:gd name="connsiteX1" fmla="*/ 6361 w 628017"/>
                    <a:gd name="connsiteY1" fmla="*/ 130721 h 376001"/>
                    <a:gd name="connsiteX2" fmla="*/ 228411 w 628017"/>
                    <a:gd name="connsiteY2" fmla="*/ 374859 h 376001"/>
                    <a:gd name="connsiteX3" fmla="*/ 609906 w 628017"/>
                    <a:gd name="connsiteY3" fmla="*/ 235794 h 376001"/>
                    <a:gd name="connsiteX4" fmla="*/ 508809 w 628017"/>
                    <a:gd name="connsiteY4" fmla="*/ 2356 h 376001"/>
                    <a:gd name="connsiteX0" fmla="*/ 504040 w 616834"/>
                    <a:gd name="connsiteY0" fmla="*/ 2903 h 376548"/>
                    <a:gd name="connsiteX1" fmla="*/ 351553 w 616834"/>
                    <a:gd name="connsiteY1" fmla="*/ 107249 h 376548"/>
                    <a:gd name="connsiteX2" fmla="*/ 1592 w 616834"/>
                    <a:gd name="connsiteY2" fmla="*/ 131268 h 376548"/>
                    <a:gd name="connsiteX3" fmla="*/ 223642 w 616834"/>
                    <a:gd name="connsiteY3" fmla="*/ 375406 h 376548"/>
                    <a:gd name="connsiteX4" fmla="*/ 605137 w 616834"/>
                    <a:gd name="connsiteY4" fmla="*/ 236341 h 376548"/>
                    <a:gd name="connsiteX5" fmla="*/ 504040 w 616834"/>
                    <a:gd name="connsiteY5" fmla="*/ 2903 h 376548"/>
                    <a:gd name="connsiteX0" fmla="*/ 495452 w 616175"/>
                    <a:gd name="connsiteY0" fmla="*/ 51280 h 274874"/>
                    <a:gd name="connsiteX1" fmla="*/ 351553 w 616175"/>
                    <a:gd name="connsiteY1" fmla="*/ 5575 h 274874"/>
                    <a:gd name="connsiteX2" fmla="*/ 1592 w 616175"/>
                    <a:gd name="connsiteY2" fmla="*/ 29594 h 274874"/>
                    <a:gd name="connsiteX3" fmla="*/ 223642 w 616175"/>
                    <a:gd name="connsiteY3" fmla="*/ 273732 h 274874"/>
                    <a:gd name="connsiteX4" fmla="*/ 605137 w 616175"/>
                    <a:gd name="connsiteY4" fmla="*/ 134667 h 274874"/>
                    <a:gd name="connsiteX5" fmla="*/ 495452 w 616175"/>
                    <a:gd name="connsiteY5" fmla="*/ 51280 h 274874"/>
                    <a:gd name="connsiteX0" fmla="*/ 495452 w 532377"/>
                    <a:gd name="connsiteY0" fmla="*/ 51265 h 274847"/>
                    <a:gd name="connsiteX1" fmla="*/ 351553 w 532377"/>
                    <a:gd name="connsiteY1" fmla="*/ 5560 h 274847"/>
                    <a:gd name="connsiteX2" fmla="*/ 1592 w 532377"/>
                    <a:gd name="connsiteY2" fmla="*/ 29579 h 274847"/>
                    <a:gd name="connsiteX3" fmla="*/ 223642 w 532377"/>
                    <a:gd name="connsiteY3" fmla="*/ 273717 h 274847"/>
                    <a:gd name="connsiteX4" fmla="*/ 509239 w 532377"/>
                    <a:gd name="connsiteY4" fmla="*/ 133533 h 274847"/>
                    <a:gd name="connsiteX5" fmla="*/ 495452 w 532377"/>
                    <a:gd name="connsiteY5" fmla="*/ 51265 h 274847"/>
                    <a:gd name="connsiteX0" fmla="*/ 497505 w 534430"/>
                    <a:gd name="connsiteY0" fmla="*/ 51265 h 274847"/>
                    <a:gd name="connsiteX1" fmla="*/ 353606 w 534430"/>
                    <a:gd name="connsiteY1" fmla="*/ 5560 h 274847"/>
                    <a:gd name="connsiteX2" fmla="*/ 3645 w 534430"/>
                    <a:gd name="connsiteY2" fmla="*/ 29579 h 274847"/>
                    <a:gd name="connsiteX3" fmla="*/ 173951 w 534430"/>
                    <a:gd name="connsiteY3" fmla="*/ 138081 h 274847"/>
                    <a:gd name="connsiteX4" fmla="*/ 225695 w 534430"/>
                    <a:gd name="connsiteY4" fmla="*/ 273717 h 274847"/>
                    <a:gd name="connsiteX5" fmla="*/ 511292 w 534430"/>
                    <a:gd name="connsiteY5" fmla="*/ 133533 h 274847"/>
                    <a:gd name="connsiteX6" fmla="*/ 497505 w 534430"/>
                    <a:gd name="connsiteY6" fmla="*/ 51265 h 274847"/>
                    <a:gd name="connsiteX0" fmla="*/ 493884 w 530809"/>
                    <a:gd name="connsiteY0" fmla="*/ 51265 h 274847"/>
                    <a:gd name="connsiteX1" fmla="*/ 349985 w 530809"/>
                    <a:gd name="connsiteY1" fmla="*/ 5560 h 274847"/>
                    <a:gd name="connsiteX2" fmla="*/ 24 w 530809"/>
                    <a:gd name="connsiteY2" fmla="*/ 29579 h 274847"/>
                    <a:gd name="connsiteX3" fmla="*/ 170330 w 530809"/>
                    <a:gd name="connsiteY3" fmla="*/ 138081 h 274847"/>
                    <a:gd name="connsiteX4" fmla="*/ 222074 w 530809"/>
                    <a:gd name="connsiteY4" fmla="*/ 273717 h 274847"/>
                    <a:gd name="connsiteX5" fmla="*/ 507671 w 530809"/>
                    <a:gd name="connsiteY5" fmla="*/ 133533 h 274847"/>
                    <a:gd name="connsiteX6" fmla="*/ 493884 w 530809"/>
                    <a:gd name="connsiteY6" fmla="*/ 51265 h 274847"/>
                    <a:gd name="connsiteX0" fmla="*/ 493884 w 530809"/>
                    <a:gd name="connsiteY0" fmla="*/ 51265 h 186504"/>
                    <a:gd name="connsiteX1" fmla="*/ 349985 w 530809"/>
                    <a:gd name="connsiteY1" fmla="*/ 5560 h 186504"/>
                    <a:gd name="connsiteX2" fmla="*/ 24 w 530809"/>
                    <a:gd name="connsiteY2" fmla="*/ 29579 h 186504"/>
                    <a:gd name="connsiteX3" fmla="*/ 170330 w 530809"/>
                    <a:gd name="connsiteY3" fmla="*/ 138081 h 186504"/>
                    <a:gd name="connsiteX4" fmla="*/ 390510 w 530809"/>
                    <a:gd name="connsiteY4" fmla="*/ 180265 h 186504"/>
                    <a:gd name="connsiteX5" fmla="*/ 507671 w 530809"/>
                    <a:gd name="connsiteY5" fmla="*/ 133533 h 186504"/>
                    <a:gd name="connsiteX6" fmla="*/ 493884 w 530809"/>
                    <a:gd name="connsiteY6" fmla="*/ 51265 h 186504"/>
                    <a:gd name="connsiteX0" fmla="*/ 495721 w 532646"/>
                    <a:gd name="connsiteY0" fmla="*/ 51265 h 186504"/>
                    <a:gd name="connsiteX1" fmla="*/ 351822 w 532646"/>
                    <a:gd name="connsiteY1" fmla="*/ 5560 h 186504"/>
                    <a:gd name="connsiteX2" fmla="*/ 1861 w 532646"/>
                    <a:gd name="connsiteY2" fmla="*/ 29579 h 186504"/>
                    <a:gd name="connsiteX3" fmla="*/ 213626 w 532646"/>
                    <a:gd name="connsiteY3" fmla="*/ 107499 h 186504"/>
                    <a:gd name="connsiteX4" fmla="*/ 392347 w 532646"/>
                    <a:gd name="connsiteY4" fmla="*/ 180265 h 186504"/>
                    <a:gd name="connsiteX5" fmla="*/ 509508 w 532646"/>
                    <a:gd name="connsiteY5" fmla="*/ 133533 h 186504"/>
                    <a:gd name="connsiteX6" fmla="*/ 495721 w 532646"/>
                    <a:gd name="connsiteY6" fmla="*/ 51265 h 186504"/>
                    <a:gd name="connsiteX0" fmla="*/ 496902 w 533827"/>
                    <a:gd name="connsiteY0" fmla="*/ 70457 h 205696"/>
                    <a:gd name="connsiteX1" fmla="*/ 353003 w 533827"/>
                    <a:gd name="connsiteY1" fmla="*/ 24752 h 205696"/>
                    <a:gd name="connsiteX2" fmla="*/ 107632 w 533827"/>
                    <a:gd name="connsiteY2" fmla="*/ 439 h 205696"/>
                    <a:gd name="connsiteX3" fmla="*/ 3042 w 533827"/>
                    <a:gd name="connsiteY3" fmla="*/ 48771 h 205696"/>
                    <a:gd name="connsiteX4" fmla="*/ 214807 w 533827"/>
                    <a:gd name="connsiteY4" fmla="*/ 126691 h 205696"/>
                    <a:gd name="connsiteX5" fmla="*/ 393528 w 533827"/>
                    <a:gd name="connsiteY5" fmla="*/ 199457 h 205696"/>
                    <a:gd name="connsiteX6" fmla="*/ 510689 w 533827"/>
                    <a:gd name="connsiteY6" fmla="*/ 152725 h 205696"/>
                    <a:gd name="connsiteX7" fmla="*/ 496902 w 533827"/>
                    <a:gd name="connsiteY7" fmla="*/ 70457 h 205696"/>
                    <a:gd name="connsiteX0" fmla="*/ 472353 w 509278"/>
                    <a:gd name="connsiteY0" fmla="*/ 70457 h 205696"/>
                    <a:gd name="connsiteX1" fmla="*/ 328454 w 509278"/>
                    <a:gd name="connsiteY1" fmla="*/ 24752 h 205696"/>
                    <a:gd name="connsiteX2" fmla="*/ 83083 w 509278"/>
                    <a:gd name="connsiteY2" fmla="*/ 439 h 205696"/>
                    <a:gd name="connsiteX3" fmla="*/ 4427 w 509278"/>
                    <a:gd name="connsiteY3" fmla="*/ 91234 h 205696"/>
                    <a:gd name="connsiteX4" fmla="*/ 190258 w 509278"/>
                    <a:gd name="connsiteY4" fmla="*/ 126691 h 205696"/>
                    <a:gd name="connsiteX5" fmla="*/ 368979 w 509278"/>
                    <a:gd name="connsiteY5" fmla="*/ 199457 h 205696"/>
                    <a:gd name="connsiteX6" fmla="*/ 486140 w 509278"/>
                    <a:gd name="connsiteY6" fmla="*/ 152725 h 205696"/>
                    <a:gd name="connsiteX7" fmla="*/ 472353 w 509278"/>
                    <a:gd name="connsiteY7" fmla="*/ 70457 h 205696"/>
                    <a:gd name="connsiteX0" fmla="*/ 471911 w 508836"/>
                    <a:gd name="connsiteY0" fmla="*/ 51265 h 186504"/>
                    <a:gd name="connsiteX1" fmla="*/ 328012 w 508836"/>
                    <a:gd name="connsiteY1" fmla="*/ 5560 h 186504"/>
                    <a:gd name="connsiteX2" fmla="*/ 86111 w 508836"/>
                    <a:gd name="connsiteY2" fmla="*/ 19749 h 186504"/>
                    <a:gd name="connsiteX3" fmla="*/ 3985 w 508836"/>
                    <a:gd name="connsiteY3" fmla="*/ 72042 h 186504"/>
                    <a:gd name="connsiteX4" fmla="*/ 189816 w 508836"/>
                    <a:gd name="connsiteY4" fmla="*/ 107499 h 186504"/>
                    <a:gd name="connsiteX5" fmla="*/ 368537 w 508836"/>
                    <a:gd name="connsiteY5" fmla="*/ 180265 h 186504"/>
                    <a:gd name="connsiteX6" fmla="*/ 485698 w 508836"/>
                    <a:gd name="connsiteY6" fmla="*/ 133533 h 186504"/>
                    <a:gd name="connsiteX7" fmla="*/ 471911 w 508836"/>
                    <a:gd name="connsiteY7" fmla="*/ 51265 h 186504"/>
                    <a:gd name="connsiteX0" fmla="*/ 437213 w 474138"/>
                    <a:gd name="connsiteY0" fmla="*/ 51265 h 186504"/>
                    <a:gd name="connsiteX1" fmla="*/ 293314 w 474138"/>
                    <a:gd name="connsiteY1" fmla="*/ 5560 h 186504"/>
                    <a:gd name="connsiteX2" fmla="*/ 51413 w 474138"/>
                    <a:gd name="connsiteY2" fmla="*/ 19749 h 186504"/>
                    <a:gd name="connsiteX3" fmla="*/ 9907 w 474138"/>
                    <a:gd name="connsiteY3" fmla="*/ 113936 h 186504"/>
                    <a:gd name="connsiteX4" fmla="*/ 155118 w 474138"/>
                    <a:gd name="connsiteY4" fmla="*/ 107499 h 186504"/>
                    <a:gd name="connsiteX5" fmla="*/ 333839 w 474138"/>
                    <a:gd name="connsiteY5" fmla="*/ 180265 h 186504"/>
                    <a:gd name="connsiteX6" fmla="*/ 451000 w 474138"/>
                    <a:gd name="connsiteY6" fmla="*/ 133533 h 186504"/>
                    <a:gd name="connsiteX7" fmla="*/ 437213 w 474138"/>
                    <a:gd name="connsiteY7" fmla="*/ 51265 h 186504"/>
                    <a:gd name="connsiteX0" fmla="*/ 437213 w 477998"/>
                    <a:gd name="connsiteY0" fmla="*/ 94179 h 229418"/>
                    <a:gd name="connsiteX1" fmla="*/ 208200 w 477998"/>
                    <a:gd name="connsiteY1" fmla="*/ 3473 h 229418"/>
                    <a:gd name="connsiteX2" fmla="*/ 51413 w 477998"/>
                    <a:gd name="connsiteY2" fmla="*/ 62663 h 229418"/>
                    <a:gd name="connsiteX3" fmla="*/ 9907 w 477998"/>
                    <a:gd name="connsiteY3" fmla="*/ 156850 h 229418"/>
                    <a:gd name="connsiteX4" fmla="*/ 155118 w 477998"/>
                    <a:gd name="connsiteY4" fmla="*/ 150413 h 229418"/>
                    <a:gd name="connsiteX5" fmla="*/ 333839 w 477998"/>
                    <a:gd name="connsiteY5" fmla="*/ 223179 h 229418"/>
                    <a:gd name="connsiteX6" fmla="*/ 451000 w 477998"/>
                    <a:gd name="connsiteY6" fmla="*/ 176447 h 229418"/>
                    <a:gd name="connsiteX7" fmla="*/ 437213 w 477998"/>
                    <a:gd name="connsiteY7" fmla="*/ 94179 h 229418"/>
                    <a:gd name="connsiteX0" fmla="*/ 437213 w 474159"/>
                    <a:gd name="connsiteY0" fmla="*/ 108861 h 244100"/>
                    <a:gd name="connsiteX1" fmla="*/ 292826 w 474159"/>
                    <a:gd name="connsiteY1" fmla="*/ 5528 h 244100"/>
                    <a:gd name="connsiteX2" fmla="*/ 208200 w 474159"/>
                    <a:gd name="connsiteY2" fmla="*/ 18155 h 244100"/>
                    <a:gd name="connsiteX3" fmla="*/ 51413 w 474159"/>
                    <a:gd name="connsiteY3" fmla="*/ 77345 h 244100"/>
                    <a:gd name="connsiteX4" fmla="*/ 9907 w 474159"/>
                    <a:gd name="connsiteY4" fmla="*/ 171532 h 244100"/>
                    <a:gd name="connsiteX5" fmla="*/ 155118 w 474159"/>
                    <a:gd name="connsiteY5" fmla="*/ 165095 h 244100"/>
                    <a:gd name="connsiteX6" fmla="*/ 333839 w 474159"/>
                    <a:gd name="connsiteY6" fmla="*/ 237861 h 244100"/>
                    <a:gd name="connsiteX7" fmla="*/ 451000 w 474159"/>
                    <a:gd name="connsiteY7" fmla="*/ 191129 h 244100"/>
                    <a:gd name="connsiteX8" fmla="*/ 437213 w 474159"/>
                    <a:gd name="connsiteY8" fmla="*/ 108861 h 244100"/>
                    <a:gd name="connsiteX0" fmla="*/ 437213 w 437377"/>
                    <a:gd name="connsiteY0" fmla="*/ 108861 h 239065"/>
                    <a:gd name="connsiteX1" fmla="*/ 292826 w 437377"/>
                    <a:gd name="connsiteY1" fmla="*/ 5528 h 239065"/>
                    <a:gd name="connsiteX2" fmla="*/ 208200 w 437377"/>
                    <a:gd name="connsiteY2" fmla="*/ 18155 h 239065"/>
                    <a:gd name="connsiteX3" fmla="*/ 51413 w 437377"/>
                    <a:gd name="connsiteY3" fmla="*/ 77345 h 239065"/>
                    <a:gd name="connsiteX4" fmla="*/ 9907 w 437377"/>
                    <a:gd name="connsiteY4" fmla="*/ 171532 h 239065"/>
                    <a:gd name="connsiteX5" fmla="*/ 155118 w 437377"/>
                    <a:gd name="connsiteY5" fmla="*/ 165095 h 239065"/>
                    <a:gd name="connsiteX6" fmla="*/ 333839 w 437377"/>
                    <a:gd name="connsiteY6" fmla="*/ 237861 h 239065"/>
                    <a:gd name="connsiteX7" fmla="*/ 262630 w 437377"/>
                    <a:gd name="connsiteY7" fmla="*/ 104242 h 239065"/>
                    <a:gd name="connsiteX8" fmla="*/ 437213 w 437377"/>
                    <a:gd name="connsiteY8" fmla="*/ 108861 h 239065"/>
                    <a:gd name="connsiteX0" fmla="*/ 371961 w 372339"/>
                    <a:gd name="connsiteY0" fmla="*/ 38942 h 239065"/>
                    <a:gd name="connsiteX1" fmla="*/ 292826 w 372339"/>
                    <a:gd name="connsiteY1" fmla="*/ 5528 h 239065"/>
                    <a:gd name="connsiteX2" fmla="*/ 208200 w 372339"/>
                    <a:gd name="connsiteY2" fmla="*/ 18155 h 239065"/>
                    <a:gd name="connsiteX3" fmla="*/ 51413 w 372339"/>
                    <a:gd name="connsiteY3" fmla="*/ 77345 h 239065"/>
                    <a:gd name="connsiteX4" fmla="*/ 9907 w 372339"/>
                    <a:gd name="connsiteY4" fmla="*/ 171532 h 239065"/>
                    <a:gd name="connsiteX5" fmla="*/ 155118 w 372339"/>
                    <a:gd name="connsiteY5" fmla="*/ 165095 h 239065"/>
                    <a:gd name="connsiteX6" fmla="*/ 333839 w 372339"/>
                    <a:gd name="connsiteY6" fmla="*/ 237861 h 239065"/>
                    <a:gd name="connsiteX7" fmla="*/ 262630 w 372339"/>
                    <a:gd name="connsiteY7" fmla="*/ 104242 h 239065"/>
                    <a:gd name="connsiteX8" fmla="*/ 371961 w 372339"/>
                    <a:gd name="connsiteY8" fmla="*/ 38942 h 239065"/>
                    <a:gd name="connsiteX0" fmla="*/ 371961 w 372341"/>
                    <a:gd name="connsiteY0" fmla="*/ 38942 h 178890"/>
                    <a:gd name="connsiteX1" fmla="*/ 292826 w 372341"/>
                    <a:gd name="connsiteY1" fmla="*/ 5528 h 178890"/>
                    <a:gd name="connsiteX2" fmla="*/ 208200 w 372341"/>
                    <a:gd name="connsiteY2" fmla="*/ 18155 h 178890"/>
                    <a:gd name="connsiteX3" fmla="*/ 51413 w 372341"/>
                    <a:gd name="connsiteY3" fmla="*/ 77345 h 178890"/>
                    <a:gd name="connsiteX4" fmla="*/ 9907 w 372341"/>
                    <a:gd name="connsiteY4" fmla="*/ 171532 h 178890"/>
                    <a:gd name="connsiteX5" fmla="*/ 155118 w 372341"/>
                    <a:gd name="connsiteY5" fmla="*/ 165095 h 178890"/>
                    <a:gd name="connsiteX6" fmla="*/ 262630 w 372341"/>
                    <a:gd name="connsiteY6" fmla="*/ 104242 h 178890"/>
                    <a:gd name="connsiteX7" fmla="*/ 371961 w 372341"/>
                    <a:gd name="connsiteY7" fmla="*/ 38942 h 178890"/>
                    <a:gd name="connsiteX0" fmla="*/ 335241 w 335620"/>
                    <a:gd name="connsiteY0" fmla="*/ 38942 h 166425"/>
                    <a:gd name="connsiteX1" fmla="*/ 256106 w 335620"/>
                    <a:gd name="connsiteY1" fmla="*/ 5528 h 166425"/>
                    <a:gd name="connsiteX2" fmla="*/ 171480 w 335620"/>
                    <a:gd name="connsiteY2" fmla="*/ 18155 h 166425"/>
                    <a:gd name="connsiteX3" fmla="*/ 14693 w 335620"/>
                    <a:gd name="connsiteY3" fmla="*/ 77345 h 166425"/>
                    <a:gd name="connsiteX4" fmla="*/ 106641 w 335620"/>
                    <a:gd name="connsiteY4" fmla="*/ 98752 h 166425"/>
                    <a:gd name="connsiteX5" fmla="*/ 118398 w 335620"/>
                    <a:gd name="connsiteY5" fmla="*/ 165095 h 166425"/>
                    <a:gd name="connsiteX6" fmla="*/ 225910 w 335620"/>
                    <a:gd name="connsiteY6" fmla="*/ 104242 h 166425"/>
                    <a:gd name="connsiteX7" fmla="*/ 335241 w 335620"/>
                    <a:gd name="connsiteY7" fmla="*/ 38942 h 166425"/>
                    <a:gd name="connsiteX0" fmla="*/ 244401 w 244780"/>
                    <a:gd name="connsiteY0" fmla="*/ 38942 h 166445"/>
                    <a:gd name="connsiteX1" fmla="*/ 165266 w 244780"/>
                    <a:gd name="connsiteY1" fmla="*/ 5528 h 166445"/>
                    <a:gd name="connsiteX2" fmla="*/ 80640 w 244780"/>
                    <a:gd name="connsiteY2" fmla="*/ 18155 h 166445"/>
                    <a:gd name="connsiteX3" fmla="*/ 30115 w 244780"/>
                    <a:gd name="connsiteY3" fmla="*/ 70817 h 166445"/>
                    <a:gd name="connsiteX4" fmla="*/ 15801 w 244780"/>
                    <a:gd name="connsiteY4" fmla="*/ 98752 h 166445"/>
                    <a:gd name="connsiteX5" fmla="*/ 27558 w 244780"/>
                    <a:gd name="connsiteY5" fmla="*/ 165095 h 166445"/>
                    <a:gd name="connsiteX6" fmla="*/ 135070 w 244780"/>
                    <a:gd name="connsiteY6" fmla="*/ 104242 h 166445"/>
                    <a:gd name="connsiteX7" fmla="*/ 244401 w 244780"/>
                    <a:gd name="connsiteY7" fmla="*/ 38942 h 166445"/>
                    <a:gd name="connsiteX0" fmla="*/ 242420 w 242799"/>
                    <a:gd name="connsiteY0" fmla="*/ 38942 h 166360"/>
                    <a:gd name="connsiteX1" fmla="*/ 163285 w 242799"/>
                    <a:gd name="connsiteY1" fmla="*/ 5528 h 166360"/>
                    <a:gd name="connsiteX2" fmla="*/ 78659 w 242799"/>
                    <a:gd name="connsiteY2" fmla="*/ 18155 h 166360"/>
                    <a:gd name="connsiteX3" fmla="*/ 86029 w 242799"/>
                    <a:gd name="connsiteY3" fmla="*/ 99969 h 166360"/>
                    <a:gd name="connsiteX4" fmla="*/ 13820 w 242799"/>
                    <a:gd name="connsiteY4" fmla="*/ 98752 h 166360"/>
                    <a:gd name="connsiteX5" fmla="*/ 25577 w 242799"/>
                    <a:gd name="connsiteY5" fmla="*/ 165095 h 166360"/>
                    <a:gd name="connsiteX6" fmla="*/ 133089 w 242799"/>
                    <a:gd name="connsiteY6" fmla="*/ 104242 h 166360"/>
                    <a:gd name="connsiteX7" fmla="*/ 242420 w 242799"/>
                    <a:gd name="connsiteY7" fmla="*/ 38942 h 166360"/>
                    <a:gd name="connsiteX0" fmla="*/ 243410 w 243789"/>
                    <a:gd name="connsiteY0" fmla="*/ 38942 h 166052"/>
                    <a:gd name="connsiteX1" fmla="*/ 164275 w 243789"/>
                    <a:gd name="connsiteY1" fmla="*/ 5528 h 166052"/>
                    <a:gd name="connsiteX2" fmla="*/ 79649 w 243789"/>
                    <a:gd name="connsiteY2" fmla="*/ 18155 h 166052"/>
                    <a:gd name="connsiteX3" fmla="*/ 87019 w 243789"/>
                    <a:gd name="connsiteY3" fmla="*/ 99969 h 166052"/>
                    <a:gd name="connsiteX4" fmla="*/ 12642 w 243789"/>
                    <a:gd name="connsiteY4" fmla="*/ 74688 h 166052"/>
                    <a:gd name="connsiteX5" fmla="*/ 26567 w 243789"/>
                    <a:gd name="connsiteY5" fmla="*/ 165095 h 166052"/>
                    <a:gd name="connsiteX6" fmla="*/ 134079 w 243789"/>
                    <a:gd name="connsiteY6" fmla="*/ 104242 h 166052"/>
                    <a:gd name="connsiteX7" fmla="*/ 243410 w 243789"/>
                    <a:gd name="connsiteY7" fmla="*/ 38942 h 166052"/>
                    <a:gd name="connsiteX0" fmla="*/ 232217 w 232596"/>
                    <a:gd name="connsiteY0" fmla="*/ 38942 h 104928"/>
                    <a:gd name="connsiteX1" fmla="*/ 153082 w 232596"/>
                    <a:gd name="connsiteY1" fmla="*/ 5528 h 104928"/>
                    <a:gd name="connsiteX2" fmla="*/ 68456 w 232596"/>
                    <a:gd name="connsiteY2" fmla="*/ 18155 h 104928"/>
                    <a:gd name="connsiteX3" fmla="*/ 75826 w 232596"/>
                    <a:gd name="connsiteY3" fmla="*/ 99969 h 104928"/>
                    <a:gd name="connsiteX4" fmla="*/ 1449 w 232596"/>
                    <a:gd name="connsiteY4" fmla="*/ 74688 h 104928"/>
                    <a:gd name="connsiteX5" fmla="*/ 122886 w 232596"/>
                    <a:gd name="connsiteY5" fmla="*/ 104242 h 104928"/>
                    <a:gd name="connsiteX6" fmla="*/ 232217 w 232596"/>
                    <a:gd name="connsiteY6" fmla="*/ 38942 h 104928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1478 w 231857"/>
                    <a:gd name="connsiteY0" fmla="*/ 38942 h 138375"/>
                    <a:gd name="connsiteX1" fmla="*/ 152343 w 231857"/>
                    <a:gd name="connsiteY1" fmla="*/ 5528 h 138375"/>
                    <a:gd name="connsiteX2" fmla="*/ 67717 w 231857"/>
                    <a:gd name="connsiteY2" fmla="*/ 18155 h 138375"/>
                    <a:gd name="connsiteX3" fmla="*/ 85899 w 231857"/>
                    <a:gd name="connsiteY3" fmla="*/ 138189 h 138375"/>
                    <a:gd name="connsiteX4" fmla="*/ 710 w 231857"/>
                    <a:gd name="connsiteY4" fmla="*/ 74688 h 138375"/>
                    <a:gd name="connsiteX5" fmla="*/ 122147 w 231857"/>
                    <a:gd name="connsiteY5" fmla="*/ 104242 h 138375"/>
                    <a:gd name="connsiteX6" fmla="*/ 231478 w 231857"/>
                    <a:gd name="connsiteY6" fmla="*/ 38942 h 138375"/>
                    <a:gd name="connsiteX0" fmla="*/ 282292 w 282671"/>
                    <a:gd name="connsiteY0" fmla="*/ 38942 h 105067"/>
                    <a:gd name="connsiteX1" fmla="*/ 203157 w 282671"/>
                    <a:gd name="connsiteY1" fmla="*/ 5528 h 105067"/>
                    <a:gd name="connsiteX2" fmla="*/ 118531 w 282671"/>
                    <a:gd name="connsiteY2" fmla="*/ 18155 h 105067"/>
                    <a:gd name="connsiteX3" fmla="*/ 24586 w 282671"/>
                    <a:gd name="connsiteY3" fmla="*/ 59217 h 105067"/>
                    <a:gd name="connsiteX4" fmla="*/ 51524 w 282671"/>
                    <a:gd name="connsiteY4" fmla="*/ 74688 h 105067"/>
                    <a:gd name="connsiteX5" fmla="*/ 172961 w 282671"/>
                    <a:gd name="connsiteY5" fmla="*/ 104242 h 105067"/>
                    <a:gd name="connsiteX6" fmla="*/ 282292 w 282671"/>
                    <a:gd name="connsiteY6" fmla="*/ 38942 h 105067"/>
                    <a:gd name="connsiteX0" fmla="*/ 276661 w 277040"/>
                    <a:gd name="connsiteY0" fmla="*/ 38942 h 106138"/>
                    <a:gd name="connsiteX1" fmla="*/ 197526 w 277040"/>
                    <a:gd name="connsiteY1" fmla="*/ 5528 h 106138"/>
                    <a:gd name="connsiteX2" fmla="*/ 112900 w 277040"/>
                    <a:gd name="connsiteY2" fmla="*/ 18155 h 106138"/>
                    <a:gd name="connsiteX3" fmla="*/ 18955 w 277040"/>
                    <a:gd name="connsiteY3" fmla="*/ 59217 h 106138"/>
                    <a:gd name="connsiteX4" fmla="*/ 77974 w 277040"/>
                    <a:gd name="connsiteY4" fmla="*/ 93368 h 106138"/>
                    <a:gd name="connsiteX5" fmla="*/ 167330 w 277040"/>
                    <a:gd name="connsiteY5" fmla="*/ 104242 h 106138"/>
                    <a:gd name="connsiteX6" fmla="*/ 276661 w 277040"/>
                    <a:gd name="connsiteY6" fmla="*/ 38942 h 106138"/>
                    <a:gd name="connsiteX0" fmla="*/ 200660 w 201039"/>
                    <a:gd name="connsiteY0" fmla="*/ 38942 h 107259"/>
                    <a:gd name="connsiteX1" fmla="*/ 121525 w 201039"/>
                    <a:gd name="connsiteY1" fmla="*/ 5528 h 107259"/>
                    <a:gd name="connsiteX2" fmla="*/ 36899 w 201039"/>
                    <a:gd name="connsiteY2" fmla="*/ 18155 h 107259"/>
                    <a:gd name="connsiteX3" fmla="*/ 1973 w 201039"/>
                    <a:gd name="connsiteY3" fmla="*/ 93368 h 107259"/>
                    <a:gd name="connsiteX4" fmla="*/ 91329 w 201039"/>
                    <a:gd name="connsiteY4" fmla="*/ 104242 h 107259"/>
                    <a:gd name="connsiteX5" fmla="*/ 200660 w 201039"/>
                    <a:gd name="connsiteY5" fmla="*/ 38942 h 107259"/>
                    <a:gd name="connsiteX0" fmla="*/ 223149 w 223528"/>
                    <a:gd name="connsiteY0" fmla="*/ 38942 h 116661"/>
                    <a:gd name="connsiteX1" fmla="*/ 144014 w 223528"/>
                    <a:gd name="connsiteY1" fmla="*/ 5528 h 116661"/>
                    <a:gd name="connsiteX2" fmla="*/ 59388 w 223528"/>
                    <a:gd name="connsiteY2" fmla="*/ 18155 h 116661"/>
                    <a:gd name="connsiteX3" fmla="*/ 1141 w 223528"/>
                    <a:gd name="connsiteY3" fmla="*/ 110571 h 116661"/>
                    <a:gd name="connsiteX4" fmla="*/ 113818 w 223528"/>
                    <a:gd name="connsiteY4" fmla="*/ 104242 h 116661"/>
                    <a:gd name="connsiteX5" fmla="*/ 223149 w 223528"/>
                    <a:gd name="connsiteY5" fmla="*/ 38942 h 116661"/>
                    <a:gd name="connsiteX0" fmla="*/ 222489 w 222868"/>
                    <a:gd name="connsiteY0" fmla="*/ 38942 h 130877"/>
                    <a:gd name="connsiteX1" fmla="*/ 143354 w 222868"/>
                    <a:gd name="connsiteY1" fmla="*/ 5528 h 130877"/>
                    <a:gd name="connsiteX2" fmla="*/ 58728 w 222868"/>
                    <a:gd name="connsiteY2" fmla="*/ 18155 h 130877"/>
                    <a:gd name="connsiteX3" fmla="*/ 481 w 222868"/>
                    <a:gd name="connsiteY3" fmla="*/ 110571 h 130877"/>
                    <a:gd name="connsiteX4" fmla="*/ 91990 w 222868"/>
                    <a:gd name="connsiteY4" fmla="*/ 130670 h 130877"/>
                    <a:gd name="connsiteX5" fmla="*/ 113158 w 222868"/>
                    <a:gd name="connsiteY5" fmla="*/ 104242 h 130877"/>
                    <a:gd name="connsiteX6" fmla="*/ 222489 w 222868"/>
                    <a:gd name="connsiteY6" fmla="*/ 38942 h 130877"/>
                    <a:gd name="connsiteX0" fmla="*/ 222256 w 222635"/>
                    <a:gd name="connsiteY0" fmla="*/ 39140 h 130934"/>
                    <a:gd name="connsiteX1" fmla="*/ 143121 w 222635"/>
                    <a:gd name="connsiteY1" fmla="*/ 5726 h 130934"/>
                    <a:gd name="connsiteX2" fmla="*/ 58495 w 222635"/>
                    <a:gd name="connsiteY2" fmla="*/ 18353 h 130934"/>
                    <a:gd name="connsiteX3" fmla="*/ 64522 w 222635"/>
                    <a:gd name="connsiteY3" fmla="*/ 73965 h 130934"/>
                    <a:gd name="connsiteX4" fmla="*/ 248 w 222635"/>
                    <a:gd name="connsiteY4" fmla="*/ 110769 h 130934"/>
                    <a:gd name="connsiteX5" fmla="*/ 91757 w 222635"/>
                    <a:gd name="connsiteY5" fmla="*/ 130868 h 130934"/>
                    <a:gd name="connsiteX6" fmla="*/ 112925 w 222635"/>
                    <a:gd name="connsiteY6" fmla="*/ 104440 h 130934"/>
                    <a:gd name="connsiteX7" fmla="*/ 222256 w 222635"/>
                    <a:gd name="connsiteY7" fmla="*/ 39140 h 130934"/>
                    <a:gd name="connsiteX0" fmla="*/ 222254 w 222633"/>
                    <a:gd name="connsiteY0" fmla="*/ 38748 h 130542"/>
                    <a:gd name="connsiteX1" fmla="*/ 143119 w 222633"/>
                    <a:gd name="connsiteY1" fmla="*/ 5334 h 130542"/>
                    <a:gd name="connsiteX2" fmla="*/ 58493 w 222633"/>
                    <a:gd name="connsiteY2" fmla="*/ 17961 h 130542"/>
                    <a:gd name="connsiteX3" fmla="*/ 98206 w 222633"/>
                    <a:gd name="connsiteY3" fmla="*/ 48725 h 130542"/>
                    <a:gd name="connsiteX4" fmla="*/ 64520 w 222633"/>
                    <a:gd name="connsiteY4" fmla="*/ 73573 h 130542"/>
                    <a:gd name="connsiteX5" fmla="*/ 246 w 222633"/>
                    <a:gd name="connsiteY5" fmla="*/ 110377 h 130542"/>
                    <a:gd name="connsiteX6" fmla="*/ 91755 w 222633"/>
                    <a:gd name="connsiteY6" fmla="*/ 130476 h 130542"/>
                    <a:gd name="connsiteX7" fmla="*/ 112923 w 222633"/>
                    <a:gd name="connsiteY7" fmla="*/ 104048 h 130542"/>
                    <a:gd name="connsiteX8" fmla="*/ 222254 w 222633"/>
                    <a:gd name="connsiteY8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12923 w 222376"/>
                    <a:gd name="connsiteY7" fmla="*/ 104048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59574 w 222376"/>
                    <a:gd name="connsiteY7" fmla="*/ 100432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70 w 222392"/>
                    <a:gd name="connsiteY0" fmla="*/ 38748 h 113405"/>
                    <a:gd name="connsiteX1" fmla="*/ 143135 w 222392"/>
                    <a:gd name="connsiteY1" fmla="*/ 5334 h 113405"/>
                    <a:gd name="connsiteX2" fmla="*/ 58509 w 222392"/>
                    <a:gd name="connsiteY2" fmla="*/ 17961 h 113405"/>
                    <a:gd name="connsiteX3" fmla="*/ 98222 w 222392"/>
                    <a:gd name="connsiteY3" fmla="*/ 48725 h 113405"/>
                    <a:gd name="connsiteX4" fmla="*/ 64536 w 222392"/>
                    <a:gd name="connsiteY4" fmla="*/ 73573 h 113405"/>
                    <a:gd name="connsiteX5" fmla="*/ 262 w 222392"/>
                    <a:gd name="connsiteY5" fmla="*/ 110377 h 113405"/>
                    <a:gd name="connsiteX6" fmla="*/ 92736 w 222392"/>
                    <a:gd name="connsiteY6" fmla="*/ 110516 h 113405"/>
                    <a:gd name="connsiteX7" fmla="*/ 159590 w 222392"/>
                    <a:gd name="connsiteY7" fmla="*/ 100432 h 113405"/>
                    <a:gd name="connsiteX8" fmla="*/ 160107 w 222392"/>
                    <a:gd name="connsiteY8" fmla="*/ 60819 h 113405"/>
                    <a:gd name="connsiteX9" fmla="*/ 222270 w 222392"/>
                    <a:gd name="connsiteY9" fmla="*/ 38748 h 113405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59615 w 222417"/>
                    <a:gd name="connsiteY7" fmla="*/ 100432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41793 w 222417"/>
                    <a:gd name="connsiteY7" fmla="*/ 86633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41519 w 222143"/>
                    <a:gd name="connsiteY7" fmla="*/ 86633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69705 w 222143"/>
                    <a:gd name="connsiteY7" fmla="*/ 92786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844"/>
                    <a:gd name="connsiteY0" fmla="*/ 38748 h 125046"/>
                    <a:gd name="connsiteX1" fmla="*/ 142886 w 222844"/>
                    <a:gd name="connsiteY1" fmla="*/ 5334 h 125046"/>
                    <a:gd name="connsiteX2" fmla="*/ 58260 w 222844"/>
                    <a:gd name="connsiteY2" fmla="*/ 17961 h 125046"/>
                    <a:gd name="connsiteX3" fmla="*/ 97973 w 222844"/>
                    <a:gd name="connsiteY3" fmla="*/ 48725 h 125046"/>
                    <a:gd name="connsiteX4" fmla="*/ 86967 w 222844"/>
                    <a:gd name="connsiteY4" fmla="*/ 79940 h 125046"/>
                    <a:gd name="connsiteX5" fmla="*/ 13 w 222844"/>
                    <a:gd name="connsiteY5" fmla="*/ 110377 h 125046"/>
                    <a:gd name="connsiteX6" fmla="*/ 93789 w 222844"/>
                    <a:gd name="connsiteY6" fmla="*/ 124954 h 125046"/>
                    <a:gd name="connsiteX7" fmla="*/ 169705 w 222844"/>
                    <a:gd name="connsiteY7" fmla="*/ 92786 h 125046"/>
                    <a:gd name="connsiteX8" fmla="*/ 179946 w 222844"/>
                    <a:gd name="connsiteY8" fmla="*/ 69097 h 125046"/>
                    <a:gd name="connsiteX9" fmla="*/ 222021 w 222844"/>
                    <a:gd name="connsiteY9" fmla="*/ 38748 h 1250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22844" h="125046">
                      <a:moveTo>
                        <a:pt x="222021" y="38748"/>
                      </a:moveTo>
                      <a:cubicBezTo>
                        <a:pt x="215844" y="28121"/>
                        <a:pt x="181055" y="20452"/>
                        <a:pt x="142886" y="5334"/>
                      </a:cubicBezTo>
                      <a:cubicBezTo>
                        <a:pt x="104717" y="-9784"/>
                        <a:pt x="72711" y="11365"/>
                        <a:pt x="58260" y="17961"/>
                      </a:cubicBezTo>
                      <a:cubicBezTo>
                        <a:pt x="43809" y="24557"/>
                        <a:pt x="96969" y="39456"/>
                        <a:pt x="97973" y="48725"/>
                      </a:cubicBezTo>
                      <a:cubicBezTo>
                        <a:pt x="98978" y="57994"/>
                        <a:pt x="96328" y="69029"/>
                        <a:pt x="86967" y="79940"/>
                      </a:cubicBezTo>
                      <a:cubicBezTo>
                        <a:pt x="77606" y="90851"/>
                        <a:pt x="-1124" y="102875"/>
                        <a:pt x="13" y="110377"/>
                      </a:cubicBezTo>
                      <a:cubicBezTo>
                        <a:pt x="1150" y="117879"/>
                        <a:pt x="75010" y="126009"/>
                        <a:pt x="93789" y="124954"/>
                      </a:cubicBezTo>
                      <a:cubicBezTo>
                        <a:pt x="112568" y="123899"/>
                        <a:pt x="154427" y="102131"/>
                        <a:pt x="169705" y="92786"/>
                      </a:cubicBezTo>
                      <a:cubicBezTo>
                        <a:pt x="184983" y="83441"/>
                        <a:pt x="161724" y="79980"/>
                        <a:pt x="179946" y="69097"/>
                      </a:cubicBezTo>
                      <a:cubicBezTo>
                        <a:pt x="198168" y="58214"/>
                        <a:pt x="228198" y="49375"/>
                        <a:pt x="222021" y="38748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8" name="Freeform 205"/>
                <p:cNvSpPr/>
                <p:nvPr/>
              </p:nvSpPr>
              <p:spPr bwMode="auto">
                <a:xfrm rot="8302761">
                  <a:off x="7545167" y="3770881"/>
                  <a:ext cx="277525" cy="236127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508809 w 628017"/>
                    <a:gd name="connsiteY0" fmla="*/ 2356 h 376001"/>
                    <a:gd name="connsiteX1" fmla="*/ 6361 w 628017"/>
                    <a:gd name="connsiteY1" fmla="*/ 130721 h 376001"/>
                    <a:gd name="connsiteX2" fmla="*/ 228411 w 628017"/>
                    <a:gd name="connsiteY2" fmla="*/ 374859 h 376001"/>
                    <a:gd name="connsiteX3" fmla="*/ 609906 w 628017"/>
                    <a:gd name="connsiteY3" fmla="*/ 235794 h 376001"/>
                    <a:gd name="connsiteX4" fmla="*/ 508809 w 628017"/>
                    <a:gd name="connsiteY4" fmla="*/ 2356 h 376001"/>
                    <a:gd name="connsiteX0" fmla="*/ 504040 w 616834"/>
                    <a:gd name="connsiteY0" fmla="*/ 2903 h 376548"/>
                    <a:gd name="connsiteX1" fmla="*/ 351553 w 616834"/>
                    <a:gd name="connsiteY1" fmla="*/ 107249 h 376548"/>
                    <a:gd name="connsiteX2" fmla="*/ 1592 w 616834"/>
                    <a:gd name="connsiteY2" fmla="*/ 131268 h 376548"/>
                    <a:gd name="connsiteX3" fmla="*/ 223642 w 616834"/>
                    <a:gd name="connsiteY3" fmla="*/ 375406 h 376548"/>
                    <a:gd name="connsiteX4" fmla="*/ 605137 w 616834"/>
                    <a:gd name="connsiteY4" fmla="*/ 236341 h 376548"/>
                    <a:gd name="connsiteX5" fmla="*/ 504040 w 616834"/>
                    <a:gd name="connsiteY5" fmla="*/ 2903 h 376548"/>
                    <a:gd name="connsiteX0" fmla="*/ 495452 w 616175"/>
                    <a:gd name="connsiteY0" fmla="*/ 51280 h 274874"/>
                    <a:gd name="connsiteX1" fmla="*/ 351553 w 616175"/>
                    <a:gd name="connsiteY1" fmla="*/ 5575 h 274874"/>
                    <a:gd name="connsiteX2" fmla="*/ 1592 w 616175"/>
                    <a:gd name="connsiteY2" fmla="*/ 29594 h 274874"/>
                    <a:gd name="connsiteX3" fmla="*/ 223642 w 616175"/>
                    <a:gd name="connsiteY3" fmla="*/ 273732 h 274874"/>
                    <a:gd name="connsiteX4" fmla="*/ 605137 w 616175"/>
                    <a:gd name="connsiteY4" fmla="*/ 134667 h 274874"/>
                    <a:gd name="connsiteX5" fmla="*/ 495452 w 616175"/>
                    <a:gd name="connsiteY5" fmla="*/ 51280 h 274874"/>
                    <a:gd name="connsiteX0" fmla="*/ 495452 w 532377"/>
                    <a:gd name="connsiteY0" fmla="*/ 51265 h 274847"/>
                    <a:gd name="connsiteX1" fmla="*/ 351553 w 532377"/>
                    <a:gd name="connsiteY1" fmla="*/ 5560 h 274847"/>
                    <a:gd name="connsiteX2" fmla="*/ 1592 w 532377"/>
                    <a:gd name="connsiteY2" fmla="*/ 29579 h 274847"/>
                    <a:gd name="connsiteX3" fmla="*/ 223642 w 532377"/>
                    <a:gd name="connsiteY3" fmla="*/ 273717 h 274847"/>
                    <a:gd name="connsiteX4" fmla="*/ 509239 w 532377"/>
                    <a:gd name="connsiteY4" fmla="*/ 133533 h 274847"/>
                    <a:gd name="connsiteX5" fmla="*/ 495452 w 532377"/>
                    <a:gd name="connsiteY5" fmla="*/ 51265 h 274847"/>
                    <a:gd name="connsiteX0" fmla="*/ 497505 w 534430"/>
                    <a:gd name="connsiteY0" fmla="*/ 51265 h 274847"/>
                    <a:gd name="connsiteX1" fmla="*/ 353606 w 534430"/>
                    <a:gd name="connsiteY1" fmla="*/ 5560 h 274847"/>
                    <a:gd name="connsiteX2" fmla="*/ 3645 w 534430"/>
                    <a:gd name="connsiteY2" fmla="*/ 29579 h 274847"/>
                    <a:gd name="connsiteX3" fmla="*/ 173951 w 534430"/>
                    <a:gd name="connsiteY3" fmla="*/ 138081 h 274847"/>
                    <a:gd name="connsiteX4" fmla="*/ 225695 w 534430"/>
                    <a:gd name="connsiteY4" fmla="*/ 273717 h 274847"/>
                    <a:gd name="connsiteX5" fmla="*/ 511292 w 534430"/>
                    <a:gd name="connsiteY5" fmla="*/ 133533 h 274847"/>
                    <a:gd name="connsiteX6" fmla="*/ 497505 w 534430"/>
                    <a:gd name="connsiteY6" fmla="*/ 51265 h 274847"/>
                    <a:gd name="connsiteX0" fmla="*/ 493884 w 530809"/>
                    <a:gd name="connsiteY0" fmla="*/ 51265 h 274847"/>
                    <a:gd name="connsiteX1" fmla="*/ 349985 w 530809"/>
                    <a:gd name="connsiteY1" fmla="*/ 5560 h 274847"/>
                    <a:gd name="connsiteX2" fmla="*/ 24 w 530809"/>
                    <a:gd name="connsiteY2" fmla="*/ 29579 h 274847"/>
                    <a:gd name="connsiteX3" fmla="*/ 170330 w 530809"/>
                    <a:gd name="connsiteY3" fmla="*/ 138081 h 274847"/>
                    <a:gd name="connsiteX4" fmla="*/ 222074 w 530809"/>
                    <a:gd name="connsiteY4" fmla="*/ 273717 h 274847"/>
                    <a:gd name="connsiteX5" fmla="*/ 507671 w 530809"/>
                    <a:gd name="connsiteY5" fmla="*/ 133533 h 274847"/>
                    <a:gd name="connsiteX6" fmla="*/ 493884 w 530809"/>
                    <a:gd name="connsiteY6" fmla="*/ 51265 h 274847"/>
                    <a:gd name="connsiteX0" fmla="*/ 493884 w 530809"/>
                    <a:gd name="connsiteY0" fmla="*/ 51265 h 186504"/>
                    <a:gd name="connsiteX1" fmla="*/ 349985 w 530809"/>
                    <a:gd name="connsiteY1" fmla="*/ 5560 h 186504"/>
                    <a:gd name="connsiteX2" fmla="*/ 24 w 530809"/>
                    <a:gd name="connsiteY2" fmla="*/ 29579 h 186504"/>
                    <a:gd name="connsiteX3" fmla="*/ 170330 w 530809"/>
                    <a:gd name="connsiteY3" fmla="*/ 138081 h 186504"/>
                    <a:gd name="connsiteX4" fmla="*/ 390510 w 530809"/>
                    <a:gd name="connsiteY4" fmla="*/ 180265 h 186504"/>
                    <a:gd name="connsiteX5" fmla="*/ 507671 w 530809"/>
                    <a:gd name="connsiteY5" fmla="*/ 133533 h 186504"/>
                    <a:gd name="connsiteX6" fmla="*/ 493884 w 530809"/>
                    <a:gd name="connsiteY6" fmla="*/ 51265 h 186504"/>
                    <a:gd name="connsiteX0" fmla="*/ 495721 w 532646"/>
                    <a:gd name="connsiteY0" fmla="*/ 51265 h 186504"/>
                    <a:gd name="connsiteX1" fmla="*/ 351822 w 532646"/>
                    <a:gd name="connsiteY1" fmla="*/ 5560 h 186504"/>
                    <a:gd name="connsiteX2" fmla="*/ 1861 w 532646"/>
                    <a:gd name="connsiteY2" fmla="*/ 29579 h 186504"/>
                    <a:gd name="connsiteX3" fmla="*/ 213626 w 532646"/>
                    <a:gd name="connsiteY3" fmla="*/ 107499 h 186504"/>
                    <a:gd name="connsiteX4" fmla="*/ 392347 w 532646"/>
                    <a:gd name="connsiteY4" fmla="*/ 180265 h 186504"/>
                    <a:gd name="connsiteX5" fmla="*/ 509508 w 532646"/>
                    <a:gd name="connsiteY5" fmla="*/ 133533 h 186504"/>
                    <a:gd name="connsiteX6" fmla="*/ 495721 w 532646"/>
                    <a:gd name="connsiteY6" fmla="*/ 51265 h 186504"/>
                    <a:gd name="connsiteX0" fmla="*/ 496902 w 533827"/>
                    <a:gd name="connsiteY0" fmla="*/ 70457 h 205696"/>
                    <a:gd name="connsiteX1" fmla="*/ 353003 w 533827"/>
                    <a:gd name="connsiteY1" fmla="*/ 24752 h 205696"/>
                    <a:gd name="connsiteX2" fmla="*/ 107632 w 533827"/>
                    <a:gd name="connsiteY2" fmla="*/ 439 h 205696"/>
                    <a:gd name="connsiteX3" fmla="*/ 3042 w 533827"/>
                    <a:gd name="connsiteY3" fmla="*/ 48771 h 205696"/>
                    <a:gd name="connsiteX4" fmla="*/ 214807 w 533827"/>
                    <a:gd name="connsiteY4" fmla="*/ 126691 h 205696"/>
                    <a:gd name="connsiteX5" fmla="*/ 393528 w 533827"/>
                    <a:gd name="connsiteY5" fmla="*/ 199457 h 205696"/>
                    <a:gd name="connsiteX6" fmla="*/ 510689 w 533827"/>
                    <a:gd name="connsiteY6" fmla="*/ 152725 h 205696"/>
                    <a:gd name="connsiteX7" fmla="*/ 496902 w 533827"/>
                    <a:gd name="connsiteY7" fmla="*/ 70457 h 205696"/>
                    <a:gd name="connsiteX0" fmla="*/ 472353 w 509278"/>
                    <a:gd name="connsiteY0" fmla="*/ 70457 h 205696"/>
                    <a:gd name="connsiteX1" fmla="*/ 328454 w 509278"/>
                    <a:gd name="connsiteY1" fmla="*/ 24752 h 205696"/>
                    <a:gd name="connsiteX2" fmla="*/ 83083 w 509278"/>
                    <a:gd name="connsiteY2" fmla="*/ 439 h 205696"/>
                    <a:gd name="connsiteX3" fmla="*/ 4427 w 509278"/>
                    <a:gd name="connsiteY3" fmla="*/ 91234 h 205696"/>
                    <a:gd name="connsiteX4" fmla="*/ 190258 w 509278"/>
                    <a:gd name="connsiteY4" fmla="*/ 126691 h 205696"/>
                    <a:gd name="connsiteX5" fmla="*/ 368979 w 509278"/>
                    <a:gd name="connsiteY5" fmla="*/ 199457 h 205696"/>
                    <a:gd name="connsiteX6" fmla="*/ 486140 w 509278"/>
                    <a:gd name="connsiteY6" fmla="*/ 152725 h 205696"/>
                    <a:gd name="connsiteX7" fmla="*/ 472353 w 509278"/>
                    <a:gd name="connsiteY7" fmla="*/ 70457 h 205696"/>
                    <a:gd name="connsiteX0" fmla="*/ 471911 w 508836"/>
                    <a:gd name="connsiteY0" fmla="*/ 51265 h 186504"/>
                    <a:gd name="connsiteX1" fmla="*/ 328012 w 508836"/>
                    <a:gd name="connsiteY1" fmla="*/ 5560 h 186504"/>
                    <a:gd name="connsiteX2" fmla="*/ 86111 w 508836"/>
                    <a:gd name="connsiteY2" fmla="*/ 19749 h 186504"/>
                    <a:gd name="connsiteX3" fmla="*/ 3985 w 508836"/>
                    <a:gd name="connsiteY3" fmla="*/ 72042 h 186504"/>
                    <a:gd name="connsiteX4" fmla="*/ 189816 w 508836"/>
                    <a:gd name="connsiteY4" fmla="*/ 107499 h 186504"/>
                    <a:gd name="connsiteX5" fmla="*/ 368537 w 508836"/>
                    <a:gd name="connsiteY5" fmla="*/ 180265 h 186504"/>
                    <a:gd name="connsiteX6" fmla="*/ 485698 w 508836"/>
                    <a:gd name="connsiteY6" fmla="*/ 133533 h 186504"/>
                    <a:gd name="connsiteX7" fmla="*/ 471911 w 508836"/>
                    <a:gd name="connsiteY7" fmla="*/ 51265 h 186504"/>
                    <a:gd name="connsiteX0" fmla="*/ 437213 w 474138"/>
                    <a:gd name="connsiteY0" fmla="*/ 51265 h 186504"/>
                    <a:gd name="connsiteX1" fmla="*/ 293314 w 474138"/>
                    <a:gd name="connsiteY1" fmla="*/ 5560 h 186504"/>
                    <a:gd name="connsiteX2" fmla="*/ 51413 w 474138"/>
                    <a:gd name="connsiteY2" fmla="*/ 19749 h 186504"/>
                    <a:gd name="connsiteX3" fmla="*/ 9907 w 474138"/>
                    <a:gd name="connsiteY3" fmla="*/ 113936 h 186504"/>
                    <a:gd name="connsiteX4" fmla="*/ 155118 w 474138"/>
                    <a:gd name="connsiteY4" fmla="*/ 107499 h 186504"/>
                    <a:gd name="connsiteX5" fmla="*/ 333839 w 474138"/>
                    <a:gd name="connsiteY5" fmla="*/ 180265 h 186504"/>
                    <a:gd name="connsiteX6" fmla="*/ 451000 w 474138"/>
                    <a:gd name="connsiteY6" fmla="*/ 133533 h 186504"/>
                    <a:gd name="connsiteX7" fmla="*/ 437213 w 474138"/>
                    <a:gd name="connsiteY7" fmla="*/ 51265 h 186504"/>
                    <a:gd name="connsiteX0" fmla="*/ 437213 w 477998"/>
                    <a:gd name="connsiteY0" fmla="*/ 94179 h 229418"/>
                    <a:gd name="connsiteX1" fmla="*/ 208200 w 477998"/>
                    <a:gd name="connsiteY1" fmla="*/ 3473 h 229418"/>
                    <a:gd name="connsiteX2" fmla="*/ 51413 w 477998"/>
                    <a:gd name="connsiteY2" fmla="*/ 62663 h 229418"/>
                    <a:gd name="connsiteX3" fmla="*/ 9907 w 477998"/>
                    <a:gd name="connsiteY3" fmla="*/ 156850 h 229418"/>
                    <a:gd name="connsiteX4" fmla="*/ 155118 w 477998"/>
                    <a:gd name="connsiteY4" fmla="*/ 150413 h 229418"/>
                    <a:gd name="connsiteX5" fmla="*/ 333839 w 477998"/>
                    <a:gd name="connsiteY5" fmla="*/ 223179 h 229418"/>
                    <a:gd name="connsiteX6" fmla="*/ 451000 w 477998"/>
                    <a:gd name="connsiteY6" fmla="*/ 176447 h 229418"/>
                    <a:gd name="connsiteX7" fmla="*/ 437213 w 477998"/>
                    <a:gd name="connsiteY7" fmla="*/ 94179 h 229418"/>
                    <a:gd name="connsiteX0" fmla="*/ 437213 w 474159"/>
                    <a:gd name="connsiteY0" fmla="*/ 108861 h 244100"/>
                    <a:gd name="connsiteX1" fmla="*/ 292826 w 474159"/>
                    <a:gd name="connsiteY1" fmla="*/ 5528 h 244100"/>
                    <a:gd name="connsiteX2" fmla="*/ 208200 w 474159"/>
                    <a:gd name="connsiteY2" fmla="*/ 18155 h 244100"/>
                    <a:gd name="connsiteX3" fmla="*/ 51413 w 474159"/>
                    <a:gd name="connsiteY3" fmla="*/ 77345 h 244100"/>
                    <a:gd name="connsiteX4" fmla="*/ 9907 w 474159"/>
                    <a:gd name="connsiteY4" fmla="*/ 171532 h 244100"/>
                    <a:gd name="connsiteX5" fmla="*/ 155118 w 474159"/>
                    <a:gd name="connsiteY5" fmla="*/ 165095 h 244100"/>
                    <a:gd name="connsiteX6" fmla="*/ 333839 w 474159"/>
                    <a:gd name="connsiteY6" fmla="*/ 237861 h 244100"/>
                    <a:gd name="connsiteX7" fmla="*/ 451000 w 474159"/>
                    <a:gd name="connsiteY7" fmla="*/ 191129 h 244100"/>
                    <a:gd name="connsiteX8" fmla="*/ 437213 w 474159"/>
                    <a:gd name="connsiteY8" fmla="*/ 108861 h 244100"/>
                    <a:gd name="connsiteX0" fmla="*/ 437213 w 437377"/>
                    <a:gd name="connsiteY0" fmla="*/ 108861 h 239065"/>
                    <a:gd name="connsiteX1" fmla="*/ 292826 w 437377"/>
                    <a:gd name="connsiteY1" fmla="*/ 5528 h 239065"/>
                    <a:gd name="connsiteX2" fmla="*/ 208200 w 437377"/>
                    <a:gd name="connsiteY2" fmla="*/ 18155 h 239065"/>
                    <a:gd name="connsiteX3" fmla="*/ 51413 w 437377"/>
                    <a:gd name="connsiteY3" fmla="*/ 77345 h 239065"/>
                    <a:gd name="connsiteX4" fmla="*/ 9907 w 437377"/>
                    <a:gd name="connsiteY4" fmla="*/ 171532 h 239065"/>
                    <a:gd name="connsiteX5" fmla="*/ 155118 w 437377"/>
                    <a:gd name="connsiteY5" fmla="*/ 165095 h 239065"/>
                    <a:gd name="connsiteX6" fmla="*/ 333839 w 437377"/>
                    <a:gd name="connsiteY6" fmla="*/ 237861 h 239065"/>
                    <a:gd name="connsiteX7" fmla="*/ 262630 w 437377"/>
                    <a:gd name="connsiteY7" fmla="*/ 104242 h 239065"/>
                    <a:gd name="connsiteX8" fmla="*/ 437213 w 437377"/>
                    <a:gd name="connsiteY8" fmla="*/ 108861 h 239065"/>
                    <a:gd name="connsiteX0" fmla="*/ 371961 w 372339"/>
                    <a:gd name="connsiteY0" fmla="*/ 38942 h 239065"/>
                    <a:gd name="connsiteX1" fmla="*/ 292826 w 372339"/>
                    <a:gd name="connsiteY1" fmla="*/ 5528 h 239065"/>
                    <a:gd name="connsiteX2" fmla="*/ 208200 w 372339"/>
                    <a:gd name="connsiteY2" fmla="*/ 18155 h 239065"/>
                    <a:gd name="connsiteX3" fmla="*/ 51413 w 372339"/>
                    <a:gd name="connsiteY3" fmla="*/ 77345 h 239065"/>
                    <a:gd name="connsiteX4" fmla="*/ 9907 w 372339"/>
                    <a:gd name="connsiteY4" fmla="*/ 171532 h 239065"/>
                    <a:gd name="connsiteX5" fmla="*/ 155118 w 372339"/>
                    <a:gd name="connsiteY5" fmla="*/ 165095 h 239065"/>
                    <a:gd name="connsiteX6" fmla="*/ 333839 w 372339"/>
                    <a:gd name="connsiteY6" fmla="*/ 237861 h 239065"/>
                    <a:gd name="connsiteX7" fmla="*/ 262630 w 372339"/>
                    <a:gd name="connsiteY7" fmla="*/ 104242 h 239065"/>
                    <a:gd name="connsiteX8" fmla="*/ 371961 w 372339"/>
                    <a:gd name="connsiteY8" fmla="*/ 38942 h 239065"/>
                    <a:gd name="connsiteX0" fmla="*/ 371961 w 372341"/>
                    <a:gd name="connsiteY0" fmla="*/ 38942 h 178890"/>
                    <a:gd name="connsiteX1" fmla="*/ 292826 w 372341"/>
                    <a:gd name="connsiteY1" fmla="*/ 5528 h 178890"/>
                    <a:gd name="connsiteX2" fmla="*/ 208200 w 372341"/>
                    <a:gd name="connsiteY2" fmla="*/ 18155 h 178890"/>
                    <a:gd name="connsiteX3" fmla="*/ 51413 w 372341"/>
                    <a:gd name="connsiteY3" fmla="*/ 77345 h 178890"/>
                    <a:gd name="connsiteX4" fmla="*/ 9907 w 372341"/>
                    <a:gd name="connsiteY4" fmla="*/ 171532 h 178890"/>
                    <a:gd name="connsiteX5" fmla="*/ 155118 w 372341"/>
                    <a:gd name="connsiteY5" fmla="*/ 165095 h 178890"/>
                    <a:gd name="connsiteX6" fmla="*/ 262630 w 372341"/>
                    <a:gd name="connsiteY6" fmla="*/ 104242 h 178890"/>
                    <a:gd name="connsiteX7" fmla="*/ 371961 w 372341"/>
                    <a:gd name="connsiteY7" fmla="*/ 38942 h 178890"/>
                    <a:gd name="connsiteX0" fmla="*/ 335241 w 335620"/>
                    <a:gd name="connsiteY0" fmla="*/ 38942 h 166425"/>
                    <a:gd name="connsiteX1" fmla="*/ 256106 w 335620"/>
                    <a:gd name="connsiteY1" fmla="*/ 5528 h 166425"/>
                    <a:gd name="connsiteX2" fmla="*/ 171480 w 335620"/>
                    <a:gd name="connsiteY2" fmla="*/ 18155 h 166425"/>
                    <a:gd name="connsiteX3" fmla="*/ 14693 w 335620"/>
                    <a:gd name="connsiteY3" fmla="*/ 77345 h 166425"/>
                    <a:gd name="connsiteX4" fmla="*/ 106641 w 335620"/>
                    <a:gd name="connsiteY4" fmla="*/ 98752 h 166425"/>
                    <a:gd name="connsiteX5" fmla="*/ 118398 w 335620"/>
                    <a:gd name="connsiteY5" fmla="*/ 165095 h 166425"/>
                    <a:gd name="connsiteX6" fmla="*/ 225910 w 335620"/>
                    <a:gd name="connsiteY6" fmla="*/ 104242 h 166425"/>
                    <a:gd name="connsiteX7" fmla="*/ 335241 w 335620"/>
                    <a:gd name="connsiteY7" fmla="*/ 38942 h 166425"/>
                    <a:gd name="connsiteX0" fmla="*/ 244401 w 244780"/>
                    <a:gd name="connsiteY0" fmla="*/ 38942 h 166445"/>
                    <a:gd name="connsiteX1" fmla="*/ 165266 w 244780"/>
                    <a:gd name="connsiteY1" fmla="*/ 5528 h 166445"/>
                    <a:gd name="connsiteX2" fmla="*/ 80640 w 244780"/>
                    <a:gd name="connsiteY2" fmla="*/ 18155 h 166445"/>
                    <a:gd name="connsiteX3" fmla="*/ 30115 w 244780"/>
                    <a:gd name="connsiteY3" fmla="*/ 70817 h 166445"/>
                    <a:gd name="connsiteX4" fmla="*/ 15801 w 244780"/>
                    <a:gd name="connsiteY4" fmla="*/ 98752 h 166445"/>
                    <a:gd name="connsiteX5" fmla="*/ 27558 w 244780"/>
                    <a:gd name="connsiteY5" fmla="*/ 165095 h 166445"/>
                    <a:gd name="connsiteX6" fmla="*/ 135070 w 244780"/>
                    <a:gd name="connsiteY6" fmla="*/ 104242 h 166445"/>
                    <a:gd name="connsiteX7" fmla="*/ 244401 w 244780"/>
                    <a:gd name="connsiteY7" fmla="*/ 38942 h 166445"/>
                    <a:gd name="connsiteX0" fmla="*/ 242420 w 242799"/>
                    <a:gd name="connsiteY0" fmla="*/ 38942 h 166360"/>
                    <a:gd name="connsiteX1" fmla="*/ 163285 w 242799"/>
                    <a:gd name="connsiteY1" fmla="*/ 5528 h 166360"/>
                    <a:gd name="connsiteX2" fmla="*/ 78659 w 242799"/>
                    <a:gd name="connsiteY2" fmla="*/ 18155 h 166360"/>
                    <a:gd name="connsiteX3" fmla="*/ 86029 w 242799"/>
                    <a:gd name="connsiteY3" fmla="*/ 99969 h 166360"/>
                    <a:gd name="connsiteX4" fmla="*/ 13820 w 242799"/>
                    <a:gd name="connsiteY4" fmla="*/ 98752 h 166360"/>
                    <a:gd name="connsiteX5" fmla="*/ 25577 w 242799"/>
                    <a:gd name="connsiteY5" fmla="*/ 165095 h 166360"/>
                    <a:gd name="connsiteX6" fmla="*/ 133089 w 242799"/>
                    <a:gd name="connsiteY6" fmla="*/ 104242 h 166360"/>
                    <a:gd name="connsiteX7" fmla="*/ 242420 w 242799"/>
                    <a:gd name="connsiteY7" fmla="*/ 38942 h 166360"/>
                    <a:gd name="connsiteX0" fmla="*/ 243410 w 243789"/>
                    <a:gd name="connsiteY0" fmla="*/ 38942 h 166052"/>
                    <a:gd name="connsiteX1" fmla="*/ 164275 w 243789"/>
                    <a:gd name="connsiteY1" fmla="*/ 5528 h 166052"/>
                    <a:gd name="connsiteX2" fmla="*/ 79649 w 243789"/>
                    <a:gd name="connsiteY2" fmla="*/ 18155 h 166052"/>
                    <a:gd name="connsiteX3" fmla="*/ 87019 w 243789"/>
                    <a:gd name="connsiteY3" fmla="*/ 99969 h 166052"/>
                    <a:gd name="connsiteX4" fmla="*/ 12642 w 243789"/>
                    <a:gd name="connsiteY4" fmla="*/ 74688 h 166052"/>
                    <a:gd name="connsiteX5" fmla="*/ 26567 w 243789"/>
                    <a:gd name="connsiteY5" fmla="*/ 165095 h 166052"/>
                    <a:gd name="connsiteX6" fmla="*/ 134079 w 243789"/>
                    <a:gd name="connsiteY6" fmla="*/ 104242 h 166052"/>
                    <a:gd name="connsiteX7" fmla="*/ 243410 w 243789"/>
                    <a:gd name="connsiteY7" fmla="*/ 38942 h 166052"/>
                    <a:gd name="connsiteX0" fmla="*/ 232217 w 232596"/>
                    <a:gd name="connsiteY0" fmla="*/ 38942 h 104928"/>
                    <a:gd name="connsiteX1" fmla="*/ 153082 w 232596"/>
                    <a:gd name="connsiteY1" fmla="*/ 5528 h 104928"/>
                    <a:gd name="connsiteX2" fmla="*/ 68456 w 232596"/>
                    <a:gd name="connsiteY2" fmla="*/ 18155 h 104928"/>
                    <a:gd name="connsiteX3" fmla="*/ 75826 w 232596"/>
                    <a:gd name="connsiteY3" fmla="*/ 99969 h 104928"/>
                    <a:gd name="connsiteX4" fmla="*/ 1449 w 232596"/>
                    <a:gd name="connsiteY4" fmla="*/ 74688 h 104928"/>
                    <a:gd name="connsiteX5" fmla="*/ 122886 w 232596"/>
                    <a:gd name="connsiteY5" fmla="*/ 104242 h 104928"/>
                    <a:gd name="connsiteX6" fmla="*/ 232217 w 232596"/>
                    <a:gd name="connsiteY6" fmla="*/ 38942 h 104928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1478 w 231857"/>
                    <a:gd name="connsiteY0" fmla="*/ 38942 h 138375"/>
                    <a:gd name="connsiteX1" fmla="*/ 152343 w 231857"/>
                    <a:gd name="connsiteY1" fmla="*/ 5528 h 138375"/>
                    <a:gd name="connsiteX2" fmla="*/ 67717 w 231857"/>
                    <a:gd name="connsiteY2" fmla="*/ 18155 h 138375"/>
                    <a:gd name="connsiteX3" fmla="*/ 85899 w 231857"/>
                    <a:gd name="connsiteY3" fmla="*/ 138189 h 138375"/>
                    <a:gd name="connsiteX4" fmla="*/ 710 w 231857"/>
                    <a:gd name="connsiteY4" fmla="*/ 74688 h 138375"/>
                    <a:gd name="connsiteX5" fmla="*/ 122147 w 231857"/>
                    <a:gd name="connsiteY5" fmla="*/ 104242 h 138375"/>
                    <a:gd name="connsiteX6" fmla="*/ 231478 w 231857"/>
                    <a:gd name="connsiteY6" fmla="*/ 38942 h 138375"/>
                    <a:gd name="connsiteX0" fmla="*/ 282292 w 282671"/>
                    <a:gd name="connsiteY0" fmla="*/ 38942 h 105067"/>
                    <a:gd name="connsiteX1" fmla="*/ 203157 w 282671"/>
                    <a:gd name="connsiteY1" fmla="*/ 5528 h 105067"/>
                    <a:gd name="connsiteX2" fmla="*/ 118531 w 282671"/>
                    <a:gd name="connsiteY2" fmla="*/ 18155 h 105067"/>
                    <a:gd name="connsiteX3" fmla="*/ 24586 w 282671"/>
                    <a:gd name="connsiteY3" fmla="*/ 59217 h 105067"/>
                    <a:gd name="connsiteX4" fmla="*/ 51524 w 282671"/>
                    <a:gd name="connsiteY4" fmla="*/ 74688 h 105067"/>
                    <a:gd name="connsiteX5" fmla="*/ 172961 w 282671"/>
                    <a:gd name="connsiteY5" fmla="*/ 104242 h 105067"/>
                    <a:gd name="connsiteX6" fmla="*/ 282292 w 282671"/>
                    <a:gd name="connsiteY6" fmla="*/ 38942 h 105067"/>
                    <a:gd name="connsiteX0" fmla="*/ 276661 w 277040"/>
                    <a:gd name="connsiteY0" fmla="*/ 38942 h 106138"/>
                    <a:gd name="connsiteX1" fmla="*/ 197526 w 277040"/>
                    <a:gd name="connsiteY1" fmla="*/ 5528 h 106138"/>
                    <a:gd name="connsiteX2" fmla="*/ 112900 w 277040"/>
                    <a:gd name="connsiteY2" fmla="*/ 18155 h 106138"/>
                    <a:gd name="connsiteX3" fmla="*/ 18955 w 277040"/>
                    <a:gd name="connsiteY3" fmla="*/ 59217 h 106138"/>
                    <a:gd name="connsiteX4" fmla="*/ 77974 w 277040"/>
                    <a:gd name="connsiteY4" fmla="*/ 93368 h 106138"/>
                    <a:gd name="connsiteX5" fmla="*/ 167330 w 277040"/>
                    <a:gd name="connsiteY5" fmla="*/ 104242 h 106138"/>
                    <a:gd name="connsiteX6" fmla="*/ 276661 w 277040"/>
                    <a:gd name="connsiteY6" fmla="*/ 38942 h 106138"/>
                    <a:gd name="connsiteX0" fmla="*/ 200660 w 201039"/>
                    <a:gd name="connsiteY0" fmla="*/ 38942 h 107259"/>
                    <a:gd name="connsiteX1" fmla="*/ 121525 w 201039"/>
                    <a:gd name="connsiteY1" fmla="*/ 5528 h 107259"/>
                    <a:gd name="connsiteX2" fmla="*/ 36899 w 201039"/>
                    <a:gd name="connsiteY2" fmla="*/ 18155 h 107259"/>
                    <a:gd name="connsiteX3" fmla="*/ 1973 w 201039"/>
                    <a:gd name="connsiteY3" fmla="*/ 93368 h 107259"/>
                    <a:gd name="connsiteX4" fmla="*/ 91329 w 201039"/>
                    <a:gd name="connsiteY4" fmla="*/ 104242 h 107259"/>
                    <a:gd name="connsiteX5" fmla="*/ 200660 w 201039"/>
                    <a:gd name="connsiteY5" fmla="*/ 38942 h 107259"/>
                    <a:gd name="connsiteX0" fmla="*/ 223149 w 223528"/>
                    <a:gd name="connsiteY0" fmla="*/ 38942 h 116661"/>
                    <a:gd name="connsiteX1" fmla="*/ 144014 w 223528"/>
                    <a:gd name="connsiteY1" fmla="*/ 5528 h 116661"/>
                    <a:gd name="connsiteX2" fmla="*/ 59388 w 223528"/>
                    <a:gd name="connsiteY2" fmla="*/ 18155 h 116661"/>
                    <a:gd name="connsiteX3" fmla="*/ 1141 w 223528"/>
                    <a:gd name="connsiteY3" fmla="*/ 110571 h 116661"/>
                    <a:gd name="connsiteX4" fmla="*/ 113818 w 223528"/>
                    <a:gd name="connsiteY4" fmla="*/ 104242 h 116661"/>
                    <a:gd name="connsiteX5" fmla="*/ 223149 w 223528"/>
                    <a:gd name="connsiteY5" fmla="*/ 38942 h 116661"/>
                    <a:gd name="connsiteX0" fmla="*/ 222489 w 222868"/>
                    <a:gd name="connsiteY0" fmla="*/ 38942 h 130877"/>
                    <a:gd name="connsiteX1" fmla="*/ 143354 w 222868"/>
                    <a:gd name="connsiteY1" fmla="*/ 5528 h 130877"/>
                    <a:gd name="connsiteX2" fmla="*/ 58728 w 222868"/>
                    <a:gd name="connsiteY2" fmla="*/ 18155 h 130877"/>
                    <a:gd name="connsiteX3" fmla="*/ 481 w 222868"/>
                    <a:gd name="connsiteY3" fmla="*/ 110571 h 130877"/>
                    <a:gd name="connsiteX4" fmla="*/ 91990 w 222868"/>
                    <a:gd name="connsiteY4" fmla="*/ 130670 h 130877"/>
                    <a:gd name="connsiteX5" fmla="*/ 113158 w 222868"/>
                    <a:gd name="connsiteY5" fmla="*/ 104242 h 130877"/>
                    <a:gd name="connsiteX6" fmla="*/ 222489 w 222868"/>
                    <a:gd name="connsiteY6" fmla="*/ 38942 h 130877"/>
                    <a:gd name="connsiteX0" fmla="*/ 222256 w 222635"/>
                    <a:gd name="connsiteY0" fmla="*/ 39140 h 130934"/>
                    <a:gd name="connsiteX1" fmla="*/ 143121 w 222635"/>
                    <a:gd name="connsiteY1" fmla="*/ 5726 h 130934"/>
                    <a:gd name="connsiteX2" fmla="*/ 58495 w 222635"/>
                    <a:gd name="connsiteY2" fmla="*/ 18353 h 130934"/>
                    <a:gd name="connsiteX3" fmla="*/ 64522 w 222635"/>
                    <a:gd name="connsiteY3" fmla="*/ 73965 h 130934"/>
                    <a:gd name="connsiteX4" fmla="*/ 248 w 222635"/>
                    <a:gd name="connsiteY4" fmla="*/ 110769 h 130934"/>
                    <a:gd name="connsiteX5" fmla="*/ 91757 w 222635"/>
                    <a:gd name="connsiteY5" fmla="*/ 130868 h 130934"/>
                    <a:gd name="connsiteX6" fmla="*/ 112925 w 222635"/>
                    <a:gd name="connsiteY6" fmla="*/ 104440 h 130934"/>
                    <a:gd name="connsiteX7" fmla="*/ 222256 w 222635"/>
                    <a:gd name="connsiteY7" fmla="*/ 39140 h 130934"/>
                    <a:gd name="connsiteX0" fmla="*/ 222254 w 222633"/>
                    <a:gd name="connsiteY0" fmla="*/ 38748 h 130542"/>
                    <a:gd name="connsiteX1" fmla="*/ 143119 w 222633"/>
                    <a:gd name="connsiteY1" fmla="*/ 5334 h 130542"/>
                    <a:gd name="connsiteX2" fmla="*/ 58493 w 222633"/>
                    <a:gd name="connsiteY2" fmla="*/ 17961 h 130542"/>
                    <a:gd name="connsiteX3" fmla="*/ 98206 w 222633"/>
                    <a:gd name="connsiteY3" fmla="*/ 48725 h 130542"/>
                    <a:gd name="connsiteX4" fmla="*/ 64520 w 222633"/>
                    <a:gd name="connsiteY4" fmla="*/ 73573 h 130542"/>
                    <a:gd name="connsiteX5" fmla="*/ 246 w 222633"/>
                    <a:gd name="connsiteY5" fmla="*/ 110377 h 130542"/>
                    <a:gd name="connsiteX6" fmla="*/ 91755 w 222633"/>
                    <a:gd name="connsiteY6" fmla="*/ 130476 h 130542"/>
                    <a:gd name="connsiteX7" fmla="*/ 112923 w 222633"/>
                    <a:gd name="connsiteY7" fmla="*/ 104048 h 130542"/>
                    <a:gd name="connsiteX8" fmla="*/ 222254 w 222633"/>
                    <a:gd name="connsiteY8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12923 w 222376"/>
                    <a:gd name="connsiteY7" fmla="*/ 104048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59574 w 222376"/>
                    <a:gd name="connsiteY7" fmla="*/ 100432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70 w 222392"/>
                    <a:gd name="connsiteY0" fmla="*/ 38748 h 113405"/>
                    <a:gd name="connsiteX1" fmla="*/ 143135 w 222392"/>
                    <a:gd name="connsiteY1" fmla="*/ 5334 h 113405"/>
                    <a:gd name="connsiteX2" fmla="*/ 58509 w 222392"/>
                    <a:gd name="connsiteY2" fmla="*/ 17961 h 113405"/>
                    <a:gd name="connsiteX3" fmla="*/ 98222 w 222392"/>
                    <a:gd name="connsiteY3" fmla="*/ 48725 h 113405"/>
                    <a:gd name="connsiteX4" fmla="*/ 64536 w 222392"/>
                    <a:gd name="connsiteY4" fmla="*/ 73573 h 113405"/>
                    <a:gd name="connsiteX5" fmla="*/ 262 w 222392"/>
                    <a:gd name="connsiteY5" fmla="*/ 110377 h 113405"/>
                    <a:gd name="connsiteX6" fmla="*/ 92736 w 222392"/>
                    <a:gd name="connsiteY6" fmla="*/ 110516 h 113405"/>
                    <a:gd name="connsiteX7" fmla="*/ 159590 w 222392"/>
                    <a:gd name="connsiteY7" fmla="*/ 100432 h 113405"/>
                    <a:gd name="connsiteX8" fmla="*/ 160107 w 222392"/>
                    <a:gd name="connsiteY8" fmla="*/ 60819 h 113405"/>
                    <a:gd name="connsiteX9" fmla="*/ 222270 w 222392"/>
                    <a:gd name="connsiteY9" fmla="*/ 38748 h 113405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59615 w 222417"/>
                    <a:gd name="connsiteY7" fmla="*/ 100432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41793 w 222417"/>
                    <a:gd name="connsiteY7" fmla="*/ 86633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41519 w 222143"/>
                    <a:gd name="connsiteY7" fmla="*/ 86633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69705 w 222143"/>
                    <a:gd name="connsiteY7" fmla="*/ 92786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844"/>
                    <a:gd name="connsiteY0" fmla="*/ 38748 h 125046"/>
                    <a:gd name="connsiteX1" fmla="*/ 142886 w 222844"/>
                    <a:gd name="connsiteY1" fmla="*/ 5334 h 125046"/>
                    <a:gd name="connsiteX2" fmla="*/ 58260 w 222844"/>
                    <a:gd name="connsiteY2" fmla="*/ 17961 h 125046"/>
                    <a:gd name="connsiteX3" fmla="*/ 97973 w 222844"/>
                    <a:gd name="connsiteY3" fmla="*/ 48725 h 125046"/>
                    <a:gd name="connsiteX4" fmla="*/ 86967 w 222844"/>
                    <a:gd name="connsiteY4" fmla="*/ 79940 h 125046"/>
                    <a:gd name="connsiteX5" fmla="*/ 13 w 222844"/>
                    <a:gd name="connsiteY5" fmla="*/ 110377 h 125046"/>
                    <a:gd name="connsiteX6" fmla="*/ 93789 w 222844"/>
                    <a:gd name="connsiteY6" fmla="*/ 124954 h 125046"/>
                    <a:gd name="connsiteX7" fmla="*/ 169705 w 222844"/>
                    <a:gd name="connsiteY7" fmla="*/ 92786 h 125046"/>
                    <a:gd name="connsiteX8" fmla="*/ 179946 w 222844"/>
                    <a:gd name="connsiteY8" fmla="*/ 69097 h 125046"/>
                    <a:gd name="connsiteX9" fmla="*/ 222021 w 222844"/>
                    <a:gd name="connsiteY9" fmla="*/ 38748 h 125046"/>
                    <a:gd name="connsiteX0" fmla="*/ 279570 w 280393"/>
                    <a:gd name="connsiteY0" fmla="*/ 38748 h 125046"/>
                    <a:gd name="connsiteX1" fmla="*/ 200435 w 280393"/>
                    <a:gd name="connsiteY1" fmla="*/ 5334 h 125046"/>
                    <a:gd name="connsiteX2" fmla="*/ 115809 w 280393"/>
                    <a:gd name="connsiteY2" fmla="*/ 17961 h 125046"/>
                    <a:gd name="connsiteX3" fmla="*/ 8 w 280393"/>
                    <a:gd name="connsiteY3" fmla="*/ 40255 h 125046"/>
                    <a:gd name="connsiteX4" fmla="*/ 144516 w 280393"/>
                    <a:gd name="connsiteY4" fmla="*/ 79940 h 125046"/>
                    <a:gd name="connsiteX5" fmla="*/ 57562 w 280393"/>
                    <a:gd name="connsiteY5" fmla="*/ 110377 h 125046"/>
                    <a:gd name="connsiteX6" fmla="*/ 151338 w 280393"/>
                    <a:gd name="connsiteY6" fmla="*/ 124954 h 125046"/>
                    <a:gd name="connsiteX7" fmla="*/ 227254 w 280393"/>
                    <a:gd name="connsiteY7" fmla="*/ 92786 h 125046"/>
                    <a:gd name="connsiteX8" fmla="*/ 237495 w 280393"/>
                    <a:gd name="connsiteY8" fmla="*/ 69097 h 125046"/>
                    <a:gd name="connsiteX9" fmla="*/ 279570 w 280393"/>
                    <a:gd name="connsiteY9" fmla="*/ 38748 h 125046"/>
                    <a:gd name="connsiteX0" fmla="*/ 334029 w 334852"/>
                    <a:gd name="connsiteY0" fmla="*/ 38748 h 125035"/>
                    <a:gd name="connsiteX1" fmla="*/ 254894 w 334852"/>
                    <a:gd name="connsiteY1" fmla="*/ 5334 h 125035"/>
                    <a:gd name="connsiteX2" fmla="*/ 170268 w 334852"/>
                    <a:gd name="connsiteY2" fmla="*/ 17961 h 125035"/>
                    <a:gd name="connsiteX3" fmla="*/ 54467 w 334852"/>
                    <a:gd name="connsiteY3" fmla="*/ 40255 h 125035"/>
                    <a:gd name="connsiteX4" fmla="*/ 703 w 334852"/>
                    <a:gd name="connsiteY4" fmla="*/ 87614 h 125035"/>
                    <a:gd name="connsiteX5" fmla="*/ 112021 w 334852"/>
                    <a:gd name="connsiteY5" fmla="*/ 110377 h 125035"/>
                    <a:gd name="connsiteX6" fmla="*/ 205797 w 334852"/>
                    <a:gd name="connsiteY6" fmla="*/ 124954 h 125035"/>
                    <a:gd name="connsiteX7" fmla="*/ 281713 w 334852"/>
                    <a:gd name="connsiteY7" fmla="*/ 92786 h 125035"/>
                    <a:gd name="connsiteX8" fmla="*/ 291954 w 334852"/>
                    <a:gd name="connsiteY8" fmla="*/ 69097 h 125035"/>
                    <a:gd name="connsiteX9" fmla="*/ 334029 w 334852"/>
                    <a:gd name="connsiteY9" fmla="*/ 38748 h 125035"/>
                    <a:gd name="connsiteX0" fmla="*/ 333998 w 334821"/>
                    <a:gd name="connsiteY0" fmla="*/ 38748 h 161553"/>
                    <a:gd name="connsiteX1" fmla="*/ 254863 w 334821"/>
                    <a:gd name="connsiteY1" fmla="*/ 5334 h 161553"/>
                    <a:gd name="connsiteX2" fmla="*/ 170237 w 334821"/>
                    <a:gd name="connsiteY2" fmla="*/ 17961 h 161553"/>
                    <a:gd name="connsiteX3" fmla="*/ 54436 w 334821"/>
                    <a:gd name="connsiteY3" fmla="*/ 40255 h 161553"/>
                    <a:gd name="connsiteX4" fmla="*/ 672 w 334821"/>
                    <a:gd name="connsiteY4" fmla="*/ 87614 h 161553"/>
                    <a:gd name="connsiteX5" fmla="*/ 116543 w 334821"/>
                    <a:gd name="connsiteY5" fmla="*/ 160913 h 161553"/>
                    <a:gd name="connsiteX6" fmla="*/ 205766 w 334821"/>
                    <a:gd name="connsiteY6" fmla="*/ 124954 h 161553"/>
                    <a:gd name="connsiteX7" fmla="*/ 281682 w 334821"/>
                    <a:gd name="connsiteY7" fmla="*/ 92786 h 161553"/>
                    <a:gd name="connsiteX8" fmla="*/ 291923 w 334821"/>
                    <a:gd name="connsiteY8" fmla="*/ 69097 h 161553"/>
                    <a:gd name="connsiteX9" fmla="*/ 333998 w 334821"/>
                    <a:gd name="connsiteY9" fmla="*/ 38748 h 161553"/>
                    <a:gd name="connsiteX0" fmla="*/ 333998 w 348414"/>
                    <a:gd name="connsiteY0" fmla="*/ 38748 h 161553"/>
                    <a:gd name="connsiteX1" fmla="*/ 254863 w 348414"/>
                    <a:gd name="connsiteY1" fmla="*/ 5334 h 161553"/>
                    <a:gd name="connsiteX2" fmla="*/ 170237 w 348414"/>
                    <a:gd name="connsiteY2" fmla="*/ 17961 h 161553"/>
                    <a:gd name="connsiteX3" fmla="*/ 54436 w 348414"/>
                    <a:gd name="connsiteY3" fmla="*/ 40255 h 161553"/>
                    <a:gd name="connsiteX4" fmla="*/ 672 w 348414"/>
                    <a:gd name="connsiteY4" fmla="*/ 87614 h 161553"/>
                    <a:gd name="connsiteX5" fmla="*/ 116543 w 348414"/>
                    <a:gd name="connsiteY5" fmla="*/ 160913 h 161553"/>
                    <a:gd name="connsiteX6" fmla="*/ 205766 w 348414"/>
                    <a:gd name="connsiteY6" fmla="*/ 124954 h 161553"/>
                    <a:gd name="connsiteX7" fmla="*/ 281682 w 348414"/>
                    <a:gd name="connsiteY7" fmla="*/ 92786 h 161553"/>
                    <a:gd name="connsiteX8" fmla="*/ 337936 w 348414"/>
                    <a:gd name="connsiteY8" fmla="*/ 89051 h 161553"/>
                    <a:gd name="connsiteX9" fmla="*/ 333998 w 348414"/>
                    <a:gd name="connsiteY9" fmla="*/ 38748 h 161553"/>
                    <a:gd name="connsiteX0" fmla="*/ 414315 w 416071"/>
                    <a:gd name="connsiteY0" fmla="*/ 1542 h 214388"/>
                    <a:gd name="connsiteX1" fmla="*/ 254863 w 416071"/>
                    <a:gd name="connsiteY1" fmla="*/ 58169 h 214388"/>
                    <a:gd name="connsiteX2" fmla="*/ 170237 w 416071"/>
                    <a:gd name="connsiteY2" fmla="*/ 70796 h 214388"/>
                    <a:gd name="connsiteX3" fmla="*/ 54436 w 416071"/>
                    <a:gd name="connsiteY3" fmla="*/ 93090 h 214388"/>
                    <a:gd name="connsiteX4" fmla="*/ 672 w 416071"/>
                    <a:gd name="connsiteY4" fmla="*/ 140449 h 214388"/>
                    <a:gd name="connsiteX5" fmla="*/ 116543 w 416071"/>
                    <a:gd name="connsiteY5" fmla="*/ 213748 h 214388"/>
                    <a:gd name="connsiteX6" fmla="*/ 205766 w 416071"/>
                    <a:gd name="connsiteY6" fmla="*/ 177789 h 214388"/>
                    <a:gd name="connsiteX7" fmla="*/ 281682 w 416071"/>
                    <a:gd name="connsiteY7" fmla="*/ 145621 h 214388"/>
                    <a:gd name="connsiteX8" fmla="*/ 337936 w 416071"/>
                    <a:gd name="connsiteY8" fmla="*/ 141886 h 214388"/>
                    <a:gd name="connsiteX9" fmla="*/ 414315 w 416071"/>
                    <a:gd name="connsiteY9" fmla="*/ 1542 h 214388"/>
                    <a:gd name="connsiteX0" fmla="*/ 414315 w 471279"/>
                    <a:gd name="connsiteY0" fmla="*/ 406 h 213252"/>
                    <a:gd name="connsiteX1" fmla="*/ 254863 w 471279"/>
                    <a:gd name="connsiteY1" fmla="*/ 57033 h 213252"/>
                    <a:gd name="connsiteX2" fmla="*/ 170237 w 471279"/>
                    <a:gd name="connsiteY2" fmla="*/ 69660 h 213252"/>
                    <a:gd name="connsiteX3" fmla="*/ 54436 w 471279"/>
                    <a:gd name="connsiteY3" fmla="*/ 91954 h 213252"/>
                    <a:gd name="connsiteX4" fmla="*/ 672 w 471279"/>
                    <a:gd name="connsiteY4" fmla="*/ 139313 h 213252"/>
                    <a:gd name="connsiteX5" fmla="*/ 116543 w 471279"/>
                    <a:gd name="connsiteY5" fmla="*/ 212612 h 213252"/>
                    <a:gd name="connsiteX6" fmla="*/ 205766 w 471279"/>
                    <a:gd name="connsiteY6" fmla="*/ 176653 h 213252"/>
                    <a:gd name="connsiteX7" fmla="*/ 281682 w 471279"/>
                    <a:gd name="connsiteY7" fmla="*/ 144485 h 213252"/>
                    <a:gd name="connsiteX8" fmla="*/ 337936 w 471279"/>
                    <a:gd name="connsiteY8" fmla="*/ 140750 h 213252"/>
                    <a:gd name="connsiteX9" fmla="*/ 468379 w 471279"/>
                    <a:gd name="connsiteY9" fmla="*/ 97130 h 213252"/>
                    <a:gd name="connsiteX10" fmla="*/ 414315 w 471279"/>
                    <a:gd name="connsiteY10" fmla="*/ 406 h 213252"/>
                    <a:gd name="connsiteX0" fmla="*/ 414315 w 483666"/>
                    <a:gd name="connsiteY0" fmla="*/ 885 h 213731"/>
                    <a:gd name="connsiteX1" fmla="*/ 254863 w 483666"/>
                    <a:gd name="connsiteY1" fmla="*/ 57512 h 213731"/>
                    <a:gd name="connsiteX2" fmla="*/ 170237 w 483666"/>
                    <a:gd name="connsiteY2" fmla="*/ 70139 h 213731"/>
                    <a:gd name="connsiteX3" fmla="*/ 54436 w 483666"/>
                    <a:gd name="connsiteY3" fmla="*/ 92433 h 213731"/>
                    <a:gd name="connsiteX4" fmla="*/ 672 w 483666"/>
                    <a:gd name="connsiteY4" fmla="*/ 139792 h 213731"/>
                    <a:gd name="connsiteX5" fmla="*/ 116543 w 483666"/>
                    <a:gd name="connsiteY5" fmla="*/ 213091 h 213731"/>
                    <a:gd name="connsiteX6" fmla="*/ 205766 w 483666"/>
                    <a:gd name="connsiteY6" fmla="*/ 177132 h 213731"/>
                    <a:gd name="connsiteX7" fmla="*/ 281682 w 483666"/>
                    <a:gd name="connsiteY7" fmla="*/ 144964 h 213731"/>
                    <a:gd name="connsiteX8" fmla="*/ 337936 w 483666"/>
                    <a:gd name="connsiteY8" fmla="*/ 141229 h 213731"/>
                    <a:gd name="connsiteX9" fmla="*/ 481345 w 483666"/>
                    <a:gd name="connsiteY9" fmla="*/ 118840 h 213731"/>
                    <a:gd name="connsiteX10" fmla="*/ 414315 w 483666"/>
                    <a:gd name="connsiteY10" fmla="*/ 885 h 213731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70237 w 483827"/>
                    <a:gd name="connsiteY2" fmla="*/ 76360 h 219952"/>
                    <a:gd name="connsiteX3" fmla="*/ 54436 w 483827"/>
                    <a:gd name="connsiteY3" fmla="*/ 98654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39771 w 483827"/>
                    <a:gd name="connsiteY2" fmla="*/ 44939 h 219952"/>
                    <a:gd name="connsiteX3" fmla="*/ 54436 w 483827"/>
                    <a:gd name="connsiteY3" fmla="*/ 98654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39771 w 483827"/>
                    <a:gd name="connsiteY2" fmla="*/ 44939 h 219952"/>
                    <a:gd name="connsiteX3" fmla="*/ 79069 w 483827"/>
                    <a:gd name="connsiteY3" fmla="*/ 126679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47193 w 516705"/>
                    <a:gd name="connsiteY0" fmla="*/ 7106 h 221017"/>
                    <a:gd name="connsiteX1" fmla="*/ 265691 w 516705"/>
                    <a:gd name="connsiteY1" fmla="*/ 3009 h 221017"/>
                    <a:gd name="connsiteX2" fmla="*/ 172649 w 516705"/>
                    <a:gd name="connsiteY2" fmla="*/ 44939 h 221017"/>
                    <a:gd name="connsiteX3" fmla="*/ 111947 w 516705"/>
                    <a:gd name="connsiteY3" fmla="*/ 126679 h 221017"/>
                    <a:gd name="connsiteX4" fmla="*/ 525 w 516705"/>
                    <a:gd name="connsiteY4" fmla="*/ 208869 h 221017"/>
                    <a:gd name="connsiteX5" fmla="*/ 149421 w 516705"/>
                    <a:gd name="connsiteY5" fmla="*/ 219312 h 221017"/>
                    <a:gd name="connsiteX6" fmla="*/ 238644 w 516705"/>
                    <a:gd name="connsiteY6" fmla="*/ 183353 h 221017"/>
                    <a:gd name="connsiteX7" fmla="*/ 314560 w 516705"/>
                    <a:gd name="connsiteY7" fmla="*/ 151185 h 221017"/>
                    <a:gd name="connsiteX8" fmla="*/ 370814 w 516705"/>
                    <a:gd name="connsiteY8" fmla="*/ 147450 h 221017"/>
                    <a:gd name="connsiteX9" fmla="*/ 514223 w 516705"/>
                    <a:gd name="connsiteY9" fmla="*/ 125061 h 221017"/>
                    <a:gd name="connsiteX10" fmla="*/ 447193 w 516705"/>
                    <a:gd name="connsiteY10" fmla="*/ 7106 h 221017"/>
                    <a:gd name="connsiteX0" fmla="*/ 447383 w 516895"/>
                    <a:gd name="connsiteY0" fmla="*/ 7106 h 275165"/>
                    <a:gd name="connsiteX1" fmla="*/ 265881 w 516895"/>
                    <a:gd name="connsiteY1" fmla="*/ 3009 h 275165"/>
                    <a:gd name="connsiteX2" fmla="*/ 172839 w 516895"/>
                    <a:gd name="connsiteY2" fmla="*/ 44939 h 275165"/>
                    <a:gd name="connsiteX3" fmla="*/ 112137 w 516895"/>
                    <a:gd name="connsiteY3" fmla="*/ 126679 h 275165"/>
                    <a:gd name="connsiteX4" fmla="*/ 715 w 516895"/>
                    <a:gd name="connsiteY4" fmla="*/ 208869 h 275165"/>
                    <a:gd name="connsiteX5" fmla="*/ 115937 w 516895"/>
                    <a:gd name="connsiteY5" fmla="*/ 274948 h 275165"/>
                    <a:gd name="connsiteX6" fmla="*/ 238834 w 516895"/>
                    <a:gd name="connsiteY6" fmla="*/ 183353 h 275165"/>
                    <a:gd name="connsiteX7" fmla="*/ 314750 w 516895"/>
                    <a:gd name="connsiteY7" fmla="*/ 151185 h 275165"/>
                    <a:gd name="connsiteX8" fmla="*/ 371004 w 516895"/>
                    <a:gd name="connsiteY8" fmla="*/ 147450 h 275165"/>
                    <a:gd name="connsiteX9" fmla="*/ 514413 w 516895"/>
                    <a:gd name="connsiteY9" fmla="*/ 125061 h 275165"/>
                    <a:gd name="connsiteX10" fmla="*/ 447383 w 516895"/>
                    <a:gd name="connsiteY10" fmla="*/ 7106 h 275165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71309 w 517200"/>
                    <a:gd name="connsiteY8" fmla="*/ 14745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71309 w 517200"/>
                    <a:gd name="connsiteY8" fmla="*/ 14745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38892 w 517200"/>
                    <a:gd name="connsiteY8" fmla="*/ 9437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55234 w 517200"/>
                    <a:gd name="connsiteY7" fmla="*/ 167742 h 275176"/>
                    <a:gd name="connsiteX8" fmla="*/ 338892 w 517200"/>
                    <a:gd name="connsiteY8" fmla="*/ 9437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447 w 516959"/>
                    <a:gd name="connsiteY0" fmla="*/ 7106 h 274959"/>
                    <a:gd name="connsiteX1" fmla="*/ 265945 w 516959"/>
                    <a:gd name="connsiteY1" fmla="*/ 3009 h 274959"/>
                    <a:gd name="connsiteX2" fmla="*/ 172903 w 516959"/>
                    <a:gd name="connsiteY2" fmla="*/ 44939 h 274959"/>
                    <a:gd name="connsiteX3" fmla="*/ 112201 w 516959"/>
                    <a:gd name="connsiteY3" fmla="*/ 126679 h 274959"/>
                    <a:gd name="connsiteX4" fmla="*/ 779 w 516959"/>
                    <a:gd name="connsiteY4" fmla="*/ 208869 h 274959"/>
                    <a:gd name="connsiteX5" fmla="*/ 116001 w 516959"/>
                    <a:gd name="connsiteY5" fmla="*/ 274948 h 274959"/>
                    <a:gd name="connsiteX6" fmla="*/ 284911 w 516959"/>
                    <a:gd name="connsiteY6" fmla="*/ 203306 h 274959"/>
                    <a:gd name="connsiteX7" fmla="*/ 354993 w 516959"/>
                    <a:gd name="connsiteY7" fmla="*/ 167742 h 274959"/>
                    <a:gd name="connsiteX8" fmla="*/ 338651 w 516959"/>
                    <a:gd name="connsiteY8" fmla="*/ 94370 h 274959"/>
                    <a:gd name="connsiteX9" fmla="*/ 514477 w 516959"/>
                    <a:gd name="connsiteY9" fmla="*/ 125061 h 274959"/>
                    <a:gd name="connsiteX10" fmla="*/ 447447 w 516959"/>
                    <a:gd name="connsiteY10" fmla="*/ 7106 h 274959"/>
                    <a:gd name="connsiteX0" fmla="*/ 447447 w 516959"/>
                    <a:gd name="connsiteY0" fmla="*/ 7106 h 274959"/>
                    <a:gd name="connsiteX1" fmla="*/ 265945 w 516959"/>
                    <a:gd name="connsiteY1" fmla="*/ 3009 h 274959"/>
                    <a:gd name="connsiteX2" fmla="*/ 172903 w 516959"/>
                    <a:gd name="connsiteY2" fmla="*/ 44939 h 274959"/>
                    <a:gd name="connsiteX3" fmla="*/ 112201 w 516959"/>
                    <a:gd name="connsiteY3" fmla="*/ 126679 h 274959"/>
                    <a:gd name="connsiteX4" fmla="*/ 779 w 516959"/>
                    <a:gd name="connsiteY4" fmla="*/ 208869 h 274959"/>
                    <a:gd name="connsiteX5" fmla="*/ 116001 w 516959"/>
                    <a:gd name="connsiteY5" fmla="*/ 274948 h 274959"/>
                    <a:gd name="connsiteX6" fmla="*/ 284911 w 516959"/>
                    <a:gd name="connsiteY6" fmla="*/ 203306 h 274959"/>
                    <a:gd name="connsiteX7" fmla="*/ 354993 w 516959"/>
                    <a:gd name="connsiteY7" fmla="*/ 167742 h 274959"/>
                    <a:gd name="connsiteX8" fmla="*/ 385312 w 516959"/>
                    <a:gd name="connsiteY8" fmla="*/ 121542 h 274959"/>
                    <a:gd name="connsiteX9" fmla="*/ 514477 w 516959"/>
                    <a:gd name="connsiteY9" fmla="*/ 125061 h 274959"/>
                    <a:gd name="connsiteX10" fmla="*/ 447447 w 516959"/>
                    <a:gd name="connsiteY10" fmla="*/ 7106 h 274959"/>
                    <a:gd name="connsiteX0" fmla="*/ 447375 w 516887"/>
                    <a:gd name="connsiteY0" fmla="*/ 7106 h 275528"/>
                    <a:gd name="connsiteX1" fmla="*/ 265873 w 516887"/>
                    <a:gd name="connsiteY1" fmla="*/ 3009 h 275528"/>
                    <a:gd name="connsiteX2" fmla="*/ 172831 w 516887"/>
                    <a:gd name="connsiteY2" fmla="*/ 44939 h 275528"/>
                    <a:gd name="connsiteX3" fmla="*/ 112129 w 516887"/>
                    <a:gd name="connsiteY3" fmla="*/ 126679 h 275528"/>
                    <a:gd name="connsiteX4" fmla="*/ 707 w 516887"/>
                    <a:gd name="connsiteY4" fmla="*/ 208869 h 275528"/>
                    <a:gd name="connsiteX5" fmla="*/ 115929 w 516887"/>
                    <a:gd name="connsiteY5" fmla="*/ 274948 h 275528"/>
                    <a:gd name="connsiteX6" fmla="*/ 231693 w 516887"/>
                    <a:gd name="connsiteY6" fmla="*/ 165518 h 275528"/>
                    <a:gd name="connsiteX7" fmla="*/ 354921 w 516887"/>
                    <a:gd name="connsiteY7" fmla="*/ 167742 h 275528"/>
                    <a:gd name="connsiteX8" fmla="*/ 385240 w 516887"/>
                    <a:gd name="connsiteY8" fmla="*/ 121542 h 275528"/>
                    <a:gd name="connsiteX9" fmla="*/ 514405 w 516887"/>
                    <a:gd name="connsiteY9" fmla="*/ 125061 h 275528"/>
                    <a:gd name="connsiteX10" fmla="*/ 447375 w 516887"/>
                    <a:gd name="connsiteY10" fmla="*/ 7106 h 275528"/>
                    <a:gd name="connsiteX0" fmla="*/ 447205 w 516717"/>
                    <a:gd name="connsiteY0" fmla="*/ 7106 h 238862"/>
                    <a:gd name="connsiteX1" fmla="*/ 265703 w 516717"/>
                    <a:gd name="connsiteY1" fmla="*/ 3009 h 238862"/>
                    <a:gd name="connsiteX2" fmla="*/ 172661 w 516717"/>
                    <a:gd name="connsiteY2" fmla="*/ 44939 h 238862"/>
                    <a:gd name="connsiteX3" fmla="*/ 111959 w 516717"/>
                    <a:gd name="connsiteY3" fmla="*/ 126679 h 238862"/>
                    <a:gd name="connsiteX4" fmla="*/ 537 w 516717"/>
                    <a:gd name="connsiteY4" fmla="*/ 208869 h 238862"/>
                    <a:gd name="connsiteX5" fmla="*/ 145551 w 516717"/>
                    <a:gd name="connsiteY5" fmla="*/ 237574 h 238862"/>
                    <a:gd name="connsiteX6" fmla="*/ 231523 w 516717"/>
                    <a:gd name="connsiteY6" fmla="*/ 165518 h 238862"/>
                    <a:gd name="connsiteX7" fmla="*/ 354751 w 516717"/>
                    <a:gd name="connsiteY7" fmla="*/ 167742 h 238862"/>
                    <a:gd name="connsiteX8" fmla="*/ 385070 w 516717"/>
                    <a:gd name="connsiteY8" fmla="*/ 121542 h 238862"/>
                    <a:gd name="connsiteX9" fmla="*/ 514235 w 516717"/>
                    <a:gd name="connsiteY9" fmla="*/ 125061 h 238862"/>
                    <a:gd name="connsiteX10" fmla="*/ 447205 w 516717"/>
                    <a:gd name="connsiteY10" fmla="*/ 7106 h 238862"/>
                    <a:gd name="connsiteX0" fmla="*/ 393737 w 463249"/>
                    <a:gd name="connsiteY0" fmla="*/ 7106 h 237929"/>
                    <a:gd name="connsiteX1" fmla="*/ 212235 w 463249"/>
                    <a:gd name="connsiteY1" fmla="*/ 3009 h 237929"/>
                    <a:gd name="connsiteX2" fmla="*/ 119193 w 463249"/>
                    <a:gd name="connsiteY2" fmla="*/ 44939 h 237929"/>
                    <a:gd name="connsiteX3" fmla="*/ 58491 w 463249"/>
                    <a:gd name="connsiteY3" fmla="*/ 126679 h 237929"/>
                    <a:gd name="connsiteX4" fmla="*/ 843 w 463249"/>
                    <a:gd name="connsiteY4" fmla="*/ 192299 h 237929"/>
                    <a:gd name="connsiteX5" fmla="*/ 92083 w 463249"/>
                    <a:gd name="connsiteY5" fmla="*/ 237574 h 237929"/>
                    <a:gd name="connsiteX6" fmla="*/ 178055 w 463249"/>
                    <a:gd name="connsiteY6" fmla="*/ 165518 h 237929"/>
                    <a:gd name="connsiteX7" fmla="*/ 301283 w 463249"/>
                    <a:gd name="connsiteY7" fmla="*/ 167742 h 237929"/>
                    <a:gd name="connsiteX8" fmla="*/ 331602 w 463249"/>
                    <a:gd name="connsiteY8" fmla="*/ 121542 h 237929"/>
                    <a:gd name="connsiteX9" fmla="*/ 460767 w 463249"/>
                    <a:gd name="connsiteY9" fmla="*/ 125061 h 237929"/>
                    <a:gd name="connsiteX10" fmla="*/ 393737 w 463249"/>
                    <a:gd name="connsiteY10" fmla="*/ 7106 h 237929"/>
                    <a:gd name="connsiteX0" fmla="*/ 393737 w 463249"/>
                    <a:gd name="connsiteY0" fmla="*/ 7324 h 238147"/>
                    <a:gd name="connsiteX1" fmla="*/ 212235 w 463249"/>
                    <a:gd name="connsiteY1" fmla="*/ 3227 h 238147"/>
                    <a:gd name="connsiteX2" fmla="*/ 119193 w 463249"/>
                    <a:gd name="connsiteY2" fmla="*/ 45157 h 238147"/>
                    <a:gd name="connsiteX3" fmla="*/ 51884 w 463249"/>
                    <a:gd name="connsiteY3" fmla="*/ 65039 h 238147"/>
                    <a:gd name="connsiteX4" fmla="*/ 58491 w 463249"/>
                    <a:gd name="connsiteY4" fmla="*/ 126897 h 238147"/>
                    <a:gd name="connsiteX5" fmla="*/ 843 w 463249"/>
                    <a:gd name="connsiteY5" fmla="*/ 192517 h 238147"/>
                    <a:gd name="connsiteX6" fmla="*/ 92083 w 463249"/>
                    <a:gd name="connsiteY6" fmla="*/ 237792 h 238147"/>
                    <a:gd name="connsiteX7" fmla="*/ 178055 w 463249"/>
                    <a:gd name="connsiteY7" fmla="*/ 165736 h 238147"/>
                    <a:gd name="connsiteX8" fmla="*/ 301283 w 463249"/>
                    <a:gd name="connsiteY8" fmla="*/ 167960 h 238147"/>
                    <a:gd name="connsiteX9" fmla="*/ 331602 w 463249"/>
                    <a:gd name="connsiteY9" fmla="*/ 121760 h 238147"/>
                    <a:gd name="connsiteX10" fmla="*/ 460767 w 463249"/>
                    <a:gd name="connsiteY10" fmla="*/ 125279 h 238147"/>
                    <a:gd name="connsiteX11" fmla="*/ 393737 w 463249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302338 w 464304"/>
                    <a:gd name="connsiteY8" fmla="*/ 167960 h 238147"/>
                    <a:gd name="connsiteX9" fmla="*/ 332657 w 464304"/>
                    <a:gd name="connsiteY9" fmla="*/ 121760 h 238147"/>
                    <a:gd name="connsiteX10" fmla="*/ 461822 w 464304"/>
                    <a:gd name="connsiteY10" fmla="*/ 125279 h 238147"/>
                    <a:gd name="connsiteX11" fmla="*/ 394792 w 464304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234315 w 464304"/>
                    <a:gd name="connsiteY8" fmla="*/ 210436 h 238147"/>
                    <a:gd name="connsiteX9" fmla="*/ 332657 w 464304"/>
                    <a:gd name="connsiteY9" fmla="*/ 121760 h 238147"/>
                    <a:gd name="connsiteX10" fmla="*/ 461822 w 464304"/>
                    <a:gd name="connsiteY10" fmla="*/ 125279 h 238147"/>
                    <a:gd name="connsiteX11" fmla="*/ 394792 w 464304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195863 w 464304"/>
                    <a:gd name="connsiteY8" fmla="*/ 209831 h 238147"/>
                    <a:gd name="connsiteX9" fmla="*/ 234315 w 464304"/>
                    <a:gd name="connsiteY9" fmla="*/ 210436 h 238147"/>
                    <a:gd name="connsiteX10" fmla="*/ 332657 w 464304"/>
                    <a:gd name="connsiteY10" fmla="*/ 121760 h 238147"/>
                    <a:gd name="connsiteX11" fmla="*/ 461822 w 464304"/>
                    <a:gd name="connsiteY11" fmla="*/ 125279 h 238147"/>
                    <a:gd name="connsiteX12" fmla="*/ 394792 w 464304"/>
                    <a:gd name="connsiteY12" fmla="*/ 7324 h 238147"/>
                    <a:gd name="connsiteX0" fmla="*/ 394792 w 464304"/>
                    <a:gd name="connsiteY0" fmla="*/ 7324 h 237865"/>
                    <a:gd name="connsiteX1" fmla="*/ 213290 w 464304"/>
                    <a:gd name="connsiteY1" fmla="*/ 3227 h 237865"/>
                    <a:gd name="connsiteX2" fmla="*/ 120248 w 464304"/>
                    <a:gd name="connsiteY2" fmla="*/ 45157 h 237865"/>
                    <a:gd name="connsiteX3" fmla="*/ 52939 w 464304"/>
                    <a:gd name="connsiteY3" fmla="*/ 65039 h 237865"/>
                    <a:gd name="connsiteX4" fmla="*/ 8353 w 464304"/>
                    <a:gd name="connsiteY4" fmla="*/ 110767 h 237865"/>
                    <a:gd name="connsiteX5" fmla="*/ 1898 w 464304"/>
                    <a:gd name="connsiteY5" fmla="*/ 192517 h 237865"/>
                    <a:gd name="connsiteX6" fmla="*/ 93138 w 464304"/>
                    <a:gd name="connsiteY6" fmla="*/ 237792 h 237865"/>
                    <a:gd name="connsiteX7" fmla="*/ 159250 w 464304"/>
                    <a:gd name="connsiteY7" fmla="*/ 202191 h 237865"/>
                    <a:gd name="connsiteX8" fmla="*/ 179110 w 464304"/>
                    <a:gd name="connsiteY8" fmla="*/ 165736 h 237865"/>
                    <a:gd name="connsiteX9" fmla="*/ 195863 w 464304"/>
                    <a:gd name="connsiteY9" fmla="*/ 209831 h 237865"/>
                    <a:gd name="connsiteX10" fmla="*/ 234315 w 464304"/>
                    <a:gd name="connsiteY10" fmla="*/ 210436 h 237865"/>
                    <a:gd name="connsiteX11" fmla="*/ 332657 w 464304"/>
                    <a:gd name="connsiteY11" fmla="*/ 121760 h 237865"/>
                    <a:gd name="connsiteX12" fmla="*/ 461822 w 464304"/>
                    <a:gd name="connsiteY12" fmla="*/ 125279 h 237865"/>
                    <a:gd name="connsiteX13" fmla="*/ 394792 w 464304"/>
                    <a:gd name="connsiteY13" fmla="*/ 7324 h 237865"/>
                    <a:gd name="connsiteX0" fmla="*/ 394792 w 464304"/>
                    <a:gd name="connsiteY0" fmla="*/ 7324 h 237849"/>
                    <a:gd name="connsiteX1" fmla="*/ 213290 w 464304"/>
                    <a:gd name="connsiteY1" fmla="*/ 3227 h 237849"/>
                    <a:gd name="connsiteX2" fmla="*/ 120248 w 464304"/>
                    <a:gd name="connsiteY2" fmla="*/ 45157 h 237849"/>
                    <a:gd name="connsiteX3" fmla="*/ 52939 w 464304"/>
                    <a:gd name="connsiteY3" fmla="*/ 65039 h 237849"/>
                    <a:gd name="connsiteX4" fmla="*/ 8353 w 464304"/>
                    <a:gd name="connsiteY4" fmla="*/ 110767 h 237849"/>
                    <a:gd name="connsiteX5" fmla="*/ 1898 w 464304"/>
                    <a:gd name="connsiteY5" fmla="*/ 192517 h 237849"/>
                    <a:gd name="connsiteX6" fmla="*/ 93138 w 464304"/>
                    <a:gd name="connsiteY6" fmla="*/ 237792 h 237849"/>
                    <a:gd name="connsiteX7" fmla="*/ 159250 w 464304"/>
                    <a:gd name="connsiteY7" fmla="*/ 202191 h 237849"/>
                    <a:gd name="connsiteX8" fmla="*/ 195863 w 464304"/>
                    <a:gd name="connsiteY8" fmla="*/ 209831 h 237849"/>
                    <a:gd name="connsiteX9" fmla="*/ 234315 w 464304"/>
                    <a:gd name="connsiteY9" fmla="*/ 210436 h 237849"/>
                    <a:gd name="connsiteX10" fmla="*/ 332657 w 464304"/>
                    <a:gd name="connsiteY10" fmla="*/ 121760 h 237849"/>
                    <a:gd name="connsiteX11" fmla="*/ 461822 w 464304"/>
                    <a:gd name="connsiteY11" fmla="*/ 125279 h 237849"/>
                    <a:gd name="connsiteX12" fmla="*/ 394792 w 464304"/>
                    <a:gd name="connsiteY12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95863 w 430914"/>
                    <a:gd name="connsiteY8" fmla="*/ 209831 h 237849"/>
                    <a:gd name="connsiteX9" fmla="*/ 234315 w 430914"/>
                    <a:gd name="connsiteY9" fmla="*/ 210436 h 237849"/>
                    <a:gd name="connsiteX10" fmla="*/ 332657 w 430914"/>
                    <a:gd name="connsiteY10" fmla="*/ 121760 h 237849"/>
                    <a:gd name="connsiteX11" fmla="*/ 425189 w 430914"/>
                    <a:gd name="connsiteY11" fmla="*/ 56064 h 237849"/>
                    <a:gd name="connsiteX12" fmla="*/ 394792 w 430914"/>
                    <a:gd name="connsiteY12" fmla="*/ 7324 h 237849"/>
                    <a:gd name="connsiteX0" fmla="*/ 394792 w 430912"/>
                    <a:gd name="connsiteY0" fmla="*/ 7324 h 237849"/>
                    <a:gd name="connsiteX1" fmla="*/ 213290 w 430912"/>
                    <a:gd name="connsiteY1" fmla="*/ 3227 h 237849"/>
                    <a:gd name="connsiteX2" fmla="*/ 120248 w 430912"/>
                    <a:gd name="connsiteY2" fmla="*/ 45157 h 237849"/>
                    <a:gd name="connsiteX3" fmla="*/ 52939 w 430912"/>
                    <a:gd name="connsiteY3" fmla="*/ 65039 h 237849"/>
                    <a:gd name="connsiteX4" fmla="*/ 8353 w 430912"/>
                    <a:gd name="connsiteY4" fmla="*/ 110767 h 237849"/>
                    <a:gd name="connsiteX5" fmla="*/ 1898 w 430912"/>
                    <a:gd name="connsiteY5" fmla="*/ 192517 h 237849"/>
                    <a:gd name="connsiteX6" fmla="*/ 93138 w 430912"/>
                    <a:gd name="connsiteY6" fmla="*/ 237792 h 237849"/>
                    <a:gd name="connsiteX7" fmla="*/ 159250 w 430912"/>
                    <a:gd name="connsiteY7" fmla="*/ 202191 h 237849"/>
                    <a:gd name="connsiteX8" fmla="*/ 195863 w 430912"/>
                    <a:gd name="connsiteY8" fmla="*/ 209831 h 237849"/>
                    <a:gd name="connsiteX9" fmla="*/ 234315 w 430912"/>
                    <a:gd name="connsiteY9" fmla="*/ 210436 h 237849"/>
                    <a:gd name="connsiteX10" fmla="*/ 304785 w 430912"/>
                    <a:gd name="connsiteY10" fmla="*/ 88427 h 237849"/>
                    <a:gd name="connsiteX11" fmla="*/ 425189 w 430912"/>
                    <a:gd name="connsiteY11" fmla="*/ 56064 h 237849"/>
                    <a:gd name="connsiteX12" fmla="*/ 394792 w 430912"/>
                    <a:gd name="connsiteY12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95863 w 430914"/>
                    <a:gd name="connsiteY8" fmla="*/ 209831 h 237849"/>
                    <a:gd name="connsiteX9" fmla="*/ 234315 w 430914"/>
                    <a:gd name="connsiteY9" fmla="*/ 210436 h 237849"/>
                    <a:gd name="connsiteX10" fmla="*/ 314427 w 430914"/>
                    <a:gd name="connsiteY10" fmla="*/ 176264 h 237849"/>
                    <a:gd name="connsiteX11" fmla="*/ 304785 w 430914"/>
                    <a:gd name="connsiteY11" fmla="*/ 88427 h 237849"/>
                    <a:gd name="connsiteX12" fmla="*/ 425189 w 430914"/>
                    <a:gd name="connsiteY12" fmla="*/ 56064 h 237849"/>
                    <a:gd name="connsiteX13" fmla="*/ 394792 w 430914"/>
                    <a:gd name="connsiteY13" fmla="*/ 7324 h 237849"/>
                    <a:gd name="connsiteX0" fmla="*/ 394792 w 430912"/>
                    <a:gd name="connsiteY0" fmla="*/ 7324 h 237849"/>
                    <a:gd name="connsiteX1" fmla="*/ 213290 w 430912"/>
                    <a:gd name="connsiteY1" fmla="*/ 3227 h 237849"/>
                    <a:gd name="connsiteX2" fmla="*/ 120248 w 430912"/>
                    <a:gd name="connsiteY2" fmla="*/ 45157 h 237849"/>
                    <a:gd name="connsiteX3" fmla="*/ 52939 w 430912"/>
                    <a:gd name="connsiteY3" fmla="*/ 65039 h 237849"/>
                    <a:gd name="connsiteX4" fmla="*/ 8353 w 430912"/>
                    <a:gd name="connsiteY4" fmla="*/ 110767 h 237849"/>
                    <a:gd name="connsiteX5" fmla="*/ 1898 w 430912"/>
                    <a:gd name="connsiteY5" fmla="*/ 192517 h 237849"/>
                    <a:gd name="connsiteX6" fmla="*/ 93138 w 430912"/>
                    <a:gd name="connsiteY6" fmla="*/ 237792 h 237849"/>
                    <a:gd name="connsiteX7" fmla="*/ 159250 w 430912"/>
                    <a:gd name="connsiteY7" fmla="*/ 202191 h 237849"/>
                    <a:gd name="connsiteX8" fmla="*/ 195863 w 430912"/>
                    <a:gd name="connsiteY8" fmla="*/ 209831 h 237849"/>
                    <a:gd name="connsiteX9" fmla="*/ 225881 w 430912"/>
                    <a:gd name="connsiteY9" fmla="*/ 178162 h 237849"/>
                    <a:gd name="connsiteX10" fmla="*/ 314427 w 430912"/>
                    <a:gd name="connsiteY10" fmla="*/ 176264 h 237849"/>
                    <a:gd name="connsiteX11" fmla="*/ 304785 w 430912"/>
                    <a:gd name="connsiteY11" fmla="*/ 88427 h 237849"/>
                    <a:gd name="connsiteX12" fmla="*/ 425189 w 430912"/>
                    <a:gd name="connsiteY12" fmla="*/ 56064 h 237849"/>
                    <a:gd name="connsiteX13" fmla="*/ 394792 w 430912"/>
                    <a:gd name="connsiteY13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79980 w 430914"/>
                    <a:gd name="connsiteY8" fmla="*/ 186901 h 237849"/>
                    <a:gd name="connsiteX9" fmla="*/ 225881 w 430914"/>
                    <a:gd name="connsiteY9" fmla="*/ 178162 h 237849"/>
                    <a:gd name="connsiteX10" fmla="*/ 314427 w 430914"/>
                    <a:gd name="connsiteY10" fmla="*/ 176264 h 237849"/>
                    <a:gd name="connsiteX11" fmla="*/ 304785 w 430914"/>
                    <a:gd name="connsiteY11" fmla="*/ 88427 h 237849"/>
                    <a:gd name="connsiteX12" fmla="*/ 425189 w 430914"/>
                    <a:gd name="connsiteY12" fmla="*/ 56064 h 237849"/>
                    <a:gd name="connsiteX13" fmla="*/ 394792 w 430914"/>
                    <a:gd name="connsiteY13" fmla="*/ 7324 h 237849"/>
                    <a:gd name="connsiteX0" fmla="*/ 394792 w 430912"/>
                    <a:gd name="connsiteY0" fmla="*/ 7661 h 238186"/>
                    <a:gd name="connsiteX1" fmla="*/ 213290 w 430912"/>
                    <a:gd name="connsiteY1" fmla="*/ 3564 h 238186"/>
                    <a:gd name="connsiteX2" fmla="*/ 121923 w 430912"/>
                    <a:gd name="connsiteY2" fmla="*/ 2939 h 238186"/>
                    <a:gd name="connsiteX3" fmla="*/ 120248 w 430912"/>
                    <a:gd name="connsiteY3" fmla="*/ 45494 h 238186"/>
                    <a:gd name="connsiteX4" fmla="*/ 52939 w 430912"/>
                    <a:gd name="connsiteY4" fmla="*/ 65376 h 238186"/>
                    <a:gd name="connsiteX5" fmla="*/ 8353 w 430912"/>
                    <a:gd name="connsiteY5" fmla="*/ 111104 h 238186"/>
                    <a:gd name="connsiteX6" fmla="*/ 1898 w 430912"/>
                    <a:gd name="connsiteY6" fmla="*/ 192854 h 238186"/>
                    <a:gd name="connsiteX7" fmla="*/ 93138 w 430912"/>
                    <a:gd name="connsiteY7" fmla="*/ 238129 h 238186"/>
                    <a:gd name="connsiteX8" fmla="*/ 159250 w 430912"/>
                    <a:gd name="connsiteY8" fmla="*/ 202528 h 238186"/>
                    <a:gd name="connsiteX9" fmla="*/ 179980 w 430912"/>
                    <a:gd name="connsiteY9" fmla="*/ 187238 h 238186"/>
                    <a:gd name="connsiteX10" fmla="*/ 225881 w 430912"/>
                    <a:gd name="connsiteY10" fmla="*/ 178499 h 238186"/>
                    <a:gd name="connsiteX11" fmla="*/ 314427 w 430912"/>
                    <a:gd name="connsiteY11" fmla="*/ 176601 h 238186"/>
                    <a:gd name="connsiteX12" fmla="*/ 304785 w 430912"/>
                    <a:gd name="connsiteY12" fmla="*/ 88764 h 238186"/>
                    <a:gd name="connsiteX13" fmla="*/ 425189 w 430912"/>
                    <a:gd name="connsiteY13" fmla="*/ 56401 h 238186"/>
                    <a:gd name="connsiteX14" fmla="*/ 394792 w 430912"/>
                    <a:gd name="connsiteY14" fmla="*/ 7661 h 238186"/>
                    <a:gd name="connsiteX0" fmla="*/ 394792 w 430914"/>
                    <a:gd name="connsiteY0" fmla="*/ 7661 h 238186"/>
                    <a:gd name="connsiteX1" fmla="*/ 213290 w 430914"/>
                    <a:gd name="connsiteY1" fmla="*/ 3564 h 238186"/>
                    <a:gd name="connsiteX2" fmla="*/ 121923 w 430914"/>
                    <a:gd name="connsiteY2" fmla="*/ 2939 h 238186"/>
                    <a:gd name="connsiteX3" fmla="*/ 120248 w 430914"/>
                    <a:gd name="connsiteY3" fmla="*/ 45494 h 238186"/>
                    <a:gd name="connsiteX4" fmla="*/ 91177 w 430914"/>
                    <a:gd name="connsiteY4" fmla="*/ 91063 h 238186"/>
                    <a:gd name="connsiteX5" fmla="*/ 8353 w 430914"/>
                    <a:gd name="connsiteY5" fmla="*/ 111104 h 238186"/>
                    <a:gd name="connsiteX6" fmla="*/ 1898 w 430914"/>
                    <a:gd name="connsiteY6" fmla="*/ 192854 h 238186"/>
                    <a:gd name="connsiteX7" fmla="*/ 93138 w 430914"/>
                    <a:gd name="connsiteY7" fmla="*/ 238129 h 238186"/>
                    <a:gd name="connsiteX8" fmla="*/ 159250 w 430914"/>
                    <a:gd name="connsiteY8" fmla="*/ 202528 h 238186"/>
                    <a:gd name="connsiteX9" fmla="*/ 179980 w 430914"/>
                    <a:gd name="connsiteY9" fmla="*/ 187238 h 238186"/>
                    <a:gd name="connsiteX10" fmla="*/ 225881 w 430914"/>
                    <a:gd name="connsiteY10" fmla="*/ 178499 h 238186"/>
                    <a:gd name="connsiteX11" fmla="*/ 314427 w 430914"/>
                    <a:gd name="connsiteY11" fmla="*/ 176601 h 238186"/>
                    <a:gd name="connsiteX12" fmla="*/ 304785 w 430914"/>
                    <a:gd name="connsiteY12" fmla="*/ 88764 h 238186"/>
                    <a:gd name="connsiteX13" fmla="*/ 425189 w 430914"/>
                    <a:gd name="connsiteY13" fmla="*/ 56401 h 238186"/>
                    <a:gd name="connsiteX14" fmla="*/ 394792 w 430914"/>
                    <a:gd name="connsiteY14" fmla="*/ 7661 h 238186"/>
                    <a:gd name="connsiteX0" fmla="*/ 393704 w 429825"/>
                    <a:gd name="connsiteY0" fmla="*/ 7661 h 238186"/>
                    <a:gd name="connsiteX1" fmla="*/ 212202 w 429825"/>
                    <a:gd name="connsiteY1" fmla="*/ 3564 h 238186"/>
                    <a:gd name="connsiteX2" fmla="*/ 120835 w 429825"/>
                    <a:gd name="connsiteY2" fmla="*/ 2939 h 238186"/>
                    <a:gd name="connsiteX3" fmla="*/ 119160 w 429825"/>
                    <a:gd name="connsiteY3" fmla="*/ 45494 h 238186"/>
                    <a:gd name="connsiteX4" fmla="*/ 90089 w 429825"/>
                    <a:gd name="connsiteY4" fmla="*/ 91063 h 238186"/>
                    <a:gd name="connsiteX5" fmla="*/ 30920 w 429825"/>
                    <a:gd name="connsiteY5" fmla="*/ 128299 h 238186"/>
                    <a:gd name="connsiteX6" fmla="*/ 810 w 429825"/>
                    <a:gd name="connsiteY6" fmla="*/ 192854 h 238186"/>
                    <a:gd name="connsiteX7" fmla="*/ 92050 w 429825"/>
                    <a:gd name="connsiteY7" fmla="*/ 238129 h 238186"/>
                    <a:gd name="connsiteX8" fmla="*/ 158162 w 429825"/>
                    <a:gd name="connsiteY8" fmla="*/ 202528 h 238186"/>
                    <a:gd name="connsiteX9" fmla="*/ 178892 w 429825"/>
                    <a:gd name="connsiteY9" fmla="*/ 187238 h 238186"/>
                    <a:gd name="connsiteX10" fmla="*/ 224793 w 429825"/>
                    <a:gd name="connsiteY10" fmla="*/ 178499 h 238186"/>
                    <a:gd name="connsiteX11" fmla="*/ 313339 w 429825"/>
                    <a:gd name="connsiteY11" fmla="*/ 176601 h 238186"/>
                    <a:gd name="connsiteX12" fmla="*/ 303697 w 429825"/>
                    <a:gd name="connsiteY12" fmla="*/ 88764 h 238186"/>
                    <a:gd name="connsiteX13" fmla="*/ 424101 w 429825"/>
                    <a:gd name="connsiteY13" fmla="*/ 56401 h 238186"/>
                    <a:gd name="connsiteX14" fmla="*/ 393704 w 429825"/>
                    <a:gd name="connsiteY14" fmla="*/ 7661 h 238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29825" h="238186">
                      <a:moveTo>
                        <a:pt x="393704" y="7661"/>
                      </a:moveTo>
                      <a:cubicBezTo>
                        <a:pt x="358387" y="-1145"/>
                        <a:pt x="250371" y="18682"/>
                        <a:pt x="212202" y="3564"/>
                      </a:cubicBezTo>
                      <a:cubicBezTo>
                        <a:pt x="176012" y="3625"/>
                        <a:pt x="136342" y="-4049"/>
                        <a:pt x="120835" y="2939"/>
                      </a:cubicBezTo>
                      <a:cubicBezTo>
                        <a:pt x="105328" y="9927"/>
                        <a:pt x="139945" y="35936"/>
                        <a:pt x="119160" y="45494"/>
                      </a:cubicBezTo>
                      <a:cubicBezTo>
                        <a:pt x="98375" y="55052"/>
                        <a:pt x="100206" y="77440"/>
                        <a:pt x="90089" y="91063"/>
                      </a:cubicBezTo>
                      <a:cubicBezTo>
                        <a:pt x="79972" y="104686"/>
                        <a:pt x="43532" y="111724"/>
                        <a:pt x="30920" y="128299"/>
                      </a:cubicBezTo>
                      <a:cubicBezTo>
                        <a:pt x="18308" y="144874"/>
                        <a:pt x="-215" y="128011"/>
                        <a:pt x="810" y="192854"/>
                      </a:cubicBezTo>
                      <a:cubicBezTo>
                        <a:pt x="-8551" y="203765"/>
                        <a:pt x="65825" y="236517"/>
                        <a:pt x="92050" y="238129"/>
                      </a:cubicBezTo>
                      <a:cubicBezTo>
                        <a:pt x="118275" y="239741"/>
                        <a:pt x="141041" y="207188"/>
                        <a:pt x="158162" y="202528"/>
                      </a:cubicBezTo>
                      <a:cubicBezTo>
                        <a:pt x="175283" y="197868"/>
                        <a:pt x="166381" y="185864"/>
                        <a:pt x="178892" y="187238"/>
                      </a:cubicBezTo>
                      <a:cubicBezTo>
                        <a:pt x="191403" y="188612"/>
                        <a:pt x="213565" y="186782"/>
                        <a:pt x="224793" y="178499"/>
                      </a:cubicBezTo>
                      <a:cubicBezTo>
                        <a:pt x="236021" y="170216"/>
                        <a:pt x="301594" y="196936"/>
                        <a:pt x="313339" y="176601"/>
                      </a:cubicBezTo>
                      <a:cubicBezTo>
                        <a:pt x="325084" y="156266"/>
                        <a:pt x="276704" y="106109"/>
                        <a:pt x="303697" y="88764"/>
                      </a:cubicBezTo>
                      <a:cubicBezTo>
                        <a:pt x="330690" y="71419"/>
                        <a:pt x="411371" y="79792"/>
                        <a:pt x="424101" y="56401"/>
                      </a:cubicBezTo>
                      <a:cubicBezTo>
                        <a:pt x="436831" y="33010"/>
                        <a:pt x="429021" y="16467"/>
                        <a:pt x="393704" y="7661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59" name="Freeform 206"/>
                <p:cNvSpPr/>
                <p:nvPr/>
              </p:nvSpPr>
              <p:spPr bwMode="auto">
                <a:xfrm rot="8302761">
                  <a:off x="7709229" y="2962836"/>
                  <a:ext cx="279059" cy="236127"/>
                </a:xfrm>
                <a:custGeom>
                  <a:avLst/>
                  <a:gdLst>
                    <a:gd name="connsiteX0" fmla="*/ 175260 w 541020"/>
                    <a:gd name="connsiteY0" fmla="*/ 45720 h 281940"/>
                    <a:gd name="connsiteX1" fmla="*/ 0 w 541020"/>
                    <a:gd name="connsiteY1" fmla="*/ 121920 h 281940"/>
                    <a:gd name="connsiteX2" fmla="*/ 7620 w 541020"/>
                    <a:gd name="connsiteY2" fmla="*/ 251460 h 281940"/>
                    <a:gd name="connsiteX3" fmla="*/ 160020 w 541020"/>
                    <a:gd name="connsiteY3" fmla="*/ 281940 h 281940"/>
                    <a:gd name="connsiteX4" fmla="*/ 327660 w 541020"/>
                    <a:gd name="connsiteY4" fmla="*/ 236220 h 281940"/>
                    <a:gd name="connsiteX5" fmla="*/ 495300 w 541020"/>
                    <a:gd name="connsiteY5" fmla="*/ 114300 h 281940"/>
                    <a:gd name="connsiteX6" fmla="*/ 541020 w 541020"/>
                    <a:gd name="connsiteY6" fmla="*/ 30480 h 281940"/>
                    <a:gd name="connsiteX7" fmla="*/ 518160 w 541020"/>
                    <a:gd name="connsiteY7" fmla="*/ 0 h 281940"/>
                    <a:gd name="connsiteX8" fmla="*/ 449580 w 541020"/>
                    <a:gd name="connsiteY8" fmla="*/ 0 h 281940"/>
                    <a:gd name="connsiteX9" fmla="*/ 175260 w 541020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1940"/>
                    <a:gd name="connsiteX1" fmla="*/ 17128 w 558148"/>
                    <a:gd name="connsiteY1" fmla="*/ 121920 h 281940"/>
                    <a:gd name="connsiteX2" fmla="*/ 24748 w 558148"/>
                    <a:gd name="connsiteY2" fmla="*/ 251460 h 281940"/>
                    <a:gd name="connsiteX3" fmla="*/ 177148 w 558148"/>
                    <a:gd name="connsiteY3" fmla="*/ 281940 h 281940"/>
                    <a:gd name="connsiteX4" fmla="*/ 344788 w 558148"/>
                    <a:gd name="connsiteY4" fmla="*/ 236220 h 281940"/>
                    <a:gd name="connsiteX5" fmla="*/ 512428 w 558148"/>
                    <a:gd name="connsiteY5" fmla="*/ 114300 h 281940"/>
                    <a:gd name="connsiteX6" fmla="*/ 558148 w 558148"/>
                    <a:gd name="connsiteY6" fmla="*/ 30480 h 281940"/>
                    <a:gd name="connsiteX7" fmla="*/ 535288 w 558148"/>
                    <a:gd name="connsiteY7" fmla="*/ 0 h 281940"/>
                    <a:gd name="connsiteX8" fmla="*/ 466708 w 558148"/>
                    <a:gd name="connsiteY8" fmla="*/ 0 h 281940"/>
                    <a:gd name="connsiteX9" fmla="*/ 192388 w 558148"/>
                    <a:gd name="connsiteY9" fmla="*/ 45720 h 281940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45720 h 282454"/>
                    <a:gd name="connsiteX1" fmla="*/ 17128 w 558148"/>
                    <a:gd name="connsiteY1" fmla="*/ 121920 h 282454"/>
                    <a:gd name="connsiteX2" fmla="*/ 24748 w 558148"/>
                    <a:gd name="connsiteY2" fmla="*/ 251460 h 282454"/>
                    <a:gd name="connsiteX3" fmla="*/ 177148 w 558148"/>
                    <a:gd name="connsiteY3" fmla="*/ 281940 h 282454"/>
                    <a:gd name="connsiteX4" fmla="*/ 344788 w 558148"/>
                    <a:gd name="connsiteY4" fmla="*/ 236220 h 282454"/>
                    <a:gd name="connsiteX5" fmla="*/ 512428 w 558148"/>
                    <a:gd name="connsiteY5" fmla="*/ 114300 h 282454"/>
                    <a:gd name="connsiteX6" fmla="*/ 558148 w 558148"/>
                    <a:gd name="connsiteY6" fmla="*/ 30480 h 282454"/>
                    <a:gd name="connsiteX7" fmla="*/ 535288 w 558148"/>
                    <a:gd name="connsiteY7" fmla="*/ 0 h 282454"/>
                    <a:gd name="connsiteX8" fmla="*/ 466708 w 558148"/>
                    <a:gd name="connsiteY8" fmla="*/ 0 h 282454"/>
                    <a:gd name="connsiteX9" fmla="*/ 192388 w 558148"/>
                    <a:gd name="connsiteY9" fmla="*/ 45720 h 282454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58148"/>
                    <a:gd name="connsiteY0" fmla="*/ 50529 h 287263"/>
                    <a:gd name="connsiteX1" fmla="*/ 17128 w 558148"/>
                    <a:gd name="connsiteY1" fmla="*/ 126729 h 287263"/>
                    <a:gd name="connsiteX2" fmla="*/ 24748 w 558148"/>
                    <a:gd name="connsiteY2" fmla="*/ 256269 h 287263"/>
                    <a:gd name="connsiteX3" fmla="*/ 177148 w 558148"/>
                    <a:gd name="connsiteY3" fmla="*/ 286749 h 287263"/>
                    <a:gd name="connsiteX4" fmla="*/ 344788 w 558148"/>
                    <a:gd name="connsiteY4" fmla="*/ 241029 h 287263"/>
                    <a:gd name="connsiteX5" fmla="*/ 512428 w 558148"/>
                    <a:gd name="connsiteY5" fmla="*/ 119109 h 287263"/>
                    <a:gd name="connsiteX6" fmla="*/ 558148 w 558148"/>
                    <a:gd name="connsiteY6" fmla="*/ 35289 h 287263"/>
                    <a:gd name="connsiteX7" fmla="*/ 535288 w 558148"/>
                    <a:gd name="connsiteY7" fmla="*/ 4809 h 287263"/>
                    <a:gd name="connsiteX8" fmla="*/ 466708 w 558148"/>
                    <a:gd name="connsiteY8" fmla="*/ 4809 h 287263"/>
                    <a:gd name="connsiteX9" fmla="*/ 192388 w 558148"/>
                    <a:gd name="connsiteY9" fmla="*/ 50529 h 287263"/>
                    <a:gd name="connsiteX0" fmla="*/ 192388 w 564165"/>
                    <a:gd name="connsiteY0" fmla="*/ 50529 h 287263"/>
                    <a:gd name="connsiteX1" fmla="*/ 17128 w 564165"/>
                    <a:gd name="connsiteY1" fmla="*/ 126729 h 287263"/>
                    <a:gd name="connsiteX2" fmla="*/ 24748 w 564165"/>
                    <a:gd name="connsiteY2" fmla="*/ 256269 h 287263"/>
                    <a:gd name="connsiteX3" fmla="*/ 177148 w 564165"/>
                    <a:gd name="connsiteY3" fmla="*/ 286749 h 287263"/>
                    <a:gd name="connsiteX4" fmla="*/ 344788 w 564165"/>
                    <a:gd name="connsiteY4" fmla="*/ 241029 h 287263"/>
                    <a:gd name="connsiteX5" fmla="*/ 545402 w 564165"/>
                    <a:gd name="connsiteY5" fmla="*/ 181894 h 287263"/>
                    <a:gd name="connsiteX6" fmla="*/ 558148 w 564165"/>
                    <a:gd name="connsiteY6" fmla="*/ 35289 h 287263"/>
                    <a:gd name="connsiteX7" fmla="*/ 535288 w 564165"/>
                    <a:gd name="connsiteY7" fmla="*/ 4809 h 287263"/>
                    <a:gd name="connsiteX8" fmla="*/ 466708 w 564165"/>
                    <a:gd name="connsiteY8" fmla="*/ 4809 h 287263"/>
                    <a:gd name="connsiteX9" fmla="*/ 192388 w 564165"/>
                    <a:gd name="connsiteY9" fmla="*/ 50529 h 287263"/>
                    <a:gd name="connsiteX0" fmla="*/ 192388 w 564165"/>
                    <a:gd name="connsiteY0" fmla="*/ 50529 h 310225"/>
                    <a:gd name="connsiteX1" fmla="*/ 17128 w 564165"/>
                    <a:gd name="connsiteY1" fmla="*/ 126729 h 310225"/>
                    <a:gd name="connsiteX2" fmla="*/ 24748 w 564165"/>
                    <a:gd name="connsiteY2" fmla="*/ 256269 h 310225"/>
                    <a:gd name="connsiteX3" fmla="*/ 177148 w 564165"/>
                    <a:gd name="connsiteY3" fmla="*/ 286749 h 310225"/>
                    <a:gd name="connsiteX4" fmla="*/ 338214 w 564165"/>
                    <a:gd name="connsiteY4" fmla="*/ 301010 h 310225"/>
                    <a:gd name="connsiteX5" fmla="*/ 545402 w 564165"/>
                    <a:gd name="connsiteY5" fmla="*/ 181894 h 310225"/>
                    <a:gd name="connsiteX6" fmla="*/ 558148 w 564165"/>
                    <a:gd name="connsiteY6" fmla="*/ 35289 h 310225"/>
                    <a:gd name="connsiteX7" fmla="*/ 535288 w 564165"/>
                    <a:gd name="connsiteY7" fmla="*/ 4809 h 310225"/>
                    <a:gd name="connsiteX8" fmla="*/ 466708 w 564165"/>
                    <a:gd name="connsiteY8" fmla="*/ 4809 h 310225"/>
                    <a:gd name="connsiteX9" fmla="*/ 192388 w 564165"/>
                    <a:gd name="connsiteY9" fmla="*/ 50529 h 310225"/>
                    <a:gd name="connsiteX0" fmla="*/ 192388 w 564165"/>
                    <a:gd name="connsiteY0" fmla="*/ 50529 h 353427"/>
                    <a:gd name="connsiteX1" fmla="*/ 17128 w 564165"/>
                    <a:gd name="connsiteY1" fmla="*/ 126729 h 353427"/>
                    <a:gd name="connsiteX2" fmla="*/ 24748 w 564165"/>
                    <a:gd name="connsiteY2" fmla="*/ 256269 h 353427"/>
                    <a:gd name="connsiteX3" fmla="*/ 193096 w 564165"/>
                    <a:gd name="connsiteY3" fmla="*/ 353363 h 353427"/>
                    <a:gd name="connsiteX4" fmla="*/ 338214 w 564165"/>
                    <a:gd name="connsiteY4" fmla="*/ 301010 h 353427"/>
                    <a:gd name="connsiteX5" fmla="*/ 545402 w 564165"/>
                    <a:gd name="connsiteY5" fmla="*/ 181894 h 353427"/>
                    <a:gd name="connsiteX6" fmla="*/ 558148 w 564165"/>
                    <a:gd name="connsiteY6" fmla="*/ 35289 h 353427"/>
                    <a:gd name="connsiteX7" fmla="*/ 535288 w 564165"/>
                    <a:gd name="connsiteY7" fmla="*/ 4809 h 353427"/>
                    <a:gd name="connsiteX8" fmla="*/ 466708 w 564165"/>
                    <a:gd name="connsiteY8" fmla="*/ 4809 h 353427"/>
                    <a:gd name="connsiteX9" fmla="*/ 192388 w 564165"/>
                    <a:gd name="connsiteY9" fmla="*/ 50529 h 353427"/>
                    <a:gd name="connsiteX0" fmla="*/ 183456 w 555233"/>
                    <a:gd name="connsiteY0" fmla="*/ 50529 h 359674"/>
                    <a:gd name="connsiteX1" fmla="*/ 8196 w 555233"/>
                    <a:gd name="connsiteY1" fmla="*/ 126729 h 359674"/>
                    <a:gd name="connsiteX2" fmla="*/ 57235 w 555233"/>
                    <a:gd name="connsiteY2" fmla="*/ 343912 h 359674"/>
                    <a:gd name="connsiteX3" fmla="*/ 184164 w 555233"/>
                    <a:gd name="connsiteY3" fmla="*/ 353363 h 359674"/>
                    <a:gd name="connsiteX4" fmla="*/ 329282 w 555233"/>
                    <a:gd name="connsiteY4" fmla="*/ 301010 h 359674"/>
                    <a:gd name="connsiteX5" fmla="*/ 536470 w 555233"/>
                    <a:gd name="connsiteY5" fmla="*/ 181894 h 359674"/>
                    <a:gd name="connsiteX6" fmla="*/ 549216 w 555233"/>
                    <a:gd name="connsiteY6" fmla="*/ 35289 h 359674"/>
                    <a:gd name="connsiteX7" fmla="*/ 526356 w 555233"/>
                    <a:gd name="connsiteY7" fmla="*/ 4809 h 359674"/>
                    <a:gd name="connsiteX8" fmla="*/ 457776 w 555233"/>
                    <a:gd name="connsiteY8" fmla="*/ 4809 h 359674"/>
                    <a:gd name="connsiteX9" fmla="*/ 183456 w 555233"/>
                    <a:gd name="connsiteY9" fmla="*/ 50529 h 359674"/>
                    <a:gd name="connsiteX0" fmla="*/ 141822 w 513599"/>
                    <a:gd name="connsiteY0" fmla="*/ 50529 h 359674"/>
                    <a:gd name="connsiteX1" fmla="*/ 26880 w 513599"/>
                    <a:gd name="connsiteY1" fmla="*/ 162601 h 359674"/>
                    <a:gd name="connsiteX2" fmla="*/ 15601 w 513599"/>
                    <a:gd name="connsiteY2" fmla="*/ 343912 h 359674"/>
                    <a:gd name="connsiteX3" fmla="*/ 142530 w 513599"/>
                    <a:gd name="connsiteY3" fmla="*/ 353363 h 359674"/>
                    <a:gd name="connsiteX4" fmla="*/ 287648 w 513599"/>
                    <a:gd name="connsiteY4" fmla="*/ 301010 h 359674"/>
                    <a:gd name="connsiteX5" fmla="*/ 494836 w 513599"/>
                    <a:gd name="connsiteY5" fmla="*/ 181894 h 359674"/>
                    <a:gd name="connsiteX6" fmla="*/ 507582 w 513599"/>
                    <a:gd name="connsiteY6" fmla="*/ 35289 h 359674"/>
                    <a:gd name="connsiteX7" fmla="*/ 484722 w 513599"/>
                    <a:gd name="connsiteY7" fmla="*/ 4809 h 359674"/>
                    <a:gd name="connsiteX8" fmla="*/ 416142 w 513599"/>
                    <a:gd name="connsiteY8" fmla="*/ 4809 h 359674"/>
                    <a:gd name="connsiteX9" fmla="*/ 141822 w 513599"/>
                    <a:gd name="connsiteY9" fmla="*/ 50529 h 359674"/>
                    <a:gd name="connsiteX0" fmla="*/ 141822 w 530249"/>
                    <a:gd name="connsiteY0" fmla="*/ 50529 h 359674"/>
                    <a:gd name="connsiteX1" fmla="*/ 26880 w 530249"/>
                    <a:gd name="connsiteY1" fmla="*/ 162601 h 359674"/>
                    <a:gd name="connsiteX2" fmla="*/ 15601 w 530249"/>
                    <a:gd name="connsiteY2" fmla="*/ 343912 h 359674"/>
                    <a:gd name="connsiteX3" fmla="*/ 142530 w 530249"/>
                    <a:gd name="connsiteY3" fmla="*/ 353363 h 359674"/>
                    <a:gd name="connsiteX4" fmla="*/ 287648 w 530249"/>
                    <a:gd name="connsiteY4" fmla="*/ 301010 h 359674"/>
                    <a:gd name="connsiteX5" fmla="*/ 517239 w 530249"/>
                    <a:gd name="connsiteY5" fmla="*/ 238247 h 359674"/>
                    <a:gd name="connsiteX6" fmla="*/ 507582 w 530249"/>
                    <a:gd name="connsiteY6" fmla="*/ 35289 h 359674"/>
                    <a:gd name="connsiteX7" fmla="*/ 484722 w 530249"/>
                    <a:gd name="connsiteY7" fmla="*/ 4809 h 359674"/>
                    <a:gd name="connsiteX8" fmla="*/ 416142 w 530249"/>
                    <a:gd name="connsiteY8" fmla="*/ 4809 h 359674"/>
                    <a:gd name="connsiteX9" fmla="*/ 141822 w 530249"/>
                    <a:gd name="connsiteY9" fmla="*/ 50529 h 35967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50529 h 372204"/>
                    <a:gd name="connsiteX1" fmla="*/ 26880 w 530248"/>
                    <a:gd name="connsiteY1" fmla="*/ 162601 h 372204"/>
                    <a:gd name="connsiteX2" fmla="*/ 15601 w 530248"/>
                    <a:gd name="connsiteY2" fmla="*/ 343912 h 372204"/>
                    <a:gd name="connsiteX3" fmla="*/ 142530 w 530248"/>
                    <a:gd name="connsiteY3" fmla="*/ 353363 h 372204"/>
                    <a:gd name="connsiteX4" fmla="*/ 292200 w 530248"/>
                    <a:gd name="connsiteY4" fmla="*/ 362116 h 372204"/>
                    <a:gd name="connsiteX5" fmla="*/ 517239 w 530248"/>
                    <a:gd name="connsiteY5" fmla="*/ 238247 h 372204"/>
                    <a:gd name="connsiteX6" fmla="*/ 507582 w 530248"/>
                    <a:gd name="connsiteY6" fmla="*/ 35289 h 372204"/>
                    <a:gd name="connsiteX7" fmla="*/ 484722 w 530248"/>
                    <a:gd name="connsiteY7" fmla="*/ 4809 h 372204"/>
                    <a:gd name="connsiteX8" fmla="*/ 416142 w 530248"/>
                    <a:gd name="connsiteY8" fmla="*/ 4809 h 372204"/>
                    <a:gd name="connsiteX9" fmla="*/ 141822 w 530248"/>
                    <a:gd name="connsiteY9" fmla="*/ 50529 h 372204"/>
                    <a:gd name="connsiteX0" fmla="*/ 141822 w 530248"/>
                    <a:gd name="connsiteY0" fmla="*/ 47613 h 369288"/>
                    <a:gd name="connsiteX1" fmla="*/ 26880 w 530248"/>
                    <a:gd name="connsiteY1" fmla="*/ 159685 h 369288"/>
                    <a:gd name="connsiteX2" fmla="*/ 15601 w 530248"/>
                    <a:gd name="connsiteY2" fmla="*/ 340996 h 369288"/>
                    <a:gd name="connsiteX3" fmla="*/ 142530 w 530248"/>
                    <a:gd name="connsiteY3" fmla="*/ 350447 h 369288"/>
                    <a:gd name="connsiteX4" fmla="*/ 292200 w 530248"/>
                    <a:gd name="connsiteY4" fmla="*/ 359200 h 369288"/>
                    <a:gd name="connsiteX5" fmla="*/ 517239 w 530248"/>
                    <a:gd name="connsiteY5" fmla="*/ 235331 h 369288"/>
                    <a:gd name="connsiteX6" fmla="*/ 507582 w 530248"/>
                    <a:gd name="connsiteY6" fmla="*/ 32373 h 369288"/>
                    <a:gd name="connsiteX7" fmla="*/ 416142 w 530248"/>
                    <a:gd name="connsiteY7" fmla="*/ 1893 h 369288"/>
                    <a:gd name="connsiteX8" fmla="*/ 141822 w 530248"/>
                    <a:gd name="connsiteY8" fmla="*/ 47613 h 369288"/>
                    <a:gd name="connsiteX0" fmla="*/ 138197 w 526623"/>
                    <a:gd name="connsiteY0" fmla="*/ 47613 h 376324"/>
                    <a:gd name="connsiteX1" fmla="*/ 23255 w 526623"/>
                    <a:gd name="connsiteY1" fmla="*/ 159685 h 376324"/>
                    <a:gd name="connsiteX2" fmla="*/ 11976 w 526623"/>
                    <a:gd name="connsiteY2" fmla="*/ 340996 h 376324"/>
                    <a:gd name="connsiteX3" fmla="*/ 132119 w 526623"/>
                    <a:gd name="connsiteY3" fmla="*/ 374396 h 376324"/>
                    <a:gd name="connsiteX4" fmla="*/ 288575 w 526623"/>
                    <a:gd name="connsiteY4" fmla="*/ 359200 h 376324"/>
                    <a:gd name="connsiteX5" fmla="*/ 513614 w 526623"/>
                    <a:gd name="connsiteY5" fmla="*/ 235331 h 376324"/>
                    <a:gd name="connsiteX6" fmla="*/ 503957 w 526623"/>
                    <a:gd name="connsiteY6" fmla="*/ 32373 h 376324"/>
                    <a:gd name="connsiteX7" fmla="*/ 412517 w 526623"/>
                    <a:gd name="connsiteY7" fmla="*/ 1893 h 376324"/>
                    <a:gd name="connsiteX8" fmla="*/ 138197 w 526623"/>
                    <a:gd name="connsiteY8" fmla="*/ 47613 h 376324"/>
                    <a:gd name="connsiteX0" fmla="*/ 427441 w 541547"/>
                    <a:gd name="connsiteY0" fmla="*/ 10181 h 384611"/>
                    <a:gd name="connsiteX1" fmla="*/ 38179 w 541547"/>
                    <a:gd name="connsiteY1" fmla="*/ 167973 h 384611"/>
                    <a:gd name="connsiteX2" fmla="*/ 26900 w 541547"/>
                    <a:gd name="connsiteY2" fmla="*/ 349284 h 384611"/>
                    <a:gd name="connsiteX3" fmla="*/ 147043 w 541547"/>
                    <a:gd name="connsiteY3" fmla="*/ 382684 h 384611"/>
                    <a:gd name="connsiteX4" fmla="*/ 303499 w 541547"/>
                    <a:gd name="connsiteY4" fmla="*/ 367488 h 384611"/>
                    <a:gd name="connsiteX5" fmla="*/ 528538 w 541547"/>
                    <a:gd name="connsiteY5" fmla="*/ 243619 h 384611"/>
                    <a:gd name="connsiteX6" fmla="*/ 518881 w 541547"/>
                    <a:gd name="connsiteY6" fmla="*/ 40661 h 384611"/>
                    <a:gd name="connsiteX7" fmla="*/ 427441 w 541547"/>
                    <a:gd name="connsiteY7" fmla="*/ 10181 h 384611"/>
                    <a:gd name="connsiteX0" fmla="*/ 400497 w 514603"/>
                    <a:gd name="connsiteY0" fmla="*/ 10183 h 384613"/>
                    <a:gd name="connsiteX1" fmla="*/ 11235 w 514603"/>
                    <a:gd name="connsiteY1" fmla="*/ 167975 h 384613"/>
                    <a:gd name="connsiteX2" fmla="*/ 120099 w 514603"/>
                    <a:gd name="connsiteY2" fmla="*/ 382686 h 384613"/>
                    <a:gd name="connsiteX3" fmla="*/ 276555 w 514603"/>
                    <a:gd name="connsiteY3" fmla="*/ 367490 h 384613"/>
                    <a:gd name="connsiteX4" fmla="*/ 501594 w 514603"/>
                    <a:gd name="connsiteY4" fmla="*/ 243621 h 384613"/>
                    <a:gd name="connsiteX5" fmla="*/ 491937 w 514603"/>
                    <a:gd name="connsiteY5" fmla="*/ 40663 h 384613"/>
                    <a:gd name="connsiteX6" fmla="*/ 400497 w 514603"/>
                    <a:gd name="connsiteY6" fmla="*/ 10183 h 384613"/>
                    <a:gd name="connsiteX0" fmla="*/ 400497 w 514603"/>
                    <a:gd name="connsiteY0" fmla="*/ 10183 h 383828"/>
                    <a:gd name="connsiteX1" fmla="*/ 11235 w 514603"/>
                    <a:gd name="connsiteY1" fmla="*/ 167975 h 383828"/>
                    <a:gd name="connsiteX2" fmla="*/ 120099 w 514603"/>
                    <a:gd name="connsiteY2" fmla="*/ 382686 h 383828"/>
                    <a:gd name="connsiteX3" fmla="*/ 501594 w 514603"/>
                    <a:gd name="connsiteY3" fmla="*/ 243621 h 383828"/>
                    <a:gd name="connsiteX4" fmla="*/ 491937 w 514603"/>
                    <a:gd name="connsiteY4" fmla="*/ 40663 h 383828"/>
                    <a:gd name="connsiteX5" fmla="*/ 400497 w 514603"/>
                    <a:gd name="connsiteY5" fmla="*/ 10183 h 383828"/>
                    <a:gd name="connsiteX0" fmla="*/ 400497 w 517116"/>
                    <a:gd name="connsiteY0" fmla="*/ 1010 h 374655"/>
                    <a:gd name="connsiteX1" fmla="*/ 11235 w 517116"/>
                    <a:gd name="connsiteY1" fmla="*/ 158802 h 374655"/>
                    <a:gd name="connsiteX2" fmla="*/ 120099 w 517116"/>
                    <a:gd name="connsiteY2" fmla="*/ 373513 h 374655"/>
                    <a:gd name="connsiteX3" fmla="*/ 501594 w 517116"/>
                    <a:gd name="connsiteY3" fmla="*/ 234448 h 374655"/>
                    <a:gd name="connsiteX4" fmla="*/ 400497 w 517116"/>
                    <a:gd name="connsiteY4" fmla="*/ 1010 h 374655"/>
                    <a:gd name="connsiteX0" fmla="*/ 508809 w 628017"/>
                    <a:gd name="connsiteY0" fmla="*/ 2356 h 376001"/>
                    <a:gd name="connsiteX1" fmla="*/ 6361 w 628017"/>
                    <a:gd name="connsiteY1" fmla="*/ 130721 h 376001"/>
                    <a:gd name="connsiteX2" fmla="*/ 228411 w 628017"/>
                    <a:gd name="connsiteY2" fmla="*/ 374859 h 376001"/>
                    <a:gd name="connsiteX3" fmla="*/ 609906 w 628017"/>
                    <a:gd name="connsiteY3" fmla="*/ 235794 h 376001"/>
                    <a:gd name="connsiteX4" fmla="*/ 508809 w 628017"/>
                    <a:gd name="connsiteY4" fmla="*/ 2356 h 376001"/>
                    <a:gd name="connsiteX0" fmla="*/ 504040 w 616834"/>
                    <a:gd name="connsiteY0" fmla="*/ 2903 h 376548"/>
                    <a:gd name="connsiteX1" fmla="*/ 351553 w 616834"/>
                    <a:gd name="connsiteY1" fmla="*/ 107249 h 376548"/>
                    <a:gd name="connsiteX2" fmla="*/ 1592 w 616834"/>
                    <a:gd name="connsiteY2" fmla="*/ 131268 h 376548"/>
                    <a:gd name="connsiteX3" fmla="*/ 223642 w 616834"/>
                    <a:gd name="connsiteY3" fmla="*/ 375406 h 376548"/>
                    <a:gd name="connsiteX4" fmla="*/ 605137 w 616834"/>
                    <a:gd name="connsiteY4" fmla="*/ 236341 h 376548"/>
                    <a:gd name="connsiteX5" fmla="*/ 504040 w 616834"/>
                    <a:gd name="connsiteY5" fmla="*/ 2903 h 376548"/>
                    <a:gd name="connsiteX0" fmla="*/ 495452 w 616175"/>
                    <a:gd name="connsiteY0" fmla="*/ 51280 h 274874"/>
                    <a:gd name="connsiteX1" fmla="*/ 351553 w 616175"/>
                    <a:gd name="connsiteY1" fmla="*/ 5575 h 274874"/>
                    <a:gd name="connsiteX2" fmla="*/ 1592 w 616175"/>
                    <a:gd name="connsiteY2" fmla="*/ 29594 h 274874"/>
                    <a:gd name="connsiteX3" fmla="*/ 223642 w 616175"/>
                    <a:gd name="connsiteY3" fmla="*/ 273732 h 274874"/>
                    <a:gd name="connsiteX4" fmla="*/ 605137 w 616175"/>
                    <a:gd name="connsiteY4" fmla="*/ 134667 h 274874"/>
                    <a:gd name="connsiteX5" fmla="*/ 495452 w 616175"/>
                    <a:gd name="connsiteY5" fmla="*/ 51280 h 274874"/>
                    <a:gd name="connsiteX0" fmla="*/ 495452 w 532377"/>
                    <a:gd name="connsiteY0" fmla="*/ 51265 h 274847"/>
                    <a:gd name="connsiteX1" fmla="*/ 351553 w 532377"/>
                    <a:gd name="connsiteY1" fmla="*/ 5560 h 274847"/>
                    <a:gd name="connsiteX2" fmla="*/ 1592 w 532377"/>
                    <a:gd name="connsiteY2" fmla="*/ 29579 h 274847"/>
                    <a:gd name="connsiteX3" fmla="*/ 223642 w 532377"/>
                    <a:gd name="connsiteY3" fmla="*/ 273717 h 274847"/>
                    <a:gd name="connsiteX4" fmla="*/ 509239 w 532377"/>
                    <a:gd name="connsiteY4" fmla="*/ 133533 h 274847"/>
                    <a:gd name="connsiteX5" fmla="*/ 495452 w 532377"/>
                    <a:gd name="connsiteY5" fmla="*/ 51265 h 274847"/>
                    <a:gd name="connsiteX0" fmla="*/ 497505 w 534430"/>
                    <a:gd name="connsiteY0" fmla="*/ 51265 h 274847"/>
                    <a:gd name="connsiteX1" fmla="*/ 353606 w 534430"/>
                    <a:gd name="connsiteY1" fmla="*/ 5560 h 274847"/>
                    <a:gd name="connsiteX2" fmla="*/ 3645 w 534430"/>
                    <a:gd name="connsiteY2" fmla="*/ 29579 h 274847"/>
                    <a:gd name="connsiteX3" fmla="*/ 173951 w 534430"/>
                    <a:gd name="connsiteY3" fmla="*/ 138081 h 274847"/>
                    <a:gd name="connsiteX4" fmla="*/ 225695 w 534430"/>
                    <a:gd name="connsiteY4" fmla="*/ 273717 h 274847"/>
                    <a:gd name="connsiteX5" fmla="*/ 511292 w 534430"/>
                    <a:gd name="connsiteY5" fmla="*/ 133533 h 274847"/>
                    <a:gd name="connsiteX6" fmla="*/ 497505 w 534430"/>
                    <a:gd name="connsiteY6" fmla="*/ 51265 h 274847"/>
                    <a:gd name="connsiteX0" fmla="*/ 493884 w 530809"/>
                    <a:gd name="connsiteY0" fmla="*/ 51265 h 274847"/>
                    <a:gd name="connsiteX1" fmla="*/ 349985 w 530809"/>
                    <a:gd name="connsiteY1" fmla="*/ 5560 h 274847"/>
                    <a:gd name="connsiteX2" fmla="*/ 24 w 530809"/>
                    <a:gd name="connsiteY2" fmla="*/ 29579 h 274847"/>
                    <a:gd name="connsiteX3" fmla="*/ 170330 w 530809"/>
                    <a:gd name="connsiteY3" fmla="*/ 138081 h 274847"/>
                    <a:gd name="connsiteX4" fmla="*/ 222074 w 530809"/>
                    <a:gd name="connsiteY4" fmla="*/ 273717 h 274847"/>
                    <a:gd name="connsiteX5" fmla="*/ 507671 w 530809"/>
                    <a:gd name="connsiteY5" fmla="*/ 133533 h 274847"/>
                    <a:gd name="connsiteX6" fmla="*/ 493884 w 530809"/>
                    <a:gd name="connsiteY6" fmla="*/ 51265 h 274847"/>
                    <a:gd name="connsiteX0" fmla="*/ 493884 w 530809"/>
                    <a:gd name="connsiteY0" fmla="*/ 51265 h 186504"/>
                    <a:gd name="connsiteX1" fmla="*/ 349985 w 530809"/>
                    <a:gd name="connsiteY1" fmla="*/ 5560 h 186504"/>
                    <a:gd name="connsiteX2" fmla="*/ 24 w 530809"/>
                    <a:gd name="connsiteY2" fmla="*/ 29579 h 186504"/>
                    <a:gd name="connsiteX3" fmla="*/ 170330 w 530809"/>
                    <a:gd name="connsiteY3" fmla="*/ 138081 h 186504"/>
                    <a:gd name="connsiteX4" fmla="*/ 390510 w 530809"/>
                    <a:gd name="connsiteY4" fmla="*/ 180265 h 186504"/>
                    <a:gd name="connsiteX5" fmla="*/ 507671 w 530809"/>
                    <a:gd name="connsiteY5" fmla="*/ 133533 h 186504"/>
                    <a:gd name="connsiteX6" fmla="*/ 493884 w 530809"/>
                    <a:gd name="connsiteY6" fmla="*/ 51265 h 186504"/>
                    <a:gd name="connsiteX0" fmla="*/ 495721 w 532646"/>
                    <a:gd name="connsiteY0" fmla="*/ 51265 h 186504"/>
                    <a:gd name="connsiteX1" fmla="*/ 351822 w 532646"/>
                    <a:gd name="connsiteY1" fmla="*/ 5560 h 186504"/>
                    <a:gd name="connsiteX2" fmla="*/ 1861 w 532646"/>
                    <a:gd name="connsiteY2" fmla="*/ 29579 h 186504"/>
                    <a:gd name="connsiteX3" fmla="*/ 213626 w 532646"/>
                    <a:gd name="connsiteY3" fmla="*/ 107499 h 186504"/>
                    <a:gd name="connsiteX4" fmla="*/ 392347 w 532646"/>
                    <a:gd name="connsiteY4" fmla="*/ 180265 h 186504"/>
                    <a:gd name="connsiteX5" fmla="*/ 509508 w 532646"/>
                    <a:gd name="connsiteY5" fmla="*/ 133533 h 186504"/>
                    <a:gd name="connsiteX6" fmla="*/ 495721 w 532646"/>
                    <a:gd name="connsiteY6" fmla="*/ 51265 h 186504"/>
                    <a:gd name="connsiteX0" fmla="*/ 496902 w 533827"/>
                    <a:gd name="connsiteY0" fmla="*/ 70457 h 205696"/>
                    <a:gd name="connsiteX1" fmla="*/ 353003 w 533827"/>
                    <a:gd name="connsiteY1" fmla="*/ 24752 h 205696"/>
                    <a:gd name="connsiteX2" fmla="*/ 107632 w 533827"/>
                    <a:gd name="connsiteY2" fmla="*/ 439 h 205696"/>
                    <a:gd name="connsiteX3" fmla="*/ 3042 w 533827"/>
                    <a:gd name="connsiteY3" fmla="*/ 48771 h 205696"/>
                    <a:gd name="connsiteX4" fmla="*/ 214807 w 533827"/>
                    <a:gd name="connsiteY4" fmla="*/ 126691 h 205696"/>
                    <a:gd name="connsiteX5" fmla="*/ 393528 w 533827"/>
                    <a:gd name="connsiteY5" fmla="*/ 199457 h 205696"/>
                    <a:gd name="connsiteX6" fmla="*/ 510689 w 533827"/>
                    <a:gd name="connsiteY6" fmla="*/ 152725 h 205696"/>
                    <a:gd name="connsiteX7" fmla="*/ 496902 w 533827"/>
                    <a:gd name="connsiteY7" fmla="*/ 70457 h 205696"/>
                    <a:gd name="connsiteX0" fmla="*/ 472353 w 509278"/>
                    <a:gd name="connsiteY0" fmla="*/ 70457 h 205696"/>
                    <a:gd name="connsiteX1" fmla="*/ 328454 w 509278"/>
                    <a:gd name="connsiteY1" fmla="*/ 24752 h 205696"/>
                    <a:gd name="connsiteX2" fmla="*/ 83083 w 509278"/>
                    <a:gd name="connsiteY2" fmla="*/ 439 h 205696"/>
                    <a:gd name="connsiteX3" fmla="*/ 4427 w 509278"/>
                    <a:gd name="connsiteY3" fmla="*/ 91234 h 205696"/>
                    <a:gd name="connsiteX4" fmla="*/ 190258 w 509278"/>
                    <a:gd name="connsiteY4" fmla="*/ 126691 h 205696"/>
                    <a:gd name="connsiteX5" fmla="*/ 368979 w 509278"/>
                    <a:gd name="connsiteY5" fmla="*/ 199457 h 205696"/>
                    <a:gd name="connsiteX6" fmla="*/ 486140 w 509278"/>
                    <a:gd name="connsiteY6" fmla="*/ 152725 h 205696"/>
                    <a:gd name="connsiteX7" fmla="*/ 472353 w 509278"/>
                    <a:gd name="connsiteY7" fmla="*/ 70457 h 205696"/>
                    <a:gd name="connsiteX0" fmla="*/ 471911 w 508836"/>
                    <a:gd name="connsiteY0" fmla="*/ 51265 h 186504"/>
                    <a:gd name="connsiteX1" fmla="*/ 328012 w 508836"/>
                    <a:gd name="connsiteY1" fmla="*/ 5560 h 186504"/>
                    <a:gd name="connsiteX2" fmla="*/ 86111 w 508836"/>
                    <a:gd name="connsiteY2" fmla="*/ 19749 h 186504"/>
                    <a:gd name="connsiteX3" fmla="*/ 3985 w 508836"/>
                    <a:gd name="connsiteY3" fmla="*/ 72042 h 186504"/>
                    <a:gd name="connsiteX4" fmla="*/ 189816 w 508836"/>
                    <a:gd name="connsiteY4" fmla="*/ 107499 h 186504"/>
                    <a:gd name="connsiteX5" fmla="*/ 368537 w 508836"/>
                    <a:gd name="connsiteY5" fmla="*/ 180265 h 186504"/>
                    <a:gd name="connsiteX6" fmla="*/ 485698 w 508836"/>
                    <a:gd name="connsiteY6" fmla="*/ 133533 h 186504"/>
                    <a:gd name="connsiteX7" fmla="*/ 471911 w 508836"/>
                    <a:gd name="connsiteY7" fmla="*/ 51265 h 186504"/>
                    <a:gd name="connsiteX0" fmla="*/ 437213 w 474138"/>
                    <a:gd name="connsiteY0" fmla="*/ 51265 h 186504"/>
                    <a:gd name="connsiteX1" fmla="*/ 293314 w 474138"/>
                    <a:gd name="connsiteY1" fmla="*/ 5560 h 186504"/>
                    <a:gd name="connsiteX2" fmla="*/ 51413 w 474138"/>
                    <a:gd name="connsiteY2" fmla="*/ 19749 h 186504"/>
                    <a:gd name="connsiteX3" fmla="*/ 9907 w 474138"/>
                    <a:gd name="connsiteY3" fmla="*/ 113936 h 186504"/>
                    <a:gd name="connsiteX4" fmla="*/ 155118 w 474138"/>
                    <a:gd name="connsiteY4" fmla="*/ 107499 h 186504"/>
                    <a:gd name="connsiteX5" fmla="*/ 333839 w 474138"/>
                    <a:gd name="connsiteY5" fmla="*/ 180265 h 186504"/>
                    <a:gd name="connsiteX6" fmla="*/ 451000 w 474138"/>
                    <a:gd name="connsiteY6" fmla="*/ 133533 h 186504"/>
                    <a:gd name="connsiteX7" fmla="*/ 437213 w 474138"/>
                    <a:gd name="connsiteY7" fmla="*/ 51265 h 186504"/>
                    <a:gd name="connsiteX0" fmla="*/ 437213 w 477998"/>
                    <a:gd name="connsiteY0" fmla="*/ 94179 h 229418"/>
                    <a:gd name="connsiteX1" fmla="*/ 208200 w 477998"/>
                    <a:gd name="connsiteY1" fmla="*/ 3473 h 229418"/>
                    <a:gd name="connsiteX2" fmla="*/ 51413 w 477998"/>
                    <a:gd name="connsiteY2" fmla="*/ 62663 h 229418"/>
                    <a:gd name="connsiteX3" fmla="*/ 9907 w 477998"/>
                    <a:gd name="connsiteY3" fmla="*/ 156850 h 229418"/>
                    <a:gd name="connsiteX4" fmla="*/ 155118 w 477998"/>
                    <a:gd name="connsiteY4" fmla="*/ 150413 h 229418"/>
                    <a:gd name="connsiteX5" fmla="*/ 333839 w 477998"/>
                    <a:gd name="connsiteY5" fmla="*/ 223179 h 229418"/>
                    <a:gd name="connsiteX6" fmla="*/ 451000 w 477998"/>
                    <a:gd name="connsiteY6" fmla="*/ 176447 h 229418"/>
                    <a:gd name="connsiteX7" fmla="*/ 437213 w 477998"/>
                    <a:gd name="connsiteY7" fmla="*/ 94179 h 229418"/>
                    <a:gd name="connsiteX0" fmla="*/ 437213 w 474159"/>
                    <a:gd name="connsiteY0" fmla="*/ 108861 h 244100"/>
                    <a:gd name="connsiteX1" fmla="*/ 292826 w 474159"/>
                    <a:gd name="connsiteY1" fmla="*/ 5528 h 244100"/>
                    <a:gd name="connsiteX2" fmla="*/ 208200 w 474159"/>
                    <a:gd name="connsiteY2" fmla="*/ 18155 h 244100"/>
                    <a:gd name="connsiteX3" fmla="*/ 51413 w 474159"/>
                    <a:gd name="connsiteY3" fmla="*/ 77345 h 244100"/>
                    <a:gd name="connsiteX4" fmla="*/ 9907 w 474159"/>
                    <a:gd name="connsiteY4" fmla="*/ 171532 h 244100"/>
                    <a:gd name="connsiteX5" fmla="*/ 155118 w 474159"/>
                    <a:gd name="connsiteY5" fmla="*/ 165095 h 244100"/>
                    <a:gd name="connsiteX6" fmla="*/ 333839 w 474159"/>
                    <a:gd name="connsiteY6" fmla="*/ 237861 h 244100"/>
                    <a:gd name="connsiteX7" fmla="*/ 451000 w 474159"/>
                    <a:gd name="connsiteY7" fmla="*/ 191129 h 244100"/>
                    <a:gd name="connsiteX8" fmla="*/ 437213 w 474159"/>
                    <a:gd name="connsiteY8" fmla="*/ 108861 h 244100"/>
                    <a:gd name="connsiteX0" fmla="*/ 437213 w 437377"/>
                    <a:gd name="connsiteY0" fmla="*/ 108861 h 239065"/>
                    <a:gd name="connsiteX1" fmla="*/ 292826 w 437377"/>
                    <a:gd name="connsiteY1" fmla="*/ 5528 h 239065"/>
                    <a:gd name="connsiteX2" fmla="*/ 208200 w 437377"/>
                    <a:gd name="connsiteY2" fmla="*/ 18155 h 239065"/>
                    <a:gd name="connsiteX3" fmla="*/ 51413 w 437377"/>
                    <a:gd name="connsiteY3" fmla="*/ 77345 h 239065"/>
                    <a:gd name="connsiteX4" fmla="*/ 9907 w 437377"/>
                    <a:gd name="connsiteY4" fmla="*/ 171532 h 239065"/>
                    <a:gd name="connsiteX5" fmla="*/ 155118 w 437377"/>
                    <a:gd name="connsiteY5" fmla="*/ 165095 h 239065"/>
                    <a:gd name="connsiteX6" fmla="*/ 333839 w 437377"/>
                    <a:gd name="connsiteY6" fmla="*/ 237861 h 239065"/>
                    <a:gd name="connsiteX7" fmla="*/ 262630 w 437377"/>
                    <a:gd name="connsiteY7" fmla="*/ 104242 h 239065"/>
                    <a:gd name="connsiteX8" fmla="*/ 437213 w 437377"/>
                    <a:gd name="connsiteY8" fmla="*/ 108861 h 239065"/>
                    <a:gd name="connsiteX0" fmla="*/ 371961 w 372339"/>
                    <a:gd name="connsiteY0" fmla="*/ 38942 h 239065"/>
                    <a:gd name="connsiteX1" fmla="*/ 292826 w 372339"/>
                    <a:gd name="connsiteY1" fmla="*/ 5528 h 239065"/>
                    <a:gd name="connsiteX2" fmla="*/ 208200 w 372339"/>
                    <a:gd name="connsiteY2" fmla="*/ 18155 h 239065"/>
                    <a:gd name="connsiteX3" fmla="*/ 51413 w 372339"/>
                    <a:gd name="connsiteY3" fmla="*/ 77345 h 239065"/>
                    <a:gd name="connsiteX4" fmla="*/ 9907 w 372339"/>
                    <a:gd name="connsiteY4" fmla="*/ 171532 h 239065"/>
                    <a:gd name="connsiteX5" fmla="*/ 155118 w 372339"/>
                    <a:gd name="connsiteY5" fmla="*/ 165095 h 239065"/>
                    <a:gd name="connsiteX6" fmla="*/ 333839 w 372339"/>
                    <a:gd name="connsiteY6" fmla="*/ 237861 h 239065"/>
                    <a:gd name="connsiteX7" fmla="*/ 262630 w 372339"/>
                    <a:gd name="connsiteY7" fmla="*/ 104242 h 239065"/>
                    <a:gd name="connsiteX8" fmla="*/ 371961 w 372339"/>
                    <a:gd name="connsiteY8" fmla="*/ 38942 h 239065"/>
                    <a:gd name="connsiteX0" fmla="*/ 371961 w 372341"/>
                    <a:gd name="connsiteY0" fmla="*/ 38942 h 178890"/>
                    <a:gd name="connsiteX1" fmla="*/ 292826 w 372341"/>
                    <a:gd name="connsiteY1" fmla="*/ 5528 h 178890"/>
                    <a:gd name="connsiteX2" fmla="*/ 208200 w 372341"/>
                    <a:gd name="connsiteY2" fmla="*/ 18155 h 178890"/>
                    <a:gd name="connsiteX3" fmla="*/ 51413 w 372341"/>
                    <a:gd name="connsiteY3" fmla="*/ 77345 h 178890"/>
                    <a:gd name="connsiteX4" fmla="*/ 9907 w 372341"/>
                    <a:gd name="connsiteY4" fmla="*/ 171532 h 178890"/>
                    <a:gd name="connsiteX5" fmla="*/ 155118 w 372341"/>
                    <a:gd name="connsiteY5" fmla="*/ 165095 h 178890"/>
                    <a:gd name="connsiteX6" fmla="*/ 262630 w 372341"/>
                    <a:gd name="connsiteY6" fmla="*/ 104242 h 178890"/>
                    <a:gd name="connsiteX7" fmla="*/ 371961 w 372341"/>
                    <a:gd name="connsiteY7" fmla="*/ 38942 h 178890"/>
                    <a:gd name="connsiteX0" fmla="*/ 335241 w 335620"/>
                    <a:gd name="connsiteY0" fmla="*/ 38942 h 166425"/>
                    <a:gd name="connsiteX1" fmla="*/ 256106 w 335620"/>
                    <a:gd name="connsiteY1" fmla="*/ 5528 h 166425"/>
                    <a:gd name="connsiteX2" fmla="*/ 171480 w 335620"/>
                    <a:gd name="connsiteY2" fmla="*/ 18155 h 166425"/>
                    <a:gd name="connsiteX3" fmla="*/ 14693 w 335620"/>
                    <a:gd name="connsiteY3" fmla="*/ 77345 h 166425"/>
                    <a:gd name="connsiteX4" fmla="*/ 106641 w 335620"/>
                    <a:gd name="connsiteY4" fmla="*/ 98752 h 166425"/>
                    <a:gd name="connsiteX5" fmla="*/ 118398 w 335620"/>
                    <a:gd name="connsiteY5" fmla="*/ 165095 h 166425"/>
                    <a:gd name="connsiteX6" fmla="*/ 225910 w 335620"/>
                    <a:gd name="connsiteY6" fmla="*/ 104242 h 166425"/>
                    <a:gd name="connsiteX7" fmla="*/ 335241 w 335620"/>
                    <a:gd name="connsiteY7" fmla="*/ 38942 h 166425"/>
                    <a:gd name="connsiteX0" fmla="*/ 244401 w 244780"/>
                    <a:gd name="connsiteY0" fmla="*/ 38942 h 166445"/>
                    <a:gd name="connsiteX1" fmla="*/ 165266 w 244780"/>
                    <a:gd name="connsiteY1" fmla="*/ 5528 h 166445"/>
                    <a:gd name="connsiteX2" fmla="*/ 80640 w 244780"/>
                    <a:gd name="connsiteY2" fmla="*/ 18155 h 166445"/>
                    <a:gd name="connsiteX3" fmla="*/ 30115 w 244780"/>
                    <a:gd name="connsiteY3" fmla="*/ 70817 h 166445"/>
                    <a:gd name="connsiteX4" fmla="*/ 15801 w 244780"/>
                    <a:gd name="connsiteY4" fmla="*/ 98752 h 166445"/>
                    <a:gd name="connsiteX5" fmla="*/ 27558 w 244780"/>
                    <a:gd name="connsiteY5" fmla="*/ 165095 h 166445"/>
                    <a:gd name="connsiteX6" fmla="*/ 135070 w 244780"/>
                    <a:gd name="connsiteY6" fmla="*/ 104242 h 166445"/>
                    <a:gd name="connsiteX7" fmla="*/ 244401 w 244780"/>
                    <a:gd name="connsiteY7" fmla="*/ 38942 h 166445"/>
                    <a:gd name="connsiteX0" fmla="*/ 242420 w 242799"/>
                    <a:gd name="connsiteY0" fmla="*/ 38942 h 166360"/>
                    <a:gd name="connsiteX1" fmla="*/ 163285 w 242799"/>
                    <a:gd name="connsiteY1" fmla="*/ 5528 h 166360"/>
                    <a:gd name="connsiteX2" fmla="*/ 78659 w 242799"/>
                    <a:gd name="connsiteY2" fmla="*/ 18155 h 166360"/>
                    <a:gd name="connsiteX3" fmla="*/ 86029 w 242799"/>
                    <a:gd name="connsiteY3" fmla="*/ 99969 h 166360"/>
                    <a:gd name="connsiteX4" fmla="*/ 13820 w 242799"/>
                    <a:gd name="connsiteY4" fmla="*/ 98752 h 166360"/>
                    <a:gd name="connsiteX5" fmla="*/ 25577 w 242799"/>
                    <a:gd name="connsiteY5" fmla="*/ 165095 h 166360"/>
                    <a:gd name="connsiteX6" fmla="*/ 133089 w 242799"/>
                    <a:gd name="connsiteY6" fmla="*/ 104242 h 166360"/>
                    <a:gd name="connsiteX7" fmla="*/ 242420 w 242799"/>
                    <a:gd name="connsiteY7" fmla="*/ 38942 h 166360"/>
                    <a:gd name="connsiteX0" fmla="*/ 243410 w 243789"/>
                    <a:gd name="connsiteY0" fmla="*/ 38942 h 166052"/>
                    <a:gd name="connsiteX1" fmla="*/ 164275 w 243789"/>
                    <a:gd name="connsiteY1" fmla="*/ 5528 h 166052"/>
                    <a:gd name="connsiteX2" fmla="*/ 79649 w 243789"/>
                    <a:gd name="connsiteY2" fmla="*/ 18155 h 166052"/>
                    <a:gd name="connsiteX3" fmla="*/ 87019 w 243789"/>
                    <a:gd name="connsiteY3" fmla="*/ 99969 h 166052"/>
                    <a:gd name="connsiteX4" fmla="*/ 12642 w 243789"/>
                    <a:gd name="connsiteY4" fmla="*/ 74688 h 166052"/>
                    <a:gd name="connsiteX5" fmla="*/ 26567 w 243789"/>
                    <a:gd name="connsiteY5" fmla="*/ 165095 h 166052"/>
                    <a:gd name="connsiteX6" fmla="*/ 134079 w 243789"/>
                    <a:gd name="connsiteY6" fmla="*/ 104242 h 166052"/>
                    <a:gd name="connsiteX7" fmla="*/ 243410 w 243789"/>
                    <a:gd name="connsiteY7" fmla="*/ 38942 h 166052"/>
                    <a:gd name="connsiteX0" fmla="*/ 232217 w 232596"/>
                    <a:gd name="connsiteY0" fmla="*/ 38942 h 104928"/>
                    <a:gd name="connsiteX1" fmla="*/ 153082 w 232596"/>
                    <a:gd name="connsiteY1" fmla="*/ 5528 h 104928"/>
                    <a:gd name="connsiteX2" fmla="*/ 68456 w 232596"/>
                    <a:gd name="connsiteY2" fmla="*/ 18155 h 104928"/>
                    <a:gd name="connsiteX3" fmla="*/ 75826 w 232596"/>
                    <a:gd name="connsiteY3" fmla="*/ 99969 h 104928"/>
                    <a:gd name="connsiteX4" fmla="*/ 1449 w 232596"/>
                    <a:gd name="connsiteY4" fmla="*/ 74688 h 104928"/>
                    <a:gd name="connsiteX5" fmla="*/ 122886 w 232596"/>
                    <a:gd name="connsiteY5" fmla="*/ 104242 h 104928"/>
                    <a:gd name="connsiteX6" fmla="*/ 232217 w 232596"/>
                    <a:gd name="connsiteY6" fmla="*/ 38942 h 104928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3292 w 233671"/>
                    <a:gd name="connsiteY0" fmla="*/ 38942 h 117495"/>
                    <a:gd name="connsiteX1" fmla="*/ 154157 w 233671"/>
                    <a:gd name="connsiteY1" fmla="*/ 5528 h 117495"/>
                    <a:gd name="connsiteX2" fmla="*/ 69531 w 233671"/>
                    <a:gd name="connsiteY2" fmla="*/ 18155 h 117495"/>
                    <a:gd name="connsiteX3" fmla="*/ 67403 w 233671"/>
                    <a:gd name="connsiteY3" fmla="*/ 117240 h 117495"/>
                    <a:gd name="connsiteX4" fmla="*/ 2524 w 233671"/>
                    <a:gd name="connsiteY4" fmla="*/ 74688 h 117495"/>
                    <a:gd name="connsiteX5" fmla="*/ 123961 w 233671"/>
                    <a:gd name="connsiteY5" fmla="*/ 104242 h 117495"/>
                    <a:gd name="connsiteX6" fmla="*/ 233292 w 233671"/>
                    <a:gd name="connsiteY6" fmla="*/ 38942 h 117495"/>
                    <a:gd name="connsiteX0" fmla="*/ 231478 w 231857"/>
                    <a:gd name="connsiteY0" fmla="*/ 38942 h 138375"/>
                    <a:gd name="connsiteX1" fmla="*/ 152343 w 231857"/>
                    <a:gd name="connsiteY1" fmla="*/ 5528 h 138375"/>
                    <a:gd name="connsiteX2" fmla="*/ 67717 w 231857"/>
                    <a:gd name="connsiteY2" fmla="*/ 18155 h 138375"/>
                    <a:gd name="connsiteX3" fmla="*/ 85899 w 231857"/>
                    <a:gd name="connsiteY3" fmla="*/ 138189 h 138375"/>
                    <a:gd name="connsiteX4" fmla="*/ 710 w 231857"/>
                    <a:gd name="connsiteY4" fmla="*/ 74688 h 138375"/>
                    <a:gd name="connsiteX5" fmla="*/ 122147 w 231857"/>
                    <a:gd name="connsiteY5" fmla="*/ 104242 h 138375"/>
                    <a:gd name="connsiteX6" fmla="*/ 231478 w 231857"/>
                    <a:gd name="connsiteY6" fmla="*/ 38942 h 138375"/>
                    <a:gd name="connsiteX0" fmla="*/ 282292 w 282671"/>
                    <a:gd name="connsiteY0" fmla="*/ 38942 h 105067"/>
                    <a:gd name="connsiteX1" fmla="*/ 203157 w 282671"/>
                    <a:gd name="connsiteY1" fmla="*/ 5528 h 105067"/>
                    <a:gd name="connsiteX2" fmla="*/ 118531 w 282671"/>
                    <a:gd name="connsiteY2" fmla="*/ 18155 h 105067"/>
                    <a:gd name="connsiteX3" fmla="*/ 24586 w 282671"/>
                    <a:gd name="connsiteY3" fmla="*/ 59217 h 105067"/>
                    <a:gd name="connsiteX4" fmla="*/ 51524 w 282671"/>
                    <a:gd name="connsiteY4" fmla="*/ 74688 h 105067"/>
                    <a:gd name="connsiteX5" fmla="*/ 172961 w 282671"/>
                    <a:gd name="connsiteY5" fmla="*/ 104242 h 105067"/>
                    <a:gd name="connsiteX6" fmla="*/ 282292 w 282671"/>
                    <a:gd name="connsiteY6" fmla="*/ 38942 h 105067"/>
                    <a:gd name="connsiteX0" fmla="*/ 276661 w 277040"/>
                    <a:gd name="connsiteY0" fmla="*/ 38942 h 106138"/>
                    <a:gd name="connsiteX1" fmla="*/ 197526 w 277040"/>
                    <a:gd name="connsiteY1" fmla="*/ 5528 h 106138"/>
                    <a:gd name="connsiteX2" fmla="*/ 112900 w 277040"/>
                    <a:gd name="connsiteY2" fmla="*/ 18155 h 106138"/>
                    <a:gd name="connsiteX3" fmla="*/ 18955 w 277040"/>
                    <a:gd name="connsiteY3" fmla="*/ 59217 h 106138"/>
                    <a:gd name="connsiteX4" fmla="*/ 77974 w 277040"/>
                    <a:gd name="connsiteY4" fmla="*/ 93368 h 106138"/>
                    <a:gd name="connsiteX5" fmla="*/ 167330 w 277040"/>
                    <a:gd name="connsiteY5" fmla="*/ 104242 h 106138"/>
                    <a:gd name="connsiteX6" fmla="*/ 276661 w 277040"/>
                    <a:gd name="connsiteY6" fmla="*/ 38942 h 106138"/>
                    <a:gd name="connsiteX0" fmla="*/ 200660 w 201039"/>
                    <a:gd name="connsiteY0" fmla="*/ 38942 h 107259"/>
                    <a:gd name="connsiteX1" fmla="*/ 121525 w 201039"/>
                    <a:gd name="connsiteY1" fmla="*/ 5528 h 107259"/>
                    <a:gd name="connsiteX2" fmla="*/ 36899 w 201039"/>
                    <a:gd name="connsiteY2" fmla="*/ 18155 h 107259"/>
                    <a:gd name="connsiteX3" fmla="*/ 1973 w 201039"/>
                    <a:gd name="connsiteY3" fmla="*/ 93368 h 107259"/>
                    <a:gd name="connsiteX4" fmla="*/ 91329 w 201039"/>
                    <a:gd name="connsiteY4" fmla="*/ 104242 h 107259"/>
                    <a:gd name="connsiteX5" fmla="*/ 200660 w 201039"/>
                    <a:gd name="connsiteY5" fmla="*/ 38942 h 107259"/>
                    <a:gd name="connsiteX0" fmla="*/ 223149 w 223528"/>
                    <a:gd name="connsiteY0" fmla="*/ 38942 h 116661"/>
                    <a:gd name="connsiteX1" fmla="*/ 144014 w 223528"/>
                    <a:gd name="connsiteY1" fmla="*/ 5528 h 116661"/>
                    <a:gd name="connsiteX2" fmla="*/ 59388 w 223528"/>
                    <a:gd name="connsiteY2" fmla="*/ 18155 h 116661"/>
                    <a:gd name="connsiteX3" fmla="*/ 1141 w 223528"/>
                    <a:gd name="connsiteY3" fmla="*/ 110571 h 116661"/>
                    <a:gd name="connsiteX4" fmla="*/ 113818 w 223528"/>
                    <a:gd name="connsiteY4" fmla="*/ 104242 h 116661"/>
                    <a:gd name="connsiteX5" fmla="*/ 223149 w 223528"/>
                    <a:gd name="connsiteY5" fmla="*/ 38942 h 116661"/>
                    <a:gd name="connsiteX0" fmla="*/ 222489 w 222868"/>
                    <a:gd name="connsiteY0" fmla="*/ 38942 h 130877"/>
                    <a:gd name="connsiteX1" fmla="*/ 143354 w 222868"/>
                    <a:gd name="connsiteY1" fmla="*/ 5528 h 130877"/>
                    <a:gd name="connsiteX2" fmla="*/ 58728 w 222868"/>
                    <a:gd name="connsiteY2" fmla="*/ 18155 h 130877"/>
                    <a:gd name="connsiteX3" fmla="*/ 481 w 222868"/>
                    <a:gd name="connsiteY3" fmla="*/ 110571 h 130877"/>
                    <a:gd name="connsiteX4" fmla="*/ 91990 w 222868"/>
                    <a:gd name="connsiteY4" fmla="*/ 130670 h 130877"/>
                    <a:gd name="connsiteX5" fmla="*/ 113158 w 222868"/>
                    <a:gd name="connsiteY5" fmla="*/ 104242 h 130877"/>
                    <a:gd name="connsiteX6" fmla="*/ 222489 w 222868"/>
                    <a:gd name="connsiteY6" fmla="*/ 38942 h 130877"/>
                    <a:gd name="connsiteX0" fmla="*/ 222256 w 222635"/>
                    <a:gd name="connsiteY0" fmla="*/ 39140 h 130934"/>
                    <a:gd name="connsiteX1" fmla="*/ 143121 w 222635"/>
                    <a:gd name="connsiteY1" fmla="*/ 5726 h 130934"/>
                    <a:gd name="connsiteX2" fmla="*/ 58495 w 222635"/>
                    <a:gd name="connsiteY2" fmla="*/ 18353 h 130934"/>
                    <a:gd name="connsiteX3" fmla="*/ 64522 w 222635"/>
                    <a:gd name="connsiteY3" fmla="*/ 73965 h 130934"/>
                    <a:gd name="connsiteX4" fmla="*/ 248 w 222635"/>
                    <a:gd name="connsiteY4" fmla="*/ 110769 h 130934"/>
                    <a:gd name="connsiteX5" fmla="*/ 91757 w 222635"/>
                    <a:gd name="connsiteY5" fmla="*/ 130868 h 130934"/>
                    <a:gd name="connsiteX6" fmla="*/ 112925 w 222635"/>
                    <a:gd name="connsiteY6" fmla="*/ 104440 h 130934"/>
                    <a:gd name="connsiteX7" fmla="*/ 222256 w 222635"/>
                    <a:gd name="connsiteY7" fmla="*/ 39140 h 130934"/>
                    <a:gd name="connsiteX0" fmla="*/ 222254 w 222633"/>
                    <a:gd name="connsiteY0" fmla="*/ 38748 h 130542"/>
                    <a:gd name="connsiteX1" fmla="*/ 143119 w 222633"/>
                    <a:gd name="connsiteY1" fmla="*/ 5334 h 130542"/>
                    <a:gd name="connsiteX2" fmla="*/ 58493 w 222633"/>
                    <a:gd name="connsiteY2" fmla="*/ 17961 h 130542"/>
                    <a:gd name="connsiteX3" fmla="*/ 98206 w 222633"/>
                    <a:gd name="connsiteY3" fmla="*/ 48725 h 130542"/>
                    <a:gd name="connsiteX4" fmla="*/ 64520 w 222633"/>
                    <a:gd name="connsiteY4" fmla="*/ 73573 h 130542"/>
                    <a:gd name="connsiteX5" fmla="*/ 246 w 222633"/>
                    <a:gd name="connsiteY5" fmla="*/ 110377 h 130542"/>
                    <a:gd name="connsiteX6" fmla="*/ 91755 w 222633"/>
                    <a:gd name="connsiteY6" fmla="*/ 130476 h 130542"/>
                    <a:gd name="connsiteX7" fmla="*/ 112923 w 222633"/>
                    <a:gd name="connsiteY7" fmla="*/ 104048 h 130542"/>
                    <a:gd name="connsiteX8" fmla="*/ 222254 w 222633"/>
                    <a:gd name="connsiteY8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12923 w 222376"/>
                    <a:gd name="connsiteY7" fmla="*/ 104048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54 w 222376"/>
                    <a:gd name="connsiteY0" fmla="*/ 38748 h 130542"/>
                    <a:gd name="connsiteX1" fmla="*/ 143119 w 222376"/>
                    <a:gd name="connsiteY1" fmla="*/ 5334 h 130542"/>
                    <a:gd name="connsiteX2" fmla="*/ 58493 w 222376"/>
                    <a:gd name="connsiteY2" fmla="*/ 17961 h 130542"/>
                    <a:gd name="connsiteX3" fmla="*/ 98206 w 222376"/>
                    <a:gd name="connsiteY3" fmla="*/ 48725 h 130542"/>
                    <a:gd name="connsiteX4" fmla="*/ 64520 w 222376"/>
                    <a:gd name="connsiteY4" fmla="*/ 73573 h 130542"/>
                    <a:gd name="connsiteX5" fmla="*/ 246 w 222376"/>
                    <a:gd name="connsiteY5" fmla="*/ 110377 h 130542"/>
                    <a:gd name="connsiteX6" fmla="*/ 91755 w 222376"/>
                    <a:gd name="connsiteY6" fmla="*/ 130476 h 130542"/>
                    <a:gd name="connsiteX7" fmla="*/ 159574 w 222376"/>
                    <a:gd name="connsiteY7" fmla="*/ 100432 h 130542"/>
                    <a:gd name="connsiteX8" fmla="*/ 160091 w 222376"/>
                    <a:gd name="connsiteY8" fmla="*/ 60819 h 130542"/>
                    <a:gd name="connsiteX9" fmla="*/ 222254 w 222376"/>
                    <a:gd name="connsiteY9" fmla="*/ 38748 h 130542"/>
                    <a:gd name="connsiteX0" fmla="*/ 222270 w 222392"/>
                    <a:gd name="connsiteY0" fmla="*/ 38748 h 113405"/>
                    <a:gd name="connsiteX1" fmla="*/ 143135 w 222392"/>
                    <a:gd name="connsiteY1" fmla="*/ 5334 h 113405"/>
                    <a:gd name="connsiteX2" fmla="*/ 58509 w 222392"/>
                    <a:gd name="connsiteY2" fmla="*/ 17961 h 113405"/>
                    <a:gd name="connsiteX3" fmla="*/ 98222 w 222392"/>
                    <a:gd name="connsiteY3" fmla="*/ 48725 h 113405"/>
                    <a:gd name="connsiteX4" fmla="*/ 64536 w 222392"/>
                    <a:gd name="connsiteY4" fmla="*/ 73573 h 113405"/>
                    <a:gd name="connsiteX5" fmla="*/ 262 w 222392"/>
                    <a:gd name="connsiteY5" fmla="*/ 110377 h 113405"/>
                    <a:gd name="connsiteX6" fmla="*/ 92736 w 222392"/>
                    <a:gd name="connsiteY6" fmla="*/ 110516 h 113405"/>
                    <a:gd name="connsiteX7" fmla="*/ 159590 w 222392"/>
                    <a:gd name="connsiteY7" fmla="*/ 100432 h 113405"/>
                    <a:gd name="connsiteX8" fmla="*/ 160107 w 222392"/>
                    <a:gd name="connsiteY8" fmla="*/ 60819 h 113405"/>
                    <a:gd name="connsiteX9" fmla="*/ 222270 w 222392"/>
                    <a:gd name="connsiteY9" fmla="*/ 38748 h 113405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59615 w 222417"/>
                    <a:gd name="connsiteY7" fmla="*/ 100432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295 w 222417"/>
                    <a:gd name="connsiteY0" fmla="*/ 38748 h 125058"/>
                    <a:gd name="connsiteX1" fmla="*/ 143160 w 222417"/>
                    <a:gd name="connsiteY1" fmla="*/ 5334 h 125058"/>
                    <a:gd name="connsiteX2" fmla="*/ 58534 w 222417"/>
                    <a:gd name="connsiteY2" fmla="*/ 17961 h 125058"/>
                    <a:gd name="connsiteX3" fmla="*/ 98247 w 222417"/>
                    <a:gd name="connsiteY3" fmla="*/ 48725 h 125058"/>
                    <a:gd name="connsiteX4" fmla="*/ 64561 w 222417"/>
                    <a:gd name="connsiteY4" fmla="*/ 73573 h 125058"/>
                    <a:gd name="connsiteX5" fmla="*/ 287 w 222417"/>
                    <a:gd name="connsiteY5" fmla="*/ 110377 h 125058"/>
                    <a:gd name="connsiteX6" fmla="*/ 94063 w 222417"/>
                    <a:gd name="connsiteY6" fmla="*/ 124954 h 125058"/>
                    <a:gd name="connsiteX7" fmla="*/ 141793 w 222417"/>
                    <a:gd name="connsiteY7" fmla="*/ 86633 h 125058"/>
                    <a:gd name="connsiteX8" fmla="*/ 160132 w 222417"/>
                    <a:gd name="connsiteY8" fmla="*/ 60819 h 125058"/>
                    <a:gd name="connsiteX9" fmla="*/ 222295 w 222417"/>
                    <a:gd name="connsiteY9" fmla="*/ 38748 h 125058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41519 w 222143"/>
                    <a:gd name="connsiteY7" fmla="*/ 86633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143"/>
                    <a:gd name="connsiteY0" fmla="*/ 38748 h 125046"/>
                    <a:gd name="connsiteX1" fmla="*/ 142886 w 222143"/>
                    <a:gd name="connsiteY1" fmla="*/ 5334 h 125046"/>
                    <a:gd name="connsiteX2" fmla="*/ 58260 w 222143"/>
                    <a:gd name="connsiteY2" fmla="*/ 17961 h 125046"/>
                    <a:gd name="connsiteX3" fmla="*/ 97973 w 222143"/>
                    <a:gd name="connsiteY3" fmla="*/ 48725 h 125046"/>
                    <a:gd name="connsiteX4" fmla="*/ 86967 w 222143"/>
                    <a:gd name="connsiteY4" fmla="*/ 79940 h 125046"/>
                    <a:gd name="connsiteX5" fmla="*/ 13 w 222143"/>
                    <a:gd name="connsiteY5" fmla="*/ 110377 h 125046"/>
                    <a:gd name="connsiteX6" fmla="*/ 93789 w 222143"/>
                    <a:gd name="connsiteY6" fmla="*/ 124954 h 125046"/>
                    <a:gd name="connsiteX7" fmla="*/ 169705 w 222143"/>
                    <a:gd name="connsiteY7" fmla="*/ 92786 h 125046"/>
                    <a:gd name="connsiteX8" fmla="*/ 159858 w 222143"/>
                    <a:gd name="connsiteY8" fmla="*/ 60819 h 125046"/>
                    <a:gd name="connsiteX9" fmla="*/ 222021 w 222143"/>
                    <a:gd name="connsiteY9" fmla="*/ 38748 h 125046"/>
                    <a:gd name="connsiteX0" fmla="*/ 222021 w 222844"/>
                    <a:gd name="connsiteY0" fmla="*/ 38748 h 125046"/>
                    <a:gd name="connsiteX1" fmla="*/ 142886 w 222844"/>
                    <a:gd name="connsiteY1" fmla="*/ 5334 h 125046"/>
                    <a:gd name="connsiteX2" fmla="*/ 58260 w 222844"/>
                    <a:gd name="connsiteY2" fmla="*/ 17961 h 125046"/>
                    <a:gd name="connsiteX3" fmla="*/ 97973 w 222844"/>
                    <a:gd name="connsiteY3" fmla="*/ 48725 h 125046"/>
                    <a:gd name="connsiteX4" fmla="*/ 86967 w 222844"/>
                    <a:gd name="connsiteY4" fmla="*/ 79940 h 125046"/>
                    <a:gd name="connsiteX5" fmla="*/ 13 w 222844"/>
                    <a:gd name="connsiteY5" fmla="*/ 110377 h 125046"/>
                    <a:gd name="connsiteX6" fmla="*/ 93789 w 222844"/>
                    <a:gd name="connsiteY6" fmla="*/ 124954 h 125046"/>
                    <a:gd name="connsiteX7" fmla="*/ 169705 w 222844"/>
                    <a:gd name="connsiteY7" fmla="*/ 92786 h 125046"/>
                    <a:gd name="connsiteX8" fmla="*/ 179946 w 222844"/>
                    <a:gd name="connsiteY8" fmla="*/ 69097 h 125046"/>
                    <a:gd name="connsiteX9" fmla="*/ 222021 w 222844"/>
                    <a:gd name="connsiteY9" fmla="*/ 38748 h 125046"/>
                    <a:gd name="connsiteX0" fmla="*/ 279570 w 280393"/>
                    <a:gd name="connsiteY0" fmla="*/ 38748 h 125046"/>
                    <a:gd name="connsiteX1" fmla="*/ 200435 w 280393"/>
                    <a:gd name="connsiteY1" fmla="*/ 5334 h 125046"/>
                    <a:gd name="connsiteX2" fmla="*/ 115809 w 280393"/>
                    <a:gd name="connsiteY2" fmla="*/ 17961 h 125046"/>
                    <a:gd name="connsiteX3" fmla="*/ 8 w 280393"/>
                    <a:gd name="connsiteY3" fmla="*/ 40255 h 125046"/>
                    <a:gd name="connsiteX4" fmla="*/ 144516 w 280393"/>
                    <a:gd name="connsiteY4" fmla="*/ 79940 h 125046"/>
                    <a:gd name="connsiteX5" fmla="*/ 57562 w 280393"/>
                    <a:gd name="connsiteY5" fmla="*/ 110377 h 125046"/>
                    <a:gd name="connsiteX6" fmla="*/ 151338 w 280393"/>
                    <a:gd name="connsiteY6" fmla="*/ 124954 h 125046"/>
                    <a:gd name="connsiteX7" fmla="*/ 227254 w 280393"/>
                    <a:gd name="connsiteY7" fmla="*/ 92786 h 125046"/>
                    <a:gd name="connsiteX8" fmla="*/ 237495 w 280393"/>
                    <a:gd name="connsiteY8" fmla="*/ 69097 h 125046"/>
                    <a:gd name="connsiteX9" fmla="*/ 279570 w 280393"/>
                    <a:gd name="connsiteY9" fmla="*/ 38748 h 125046"/>
                    <a:gd name="connsiteX0" fmla="*/ 334029 w 334852"/>
                    <a:gd name="connsiteY0" fmla="*/ 38748 h 125035"/>
                    <a:gd name="connsiteX1" fmla="*/ 254894 w 334852"/>
                    <a:gd name="connsiteY1" fmla="*/ 5334 h 125035"/>
                    <a:gd name="connsiteX2" fmla="*/ 170268 w 334852"/>
                    <a:gd name="connsiteY2" fmla="*/ 17961 h 125035"/>
                    <a:gd name="connsiteX3" fmla="*/ 54467 w 334852"/>
                    <a:gd name="connsiteY3" fmla="*/ 40255 h 125035"/>
                    <a:gd name="connsiteX4" fmla="*/ 703 w 334852"/>
                    <a:gd name="connsiteY4" fmla="*/ 87614 h 125035"/>
                    <a:gd name="connsiteX5" fmla="*/ 112021 w 334852"/>
                    <a:gd name="connsiteY5" fmla="*/ 110377 h 125035"/>
                    <a:gd name="connsiteX6" fmla="*/ 205797 w 334852"/>
                    <a:gd name="connsiteY6" fmla="*/ 124954 h 125035"/>
                    <a:gd name="connsiteX7" fmla="*/ 281713 w 334852"/>
                    <a:gd name="connsiteY7" fmla="*/ 92786 h 125035"/>
                    <a:gd name="connsiteX8" fmla="*/ 291954 w 334852"/>
                    <a:gd name="connsiteY8" fmla="*/ 69097 h 125035"/>
                    <a:gd name="connsiteX9" fmla="*/ 334029 w 334852"/>
                    <a:gd name="connsiteY9" fmla="*/ 38748 h 125035"/>
                    <a:gd name="connsiteX0" fmla="*/ 333998 w 334821"/>
                    <a:gd name="connsiteY0" fmla="*/ 38748 h 161553"/>
                    <a:gd name="connsiteX1" fmla="*/ 254863 w 334821"/>
                    <a:gd name="connsiteY1" fmla="*/ 5334 h 161553"/>
                    <a:gd name="connsiteX2" fmla="*/ 170237 w 334821"/>
                    <a:gd name="connsiteY2" fmla="*/ 17961 h 161553"/>
                    <a:gd name="connsiteX3" fmla="*/ 54436 w 334821"/>
                    <a:gd name="connsiteY3" fmla="*/ 40255 h 161553"/>
                    <a:gd name="connsiteX4" fmla="*/ 672 w 334821"/>
                    <a:gd name="connsiteY4" fmla="*/ 87614 h 161553"/>
                    <a:gd name="connsiteX5" fmla="*/ 116543 w 334821"/>
                    <a:gd name="connsiteY5" fmla="*/ 160913 h 161553"/>
                    <a:gd name="connsiteX6" fmla="*/ 205766 w 334821"/>
                    <a:gd name="connsiteY6" fmla="*/ 124954 h 161553"/>
                    <a:gd name="connsiteX7" fmla="*/ 281682 w 334821"/>
                    <a:gd name="connsiteY7" fmla="*/ 92786 h 161553"/>
                    <a:gd name="connsiteX8" fmla="*/ 291923 w 334821"/>
                    <a:gd name="connsiteY8" fmla="*/ 69097 h 161553"/>
                    <a:gd name="connsiteX9" fmla="*/ 333998 w 334821"/>
                    <a:gd name="connsiteY9" fmla="*/ 38748 h 161553"/>
                    <a:gd name="connsiteX0" fmla="*/ 333998 w 348414"/>
                    <a:gd name="connsiteY0" fmla="*/ 38748 h 161553"/>
                    <a:gd name="connsiteX1" fmla="*/ 254863 w 348414"/>
                    <a:gd name="connsiteY1" fmla="*/ 5334 h 161553"/>
                    <a:gd name="connsiteX2" fmla="*/ 170237 w 348414"/>
                    <a:gd name="connsiteY2" fmla="*/ 17961 h 161553"/>
                    <a:gd name="connsiteX3" fmla="*/ 54436 w 348414"/>
                    <a:gd name="connsiteY3" fmla="*/ 40255 h 161553"/>
                    <a:gd name="connsiteX4" fmla="*/ 672 w 348414"/>
                    <a:gd name="connsiteY4" fmla="*/ 87614 h 161553"/>
                    <a:gd name="connsiteX5" fmla="*/ 116543 w 348414"/>
                    <a:gd name="connsiteY5" fmla="*/ 160913 h 161553"/>
                    <a:gd name="connsiteX6" fmla="*/ 205766 w 348414"/>
                    <a:gd name="connsiteY6" fmla="*/ 124954 h 161553"/>
                    <a:gd name="connsiteX7" fmla="*/ 281682 w 348414"/>
                    <a:gd name="connsiteY7" fmla="*/ 92786 h 161553"/>
                    <a:gd name="connsiteX8" fmla="*/ 337936 w 348414"/>
                    <a:gd name="connsiteY8" fmla="*/ 89051 h 161553"/>
                    <a:gd name="connsiteX9" fmla="*/ 333998 w 348414"/>
                    <a:gd name="connsiteY9" fmla="*/ 38748 h 161553"/>
                    <a:gd name="connsiteX0" fmla="*/ 414315 w 416071"/>
                    <a:gd name="connsiteY0" fmla="*/ 1542 h 214388"/>
                    <a:gd name="connsiteX1" fmla="*/ 254863 w 416071"/>
                    <a:gd name="connsiteY1" fmla="*/ 58169 h 214388"/>
                    <a:gd name="connsiteX2" fmla="*/ 170237 w 416071"/>
                    <a:gd name="connsiteY2" fmla="*/ 70796 h 214388"/>
                    <a:gd name="connsiteX3" fmla="*/ 54436 w 416071"/>
                    <a:gd name="connsiteY3" fmla="*/ 93090 h 214388"/>
                    <a:gd name="connsiteX4" fmla="*/ 672 w 416071"/>
                    <a:gd name="connsiteY4" fmla="*/ 140449 h 214388"/>
                    <a:gd name="connsiteX5" fmla="*/ 116543 w 416071"/>
                    <a:gd name="connsiteY5" fmla="*/ 213748 h 214388"/>
                    <a:gd name="connsiteX6" fmla="*/ 205766 w 416071"/>
                    <a:gd name="connsiteY6" fmla="*/ 177789 h 214388"/>
                    <a:gd name="connsiteX7" fmla="*/ 281682 w 416071"/>
                    <a:gd name="connsiteY7" fmla="*/ 145621 h 214388"/>
                    <a:gd name="connsiteX8" fmla="*/ 337936 w 416071"/>
                    <a:gd name="connsiteY8" fmla="*/ 141886 h 214388"/>
                    <a:gd name="connsiteX9" fmla="*/ 414315 w 416071"/>
                    <a:gd name="connsiteY9" fmla="*/ 1542 h 214388"/>
                    <a:gd name="connsiteX0" fmla="*/ 414315 w 471279"/>
                    <a:gd name="connsiteY0" fmla="*/ 406 h 213252"/>
                    <a:gd name="connsiteX1" fmla="*/ 254863 w 471279"/>
                    <a:gd name="connsiteY1" fmla="*/ 57033 h 213252"/>
                    <a:gd name="connsiteX2" fmla="*/ 170237 w 471279"/>
                    <a:gd name="connsiteY2" fmla="*/ 69660 h 213252"/>
                    <a:gd name="connsiteX3" fmla="*/ 54436 w 471279"/>
                    <a:gd name="connsiteY3" fmla="*/ 91954 h 213252"/>
                    <a:gd name="connsiteX4" fmla="*/ 672 w 471279"/>
                    <a:gd name="connsiteY4" fmla="*/ 139313 h 213252"/>
                    <a:gd name="connsiteX5" fmla="*/ 116543 w 471279"/>
                    <a:gd name="connsiteY5" fmla="*/ 212612 h 213252"/>
                    <a:gd name="connsiteX6" fmla="*/ 205766 w 471279"/>
                    <a:gd name="connsiteY6" fmla="*/ 176653 h 213252"/>
                    <a:gd name="connsiteX7" fmla="*/ 281682 w 471279"/>
                    <a:gd name="connsiteY7" fmla="*/ 144485 h 213252"/>
                    <a:gd name="connsiteX8" fmla="*/ 337936 w 471279"/>
                    <a:gd name="connsiteY8" fmla="*/ 140750 h 213252"/>
                    <a:gd name="connsiteX9" fmla="*/ 468379 w 471279"/>
                    <a:gd name="connsiteY9" fmla="*/ 97130 h 213252"/>
                    <a:gd name="connsiteX10" fmla="*/ 414315 w 471279"/>
                    <a:gd name="connsiteY10" fmla="*/ 406 h 213252"/>
                    <a:gd name="connsiteX0" fmla="*/ 414315 w 483666"/>
                    <a:gd name="connsiteY0" fmla="*/ 885 h 213731"/>
                    <a:gd name="connsiteX1" fmla="*/ 254863 w 483666"/>
                    <a:gd name="connsiteY1" fmla="*/ 57512 h 213731"/>
                    <a:gd name="connsiteX2" fmla="*/ 170237 w 483666"/>
                    <a:gd name="connsiteY2" fmla="*/ 70139 h 213731"/>
                    <a:gd name="connsiteX3" fmla="*/ 54436 w 483666"/>
                    <a:gd name="connsiteY3" fmla="*/ 92433 h 213731"/>
                    <a:gd name="connsiteX4" fmla="*/ 672 w 483666"/>
                    <a:gd name="connsiteY4" fmla="*/ 139792 h 213731"/>
                    <a:gd name="connsiteX5" fmla="*/ 116543 w 483666"/>
                    <a:gd name="connsiteY5" fmla="*/ 213091 h 213731"/>
                    <a:gd name="connsiteX6" fmla="*/ 205766 w 483666"/>
                    <a:gd name="connsiteY6" fmla="*/ 177132 h 213731"/>
                    <a:gd name="connsiteX7" fmla="*/ 281682 w 483666"/>
                    <a:gd name="connsiteY7" fmla="*/ 144964 h 213731"/>
                    <a:gd name="connsiteX8" fmla="*/ 337936 w 483666"/>
                    <a:gd name="connsiteY8" fmla="*/ 141229 h 213731"/>
                    <a:gd name="connsiteX9" fmla="*/ 481345 w 483666"/>
                    <a:gd name="connsiteY9" fmla="*/ 118840 h 213731"/>
                    <a:gd name="connsiteX10" fmla="*/ 414315 w 483666"/>
                    <a:gd name="connsiteY10" fmla="*/ 885 h 213731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70237 w 483827"/>
                    <a:gd name="connsiteY2" fmla="*/ 76360 h 219952"/>
                    <a:gd name="connsiteX3" fmla="*/ 54436 w 483827"/>
                    <a:gd name="connsiteY3" fmla="*/ 98654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39771 w 483827"/>
                    <a:gd name="connsiteY2" fmla="*/ 44939 h 219952"/>
                    <a:gd name="connsiteX3" fmla="*/ 54436 w 483827"/>
                    <a:gd name="connsiteY3" fmla="*/ 98654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14315 w 483827"/>
                    <a:gd name="connsiteY0" fmla="*/ 7106 h 219952"/>
                    <a:gd name="connsiteX1" fmla="*/ 232813 w 483827"/>
                    <a:gd name="connsiteY1" fmla="*/ 3009 h 219952"/>
                    <a:gd name="connsiteX2" fmla="*/ 139771 w 483827"/>
                    <a:gd name="connsiteY2" fmla="*/ 44939 h 219952"/>
                    <a:gd name="connsiteX3" fmla="*/ 79069 w 483827"/>
                    <a:gd name="connsiteY3" fmla="*/ 126679 h 219952"/>
                    <a:gd name="connsiteX4" fmla="*/ 672 w 483827"/>
                    <a:gd name="connsiteY4" fmla="*/ 146013 h 219952"/>
                    <a:gd name="connsiteX5" fmla="*/ 116543 w 483827"/>
                    <a:gd name="connsiteY5" fmla="*/ 219312 h 219952"/>
                    <a:gd name="connsiteX6" fmla="*/ 205766 w 483827"/>
                    <a:gd name="connsiteY6" fmla="*/ 183353 h 219952"/>
                    <a:gd name="connsiteX7" fmla="*/ 281682 w 483827"/>
                    <a:gd name="connsiteY7" fmla="*/ 151185 h 219952"/>
                    <a:gd name="connsiteX8" fmla="*/ 337936 w 483827"/>
                    <a:gd name="connsiteY8" fmla="*/ 147450 h 219952"/>
                    <a:gd name="connsiteX9" fmla="*/ 481345 w 483827"/>
                    <a:gd name="connsiteY9" fmla="*/ 125061 h 219952"/>
                    <a:gd name="connsiteX10" fmla="*/ 414315 w 483827"/>
                    <a:gd name="connsiteY10" fmla="*/ 7106 h 219952"/>
                    <a:gd name="connsiteX0" fmla="*/ 447193 w 516705"/>
                    <a:gd name="connsiteY0" fmla="*/ 7106 h 221017"/>
                    <a:gd name="connsiteX1" fmla="*/ 265691 w 516705"/>
                    <a:gd name="connsiteY1" fmla="*/ 3009 h 221017"/>
                    <a:gd name="connsiteX2" fmla="*/ 172649 w 516705"/>
                    <a:gd name="connsiteY2" fmla="*/ 44939 h 221017"/>
                    <a:gd name="connsiteX3" fmla="*/ 111947 w 516705"/>
                    <a:gd name="connsiteY3" fmla="*/ 126679 h 221017"/>
                    <a:gd name="connsiteX4" fmla="*/ 525 w 516705"/>
                    <a:gd name="connsiteY4" fmla="*/ 208869 h 221017"/>
                    <a:gd name="connsiteX5" fmla="*/ 149421 w 516705"/>
                    <a:gd name="connsiteY5" fmla="*/ 219312 h 221017"/>
                    <a:gd name="connsiteX6" fmla="*/ 238644 w 516705"/>
                    <a:gd name="connsiteY6" fmla="*/ 183353 h 221017"/>
                    <a:gd name="connsiteX7" fmla="*/ 314560 w 516705"/>
                    <a:gd name="connsiteY7" fmla="*/ 151185 h 221017"/>
                    <a:gd name="connsiteX8" fmla="*/ 370814 w 516705"/>
                    <a:gd name="connsiteY8" fmla="*/ 147450 h 221017"/>
                    <a:gd name="connsiteX9" fmla="*/ 514223 w 516705"/>
                    <a:gd name="connsiteY9" fmla="*/ 125061 h 221017"/>
                    <a:gd name="connsiteX10" fmla="*/ 447193 w 516705"/>
                    <a:gd name="connsiteY10" fmla="*/ 7106 h 221017"/>
                    <a:gd name="connsiteX0" fmla="*/ 447383 w 516895"/>
                    <a:gd name="connsiteY0" fmla="*/ 7106 h 275165"/>
                    <a:gd name="connsiteX1" fmla="*/ 265881 w 516895"/>
                    <a:gd name="connsiteY1" fmla="*/ 3009 h 275165"/>
                    <a:gd name="connsiteX2" fmla="*/ 172839 w 516895"/>
                    <a:gd name="connsiteY2" fmla="*/ 44939 h 275165"/>
                    <a:gd name="connsiteX3" fmla="*/ 112137 w 516895"/>
                    <a:gd name="connsiteY3" fmla="*/ 126679 h 275165"/>
                    <a:gd name="connsiteX4" fmla="*/ 715 w 516895"/>
                    <a:gd name="connsiteY4" fmla="*/ 208869 h 275165"/>
                    <a:gd name="connsiteX5" fmla="*/ 115937 w 516895"/>
                    <a:gd name="connsiteY5" fmla="*/ 274948 h 275165"/>
                    <a:gd name="connsiteX6" fmla="*/ 238834 w 516895"/>
                    <a:gd name="connsiteY6" fmla="*/ 183353 h 275165"/>
                    <a:gd name="connsiteX7" fmla="*/ 314750 w 516895"/>
                    <a:gd name="connsiteY7" fmla="*/ 151185 h 275165"/>
                    <a:gd name="connsiteX8" fmla="*/ 371004 w 516895"/>
                    <a:gd name="connsiteY8" fmla="*/ 147450 h 275165"/>
                    <a:gd name="connsiteX9" fmla="*/ 514413 w 516895"/>
                    <a:gd name="connsiteY9" fmla="*/ 125061 h 275165"/>
                    <a:gd name="connsiteX10" fmla="*/ 447383 w 516895"/>
                    <a:gd name="connsiteY10" fmla="*/ 7106 h 275165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71309 w 517200"/>
                    <a:gd name="connsiteY8" fmla="*/ 14745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71309 w 517200"/>
                    <a:gd name="connsiteY8" fmla="*/ 14745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15055 w 517200"/>
                    <a:gd name="connsiteY7" fmla="*/ 151185 h 275176"/>
                    <a:gd name="connsiteX8" fmla="*/ 338892 w 517200"/>
                    <a:gd name="connsiteY8" fmla="*/ 9437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688 w 517200"/>
                    <a:gd name="connsiteY0" fmla="*/ 7106 h 275176"/>
                    <a:gd name="connsiteX1" fmla="*/ 266186 w 517200"/>
                    <a:gd name="connsiteY1" fmla="*/ 3009 h 275176"/>
                    <a:gd name="connsiteX2" fmla="*/ 173144 w 517200"/>
                    <a:gd name="connsiteY2" fmla="*/ 44939 h 275176"/>
                    <a:gd name="connsiteX3" fmla="*/ 112442 w 517200"/>
                    <a:gd name="connsiteY3" fmla="*/ 126679 h 275176"/>
                    <a:gd name="connsiteX4" fmla="*/ 1020 w 517200"/>
                    <a:gd name="connsiteY4" fmla="*/ 208869 h 275176"/>
                    <a:gd name="connsiteX5" fmla="*/ 116242 w 517200"/>
                    <a:gd name="connsiteY5" fmla="*/ 274948 h 275176"/>
                    <a:gd name="connsiteX6" fmla="*/ 239139 w 517200"/>
                    <a:gd name="connsiteY6" fmla="*/ 183353 h 275176"/>
                    <a:gd name="connsiteX7" fmla="*/ 355234 w 517200"/>
                    <a:gd name="connsiteY7" fmla="*/ 167742 h 275176"/>
                    <a:gd name="connsiteX8" fmla="*/ 338892 w 517200"/>
                    <a:gd name="connsiteY8" fmla="*/ 94370 h 275176"/>
                    <a:gd name="connsiteX9" fmla="*/ 514718 w 517200"/>
                    <a:gd name="connsiteY9" fmla="*/ 125061 h 275176"/>
                    <a:gd name="connsiteX10" fmla="*/ 447688 w 517200"/>
                    <a:gd name="connsiteY10" fmla="*/ 7106 h 275176"/>
                    <a:gd name="connsiteX0" fmla="*/ 447447 w 516959"/>
                    <a:gd name="connsiteY0" fmla="*/ 7106 h 274959"/>
                    <a:gd name="connsiteX1" fmla="*/ 265945 w 516959"/>
                    <a:gd name="connsiteY1" fmla="*/ 3009 h 274959"/>
                    <a:gd name="connsiteX2" fmla="*/ 172903 w 516959"/>
                    <a:gd name="connsiteY2" fmla="*/ 44939 h 274959"/>
                    <a:gd name="connsiteX3" fmla="*/ 112201 w 516959"/>
                    <a:gd name="connsiteY3" fmla="*/ 126679 h 274959"/>
                    <a:gd name="connsiteX4" fmla="*/ 779 w 516959"/>
                    <a:gd name="connsiteY4" fmla="*/ 208869 h 274959"/>
                    <a:gd name="connsiteX5" fmla="*/ 116001 w 516959"/>
                    <a:gd name="connsiteY5" fmla="*/ 274948 h 274959"/>
                    <a:gd name="connsiteX6" fmla="*/ 284911 w 516959"/>
                    <a:gd name="connsiteY6" fmla="*/ 203306 h 274959"/>
                    <a:gd name="connsiteX7" fmla="*/ 354993 w 516959"/>
                    <a:gd name="connsiteY7" fmla="*/ 167742 h 274959"/>
                    <a:gd name="connsiteX8" fmla="*/ 338651 w 516959"/>
                    <a:gd name="connsiteY8" fmla="*/ 94370 h 274959"/>
                    <a:gd name="connsiteX9" fmla="*/ 514477 w 516959"/>
                    <a:gd name="connsiteY9" fmla="*/ 125061 h 274959"/>
                    <a:gd name="connsiteX10" fmla="*/ 447447 w 516959"/>
                    <a:gd name="connsiteY10" fmla="*/ 7106 h 274959"/>
                    <a:gd name="connsiteX0" fmla="*/ 447447 w 516959"/>
                    <a:gd name="connsiteY0" fmla="*/ 7106 h 274959"/>
                    <a:gd name="connsiteX1" fmla="*/ 265945 w 516959"/>
                    <a:gd name="connsiteY1" fmla="*/ 3009 h 274959"/>
                    <a:gd name="connsiteX2" fmla="*/ 172903 w 516959"/>
                    <a:gd name="connsiteY2" fmla="*/ 44939 h 274959"/>
                    <a:gd name="connsiteX3" fmla="*/ 112201 w 516959"/>
                    <a:gd name="connsiteY3" fmla="*/ 126679 h 274959"/>
                    <a:gd name="connsiteX4" fmla="*/ 779 w 516959"/>
                    <a:gd name="connsiteY4" fmla="*/ 208869 h 274959"/>
                    <a:gd name="connsiteX5" fmla="*/ 116001 w 516959"/>
                    <a:gd name="connsiteY5" fmla="*/ 274948 h 274959"/>
                    <a:gd name="connsiteX6" fmla="*/ 284911 w 516959"/>
                    <a:gd name="connsiteY6" fmla="*/ 203306 h 274959"/>
                    <a:gd name="connsiteX7" fmla="*/ 354993 w 516959"/>
                    <a:gd name="connsiteY7" fmla="*/ 167742 h 274959"/>
                    <a:gd name="connsiteX8" fmla="*/ 385312 w 516959"/>
                    <a:gd name="connsiteY8" fmla="*/ 121542 h 274959"/>
                    <a:gd name="connsiteX9" fmla="*/ 514477 w 516959"/>
                    <a:gd name="connsiteY9" fmla="*/ 125061 h 274959"/>
                    <a:gd name="connsiteX10" fmla="*/ 447447 w 516959"/>
                    <a:gd name="connsiteY10" fmla="*/ 7106 h 274959"/>
                    <a:gd name="connsiteX0" fmla="*/ 447375 w 516887"/>
                    <a:gd name="connsiteY0" fmla="*/ 7106 h 275528"/>
                    <a:gd name="connsiteX1" fmla="*/ 265873 w 516887"/>
                    <a:gd name="connsiteY1" fmla="*/ 3009 h 275528"/>
                    <a:gd name="connsiteX2" fmla="*/ 172831 w 516887"/>
                    <a:gd name="connsiteY2" fmla="*/ 44939 h 275528"/>
                    <a:gd name="connsiteX3" fmla="*/ 112129 w 516887"/>
                    <a:gd name="connsiteY3" fmla="*/ 126679 h 275528"/>
                    <a:gd name="connsiteX4" fmla="*/ 707 w 516887"/>
                    <a:gd name="connsiteY4" fmla="*/ 208869 h 275528"/>
                    <a:gd name="connsiteX5" fmla="*/ 115929 w 516887"/>
                    <a:gd name="connsiteY5" fmla="*/ 274948 h 275528"/>
                    <a:gd name="connsiteX6" fmla="*/ 231693 w 516887"/>
                    <a:gd name="connsiteY6" fmla="*/ 165518 h 275528"/>
                    <a:gd name="connsiteX7" fmla="*/ 354921 w 516887"/>
                    <a:gd name="connsiteY7" fmla="*/ 167742 h 275528"/>
                    <a:gd name="connsiteX8" fmla="*/ 385240 w 516887"/>
                    <a:gd name="connsiteY8" fmla="*/ 121542 h 275528"/>
                    <a:gd name="connsiteX9" fmla="*/ 514405 w 516887"/>
                    <a:gd name="connsiteY9" fmla="*/ 125061 h 275528"/>
                    <a:gd name="connsiteX10" fmla="*/ 447375 w 516887"/>
                    <a:gd name="connsiteY10" fmla="*/ 7106 h 275528"/>
                    <a:gd name="connsiteX0" fmla="*/ 447205 w 516717"/>
                    <a:gd name="connsiteY0" fmla="*/ 7106 h 238862"/>
                    <a:gd name="connsiteX1" fmla="*/ 265703 w 516717"/>
                    <a:gd name="connsiteY1" fmla="*/ 3009 h 238862"/>
                    <a:gd name="connsiteX2" fmla="*/ 172661 w 516717"/>
                    <a:gd name="connsiteY2" fmla="*/ 44939 h 238862"/>
                    <a:gd name="connsiteX3" fmla="*/ 111959 w 516717"/>
                    <a:gd name="connsiteY3" fmla="*/ 126679 h 238862"/>
                    <a:gd name="connsiteX4" fmla="*/ 537 w 516717"/>
                    <a:gd name="connsiteY4" fmla="*/ 208869 h 238862"/>
                    <a:gd name="connsiteX5" fmla="*/ 145551 w 516717"/>
                    <a:gd name="connsiteY5" fmla="*/ 237574 h 238862"/>
                    <a:gd name="connsiteX6" fmla="*/ 231523 w 516717"/>
                    <a:gd name="connsiteY6" fmla="*/ 165518 h 238862"/>
                    <a:gd name="connsiteX7" fmla="*/ 354751 w 516717"/>
                    <a:gd name="connsiteY7" fmla="*/ 167742 h 238862"/>
                    <a:gd name="connsiteX8" fmla="*/ 385070 w 516717"/>
                    <a:gd name="connsiteY8" fmla="*/ 121542 h 238862"/>
                    <a:gd name="connsiteX9" fmla="*/ 514235 w 516717"/>
                    <a:gd name="connsiteY9" fmla="*/ 125061 h 238862"/>
                    <a:gd name="connsiteX10" fmla="*/ 447205 w 516717"/>
                    <a:gd name="connsiteY10" fmla="*/ 7106 h 238862"/>
                    <a:gd name="connsiteX0" fmla="*/ 393737 w 463249"/>
                    <a:gd name="connsiteY0" fmla="*/ 7106 h 237929"/>
                    <a:gd name="connsiteX1" fmla="*/ 212235 w 463249"/>
                    <a:gd name="connsiteY1" fmla="*/ 3009 h 237929"/>
                    <a:gd name="connsiteX2" fmla="*/ 119193 w 463249"/>
                    <a:gd name="connsiteY2" fmla="*/ 44939 h 237929"/>
                    <a:gd name="connsiteX3" fmla="*/ 58491 w 463249"/>
                    <a:gd name="connsiteY3" fmla="*/ 126679 h 237929"/>
                    <a:gd name="connsiteX4" fmla="*/ 843 w 463249"/>
                    <a:gd name="connsiteY4" fmla="*/ 192299 h 237929"/>
                    <a:gd name="connsiteX5" fmla="*/ 92083 w 463249"/>
                    <a:gd name="connsiteY5" fmla="*/ 237574 h 237929"/>
                    <a:gd name="connsiteX6" fmla="*/ 178055 w 463249"/>
                    <a:gd name="connsiteY6" fmla="*/ 165518 h 237929"/>
                    <a:gd name="connsiteX7" fmla="*/ 301283 w 463249"/>
                    <a:gd name="connsiteY7" fmla="*/ 167742 h 237929"/>
                    <a:gd name="connsiteX8" fmla="*/ 331602 w 463249"/>
                    <a:gd name="connsiteY8" fmla="*/ 121542 h 237929"/>
                    <a:gd name="connsiteX9" fmla="*/ 460767 w 463249"/>
                    <a:gd name="connsiteY9" fmla="*/ 125061 h 237929"/>
                    <a:gd name="connsiteX10" fmla="*/ 393737 w 463249"/>
                    <a:gd name="connsiteY10" fmla="*/ 7106 h 237929"/>
                    <a:gd name="connsiteX0" fmla="*/ 393737 w 463249"/>
                    <a:gd name="connsiteY0" fmla="*/ 7324 h 238147"/>
                    <a:gd name="connsiteX1" fmla="*/ 212235 w 463249"/>
                    <a:gd name="connsiteY1" fmla="*/ 3227 h 238147"/>
                    <a:gd name="connsiteX2" fmla="*/ 119193 w 463249"/>
                    <a:gd name="connsiteY2" fmla="*/ 45157 h 238147"/>
                    <a:gd name="connsiteX3" fmla="*/ 51884 w 463249"/>
                    <a:gd name="connsiteY3" fmla="*/ 65039 h 238147"/>
                    <a:gd name="connsiteX4" fmla="*/ 58491 w 463249"/>
                    <a:gd name="connsiteY4" fmla="*/ 126897 h 238147"/>
                    <a:gd name="connsiteX5" fmla="*/ 843 w 463249"/>
                    <a:gd name="connsiteY5" fmla="*/ 192517 h 238147"/>
                    <a:gd name="connsiteX6" fmla="*/ 92083 w 463249"/>
                    <a:gd name="connsiteY6" fmla="*/ 237792 h 238147"/>
                    <a:gd name="connsiteX7" fmla="*/ 178055 w 463249"/>
                    <a:gd name="connsiteY7" fmla="*/ 165736 h 238147"/>
                    <a:gd name="connsiteX8" fmla="*/ 301283 w 463249"/>
                    <a:gd name="connsiteY8" fmla="*/ 167960 h 238147"/>
                    <a:gd name="connsiteX9" fmla="*/ 331602 w 463249"/>
                    <a:gd name="connsiteY9" fmla="*/ 121760 h 238147"/>
                    <a:gd name="connsiteX10" fmla="*/ 460767 w 463249"/>
                    <a:gd name="connsiteY10" fmla="*/ 125279 h 238147"/>
                    <a:gd name="connsiteX11" fmla="*/ 393737 w 463249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302338 w 464304"/>
                    <a:gd name="connsiteY8" fmla="*/ 167960 h 238147"/>
                    <a:gd name="connsiteX9" fmla="*/ 332657 w 464304"/>
                    <a:gd name="connsiteY9" fmla="*/ 121760 h 238147"/>
                    <a:gd name="connsiteX10" fmla="*/ 461822 w 464304"/>
                    <a:gd name="connsiteY10" fmla="*/ 125279 h 238147"/>
                    <a:gd name="connsiteX11" fmla="*/ 394792 w 464304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234315 w 464304"/>
                    <a:gd name="connsiteY8" fmla="*/ 210436 h 238147"/>
                    <a:gd name="connsiteX9" fmla="*/ 332657 w 464304"/>
                    <a:gd name="connsiteY9" fmla="*/ 121760 h 238147"/>
                    <a:gd name="connsiteX10" fmla="*/ 461822 w 464304"/>
                    <a:gd name="connsiteY10" fmla="*/ 125279 h 238147"/>
                    <a:gd name="connsiteX11" fmla="*/ 394792 w 464304"/>
                    <a:gd name="connsiteY11" fmla="*/ 7324 h 238147"/>
                    <a:gd name="connsiteX0" fmla="*/ 394792 w 464304"/>
                    <a:gd name="connsiteY0" fmla="*/ 7324 h 238147"/>
                    <a:gd name="connsiteX1" fmla="*/ 213290 w 464304"/>
                    <a:gd name="connsiteY1" fmla="*/ 3227 h 238147"/>
                    <a:gd name="connsiteX2" fmla="*/ 120248 w 464304"/>
                    <a:gd name="connsiteY2" fmla="*/ 45157 h 238147"/>
                    <a:gd name="connsiteX3" fmla="*/ 52939 w 464304"/>
                    <a:gd name="connsiteY3" fmla="*/ 65039 h 238147"/>
                    <a:gd name="connsiteX4" fmla="*/ 8353 w 464304"/>
                    <a:gd name="connsiteY4" fmla="*/ 110767 h 238147"/>
                    <a:gd name="connsiteX5" fmla="*/ 1898 w 464304"/>
                    <a:gd name="connsiteY5" fmla="*/ 192517 h 238147"/>
                    <a:gd name="connsiteX6" fmla="*/ 93138 w 464304"/>
                    <a:gd name="connsiteY6" fmla="*/ 237792 h 238147"/>
                    <a:gd name="connsiteX7" fmla="*/ 179110 w 464304"/>
                    <a:gd name="connsiteY7" fmla="*/ 165736 h 238147"/>
                    <a:gd name="connsiteX8" fmla="*/ 195863 w 464304"/>
                    <a:gd name="connsiteY8" fmla="*/ 209831 h 238147"/>
                    <a:gd name="connsiteX9" fmla="*/ 234315 w 464304"/>
                    <a:gd name="connsiteY9" fmla="*/ 210436 h 238147"/>
                    <a:gd name="connsiteX10" fmla="*/ 332657 w 464304"/>
                    <a:gd name="connsiteY10" fmla="*/ 121760 h 238147"/>
                    <a:gd name="connsiteX11" fmla="*/ 461822 w 464304"/>
                    <a:gd name="connsiteY11" fmla="*/ 125279 h 238147"/>
                    <a:gd name="connsiteX12" fmla="*/ 394792 w 464304"/>
                    <a:gd name="connsiteY12" fmla="*/ 7324 h 238147"/>
                    <a:gd name="connsiteX0" fmla="*/ 394792 w 464304"/>
                    <a:gd name="connsiteY0" fmla="*/ 7324 h 237865"/>
                    <a:gd name="connsiteX1" fmla="*/ 213290 w 464304"/>
                    <a:gd name="connsiteY1" fmla="*/ 3227 h 237865"/>
                    <a:gd name="connsiteX2" fmla="*/ 120248 w 464304"/>
                    <a:gd name="connsiteY2" fmla="*/ 45157 h 237865"/>
                    <a:gd name="connsiteX3" fmla="*/ 52939 w 464304"/>
                    <a:gd name="connsiteY3" fmla="*/ 65039 h 237865"/>
                    <a:gd name="connsiteX4" fmla="*/ 8353 w 464304"/>
                    <a:gd name="connsiteY4" fmla="*/ 110767 h 237865"/>
                    <a:gd name="connsiteX5" fmla="*/ 1898 w 464304"/>
                    <a:gd name="connsiteY5" fmla="*/ 192517 h 237865"/>
                    <a:gd name="connsiteX6" fmla="*/ 93138 w 464304"/>
                    <a:gd name="connsiteY6" fmla="*/ 237792 h 237865"/>
                    <a:gd name="connsiteX7" fmla="*/ 159250 w 464304"/>
                    <a:gd name="connsiteY7" fmla="*/ 202191 h 237865"/>
                    <a:gd name="connsiteX8" fmla="*/ 179110 w 464304"/>
                    <a:gd name="connsiteY8" fmla="*/ 165736 h 237865"/>
                    <a:gd name="connsiteX9" fmla="*/ 195863 w 464304"/>
                    <a:gd name="connsiteY9" fmla="*/ 209831 h 237865"/>
                    <a:gd name="connsiteX10" fmla="*/ 234315 w 464304"/>
                    <a:gd name="connsiteY10" fmla="*/ 210436 h 237865"/>
                    <a:gd name="connsiteX11" fmla="*/ 332657 w 464304"/>
                    <a:gd name="connsiteY11" fmla="*/ 121760 h 237865"/>
                    <a:gd name="connsiteX12" fmla="*/ 461822 w 464304"/>
                    <a:gd name="connsiteY12" fmla="*/ 125279 h 237865"/>
                    <a:gd name="connsiteX13" fmla="*/ 394792 w 464304"/>
                    <a:gd name="connsiteY13" fmla="*/ 7324 h 237865"/>
                    <a:gd name="connsiteX0" fmla="*/ 394792 w 464304"/>
                    <a:gd name="connsiteY0" fmla="*/ 7324 h 237849"/>
                    <a:gd name="connsiteX1" fmla="*/ 213290 w 464304"/>
                    <a:gd name="connsiteY1" fmla="*/ 3227 h 237849"/>
                    <a:gd name="connsiteX2" fmla="*/ 120248 w 464304"/>
                    <a:gd name="connsiteY2" fmla="*/ 45157 h 237849"/>
                    <a:gd name="connsiteX3" fmla="*/ 52939 w 464304"/>
                    <a:gd name="connsiteY3" fmla="*/ 65039 h 237849"/>
                    <a:gd name="connsiteX4" fmla="*/ 8353 w 464304"/>
                    <a:gd name="connsiteY4" fmla="*/ 110767 h 237849"/>
                    <a:gd name="connsiteX5" fmla="*/ 1898 w 464304"/>
                    <a:gd name="connsiteY5" fmla="*/ 192517 h 237849"/>
                    <a:gd name="connsiteX6" fmla="*/ 93138 w 464304"/>
                    <a:gd name="connsiteY6" fmla="*/ 237792 h 237849"/>
                    <a:gd name="connsiteX7" fmla="*/ 159250 w 464304"/>
                    <a:gd name="connsiteY7" fmla="*/ 202191 h 237849"/>
                    <a:gd name="connsiteX8" fmla="*/ 195863 w 464304"/>
                    <a:gd name="connsiteY8" fmla="*/ 209831 h 237849"/>
                    <a:gd name="connsiteX9" fmla="*/ 234315 w 464304"/>
                    <a:gd name="connsiteY9" fmla="*/ 210436 h 237849"/>
                    <a:gd name="connsiteX10" fmla="*/ 332657 w 464304"/>
                    <a:gd name="connsiteY10" fmla="*/ 121760 h 237849"/>
                    <a:gd name="connsiteX11" fmla="*/ 461822 w 464304"/>
                    <a:gd name="connsiteY11" fmla="*/ 125279 h 237849"/>
                    <a:gd name="connsiteX12" fmla="*/ 394792 w 464304"/>
                    <a:gd name="connsiteY12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95863 w 430914"/>
                    <a:gd name="connsiteY8" fmla="*/ 209831 h 237849"/>
                    <a:gd name="connsiteX9" fmla="*/ 234315 w 430914"/>
                    <a:gd name="connsiteY9" fmla="*/ 210436 h 237849"/>
                    <a:gd name="connsiteX10" fmla="*/ 332657 w 430914"/>
                    <a:gd name="connsiteY10" fmla="*/ 121760 h 237849"/>
                    <a:gd name="connsiteX11" fmla="*/ 425189 w 430914"/>
                    <a:gd name="connsiteY11" fmla="*/ 56064 h 237849"/>
                    <a:gd name="connsiteX12" fmla="*/ 394792 w 430914"/>
                    <a:gd name="connsiteY12" fmla="*/ 7324 h 237849"/>
                    <a:gd name="connsiteX0" fmla="*/ 394792 w 430912"/>
                    <a:gd name="connsiteY0" fmla="*/ 7324 h 237849"/>
                    <a:gd name="connsiteX1" fmla="*/ 213290 w 430912"/>
                    <a:gd name="connsiteY1" fmla="*/ 3227 h 237849"/>
                    <a:gd name="connsiteX2" fmla="*/ 120248 w 430912"/>
                    <a:gd name="connsiteY2" fmla="*/ 45157 h 237849"/>
                    <a:gd name="connsiteX3" fmla="*/ 52939 w 430912"/>
                    <a:gd name="connsiteY3" fmla="*/ 65039 h 237849"/>
                    <a:gd name="connsiteX4" fmla="*/ 8353 w 430912"/>
                    <a:gd name="connsiteY4" fmla="*/ 110767 h 237849"/>
                    <a:gd name="connsiteX5" fmla="*/ 1898 w 430912"/>
                    <a:gd name="connsiteY5" fmla="*/ 192517 h 237849"/>
                    <a:gd name="connsiteX6" fmla="*/ 93138 w 430912"/>
                    <a:gd name="connsiteY6" fmla="*/ 237792 h 237849"/>
                    <a:gd name="connsiteX7" fmla="*/ 159250 w 430912"/>
                    <a:gd name="connsiteY7" fmla="*/ 202191 h 237849"/>
                    <a:gd name="connsiteX8" fmla="*/ 195863 w 430912"/>
                    <a:gd name="connsiteY8" fmla="*/ 209831 h 237849"/>
                    <a:gd name="connsiteX9" fmla="*/ 234315 w 430912"/>
                    <a:gd name="connsiteY9" fmla="*/ 210436 h 237849"/>
                    <a:gd name="connsiteX10" fmla="*/ 304785 w 430912"/>
                    <a:gd name="connsiteY10" fmla="*/ 88427 h 237849"/>
                    <a:gd name="connsiteX11" fmla="*/ 425189 w 430912"/>
                    <a:gd name="connsiteY11" fmla="*/ 56064 h 237849"/>
                    <a:gd name="connsiteX12" fmla="*/ 394792 w 430912"/>
                    <a:gd name="connsiteY12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95863 w 430914"/>
                    <a:gd name="connsiteY8" fmla="*/ 209831 h 237849"/>
                    <a:gd name="connsiteX9" fmla="*/ 234315 w 430914"/>
                    <a:gd name="connsiteY9" fmla="*/ 210436 h 237849"/>
                    <a:gd name="connsiteX10" fmla="*/ 314427 w 430914"/>
                    <a:gd name="connsiteY10" fmla="*/ 176264 h 237849"/>
                    <a:gd name="connsiteX11" fmla="*/ 304785 w 430914"/>
                    <a:gd name="connsiteY11" fmla="*/ 88427 h 237849"/>
                    <a:gd name="connsiteX12" fmla="*/ 425189 w 430914"/>
                    <a:gd name="connsiteY12" fmla="*/ 56064 h 237849"/>
                    <a:gd name="connsiteX13" fmla="*/ 394792 w 430914"/>
                    <a:gd name="connsiteY13" fmla="*/ 7324 h 237849"/>
                    <a:gd name="connsiteX0" fmla="*/ 394792 w 430912"/>
                    <a:gd name="connsiteY0" fmla="*/ 7324 h 237849"/>
                    <a:gd name="connsiteX1" fmla="*/ 213290 w 430912"/>
                    <a:gd name="connsiteY1" fmla="*/ 3227 h 237849"/>
                    <a:gd name="connsiteX2" fmla="*/ 120248 w 430912"/>
                    <a:gd name="connsiteY2" fmla="*/ 45157 h 237849"/>
                    <a:gd name="connsiteX3" fmla="*/ 52939 w 430912"/>
                    <a:gd name="connsiteY3" fmla="*/ 65039 h 237849"/>
                    <a:gd name="connsiteX4" fmla="*/ 8353 w 430912"/>
                    <a:gd name="connsiteY4" fmla="*/ 110767 h 237849"/>
                    <a:gd name="connsiteX5" fmla="*/ 1898 w 430912"/>
                    <a:gd name="connsiteY5" fmla="*/ 192517 h 237849"/>
                    <a:gd name="connsiteX6" fmla="*/ 93138 w 430912"/>
                    <a:gd name="connsiteY6" fmla="*/ 237792 h 237849"/>
                    <a:gd name="connsiteX7" fmla="*/ 159250 w 430912"/>
                    <a:gd name="connsiteY7" fmla="*/ 202191 h 237849"/>
                    <a:gd name="connsiteX8" fmla="*/ 195863 w 430912"/>
                    <a:gd name="connsiteY8" fmla="*/ 209831 h 237849"/>
                    <a:gd name="connsiteX9" fmla="*/ 225881 w 430912"/>
                    <a:gd name="connsiteY9" fmla="*/ 178162 h 237849"/>
                    <a:gd name="connsiteX10" fmla="*/ 314427 w 430912"/>
                    <a:gd name="connsiteY10" fmla="*/ 176264 h 237849"/>
                    <a:gd name="connsiteX11" fmla="*/ 304785 w 430912"/>
                    <a:gd name="connsiteY11" fmla="*/ 88427 h 237849"/>
                    <a:gd name="connsiteX12" fmla="*/ 425189 w 430912"/>
                    <a:gd name="connsiteY12" fmla="*/ 56064 h 237849"/>
                    <a:gd name="connsiteX13" fmla="*/ 394792 w 430912"/>
                    <a:gd name="connsiteY13" fmla="*/ 7324 h 237849"/>
                    <a:gd name="connsiteX0" fmla="*/ 394792 w 430914"/>
                    <a:gd name="connsiteY0" fmla="*/ 7324 h 237849"/>
                    <a:gd name="connsiteX1" fmla="*/ 213290 w 430914"/>
                    <a:gd name="connsiteY1" fmla="*/ 3227 h 237849"/>
                    <a:gd name="connsiteX2" fmla="*/ 120248 w 430914"/>
                    <a:gd name="connsiteY2" fmla="*/ 45157 h 237849"/>
                    <a:gd name="connsiteX3" fmla="*/ 52939 w 430914"/>
                    <a:gd name="connsiteY3" fmla="*/ 65039 h 237849"/>
                    <a:gd name="connsiteX4" fmla="*/ 8353 w 430914"/>
                    <a:gd name="connsiteY4" fmla="*/ 110767 h 237849"/>
                    <a:gd name="connsiteX5" fmla="*/ 1898 w 430914"/>
                    <a:gd name="connsiteY5" fmla="*/ 192517 h 237849"/>
                    <a:gd name="connsiteX6" fmla="*/ 93138 w 430914"/>
                    <a:gd name="connsiteY6" fmla="*/ 237792 h 237849"/>
                    <a:gd name="connsiteX7" fmla="*/ 159250 w 430914"/>
                    <a:gd name="connsiteY7" fmla="*/ 202191 h 237849"/>
                    <a:gd name="connsiteX8" fmla="*/ 179980 w 430914"/>
                    <a:gd name="connsiteY8" fmla="*/ 186901 h 237849"/>
                    <a:gd name="connsiteX9" fmla="*/ 225881 w 430914"/>
                    <a:gd name="connsiteY9" fmla="*/ 178162 h 237849"/>
                    <a:gd name="connsiteX10" fmla="*/ 314427 w 430914"/>
                    <a:gd name="connsiteY10" fmla="*/ 176264 h 237849"/>
                    <a:gd name="connsiteX11" fmla="*/ 304785 w 430914"/>
                    <a:gd name="connsiteY11" fmla="*/ 88427 h 237849"/>
                    <a:gd name="connsiteX12" fmla="*/ 425189 w 430914"/>
                    <a:gd name="connsiteY12" fmla="*/ 56064 h 237849"/>
                    <a:gd name="connsiteX13" fmla="*/ 394792 w 430914"/>
                    <a:gd name="connsiteY13" fmla="*/ 7324 h 237849"/>
                    <a:gd name="connsiteX0" fmla="*/ 394792 w 430912"/>
                    <a:gd name="connsiteY0" fmla="*/ 7661 h 238186"/>
                    <a:gd name="connsiteX1" fmla="*/ 213290 w 430912"/>
                    <a:gd name="connsiteY1" fmla="*/ 3564 h 238186"/>
                    <a:gd name="connsiteX2" fmla="*/ 121923 w 430912"/>
                    <a:gd name="connsiteY2" fmla="*/ 2939 h 238186"/>
                    <a:gd name="connsiteX3" fmla="*/ 120248 w 430912"/>
                    <a:gd name="connsiteY3" fmla="*/ 45494 h 238186"/>
                    <a:gd name="connsiteX4" fmla="*/ 52939 w 430912"/>
                    <a:gd name="connsiteY4" fmla="*/ 65376 h 238186"/>
                    <a:gd name="connsiteX5" fmla="*/ 8353 w 430912"/>
                    <a:gd name="connsiteY5" fmla="*/ 111104 h 238186"/>
                    <a:gd name="connsiteX6" fmla="*/ 1898 w 430912"/>
                    <a:gd name="connsiteY6" fmla="*/ 192854 h 238186"/>
                    <a:gd name="connsiteX7" fmla="*/ 93138 w 430912"/>
                    <a:gd name="connsiteY7" fmla="*/ 238129 h 238186"/>
                    <a:gd name="connsiteX8" fmla="*/ 159250 w 430912"/>
                    <a:gd name="connsiteY8" fmla="*/ 202528 h 238186"/>
                    <a:gd name="connsiteX9" fmla="*/ 179980 w 430912"/>
                    <a:gd name="connsiteY9" fmla="*/ 187238 h 238186"/>
                    <a:gd name="connsiteX10" fmla="*/ 225881 w 430912"/>
                    <a:gd name="connsiteY10" fmla="*/ 178499 h 238186"/>
                    <a:gd name="connsiteX11" fmla="*/ 314427 w 430912"/>
                    <a:gd name="connsiteY11" fmla="*/ 176601 h 238186"/>
                    <a:gd name="connsiteX12" fmla="*/ 304785 w 430912"/>
                    <a:gd name="connsiteY12" fmla="*/ 88764 h 238186"/>
                    <a:gd name="connsiteX13" fmla="*/ 425189 w 430912"/>
                    <a:gd name="connsiteY13" fmla="*/ 56401 h 238186"/>
                    <a:gd name="connsiteX14" fmla="*/ 394792 w 430912"/>
                    <a:gd name="connsiteY14" fmla="*/ 7661 h 238186"/>
                    <a:gd name="connsiteX0" fmla="*/ 394792 w 430914"/>
                    <a:gd name="connsiteY0" fmla="*/ 7661 h 238186"/>
                    <a:gd name="connsiteX1" fmla="*/ 213290 w 430914"/>
                    <a:gd name="connsiteY1" fmla="*/ 3564 h 238186"/>
                    <a:gd name="connsiteX2" fmla="*/ 121923 w 430914"/>
                    <a:gd name="connsiteY2" fmla="*/ 2939 h 238186"/>
                    <a:gd name="connsiteX3" fmla="*/ 120248 w 430914"/>
                    <a:gd name="connsiteY3" fmla="*/ 45494 h 238186"/>
                    <a:gd name="connsiteX4" fmla="*/ 91177 w 430914"/>
                    <a:gd name="connsiteY4" fmla="*/ 91063 h 238186"/>
                    <a:gd name="connsiteX5" fmla="*/ 8353 w 430914"/>
                    <a:gd name="connsiteY5" fmla="*/ 111104 h 238186"/>
                    <a:gd name="connsiteX6" fmla="*/ 1898 w 430914"/>
                    <a:gd name="connsiteY6" fmla="*/ 192854 h 238186"/>
                    <a:gd name="connsiteX7" fmla="*/ 93138 w 430914"/>
                    <a:gd name="connsiteY7" fmla="*/ 238129 h 238186"/>
                    <a:gd name="connsiteX8" fmla="*/ 159250 w 430914"/>
                    <a:gd name="connsiteY8" fmla="*/ 202528 h 238186"/>
                    <a:gd name="connsiteX9" fmla="*/ 179980 w 430914"/>
                    <a:gd name="connsiteY9" fmla="*/ 187238 h 238186"/>
                    <a:gd name="connsiteX10" fmla="*/ 225881 w 430914"/>
                    <a:gd name="connsiteY10" fmla="*/ 178499 h 238186"/>
                    <a:gd name="connsiteX11" fmla="*/ 314427 w 430914"/>
                    <a:gd name="connsiteY11" fmla="*/ 176601 h 238186"/>
                    <a:gd name="connsiteX12" fmla="*/ 304785 w 430914"/>
                    <a:gd name="connsiteY12" fmla="*/ 88764 h 238186"/>
                    <a:gd name="connsiteX13" fmla="*/ 425189 w 430914"/>
                    <a:gd name="connsiteY13" fmla="*/ 56401 h 238186"/>
                    <a:gd name="connsiteX14" fmla="*/ 394792 w 430914"/>
                    <a:gd name="connsiteY14" fmla="*/ 7661 h 238186"/>
                    <a:gd name="connsiteX0" fmla="*/ 393704 w 429825"/>
                    <a:gd name="connsiteY0" fmla="*/ 7661 h 238186"/>
                    <a:gd name="connsiteX1" fmla="*/ 212202 w 429825"/>
                    <a:gd name="connsiteY1" fmla="*/ 3564 h 238186"/>
                    <a:gd name="connsiteX2" fmla="*/ 120835 w 429825"/>
                    <a:gd name="connsiteY2" fmla="*/ 2939 h 238186"/>
                    <a:gd name="connsiteX3" fmla="*/ 119160 w 429825"/>
                    <a:gd name="connsiteY3" fmla="*/ 45494 h 238186"/>
                    <a:gd name="connsiteX4" fmla="*/ 90089 w 429825"/>
                    <a:gd name="connsiteY4" fmla="*/ 91063 h 238186"/>
                    <a:gd name="connsiteX5" fmla="*/ 30920 w 429825"/>
                    <a:gd name="connsiteY5" fmla="*/ 128299 h 238186"/>
                    <a:gd name="connsiteX6" fmla="*/ 810 w 429825"/>
                    <a:gd name="connsiteY6" fmla="*/ 192854 h 238186"/>
                    <a:gd name="connsiteX7" fmla="*/ 92050 w 429825"/>
                    <a:gd name="connsiteY7" fmla="*/ 238129 h 238186"/>
                    <a:gd name="connsiteX8" fmla="*/ 158162 w 429825"/>
                    <a:gd name="connsiteY8" fmla="*/ 202528 h 238186"/>
                    <a:gd name="connsiteX9" fmla="*/ 178892 w 429825"/>
                    <a:gd name="connsiteY9" fmla="*/ 187238 h 238186"/>
                    <a:gd name="connsiteX10" fmla="*/ 224793 w 429825"/>
                    <a:gd name="connsiteY10" fmla="*/ 178499 h 238186"/>
                    <a:gd name="connsiteX11" fmla="*/ 313339 w 429825"/>
                    <a:gd name="connsiteY11" fmla="*/ 176601 h 238186"/>
                    <a:gd name="connsiteX12" fmla="*/ 303697 w 429825"/>
                    <a:gd name="connsiteY12" fmla="*/ 88764 h 238186"/>
                    <a:gd name="connsiteX13" fmla="*/ 424101 w 429825"/>
                    <a:gd name="connsiteY13" fmla="*/ 56401 h 238186"/>
                    <a:gd name="connsiteX14" fmla="*/ 393704 w 429825"/>
                    <a:gd name="connsiteY14" fmla="*/ 7661 h 2381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29825" h="238186">
                      <a:moveTo>
                        <a:pt x="393704" y="7661"/>
                      </a:moveTo>
                      <a:cubicBezTo>
                        <a:pt x="358387" y="-1145"/>
                        <a:pt x="250371" y="18682"/>
                        <a:pt x="212202" y="3564"/>
                      </a:cubicBezTo>
                      <a:cubicBezTo>
                        <a:pt x="176012" y="3625"/>
                        <a:pt x="136342" y="-4049"/>
                        <a:pt x="120835" y="2939"/>
                      </a:cubicBezTo>
                      <a:cubicBezTo>
                        <a:pt x="105328" y="9927"/>
                        <a:pt x="139945" y="35936"/>
                        <a:pt x="119160" y="45494"/>
                      </a:cubicBezTo>
                      <a:cubicBezTo>
                        <a:pt x="98375" y="55052"/>
                        <a:pt x="100206" y="77440"/>
                        <a:pt x="90089" y="91063"/>
                      </a:cubicBezTo>
                      <a:cubicBezTo>
                        <a:pt x="79972" y="104686"/>
                        <a:pt x="43532" y="111724"/>
                        <a:pt x="30920" y="128299"/>
                      </a:cubicBezTo>
                      <a:cubicBezTo>
                        <a:pt x="18308" y="144874"/>
                        <a:pt x="-215" y="128011"/>
                        <a:pt x="810" y="192854"/>
                      </a:cubicBezTo>
                      <a:cubicBezTo>
                        <a:pt x="-8551" y="203765"/>
                        <a:pt x="65825" y="236517"/>
                        <a:pt x="92050" y="238129"/>
                      </a:cubicBezTo>
                      <a:cubicBezTo>
                        <a:pt x="118275" y="239741"/>
                        <a:pt x="141041" y="207188"/>
                        <a:pt x="158162" y="202528"/>
                      </a:cubicBezTo>
                      <a:cubicBezTo>
                        <a:pt x="175283" y="197868"/>
                        <a:pt x="166381" y="185864"/>
                        <a:pt x="178892" y="187238"/>
                      </a:cubicBezTo>
                      <a:cubicBezTo>
                        <a:pt x="191403" y="188612"/>
                        <a:pt x="213565" y="186782"/>
                        <a:pt x="224793" y="178499"/>
                      </a:cubicBezTo>
                      <a:cubicBezTo>
                        <a:pt x="236021" y="170216"/>
                        <a:pt x="301594" y="196936"/>
                        <a:pt x="313339" y="176601"/>
                      </a:cubicBezTo>
                      <a:cubicBezTo>
                        <a:pt x="325084" y="156266"/>
                        <a:pt x="276704" y="106109"/>
                        <a:pt x="303697" y="88764"/>
                      </a:cubicBezTo>
                      <a:cubicBezTo>
                        <a:pt x="330690" y="71419"/>
                        <a:pt x="411371" y="79792"/>
                        <a:pt x="424101" y="56401"/>
                      </a:cubicBezTo>
                      <a:cubicBezTo>
                        <a:pt x="436831" y="33010"/>
                        <a:pt x="429021" y="16467"/>
                        <a:pt x="393704" y="7661"/>
                      </a:cubicBezTo>
                      <a:close/>
                    </a:path>
                  </a:pathLst>
                </a:custGeom>
                <a:grpFill/>
                <a:ln w="6350">
                  <a:noFill/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 sz="9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962" name="Group 305"/>
            <p:cNvGrpSpPr>
              <a:grpSpLocks/>
            </p:cNvGrpSpPr>
            <p:nvPr/>
          </p:nvGrpSpPr>
          <p:grpSpPr bwMode="auto">
            <a:xfrm>
              <a:off x="1436688" y="1189038"/>
              <a:ext cx="5189537" cy="5321300"/>
              <a:chOff x="3976580" y="2041451"/>
              <a:chExt cx="4537876" cy="4653975"/>
            </a:xfrm>
            <a:solidFill>
              <a:schemeClr val="bg1">
                <a:lumMod val="85000"/>
                <a:alpha val="50000"/>
              </a:schemeClr>
            </a:solidFill>
          </p:grpSpPr>
          <p:grpSp>
            <p:nvGrpSpPr>
              <p:cNvPr id="969" name="Group 299"/>
              <p:cNvGrpSpPr>
                <a:grpSpLocks/>
              </p:cNvGrpSpPr>
              <p:nvPr/>
            </p:nvGrpSpPr>
            <p:grpSpPr bwMode="auto">
              <a:xfrm>
                <a:off x="3976580" y="2041451"/>
                <a:ext cx="4517650" cy="4653975"/>
                <a:chOff x="3976580" y="2041451"/>
                <a:chExt cx="4517650" cy="4653975"/>
              </a:xfrm>
              <a:grpFill/>
            </p:grpSpPr>
            <p:grpSp>
              <p:nvGrpSpPr>
                <p:cNvPr id="989" name="Group 298"/>
                <p:cNvGrpSpPr>
                  <a:grpSpLocks/>
                </p:cNvGrpSpPr>
                <p:nvPr/>
              </p:nvGrpSpPr>
              <p:grpSpPr bwMode="auto">
                <a:xfrm>
                  <a:off x="3976580" y="2041451"/>
                  <a:ext cx="4517650" cy="4621262"/>
                  <a:chOff x="3976580" y="2041451"/>
                  <a:chExt cx="4517650" cy="4621262"/>
                </a:xfrm>
                <a:grpFill/>
              </p:grpSpPr>
              <p:grpSp>
                <p:nvGrpSpPr>
                  <p:cNvPr id="996" name="Group 251"/>
                  <p:cNvGrpSpPr>
                    <a:grpSpLocks noChangeAspect="1"/>
                  </p:cNvGrpSpPr>
                  <p:nvPr/>
                </p:nvGrpSpPr>
                <p:grpSpPr>
                  <a:xfrm>
                    <a:off x="5667988" y="2636875"/>
                    <a:ext cx="2284816" cy="4025838"/>
                    <a:chOff x="6092919" y="2536350"/>
                    <a:chExt cx="2011391" cy="3580622"/>
                  </a:xfrm>
                  <a:grpFill/>
                </p:grpSpPr>
                <p:grpSp>
                  <p:nvGrpSpPr>
                    <p:cNvPr id="1037" name="Group 252"/>
                    <p:cNvGrpSpPr/>
                    <p:nvPr/>
                  </p:nvGrpSpPr>
                  <p:grpSpPr>
                    <a:xfrm>
                      <a:off x="6208251" y="3955315"/>
                      <a:ext cx="1896059" cy="1941746"/>
                      <a:chOff x="4668629" y="4060339"/>
                      <a:chExt cx="1940807" cy="1987572"/>
                    </a:xfrm>
                    <a:grpFill/>
                  </p:grpSpPr>
                  <p:sp>
                    <p:nvSpPr>
                      <p:cNvPr id="1043" name="Oval 2"/>
                      <p:cNvSpPr/>
                      <p:nvPr/>
                    </p:nvSpPr>
                    <p:spPr>
                      <a:xfrm>
                        <a:off x="6406542" y="4060339"/>
                        <a:ext cx="202894" cy="309347"/>
                      </a:xfrm>
                      <a:custGeom>
                        <a:avLst/>
                        <a:gdLst>
                          <a:gd name="connsiteX0" fmla="*/ 0 w 221892"/>
                          <a:gd name="connsiteY0" fmla="*/ 120677 h 241354"/>
                          <a:gd name="connsiteX1" fmla="*/ 110946 w 221892"/>
                          <a:gd name="connsiteY1" fmla="*/ 0 h 241354"/>
                          <a:gd name="connsiteX2" fmla="*/ 221892 w 221892"/>
                          <a:gd name="connsiteY2" fmla="*/ 120677 h 241354"/>
                          <a:gd name="connsiteX3" fmla="*/ 110946 w 221892"/>
                          <a:gd name="connsiteY3" fmla="*/ 241354 h 241354"/>
                          <a:gd name="connsiteX4" fmla="*/ 0 w 221892"/>
                          <a:gd name="connsiteY4" fmla="*/ 120677 h 241354"/>
                          <a:gd name="connsiteX0" fmla="*/ 0 w 171885"/>
                          <a:gd name="connsiteY0" fmla="*/ 120677 h 241354"/>
                          <a:gd name="connsiteX1" fmla="*/ 110946 w 171885"/>
                          <a:gd name="connsiteY1" fmla="*/ 0 h 241354"/>
                          <a:gd name="connsiteX2" fmla="*/ 171885 w 171885"/>
                          <a:gd name="connsiteY2" fmla="*/ 120677 h 241354"/>
                          <a:gd name="connsiteX3" fmla="*/ 110946 w 171885"/>
                          <a:gd name="connsiteY3" fmla="*/ 241354 h 241354"/>
                          <a:gd name="connsiteX4" fmla="*/ 0 w 171885"/>
                          <a:gd name="connsiteY4" fmla="*/ 120677 h 241354"/>
                          <a:gd name="connsiteX0" fmla="*/ 0 w 136167"/>
                          <a:gd name="connsiteY0" fmla="*/ 120677 h 241354"/>
                          <a:gd name="connsiteX1" fmla="*/ 75228 w 136167"/>
                          <a:gd name="connsiteY1" fmla="*/ 0 h 241354"/>
                          <a:gd name="connsiteX2" fmla="*/ 136167 w 136167"/>
                          <a:gd name="connsiteY2" fmla="*/ 120677 h 241354"/>
                          <a:gd name="connsiteX3" fmla="*/ 75228 w 136167"/>
                          <a:gd name="connsiteY3" fmla="*/ 241354 h 241354"/>
                          <a:gd name="connsiteX4" fmla="*/ 0 w 136167"/>
                          <a:gd name="connsiteY4" fmla="*/ 120677 h 241354"/>
                          <a:gd name="connsiteX0" fmla="*/ 1624 w 160285"/>
                          <a:gd name="connsiteY0" fmla="*/ 139727 h 260404"/>
                          <a:gd name="connsiteX1" fmla="*/ 153052 w 160285"/>
                          <a:gd name="connsiteY1" fmla="*/ 0 h 260404"/>
                          <a:gd name="connsiteX2" fmla="*/ 137791 w 160285"/>
                          <a:gd name="connsiteY2" fmla="*/ 139727 h 260404"/>
                          <a:gd name="connsiteX3" fmla="*/ 76852 w 160285"/>
                          <a:gd name="connsiteY3" fmla="*/ 260404 h 260404"/>
                          <a:gd name="connsiteX4" fmla="*/ 1624 w 160285"/>
                          <a:gd name="connsiteY4" fmla="*/ 139727 h 260404"/>
                          <a:gd name="connsiteX0" fmla="*/ 1 w 153750"/>
                          <a:gd name="connsiteY0" fmla="*/ 153117 h 273794"/>
                          <a:gd name="connsiteX1" fmla="*/ 76522 w 153750"/>
                          <a:gd name="connsiteY1" fmla="*/ 21422 h 273794"/>
                          <a:gd name="connsiteX2" fmla="*/ 151429 w 153750"/>
                          <a:gd name="connsiteY2" fmla="*/ 13390 h 273794"/>
                          <a:gd name="connsiteX3" fmla="*/ 136168 w 153750"/>
                          <a:gd name="connsiteY3" fmla="*/ 153117 h 273794"/>
                          <a:gd name="connsiteX4" fmla="*/ 75229 w 153750"/>
                          <a:gd name="connsiteY4" fmla="*/ 273794 h 273794"/>
                          <a:gd name="connsiteX5" fmla="*/ 1 w 153750"/>
                          <a:gd name="connsiteY5" fmla="*/ 153117 h 273794"/>
                          <a:gd name="connsiteX0" fmla="*/ 1 w 151369"/>
                          <a:gd name="connsiteY0" fmla="*/ 126923 h 274024"/>
                          <a:gd name="connsiteX1" fmla="*/ 74141 w 151369"/>
                          <a:gd name="connsiteY1" fmla="*/ 21422 h 274024"/>
                          <a:gd name="connsiteX2" fmla="*/ 149048 w 151369"/>
                          <a:gd name="connsiteY2" fmla="*/ 13390 h 274024"/>
                          <a:gd name="connsiteX3" fmla="*/ 133787 w 151369"/>
                          <a:gd name="connsiteY3" fmla="*/ 153117 h 274024"/>
                          <a:gd name="connsiteX4" fmla="*/ 72848 w 151369"/>
                          <a:gd name="connsiteY4" fmla="*/ 273794 h 274024"/>
                          <a:gd name="connsiteX5" fmla="*/ 1 w 151369"/>
                          <a:gd name="connsiteY5" fmla="*/ 126923 h 274024"/>
                          <a:gd name="connsiteX0" fmla="*/ 36030 w 187398"/>
                          <a:gd name="connsiteY0" fmla="*/ 126923 h 273805"/>
                          <a:gd name="connsiteX1" fmla="*/ 110170 w 187398"/>
                          <a:gd name="connsiteY1" fmla="*/ 21422 h 273805"/>
                          <a:gd name="connsiteX2" fmla="*/ 185077 w 187398"/>
                          <a:gd name="connsiteY2" fmla="*/ 13390 h 273805"/>
                          <a:gd name="connsiteX3" fmla="*/ 169816 w 187398"/>
                          <a:gd name="connsiteY3" fmla="*/ 153117 h 273805"/>
                          <a:gd name="connsiteX4" fmla="*/ 108877 w 187398"/>
                          <a:gd name="connsiteY4" fmla="*/ 273794 h 273805"/>
                          <a:gd name="connsiteX5" fmla="*/ 3013 w 187398"/>
                          <a:gd name="connsiteY5" fmla="*/ 147628 h 273805"/>
                          <a:gd name="connsiteX6" fmla="*/ 36030 w 187398"/>
                          <a:gd name="connsiteY6" fmla="*/ 126923 h 273805"/>
                          <a:gd name="connsiteX0" fmla="*/ 29569 w 188081"/>
                          <a:gd name="connsiteY0" fmla="*/ 122161 h 273805"/>
                          <a:gd name="connsiteX1" fmla="*/ 110853 w 188081"/>
                          <a:gd name="connsiteY1" fmla="*/ 21422 h 273805"/>
                          <a:gd name="connsiteX2" fmla="*/ 185760 w 188081"/>
                          <a:gd name="connsiteY2" fmla="*/ 13390 h 273805"/>
                          <a:gd name="connsiteX3" fmla="*/ 170499 w 188081"/>
                          <a:gd name="connsiteY3" fmla="*/ 153117 h 273805"/>
                          <a:gd name="connsiteX4" fmla="*/ 109560 w 188081"/>
                          <a:gd name="connsiteY4" fmla="*/ 273794 h 273805"/>
                          <a:gd name="connsiteX5" fmla="*/ 3696 w 188081"/>
                          <a:gd name="connsiteY5" fmla="*/ 147628 h 273805"/>
                          <a:gd name="connsiteX6" fmla="*/ 29569 w 188081"/>
                          <a:gd name="connsiteY6" fmla="*/ 122161 h 273805"/>
                          <a:gd name="connsiteX0" fmla="*/ 29569 w 188081"/>
                          <a:gd name="connsiteY0" fmla="*/ 122161 h 278812"/>
                          <a:gd name="connsiteX1" fmla="*/ 110853 w 188081"/>
                          <a:gd name="connsiteY1" fmla="*/ 21422 h 278812"/>
                          <a:gd name="connsiteX2" fmla="*/ 185760 w 188081"/>
                          <a:gd name="connsiteY2" fmla="*/ 13390 h 278812"/>
                          <a:gd name="connsiteX3" fmla="*/ 170499 w 188081"/>
                          <a:gd name="connsiteY3" fmla="*/ 153117 h 278812"/>
                          <a:gd name="connsiteX4" fmla="*/ 109560 w 188081"/>
                          <a:gd name="connsiteY4" fmla="*/ 273794 h 278812"/>
                          <a:gd name="connsiteX5" fmla="*/ 32272 w 188081"/>
                          <a:gd name="connsiteY5" fmla="*/ 245260 h 278812"/>
                          <a:gd name="connsiteX6" fmla="*/ 3696 w 188081"/>
                          <a:gd name="connsiteY6" fmla="*/ 147628 h 278812"/>
                          <a:gd name="connsiteX7" fmla="*/ 29569 w 188081"/>
                          <a:gd name="connsiteY7" fmla="*/ 122161 h 278812"/>
                          <a:gd name="connsiteX0" fmla="*/ 34419 w 192931"/>
                          <a:gd name="connsiteY0" fmla="*/ 122161 h 278812"/>
                          <a:gd name="connsiteX1" fmla="*/ 115703 w 192931"/>
                          <a:gd name="connsiteY1" fmla="*/ 21422 h 278812"/>
                          <a:gd name="connsiteX2" fmla="*/ 190610 w 192931"/>
                          <a:gd name="connsiteY2" fmla="*/ 13390 h 278812"/>
                          <a:gd name="connsiteX3" fmla="*/ 175349 w 192931"/>
                          <a:gd name="connsiteY3" fmla="*/ 153117 h 278812"/>
                          <a:gd name="connsiteX4" fmla="*/ 114410 w 192931"/>
                          <a:gd name="connsiteY4" fmla="*/ 273794 h 278812"/>
                          <a:gd name="connsiteX5" fmla="*/ 37122 w 192931"/>
                          <a:gd name="connsiteY5" fmla="*/ 245260 h 278812"/>
                          <a:gd name="connsiteX6" fmla="*/ 8546 w 192931"/>
                          <a:gd name="connsiteY6" fmla="*/ 147628 h 278812"/>
                          <a:gd name="connsiteX7" fmla="*/ 34419 w 192931"/>
                          <a:gd name="connsiteY7" fmla="*/ 122161 h 278812"/>
                          <a:gd name="connsiteX0" fmla="*/ 34419 w 192931"/>
                          <a:gd name="connsiteY0" fmla="*/ 122161 h 309754"/>
                          <a:gd name="connsiteX1" fmla="*/ 115703 w 192931"/>
                          <a:gd name="connsiteY1" fmla="*/ 21422 h 309754"/>
                          <a:gd name="connsiteX2" fmla="*/ 190610 w 192931"/>
                          <a:gd name="connsiteY2" fmla="*/ 13390 h 309754"/>
                          <a:gd name="connsiteX3" fmla="*/ 175349 w 192931"/>
                          <a:gd name="connsiteY3" fmla="*/ 153117 h 309754"/>
                          <a:gd name="connsiteX4" fmla="*/ 123935 w 192931"/>
                          <a:gd name="connsiteY4" fmla="*/ 307132 h 309754"/>
                          <a:gd name="connsiteX5" fmla="*/ 37122 w 192931"/>
                          <a:gd name="connsiteY5" fmla="*/ 245260 h 309754"/>
                          <a:gd name="connsiteX6" fmla="*/ 8546 w 192931"/>
                          <a:gd name="connsiteY6" fmla="*/ 147628 h 309754"/>
                          <a:gd name="connsiteX7" fmla="*/ 34419 w 192931"/>
                          <a:gd name="connsiteY7" fmla="*/ 122161 h 309754"/>
                          <a:gd name="connsiteX0" fmla="*/ 34419 w 191783"/>
                          <a:gd name="connsiteY0" fmla="*/ 122330 h 309815"/>
                          <a:gd name="connsiteX1" fmla="*/ 115703 w 191783"/>
                          <a:gd name="connsiteY1" fmla="*/ 21591 h 309815"/>
                          <a:gd name="connsiteX2" fmla="*/ 190610 w 191783"/>
                          <a:gd name="connsiteY2" fmla="*/ 13559 h 309815"/>
                          <a:gd name="connsiteX3" fmla="*/ 163443 w 191783"/>
                          <a:gd name="connsiteY3" fmla="*/ 155667 h 309815"/>
                          <a:gd name="connsiteX4" fmla="*/ 123935 w 191783"/>
                          <a:gd name="connsiteY4" fmla="*/ 307301 h 309815"/>
                          <a:gd name="connsiteX5" fmla="*/ 37122 w 191783"/>
                          <a:gd name="connsiteY5" fmla="*/ 245429 h 309815"/>
                          <a:gd name="connsiteX6" fmla="*/ 8546 w 191783"/>
                          <a:gd name="connsiteY6" fmla="*/ 147797 h 309815"/>
                          <a:gd name="connsiteX7" fmla="*/ 34419 w 191783"/>
                          <a:gd name="connsiteY7" fmla="*/ 122330 h 309815"/>
                          <a:gd name="connsiteX0" fmla="*/ 34419 w 201084"/>
                          <a:gd name="connsiteY0" fmla="*/ 122330 h 309815"/>
                          <a:gd name="connsiteX1" fmla="*/ 115703 w 201084"/>
                          <a:gd name="connsiteY1" fmla="*/ 21591 h 309815"/>
                          <a:gd name="connsiteX2" fmla="*/ 200135 w 201084"/>
                          <a:gd name="connsiteY2" fmla="*/ 13559 h 309815"/>
                          <a:gd name="connsiteX3" fmla="*/ 163443 w 201084"/>
                          <a:gd name="connsiteY3" fmla="*/ 155667 h 309815"/>
                          <a:gd name="connsiteX4" fmla="*/ 123935 w 201084"/>
                          <a:gd name="connsiteY4" fmla="*/ 307301 h 309815"/>
                          <a:gd name="connsiteX5" fmla="*/ 37122 w 201084"/>
                          <a:gd name="connsiteY5" fmla="*/ 245429 h 309815"/>
                          <a:gd name="connsiteX6" fmla="*/ 8546 w 201084"/>
                          <a:gd name="connsiteY6" fmla="*/ 147797 h 309815"/>
                          <a:gd name="connsiteX7" fmla="*/ 34419 w 201084"/>
                          <a:gd name="connsiteY7" fmla="*/ 122330 h 309815"/>
                          <a:gd name="connsiteX0" fmla="*/ 34419 w 202894"/>
                          <a:gd name="connsiteY0" fmla="*/ 125390 h 312875"/>
                          <a:gd name="connsiteX1" fmla="*/ 115703 w 202894"/>
                          <a:gd name="connsiteY1" fmla="*/ 24651 h 312875"/>
                          <a:gd name="connsiteX2" fmla="*/ 200135 w 202894"/>
                          <a:gd name="connsiteY2" fmla="*/ 16619 h 312875"/>
                          <a:gd name="connsiteX3" fmla="*/ 163443 w 202894"/>
                          <a:gd name="connsiteY3" fmla="*/ 158727 h 312875"/>
                          <a:gd name="connsiteX4" fmla="*/ 123935 w 202894"/>
                          <a:gd name="connsiteY4" fmla="*/ 310361 h 312875"/>
                          <a:gd name="connsiteX5" fmla="*/ 37122 w 202894"/>
                          <a:gd name="connsiteY5" fmla="*/ 248489 h 312875"/>
                          <a:gd name="connsiteX6" fmla="*/ 8546 w 202894"/>
                          <a:gd name="connsiteY6" fmla="*/ 150857 h 312875"/>
                          <a:gd name="connsiteX7" fmla="*/ 34419 w 202894"/>
                          <a:gd name="connsiteY7" fmla="*/ 125390 h 312875"/>
                          <a:gd name="connsiteX0" fmla="*/ 34419 w 202894"/>
                          <a:gd name="connsiteY0" fmla="*/ 121862 h 309347"/>
                          <a:gd name="connsiteX1" fmla="*/ 91889 w 202894"/>
                          <a:gd name="connsiteY1" fmla="*/ 75892 h 309347"/>
                          <a:gd name="connsiteX2" fmla="*/ 115703 w 202894"/>
                          <a:gd name="connsiteY2" fmla="*/ 21123 h 309347"/>
                          <a:gd name="connsiteX3" fmla="*/ 200135 w 202894"/>
                          <a:gd name="connsiteY3" fmla="*/ 13091 h 309347"/>
                          <a:gd name="connsiteX4" fmla="*/ 163443 w 202894"/>
                          <a:gd name="connsiteY4" fmla="*/ 155199 h 309347"/>
                          <a:gd name="connsiteX5" fmla="*/ 123935 w 202894"/>
                          <a:gd name="connsiteY5" fmla="*/ 306833 h 309347"/>
                          <a:gd name="connsiteX6" fmla="*/ 37122 w 202894"/>
                          <a:gd name="connsiteY6" fmla="*/ 244961 h 309347"/>
                          <a:gd name="connsiteX7" fmla="*/ 8546 w 202894"/>
                          <a:gd name="connsiteY7" fmla="*/ 147329 h 309347"/>
                          <a:gd name="connsiteX8" fmla="*/ 34419 w 202894"/>
                          <a:gd name="connsiteY8" fmla="*/ 121862 h 309347"/>
                          <a:gd name="connsiteX0" fmla="*/ 34419 w 202894"/>
                          <a:gd name="connsiteY0" fmla="*/ 121862 h 309347"/>
                          <a:gd name="connsiteX1" fmla="*/ 84745 w 202894"/>
                          <a:gd name="connsiteY1" fmla="*/ 71130 h 309347"/>
                          <a:gd name="connsiteX2" fmla="*/ 115703 w 202894"/>
                          <a:gd name="connsiteY2" fmla="*/ 21123 h 309347"/>
                          <a:gd name="connsiteX3" fmla="*/ 200135 w 202894"/>
                          <a:gd name="connsiteY3" fmla="*/ 13091 h 309347"/>
                          <a:gd name="connsiteX4" fmla="*/ 163443 w 202894"/>
                          <a:gd name="connsiteY4" fmla="*/ 155199 h 309347"/>
                          <a:gd name="connsiteX5" fmla="*/ 123935 w 202894"/>
                          <a:gd name="connsiteY5" fmla="*/ 306833 h 309347"/>
                          <a:gd name="connsiteX6" fmla="*/ 37122 w 202894"/>
                          <a:gd name="connsiteY6" fmla="*/ 244961 h 309347"/>
                          <a:gd name="connsiteX7" fmla="*/ 8546 w 202894"/>
                          <a:gd name="connsiteY7" fmla="*/ 147329 h 309347"/>
                          <a:gd name="connsiteX8" fmla="*/ 34419 w 202894"/>
                          <a:gd name="connsiteY8" fmla="*/ 121862 h 30934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</a:cxnLst>
                        <a:rect l="l" t="t" r="r" b="b"/>
                        <a:pathLst>
                          <a:path w="202894" h="309347">
                            <a:moveTo>
                              <a:pt x="34419" y="121862"/>
                            </a:moveTo>
                            <a:cubicBezTo>
                              <a:pt x="47119" y="109162"/>
                              <a:pt x="71198" y="87920"/>
                              <a:pt x="84745" y="71130"/>
                            </a:cubicBezTo>
                            <a:cubicBezTo>
                              <a:pt x="98292" y="54340"/>
                              <a:pt x="95281" y="30399"/>
                              <a:pt x="115703" y="21123"/>
                            </a:cubicBezTo>
                            <a:cubicBezTo>
                              <a:pt x="136125" y="11847"/>
                              <a:pt x="185034" y="-16399"/>
                              <a:pt x="200135" y="13091"/>
                            </a:cubicBezTo>
                            <a:cubicBezTo>
                              <a:pt x="215236" y="42581"/>
                              <a:pt x="163443" y="88551"/>
                              <a:pt x="163443" y="155199"/>
                            </a:cubicBezTo>
                            <a:cubicBezTo>
                              <a:pt x="163443" y="221847"/>
                              <a:pt x="144989" y="291873"/>
                              <a:pt x="123935" y="306833"/>
                            </a:cubicBezTo>
                            <a:cubicBezTo>
                              <a:pt x="102882" y="321793"/>
                              <a:pt x="54766" y="265989"/>
                              <a:pt x="37122" y="244961"/>
                            </a:cubicBezTo>
                            <a:cubicBezTo>
                              <a:pt x="19478" y="223933"/>
                              <a:pt x="-16403" y="173798"/>
                              <a:pt x="8546" y="147329"/>
                            </a:cubicBezTo>
                            <a:cubicBezTo>
                              <a:pt x="-3595" y="122851"/>
                              <a:pt x="21719" y="134562"/>
                              <a:pt x="34419" y="121862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4" name="Oval 259"/>
                      <p:cNvSpPr/>
                      <p:nvPr/>
                    </p:nvSpPr>
                    <p:spPr>
                      <a:xfrm>
                        <a:off x="6407020" y="4469642"/>
                        <a:ext cx="78221" cy="102358"/>
                      </a:xfrm>
                      <a:prstGeom prst="ellipse">
                        <a:avLst/>
                      </a:pr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5" name="Oval 43"/>
                      <p:cNvSpPr/>
                      <p:nvPr/>
                    </p:nvSpPr>
                    <p:spPr>
                      <a:xfrm>
                        <a:off x="5517919" y="4924304"/>
                        <a:ext cx="159840" cy="129792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74566" h="129792">
                            <a:moveTo>
                              <a:pt x="5388" y="36471"/>
                            </a:moveTo>
                            <a:cubicBezTo>
                              <a:pt x="12929" y="15035"/>
                              <a:pt x="42735" y="-4025"/>
                              <a:pt x="54265" y="738"/>
                            </a:cubicBezTo>
                            <a:cubicBezTo>
                              <a:pt x="65795" y="5501"/>
                              <a:pt x="74566" y="30845"/>
                              <a:pt x="74566" y="65046"/>
                            </a:cubicBezTo>
                            <a:cubicBezTo>
                              <a:pt x="74566" y="99247"/>
                              <a:pt x="20551" y="134117"/>
                              <a:pt x="9021" y="129354"/>
                            </a:cubicBezTo>
                            <a:cubicBezTo>
                              <a:pt x="-2509" y="124592"/>
                              <a:pt x="-2153" y="57907"/>
                              <a:pt x="5388" y="36471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6" name="Oval 45"/>
                      <p:cNvSpPr/>
                      <p:nvPr/>
                    </p:nvSpPr>
                    <p:spPr>
                      <a:xfrm rot="16200000">
                        <a:off x="6044079" y="4431995"/>
                        <a:ext cx="130607" cy="166420"/>
                      </a:xfrm>
                      <a:custGeom>
                        <a:avLst/>
                        <a:gdLst>
                          <a:gd name="connsiteX0" fmla="*/ 0 w 78221"/>
                          <a:gd name="connsiteY0" fmla="*/ 51179 h 102358"/>
                          <a:gd name="connsiteX1" fmla="*/ 39111 w 78221"/>
                          <a:gd name="connsiteY1" fmla="*/ 0 h 102358"/>
                          <a:gd name="connsiteX2" fmla="*/ 78222 w 78221"/>
                          <a:gd name="connsiteY2" fmla="*/ 51179 h 102358"/>
                          <a:gd name="connsiteX3" fmla="*/ 39111 w 78221"/>
                          <a:gd name="connsiteY3" fmla="*/ 102358 h 102358"/>
                          <a:gd name="connsiteX4" fmla="*/ 0 w 78221"/>
                          <a:gd name="connsiteY4" fmla="*/ 51179 h 102358"/>
                          <a:gd name="connsiteX0" fmla="*/ 0 w 82937"/>
                          <a:gd name="connsiteY0" fmla="*/ 62449 h 113628"/>
                          <a:gd name="connsiteX1" fmla="*/ 39111 w 82937"/>
                          <a:gd name="connsiteY1" fmla="*/ 11270 h 113628"/>
                          <a:gd name="connsiteX2" fmla="*/ 79554 w 82937"/>
                          <a:gd name="connsiteY2" fmla="*/ 4091 h 113628"/>
                          <a:gd name="connsiteX3" fmla="*/ 78222 w 82937"/>
                          <a:gd name="connsiteY3" fmla="*/ 62449 h 113628"/>
                          <a:gd name="connsiteX4" fmla="*/ 39111 w 82937"/>
                          <a:gd name="connsiteY4" fmla="*/ 113628 h 113628"/>
                          <a:gd name="connsiteX5" fmla="*/ 0 w 82937"/>
                          <a:gd name="connsiteY5" fmla="*/ 62449 h 113628"/>
                          <a:gd name="connsiteX0" fmla="*/ 0 w 82374"/>
                          <a:gd name="connsiteY0" fmla="*/ 62449 h 113667"/>
                          <a:gd name="connsiteX1" fmla="*/ 39111 w 82374"/>
                          <a:gd name="connsiteY1" fmla="*/ 11270 h 113667"/>
                          <a:gd name="connsiteX2" fmla="*/ 79554 w 82374"/>
                          <a:gd name="connsiteY2" fmla="*/ 4091 h 113667"/>
                          <a:gd name="connsiteX3" fmla="*/ 78222 w 82374"/>
                          <a:gd name="connsiteY3" fmla="*/ 62449 h 113667"/>
                          <a:gd name="connsiteX4" fmla="*/ 48597 w 82374"/>
                          <a:gd name="connsiteY4" fmla="*/ 70766 h 113667"/>
                          <a:gd name="connsiteX5" fmla="*/ 39111 w 82374"/>
                          <a:gd name="connsiteY5" fmla="*/ 113628 h 113667"/>
                          <a:gd name="connsiteX6" fmla="*/ 0 w 82374"/>
                          <a:gd name="connsiteY6" fmla="*/ 62449 h 113667"/>
                          <a:gd name="connsiteX0" fmla="*/ 0 w 81096"/>
                          <a:gd name="connsiteY0" fmla="*/ 62449 h 113667"/>
                          <a:gd name="connsiteX1" fmla="*/ 39111 w 81096"/>
                          <a:gd name="connsiteY1" fmla="*/ 11270 h 113667"/>
                          <a:gd name="connsiteX2" fmla="*/ 79554 w 81096"/>
                          <a:gd name="connsiteY2" fmla="*/ 4091 h 113667"/>
                          <a:gd name="connsiteX3" fmla="*/ 68697 w 81096"/>
                          <a:gd name="connsiteY3" fmla="*/ 48162 h 113667"/>
                          <a:gd name="connsiteX4" fmla="*/ 48597 w 81096"/>
                          <a:gd name="connsiteY4" fmla="*/ 70766 h 113667"/>
                          <a:gd name="connsiteX5" fmla="*/ 39111 w 81096"/>
                          <a:gd name="connsiteY5" fmla="*/ 113628 h 113667"/>
                          <a:gd name="connsiteX6" fmla="*/ 0 w 81096"/>
                          <a:gd name="connsiteY6" fmla="*/ 62449 h 11366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81096" h="113667">
                            <a:moveTo>
                              <a:pt x="0" y="62449"/>
                            </a:moveTo>
                            <a:cubicBezTo>
                              <a:pt x="0" y="34184"/>
                              <a:pt x="25852" y="20996"/>
                              <a:pt x="39111" y="11270"/>
                            </a:cubicBezTo>
                            <a:cubicBezTo>
                              <a:pt x="52370" y="1544"/>
                              <a:pt x="73036" y="-4439"/>
                              <a:pt x="79554" y="4091"/>
                            </a:cubicBezTo>
                            <a:cubicBezTo>
                              <a:pt x="86073" y="12621"/>
                              <a:pt x="69888" y="37050"/>
                              <a:pt x="68697" y="48162"/>
                            </a:cubicBezTo>
                            <a:cubicBezTo>
                              <a:pt x="67506" y="59275"/>
                              <a:pt x="55116" y="62236"/>
                              <a:pt x="48597" y="70766"/>
                            </a:cubicBezTo>
                            <a:cubicBezTo>
                              <a:pt x="42079" y="79296"/>
                              <a:pt x="47210" y="115014"/>
                              <a:pt x="39111" y="113628"/>
                            </a:cubicBezTo>
                            <a:cubicBezTo>
                              <a:pt x="31012" y="112242"/>
                              <a:pt x="0" y="90714"/>
                              <a:pt x="0" y="62449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7" name="Oval 43"/>
                      <p:cNvSpPr/>
                      <p:nvPr/>
                    </p:nvSpPr>
                    <p:spPr>
                      <a:xfrm>
                        <a:off x="5488371" y="4855742"/>
                        <a:ext cx="74566" cy="80591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74566" h="129792">
                            <a:moveTo>
                              <a:pt x="5388" y="36471"/>
                            </a:moveTo>
                            <a:cubicBezTo>
                              <a:pt x="12929" y="15035"/>
                              <a:pt x="42735" y="-4025"/>
                              <a:pt x="54265" y="738"/>
                            </a:cubicBezTo>
                            <a:cubicBezTo>
                              <a:pt x="65795" y="5501"/>
                              <a:pt x="74566" y="30845"/>
                              <a:pt x="74566" y="65046"/>
                            </a:cubicBezTo>
                            <a:cubicBezTo>
                              <a:pt x="74566" y="99247"/>
                              <a:pt x="20551" y="134117"/>
                              <a:pt x="9021" y="129354"/>
                            </a:cubicBezTo>
                            <a:cubicBezTo>
                              <a:pt x="-2509" y="124592"/>
                              <a:pt x="-2153" y="57907"/>
                              <a:pt x="5388" y="36471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8" name="Oval 43"/>
                      <p:cNvSpPr/>
                      <p:nvPr/>
                    </p:nvSpPr>
                    <p:spPr>
                      <a:xfrm>
                        <a:off x="5034872" y="5031643"/>
                        <a:ext cx="187617" cy="207376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  <a:gd name="connsiteX0" fmla="*/ 157 w 69335"/>
                          <a:gd name="connsiteY0" fmla="*/ 36436 h 122190"/>
                          <a:gd name="connsiteX1" fmla="*/ 49034 w 69335"/>
                          <a:gd name="connsiteY1" fmla="*/ 703 h 122190"/>
                          <a:gd name="connsiteX2" fmla="*/ 69335 w 69335"/>
                          <a:gd name="connsiteY2" fmla="*/ 65011 h 122190"/>
                          <a:gd name="connsiteX3" fmla="*/ 34746 w 69335"/>
                          <a:gd name="connsiteY3" fmla="*/ 121648 h 122190"/>
                          <a:gd name="connsiteX4" fmla="*/ 157 w 69335"/>
                          <a:gd name="connsiteY4" fmla="*/ 36436 h 122190"/>
                          <a:gd name="connsiteX0" fmla="*/ 277 w 55168"/>
                          <a:gd name="connsiteY0" fmla="*/ 51179 h 121188"/>
                          <a:gd name="connsiteX1" fmla="*/ 34867 w 55168"/>
                          <a:gd name="connsiteY1" fmla="*/ 106 h 121188"/>
                          <a:gd name="connsiteX2" fmla="*/ 55168 w 55168"/>
                          <a:gd name="connsiteY2" fmla="*/ 64414 h 121188"/>
                          <a:gd name="connsiteX3" fmla="*/ 20579 w 55168"/>
                          <a:gd name="connsiteY3" fmla="*/ 121051 h 121188"/>
                          <a:gd name="connsiteX4" fmla="*/ 277 w 55168"/>
                          <a:gd name="connsiteY4" fmla="*/ 51179 h 121188"/>
                          <a:gd name="connsiteX0" fmla="*/ 212 w 55134"/>
                          <a:gd name="connsiteY0" fmla="*/ 51178 h 121223"/>
                          <a:gd name="connsiteX1" fmla="*/ 34802 w 55134"/>
                          <a:gd name="connsiteY1" fmla="*/ 105 h 121223"/>
                          <a:gd name="connsiteX2" fmla="*/ 55103 w 55134"/>
                          <a:gd name="connsiteY2" fmla="*/ 64413 h 121223"/>
                          <a:gd name="connsiteX3" fmla="*/ 25879 w 55134"/>
                          <a:gd name="connsiteY3" fmla="*/ 70850 h 121223"/>
                          <a:gd name="connsiteX4" fmla="*/ 20514 w 55134"/>
                          <a:gd name="connsiteY4" fmla="*/ 121050 h 121223"/>
                          <a:gd name="connsiteX5" fmla="*/ 212 w 55134"/>
                          <a:gd name="connsiteY5" fmla="*/ 51178 h 121223"/>
                          <a:gd name="connsiteX0" fmla="*/ 276 w 55443"/>
                          <a:gd name="connsiteY0" fmla="*/ 51178 h 121140"/>
                          <a:gd name="connsiteX1" fmla="*/ 34866 w 55443"/>
                          <a:gd name="connsiteY1" fmla="*/ 105 h 121140"/>
                          <a:gd name="connsiteX2" fmla="*/ 55167 w 55443"/>
                          <a:gd name="connsiteY2" fmla="*/ 64413 h 121140"/>
                          <a:gd name="connsiteX3" fmla="*/ 20578 w 55443"/>
                          <a:gd name="connsiteY3" fmla="*/ 121050 h 121140"/>
                          <a:gd name="connsiteX4" fmla="*/ 276 w 55443"/>
                          <a:gd name="connsiteY4" fmla="*/ 51178 h 12114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5443" h="121140">
                            <a:moveTo>
                              <a:pt x="276" y="51178"/>
                            </a:moveTo>
                            <a:cubicBezTo>
                              <a:pt x="2657" y="31021"/>
                              <a:pt x="25718" y="-2101"/>
                              <a:pt x="34866" y="105"/>
                            </a:cubicBezTo>
                            <a:cubicBezTo>
                              <a:pt x="44014" y="2311"/>
                              <a:pt x="57548" y="44256"/>
                              <a:pt x="55167" y="64413"/>
                            </a:cubicBezTo>
                            <a:cubicBezTo>
                              <a:pt x="52786" y="84571"/>
                              <a:pt x="29726" y="123256"/>
                              <a:pt x="20578" y="121050"/>
                            </a:cubicBezTo>
                            <a:cubicBezTo>
                              <a:pt x="11430" y="118844"/>
                              <a:pt x="-2105" y="71336"/>
                              <a:pt x="276" y="51178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49" name="Oval 43"/>
                      <p:cNvSpPr/>
                      <p:nvPr/>
                    </p:nvSpPr>
                    <p:spPr>
                      <a:xfrm>
                        <a:off x="4668629" y="4595589"/>
                        <a:ext cx="186943" cy="185223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  <a:gd name="connsiteX0" fmla="*/ 157 w 69335"/>
                          <a:gd name="connsiteY0" fmla="*/ 36436 h 122190"/>
                          <a:gd name="connsiteX1" fmla="*/ 49034 w 69335"/>
                          <a:gd name="connsiteY1" fmla="*/ 703 h 122190"/>
                          <a:gd name="connsiteX2" fmla="*/ 69335 w 69335"/>
                          <a:gd name="connsiteY2" fmla="*/ 65011 h 122190"/>
                          <a:gd name="connsiteX3" fmla="*/ 34746 w 69335"/>
                          <a:gd name="connsiteY3" fmla="*/ 121648 h 122190"/>
                          <a:gd name="connsiteX4" fmla="*/ 157 w 69335"/>
                          <a:gd name="connsiteY4" fmla="*/ 36436 h 122190"/>
                          <a:gd name="connsiteX0" fmla="*/ 277 w 55168"/>
                          <a:gd name="connsiteY0" fmla="*/ 51179 h 121188"/>
                          <a:gd name="connsiteX1" fmla="*/ 34867 w 55168"/>
                          <a:gd name="connsiteY1" fmla="*/ 106 h 121188"/>
                          <a:gd name="connsiteX2" fmla="*/ 55168 w 55168"/>
                          <a:gd name="connsiteY2" fmla="*/ 64414 h 121188"/>
                          <a:gd name="connsiteX3" fmla="*/ 20579 w 55168"/>
                          <a:gd name="connsiteY3" fmla="*/ 121051 h 121188"/>
                          <a:gd name="connsiteX4" fmla="*/ 277 w 55168"/>
                          <a:gd name="connsiteY4" fmla="*/ 51179 h 121188"/>
                          <a:gd name="connsiteX0" fmla="*/ 212 w 55134"/>
                          <a:gd name="connsiteY0" fmla="*/ 51178 h 121223"/>
                          <a:gd name="connsiteX1" fmla="*/ 34802 w 55134"/>
                          <a:gd name="connsiteY1" fmla="*/ 105 h 121223"/>
                          <a:gd name="connsiteX2" fmla="*/ 55103 w 55134"/>
                          <a:gd name="connsiteY2" fmla="*/ 64413 h 121223"/>
                          <a:gd name="connsiteX3" fmla="*/ 25879 w 55134"/>
                          <a:gd name="connsiteY3" fmla="*/ 70850 h 121223"/>
                          <a:gd name="connsiteX4" fmla="*/ 20514 w 55134"/>
                          <a:gd name="connsiteY4" fmla="*/ 121050 h 121223"/>
                          <a:gd name="connsiteX5" fmla="*/ 212 w 55134"/>
                          <a:gd name="connsiteY5" fmla="*/ 51178 h 121223"/>
                          <a:gd name="connsiteX0" fmla="*/ 258 w 55427"/>
                          <a:gd name="connsiteY0" fmla="*/ 51178 h 126292"/>
                          <a:gd name="connsiteX1" fmla="*/ 34848 w 55427"/>
                          <a:gd name="connsiteY1" fmla="*/ 105 h 126292"/>
                          <a:gd name="connsiteX2" fmla="*/ 55149 w 55427"/>
                          <a:gd name="connsiteY2" fmla="*/ 64413 h 126292"/>
                          <a:gd name="connsiteX3" fmla="*/ 48644 w 55427"/>
                          <a:gd name="connsiteY3" fmla="*/ 114925 h 126292"/>
                          <a:gd name="connsiteX4" fmla="*/ 20560 w 55427"/>
                          <a:gd name="connsiteY4" fmla="*/ 121050 h 126292"/>
                          <a:gd name="connsiteX5" fmla="*/ 258 w 55427"/>
                          <a:gd name="connsiteY5" fmla="*/ 51178 h 126292"/>
                          <a:gd name="connsiteX0" fmla="*/ 75 w 55244"/>
                          <a:gd name="connsiteY0" fmla="*/ 55807 h 130921"/>
                          <a:gd name="connsiteX1" fmla="*/ 27565 w 55244"/>
                          <a:gd name="connsiteY1" fmla="*/ 94 h 130921"/>
                          <a:gd name="connsiteX2" fmla="*/ 54966 w 55244"/>
                          <a:gd name="connsiteY2" fmla="*/ 69042 h 130921"/>
                          <a:gd name="connsiteX3" fmla="*/ 48461 w 55244"/>
                          <a:gd name="connsiteY3" fmla="*/ 119554 h 130921"/>
                          <a:gd name="connsiteX4" fmla="*/ 20377 w 55244"/>
                          <a:gd name="connsiteY4" fmla="*/ 125679 h 130921"/>
                          <a:gd name="connsiteX5" fmla="*/ 75 w 55244"/>
                          <a:gd name="connsiteY5" fmla="*/ 55807 h 130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55244" h="130921">
                            <a:moveTo>
                              <a:pt x="75" y="55807"/>
                            </a:moveTo>
                            <a:cubicBezTo>
                              <a:pt x="1273" y="34876"/>
                              <a:pt x="18417" y="-2112"/>
                              <a:pt x="27565" y="94"/>
                            </a:cubicBezTo>
                            <a:cubicBezTo>
                              <a:pt x="36713" y="2300"/>
                              <a:pt x="53933" y="51781"/>
                              <a:pt x="54966" y="69042"/>
                            </a:cubicBezTo>
                            <a:cubicBezTo>
                              <a:pt x="55999" y="86303"/>
                              <a:pt x="54226" y="110115"/>
                              <a:pt x="48461" y="119554"/>
                            </a:cubicBezTo>
                            <a:cubicBezTo>
                              <a:pt x="42696" y="128994"/>
                              <a:pt x="28441" y="136303"/>
                              <a:pt x="20377" y="125679"/>
                            </a:cubicBezTo>
                            <a:cubicBezTo>
                              <a:pt x="12313" y="115055"/>
                              <a:pt x="-1123" y="76738"/>
                              <a:pt x="75" y="55807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50" name="Oval 43"/>
                      <p:cNvSpPr/>
                      <p:nvPr/>
                    </p:nvSpPr>
                    <p:spPr>
                      <a:xfrm>
                        <a:off x="4943864" y="5488664"/>
                        <a:ext cx="186687" cy="128816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  <a:gd name="connsiteX0" fmla="*/ 157 w 69335"/>
                          <a:gd name="connsiteY0" fmla="*/ 36436 h 122190"/>
                          <a:gd name="connsiteX1" fmla="*/ 49034 w 69335"/>
                          <a:gd name="connsiteY1" fmla="*/ 703 h 122190"/>
                          <a:gd name="connsiteX2" fmla="*/ 69335 w 69335"/>
                          <a:gd name="connsiteY2" fmla="*/ 65011 h 122190"/>
                          <a:gd name="connsiteX3" fmla="*/ 34746 w 69335"/>
                          <a:gd name="connsiteY3" fmla="*/ 121648 h 122190"/>
                          <a:gd name="connsiteX4" fmla="*/ 157 w 69335"/>
                          <a:gd name="connsiteY4" fmla="*/ 36436 h 122190"/>
                          <a:gd name="connsiteX0" fmla="*/ 277 w 55168"/>
                          <a:gd name="connsiteY0" fmla="*/ 51179 h 121188"/>
                          <a:gd name="connsiteX1" fmla="*/ 34867 w 55168"/>
                          <a:gd name="connsiteY1" fmla="*/ 106 h 121188"/>
                          <a:gd name="connsiteX2" fmla="*/ 55168 w 55168"/>
                          <a:gd name="connsiteY2" fmla="*/ 64414 h 121188"/>
                          <a:gd name="connsiteX3" fmla="*/ 20579 w 55168"/>
                          <a:gd name="connsiteY3" fmla="*/ 121051 h 121188"/>
                          <a:gd name="connsiteX4" fmla="*/ 277 w 55168"/>
                          <a:gd name="connsiteY4" fmla="*/ 51179 h 12118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5168" h="121188">
                            <a:moveTo>
                              <a:pt x="277" y="51179"/>
                            </a:moveTo>
                            <a:cubicBezTo>
                              <a:pt x="2658" y="31022"/>
                              <a:pt x="25719" y="-2100"/>
                              <a:pt x="34867" y="106"/>
                            </a:cubicBezTo>
                            <a:cubicBezTo>
                              <a:pt x="44015" y="2312"/>
                              <a:pt x="55168" y="30213"/>
                              <a:pt x="55168" y="64414"/>
                            </a:cubicBezTo>
                            <a:cubicBezTo>
                              <a:pt x="55168" y="98615"/>
                              <a:pt x="29727" y="123257"/>
                              <a:pt x="20579" y="121051"/>
                            </a:cubicBezTo>
                            <a:cubicBezTo>
                              <a:pt x="11431" y="118845"/>
                              <a:pt x="-2104" y="71337"/>
                              <a:pt x="277" y="51179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  <p:sp>
                    <p:nvSpPr>
                      <p:cNvPr id="1051" name="Oval 43"/>
                      <p:cNvSpPr/>
                      <p:nvPr/>
                    </p:nvSpPr>
                    <p:spPr>
                      <a:xfrm rot="18580113">
                        <a:off x="4931643" y="5929887"/>
                        <a:ext cx="154286" cy="81761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  <a:gd name="connsiteX0" fmla="*/ 157 w 69335"/>
                          <a:gd name="connsiteY0" fmla="*/ 36436 h 122190"/>
                          <a:gd name="connsiteX1" fmla="*/ 49034 w 69335"/>
                          <a:gd name="connsiteY1" fmla="*/ 703 h 122190"/>
                          <a:gd name="connsiteX2" fmla="*/ 69335 w 69335"/>
                          <a:gd name="connsiteY2" fmla="*/ 65011 h 122190"/>
                          <a:gd name="connsiteX3" fmla="*/ 34746 w 69335"/>
                          <a:gd name="connsiteY3" fmla="*/ 121648 h 122190"/>
                          <a:gd name="connsiteX4" fmla="*/ 157 w 69335"/>
                          <a:gd name="connsiteY4" fmla="*/ 36436 h 122190"/>
                          <a:gd name="connsiteX0" fmla="*/ 277 w 55168"/>
                          <a:gd name="connsiteY0" fmla="*/ 51179 h 121188"/>
                          <a:gd name="connsiteX1" fmla="*/ 34867 w 55168"/>
                          <a:gd name="connsiteY1" fmla="*/ 106 h 121188"/>
                          <a:gd name="connsiteX2" fmla="*/ 55168 w 55168"/>
                          <a:gd name="connsiteY2" fmla="*/ 64414 h 121188"/>
                          <a:gd name="connsiteX3" fmla="*/ 20579 w 55168"/>
                          <a:gd name="connsiteY3" fmla="*/ 121051 h 121188"/>
                          <a:gd name="connsiteX4" fmla="*/ 277 w 55168"/>
                          <a:gd name="connsiteY4" fmla="*/ 51179 h 12118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5168" h="121188">
                            <a:moveTo>
                              <a:pt x="277" y="51179"/>
                            </a:moveTo>
                            <a:cubicBezTo>
                              <a:pt x="2658" y="31022"/>
                              <a:pt x="25719" y="-2100"/>
                              <a:pt x="34867" y="106"/>
                            </a:cubicBezTo>
                            <a:cubicBezTo>
                              <a:pt x="44015" y="2312"/>
                              <a:pt x="55168" y="30213"/>
                              <a:pt x="55168" y="64414"/>
                            </a:cubicBezTo>
                            <a:cubicBezTo>
                              <a:pt x="55168" y="98615"/>
                              <a:pt x="29727" y="123257"/>
                              <a:pt x="20579" y="121051"/>
                            </a:cubicBezTo>
                            <a:cubicBezTo>
                              <a:pt x="11431" y="118845"/>
                              <a:pt x="-2104" y="71337"/>
                              <a:pt x="277" y="51179"/>
                            </a:cubicBezTo>
                            <a:close/>
                          </a:path>
                        </a:pathLst>
                      </a:custGeom>
                      <a:grpFill/>
                      <a:ln w="6350">
                        <a:noFill/>
                        <a:prstDash val="dash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>
                          <a:solidFill>
                            <a:prstClr val="black"/>
                          </a:solidFill>
                        </a:endParaRPr>
                      </a:p>
                    </p:txBody>
                  </p:sp>
                </p:grpSp>
                <p:grpSp>
                  <p:nvGrpSpPr>
                    <p:cNvPr id="1038" name="Group 253"/>
                    <p:cNvGrpSpPr/>
                    <p:nvPr/>
                  </p:nvGrpSpPr>
                  <p:grpSpPr>
                    <a:xfrm>
                      <a:off x="6092919" y="2536350"/>
                      <a:ext cx="1655171" cy="3580622"/>
                      <a:chOff x="4595835" y="2588621"/>
                      <a:chExt cx="1655171" cy="3580622"/>
                    </a:xfrm>
                    <a:grpFill/>
                  </p:grpSpPr>
                  <p:sp>
                    <p:nvSpPr>
                      <p:cNvPr id="1039" name="Oval 43"/>
                      <p:cNvSpPr/>
                      <p:nvPr/>
                    </p:nvSpPr>
                    <p:spPr>
                      <a:xfrm>
                        <a:off x="4595835" y="4470968"/>
                        <a:ext cx="226201" cy="328134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  <a:gd name="connsiteX0" fmla="*/ 157 w 69335"/>
                          <a:gd name="connsiteY0" fmla="*/ 36436 h 122190"/>
                          <a:gd name="connsiteX1" fmla="*/ 49034 w 69335"/>
                          <a:gd name="connsiteY1" fmla="*/ 703 h 122190"/>
                          <a:gd name="connsiteX2" fmla="*/ 69335 w 69335"/>
                          <a:gd name="connsiteY2" fmla="*/ 65011 h 122190"/>
                          <a:gd name="connsiteX3" fmla="*/ 34746 w 69335"/>
                          <a:gd name="connsiteY3" fmla="*/ 121648 h 122190"/>
                          <a:gd name="connsiteX4" fmla="*/ 157 w 69335"/>
                          <a:gd name="connsiteY4" fmla="*/ 36436 h 122190"/>
                          <a:gd name="connsiteX0" fmla="*/ 277 w 55168"/>
                          <a:gd name="connsiteY0" fmla="*/ 51179 h 121188"/>
                          <a:gd name="connsiteX1" fmla="*/ 34867 w 55168"/>
                          <a:gd name="connsiteY1" fmla="*/ 106 h 121188"/>
                          <a:gd name="connsiteX2" fmla="*/ 55168 w 55168"/>
                          <a:gd name="connsiteY2" fmla="*/ 64414 h 121188"/>
                          <a:gd name="connsiteX3" fmla="*/ 20579 w 55168"/>
                          <a:gd name="connsiteY3" fmla="*/ 121051 h 121188"/>
                          <a:gd name="connsiteX4" fmla="*/ 277 w 55168"/>
                          <a:gd name="connsiteY4" fmla="*/ 51179 h 121188"/>
                          <a:gd name="connsiteX0" fmla="*/ 212 w 55134"/>
                          <a:gd name="connsiteY0" fmla="*/ 51178 h 121223"/>
                          <a:gd name="connsiteX1" fmla="*/ 34802 w 55134"/>
                          <a:gd name="connsiteY1" fmla="*/ 105 h 121223"/>
                          <a:gd name="connsiteX2" fmla="*/ 55103 w 55134"/>
                          <a:gd name="connsiteY2" fmla="*/ 64413 h 121223"/>
                          <a:gd name="connsiteX3" fmla="*/ 25879 w 55134"/>
                          <a:gd name="connsiteY3" fmla="*/ 70850 h 121223"/>
                          <a:gd name="connsiteX4" fmla="*/ 20514 w 55134"/>
                          <a:gd name="connsiteY4" fmla="*/ 121050 h 121223"/>
                          <a:gd name="connsiteX5" fmla="*/ 212 w 55134"/>
                          <a:gd name="connsiteY5" fmla="*/ 51178 h 121223"/>
                          <a:gd name="connsiteX0" fmla="*/ 258 w 55427"/>
                          <a:gd name="connsiteY0" fmla="*/ 51178 h 126292"/>
                          <a:gd name="connsiteX1" fmla="*/ 34848 w 55427"/>
                          <a:gd name="connsiteY1" fmla="*/ 105 h 126292"/>
                          <a:gd name="connsiteX2" fmla="*/ 55149 w 55427"/>
                          <a:gd name="connsiteY2" fmla="*/ 64413 h 126292"/>
                          <a:gd name="connsiteX3" fmla="*/ 48644 w 55427"/>
                          <a:gd name="connsiteY3" fmla="*/ 114925 h 126292"/>
                          <a:gd name="connsiteX4" fmla="*/ 20560 w 55427"/>
                          <a:gd name="connsiteY4" fmla="*/ 121050 h 126292"/>
                          <a:gd name="connsiteX5" fmla="*/ 258 w 55427"/>
                          <a:gd name="connsiteY5" fmla="*/ 51178 h 126292"/>
                          <a:gd name="connsiteX0" fmla="*/ 75 w 55244"/>
                          <a:gd name="connsiteY0" fmla="*/ 55807 h 130921"/>
                          <a:gd name="connsiteX1" fmla="*/ 27565 w 55244"/>
                          <a:gd name="connsiteY1" fmla="*/ 94 h 130921"/>
                          <a:gd name="connsiteX2" fmla="*/ 54966 w 55244"/>
                          <a:gd name="connsiteY2" fmla="*/ 69042 h 130921"/>
                          <a:gd name="connsiteX3" fmla="*/ 48461 w 55244"/>
                          <a:gd name="connsiteY3" fmla="*/ 119554 h 130921"/>
                          <a:gd name="connsiteX4" fmla="*/ 20377 w 55244"/>
                          <a:gd name="connsiteY4" fmla="*/ 125679 h 130921"/>
                          <a:gd name="connsiteX5" fmla="*/ 75 w 55244"/>
                          <a:gd name="connsiteY5" fmla="*/ 55807 h 130921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55244" h="130921">
                            <a:moveTo>
                              <a:pt x="75" y="55807"/>
                            </a:moveTo>
                            <a:cubicBezTo>
                              <a:pt x="1273" y="34876"/>
                              <a:pt x="18417" y="-2112"/>
                              <a:pt x="27565" y="94"/>
                            </a:cubicBezTo>
                            <a:cubicBezTo>
                              <a:pt x="36713" y="2300"/>
                              <a:pt x="53933" y="51781"/>
                              <a:pt x="54966" y="69042"/>
                            </a:cubicBezTo>
                            <a:cubicBezTo>
                              <a:pt x="55999" y="86303"/>
                              <a:pt x="54226" y="110115"/>
                              <a:pt x="48461" y="119554"/>
                            </a:cubicBezTo>
                            <a:cubicBezTo>
                              <a:pt x="42696" y="128994"/>
                              <a:pt x="28441" y="136303"/>
                              <a:pt x="20377" y="125679"/>
                            </a:cubicBezTo>
                            <a:cubicBezTo>
                              <a:pt x="12313" y="115055"/>
                              <a:pt x="-1123" y="76738"/>
                              <a:pt x="75" y="55807"/>
                            </a:cubicBezTo>
                            <a:close/>
                          </a:path>
                        </a:pathLst>
                      </a:custGeom>
                      <a:grpFill/>
                      <a:ln w="6350" cap="flat" cmpd="sng" algn="ctr">
                        <a:noFill/>
                        <a:prstDash val="dash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 kern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1040" name="Oval 43"/>
                      <p:cNvSpPr/>
                      <p:nvPr/>
                    </p:nvSpPr>
                    <p:spPr>
                      <a:xfrm>
                        <a:off x="4792649" y="6026943"/>
                        <a:ext cx="98505" cy="142300"/>
                      </a:xfrm>
                      <a:custGeom>
                        <a:avLst/>
                        <a:gdLst>
                          <a:gd name="connsiteX0" fmla="*/ 0 w 131090"/>
                          <a:gd name="connsiteY0" fmla="*/ 61927 h 123853"/>
                          <a:gd name="connsiteX1" fmla="*/ 65545 w 131090"/>
                          <a:gd name="connsiteY1" fmla="*/ 0 h 123853"/>
                          <a:gd name="connsiteX2" fmla="*/ 131090 w 131090"/>
                          <a:gd name="connsiteY2" fmla="*/ 61927 h 123853"/>
                          <a:gd name="connsiteX3" fmla="*/ 65545 w 131090"/>
                          <a:gd name="connsiteY3" fmla="*/ 123854 h 123853"/>
                          <a:gd name="connsiteX4" fmla="*/ 0 w 131090"/>
                          <a:gd name="connsiteY4" fmla="*/ 61927 h 123853"/>
                          <a:gd name="connsiteX0" fmla="*/ 0 w 85846"/>
                          <a:gd name="connsiteY0" fmla="*/ 61931 h 123862"/>
                          <a:gd name="connsiteX1" fmla="*/ 65545 w 85846"/>
                          <a:gd name="connsiteY1" fmla="*/ 4 h 123862"/>
                          <a:gd name="connsiteX2" fmla="*/ 85846 w 85846"/>
                          <a:gd name="connsiteY2" fmla="*/ 64312 h 123862"/>
                          <a:gd name="connsiteX3" fmla="*/ 65545 w 85846"/>
                          <a:gd name="connsiteY3" fmla="*/ 123858 h 123862"/>
                          <a:gd name="connsiteX4" fmla="*/ 0 w 85846"/>
                          <a:gd name="connsiteY4" fmla="*/ 61931 h 123862"/>
                          <a:gd name="connsiteX0" fmla="*/ 0 w 69178"/>
                          <a:gd name="connsiteY0" fmla="*/ 37134 h 125753"/>
                          <a:gd name="connsiteX1" fmla="*/ 48877 w 69178"/>
                          <a:gd name="connsiteY1" fmla="*/ 1401 h 125753"/>
                          <a:gd name="connsiteX2" fmla="*/ 69178 w 69178"/>
                          <a:gd name="connsiteY2" fmla="*/ 65709 h 125753"/>
                          <a:gd name="connsiteX3" fmla="*/ 48877 w 69178"/>
                          <a:gd name="connsiteY3" fmla="*/ 125255 h 125753"/>
                          <a:gd name="connsiteX4" fmla="*/ 0 w 69178"/>
                          <a:gd name="connsiteY4" fmla="*/ 37134 h 125753"/>
                          <a:gd name="connsiteX0" fmla="*/ 5388 w 74566"/>
                          <a:gd name="connsiteY0" fmla="*/ 36471 h 129792"/>
                          <a:gd name="connsiteX1" fmla="*/ 54265 w 74566"/>
                          <a:gd name="connsiteY1" fmla="*/ 738 h 129792"/>
                          <a:gd name="connsiteX2" fmla="*/ 74566 w 74566"/>
                          <a:gd name="connsiteY2" fmla="*/ 65046 h 129792"/>
                          <a:gd name="connsiteX3" fmla="*/ 9021 w 74566"/>
                          <a:gd name="connsiteY3" fmla="*/ 129354 h 129792"/>
                          <a:gd name="connsiteX4" fmla="*/ 5388 w 74566"/>
                          <a:gd name="connsiteY4" fmla="*/ 36471 h 129792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74566" h="129792">
                            <a:moveTo>
                              <a:pt x="5388" y="36471"/>
                            </a:moveTo>
                            <a:cubicBezTo>
                              <a:pt x="12929" y="15035"/>
                              <a:pt x="42735" y="-4025"/>
                              <a:pt x="54265" y="738"/>
                            </a:cubicBezTo>
                            <a:cubicBezTo>
                              <a:pt x="65795" y="5501"/>
                              <a:pt x="74566" y="30845"/>
                              <a:pt x="74566" y="65046"/>
                            </a:cubicBezTo>
                            <a:cubicBezTo>
                              <a:pt x="74566" y="99247"/>
                              <a:pt x="20551" y="134117"/>
                              <a:pt x="9021" y="129354"/>
                            </a:cubicBezTo>
                            <a:cubicBezTo>
                              <a:pt x="-2509" y="124592"/>
                              <a:pt x="-2153" y="57907"/>
                              <a:pt x="5388" y="36471"/>
                            </a:cubicBezTo>
                            <a:close/>
                          </a:path>
                        </a:pathLst>
                      </a:custGeom>
                      <a:grpFill/>
                      <a:ln w="6350" cap="flat" cmpd="sng" algn="ctr">
                        <a:noFill/>
                        <a:prstDash val="dash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 kern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1041" name="Oval 45"/>
                      <p:cNvSpPr/>
                      <p:nvPr/>
                    </p:nvSpPr>
                    <p:spPr>
                      <a:xfrm flipH="1">
                        <a:off x="6030844" y="2740325"/>
                        <a:ext cx="220162" cy="211700"/>
                      </a:xfrm>
                      <a:custGeom>
                        <a:avLst/>
                        <a:gdLst>
                          <a:gd name="connsiteX0" fmla="*/ 0 w 78221"/>
                          <a:gd name="connsiteY0" fmla="*/ 51179 h 102358"/>
                          <a:gd name="connsiteX1" fmla="*/ 39111 w 78221"/>
                          <a:gd name="connsiteY1" fmla="*/ 0 h 102358"/>
                          <a:gd name="connsiteX2" fmla="*/ 78222 w 78221"/>
                          <a:gd name="connsiteY2" fmla="*/ 51179 h 102358"/>
                          <a:gd name="connsiteX3" fmla="*/ 39111 w 78221"/>
                          <a:gd name="connsiteY3" fmla="*/ 102358 h 102358"/>
                          <a:gd name="connsiteX4" fmla="*/ 0 w 78221"/>
                          <a:gd name="connsiteY4" fmla="*/ 51179 h 102358"/>
                          <a:gd name="connsiteX0" fmla="*/ 0 w 82937"/>
                          <a:gd name="connsiteY0" fmla="*/ 62449 h 113628"/>
                          <a:gd name="connsiteX1" fmla="*/ 39111 w 82937"/>
                          <a:gd name="connsiteY1" fmla="*/ 11270 h 113628"/>
                          <a:gd name="connsiteX2" fmla="*/ 79554 w 82937"/>
                          <a:gd name="connsiteY2" fmla="*/ 4091 h 113628"/>
                          <a:gd name="connsiteX3" fmla="*/ 78222 w 82937"/>
                          <a:gd name="connsiteY3" fmla="*/ 62449 h 113628"/>
                          <a:gd name="connsiteX4" fmla="*/ 39111 w 82937"/>
                          <a:gd name="connsiteY4" fmla="*/ 113628 h 113628"/>
                          <a:gd name="connsiteX5" fmla="*/ 0 w 82937"/>
                          <a:gd name="connsiteY5" fmla="*/ 62449 h 113628"/>
                          <a:gd name="connsiteX0" fmla="*/ 0 w 82374"/>
                          <a:gd name="connsiteY0" fmla="*/ 62449 h 113667"/>
                          <a:gd name="connsiteX1" fmla="*/ 39111 w 82374"/>
                          <a:gd name="connsiteY1" fmla="*/ 11270 h 113667"/>
                          <a:gd name="connsiteX2" fmla="*/ 79554 w 82374"/>
                          <a:gd name="connsiteY2" fmla="*/ 4091 h 113667"/>
                          <a:gd name="connsiteX3" fmla="*/ 78222 w 82374"/>
                          <a:gd name="connsiteY3" fmla="*/ 62449 h 113667"/>
                          <a:gd name="connsiteX4" fmla="*/ 48597 w 82374"/>
                          <a:gd name="connsiteY4" fmla="*/ 70766 h 113667"/>
                          <a:gd name="connsiteX5" fmla="*/ 39111 w 82374"/>
                          <a:gd name="connsiteY5" fmla="*/ 113628 h 113667"/>
                          <a:gd name="connsiteX6" fmla="*/ 0 w 82374"/>
                          <a:gd name="connsiteY6" fmla="*/ 62449 h 113667"/>
                          <a:gd name="connsiteX0" fmla="*/ 0 w 81096"/>
                          <a:gd name="connsiteY0" fmla="*/ 62449 h 113667"/>
                          <a:gd name="connsiteX1" fmla="*/ 39111 w 81096"/>
                          <a:gd name="connsiteY1" fmla="*/ 11270 h 113667"/>
                          <a:gd name="connsiteX2" fmla="*/ 79554 w 81096"/>
                          <a:gd name="connsiteY2" fmla="*/ 4091 h 113667"/>
                          <a:gd name="connsiteX3" fmla="*/ 68697 w 81096"/>
                          <a:gd name="connsiteY3" fmla="*/ 48162 h 113667"/>
                          <a:gd name="connsiteX4" fmla="*/ 48597 w 81096"/>
                          <a:gd name="connsiteY4" fmla="*/ 70766 h 113667"/>
                          <a:gd name="connsiteX5" fmla="*/ 39111 w 81096"/>
                          <a:gd name="connsiteY5" fmla="*/ 113628 h 113667"/>
                          <a:gd name="connsiteX6" fmla="*/ 0 w 81096"/>
                          <a:gd name="connsiteY6" fmla="*/ 62449 h 113667"/>
                          <a:gd name="connsiteX0" fmla="*/ 0 w 116519"/>
                          <a:gd name="connsiteY0" fmla="*/ 53187 h 113469"/>
                          <a:gd name="connsiteX1" fmla="*/ 74534 w 116519"/>
                          <a:gd name="connsiteY1" fmla="*/ 10953 h 113469"/>
                          <a:gd name="connsiteX2" fmla="*/ 114977 w 116519"/>
                          <a:gd name="connsiteY2" fmla="*/ 3774 h 113469"/>
                          <a:gd name="connsiteX3" fmla="*/ 104120 w 116519"/>
                          <a:gd name="connsiteY3" fmla="*/ 47845 h 113469"/>
                          <a:gd name="connsiteX4" fmla="*/ 84020 w 116519"/>
                          <a:gd name="connsiteY4" fmla="*/ 70449 h 113469"/>
                          <a:gd name="connsiteX5" fmla="*/ 74534 w 116519"/>
                          <a:gd name="connsiteY5" fmla="*/ 113311 h 113469"/>
                          <a:gd name="connsiteX6" fmla="*/ 0 w 116519"/>
                          <a:gd name="connsiteY6" fmla="*/ 53187 h 113469"/>
                          <a:gd name="connsiteX0" fmla="*/ 0 w 115990"/>
                          <a:gd name="connsiteY0" fmla="*/ 56348 h 116630"/>
                          <a:gd name="connsiteX1" fmla="*/ 74534 w 115990"/>
                          <a:gd name="connsiteY1" fmla="*/ 5169 h 116630"/>
                          <a:gd name="connsiteX2" fmla="*/ 114977 w 115990"/>
                          <a:gd name="connsiteY2" fmla="*/ 6935 h 116630"/>
                          <a:gd name="connsiteX3" fmla="*/ 104120 w 115990"/>
                          <a:gd name="connsiteY3" fmla="*/ 51006 h 116630"/>
                          <a:gd name="connsiteX4" fmla="*/ 84020 w 115990"/>
                          <a:gd name="connsiteY4" fmla="*/ 73610 h 116630"/>
                          <a:gd name="connsiteX5" fmla="*/ 74534 w 115990"/>
                          <a:gd name="connsiteY5" fmla="*/ 116472 h 116630"/>
                          <a:gd name="connsiteX6" fmla="*/ 0 w 115990"/>
                          <a:gd name="connsiteY6" fmla="*/ 56348 h 116630"/>
                          <a:gd name="connsiteX0" fmla="*/ 0 w 98279"/>
                          <a:gd name="connsiteY0" fmla="*/ 60176 h 116822"/>
                          <a:gd name="connsiteX1" fmla="*/ 56823 w 98279"/>
                          <a:gd name="connsiteY1" fmla="*/ 5418 h 116822"/>
                          <a:gd name="connsiteX2" fmla="*/ 97266 w 98279"/>
                          <a:gd name="connsiteY2" fmla="*/ 7184 h 116822"/>
                          <a:gd name="connsiteX3" fmla="*/ 86409 w 98279"/>
                          <a:gd name="connsiteY3" fmla="*/ 51255 h 116822"/>
                          <a:gd name="connsiteX4" fmla="*/ 66309 w 98279"/>
                          <a:gd name="connsiteY4" fmla="*/ 73859 h 116822"/>
                          <a:gd name="connsiteX5" fmla="*/ 56823 w 98279"/>
                          <a:gd name="connsiteY5" fmla="*/ 116721 h 116822"/>
                          <a:gd name="connsiteX6" fmla="*/ 0 w 98279"/>
                          <a:gd name="connsiteY6" fmla="*/ 60176 h 116822"/>
                          <a:gd name="connsiteX0" fmla="*/ 32 w 98311"/>
                          <a:gd name="connsiteY0" fmla="*/ 60176 h 143617"/>
                          <a:gd name="connsiteX1" fmla="*/ 56855 w 98311"/>
                          <a:gd name="connsiteY1" fmla="*/ 5418 h 143617"/>
                          <a:gd name="connsiteX2" fmla="*/ 97298 w 98311"/>
                          <a:gd name="connsiteY2" fmla="*/ 7184 h 143617"/>
                          <a:gd name="connsiteX3" fmla="*/ 86441 w 98311"/>
                          <a:gd name="connsiteY3" fmla="*/ 51255 h 143617"/>
                          <a:gd name="connsiteX4" fmla="*/ 66341 w 98311"/>
                          <a:gd name="connsiteY4" fmla="*/ 73859 h 143617"/>
                          <a:gd name="connsiteX5" fmla="*/ 48983 w 98311"/>
                          <a:gd name="connsiteY5" fmla="*/ 143558 h 143617"/>
                          <a:gd name="connsiteX6" fmla="*/ 32 w 98311"/>
                          <a:gd name="connsiteY6" fmla="*/ 60176 h 143617"/>
                          <a:gd name="connsiteX0" fmla="*/ 35 w 98314"/>
                          <a:gd name="connsiteY0" fmla="*/ 60176 h 146451"/>
                          <a:gd name="connsiteX1" fmla="*/ 56858 w 98314"/>
                          <a:gd name="connsiteY1" fmla="*/ 5418 h 146451"/>
                          <a:gd name="connsiteX2" fmla="*/ 97301 w 98314"/>
                          <a:gd name="connsiteY2" fmla="*/ 7184 h 146451"/>
                          <a:gd name="connsiteX3" fmla="*/ 86444 w 98314"/>
                          <a:gd name="connsiteY3" fmla="*/ 51255 h 146451"/>
                          <a:gd name="connsiteX4" fmla="*/ 66344 w 98314"/>
                          <a:gd name="connsiteY4" fmla="*/ 73859 h 146451"/>
                          <a:gd name="connsiteX5" fmla="*/ 86885 w 98314"/>
                          <a:gd name="connsiteY5" fmla="*/ 122368 h 146451"/>
                          <a:gd name="connsiteX6" fmla="*/ 48986 w 98314"/>
                          <a:gd name="connsiteY6" fmla="*/ 143558 h 146451"/>
                          <a:gd name="connsiteX7" fmla="*/ 35 w 98314"/>
                          <a:gd name="connsiteY7" fmla="*/ 60176 h 146451"/>
                          <a:gd name="connsiteX0" fmla="*/ 35 w 98314"/>
                          <a:gd name="connsiteY0" fmla="*/ 60176 h 146451"/>
                          <a:gd name="connsiteX1" fmla="*/ 56858 w 98314"/>
                          <a:gd name="connsiteY1" fmla="*/ 5418 h 146451"/>
                          <a:gd name="connsiteX2" fmla="*/ 97301 w 98314"/>
                          <a:gd name="connsiteY2" fmla="*/ 7184 h 146451"/>
                          <a:gd name="connsiteX3" fmla="*/ 86444 w 98314"/>
                          <a:gd name="connsiteY3" fmla="*/ 51255 h 146451"/>
                          <a:gd name="connsiteX4" fmla="*/ 66344 w 98314"/>
                          <a:gd name="connsiteY4" fmla="*/ 73859 h 146451"/>
                          <a:gd name="connsiteX5" fmla="*/ 86885 w 98314"/>
                          <a:gd name="connsiteY5" fmla="*/ 122368 h 146451"/>
                          <a:gd name="connsiteX6" fmla="*/ 48986 w 98314"/>
                          <a:gd name="connsiteY6" fmla="*/ 143558 h 146451"/>
                          <a:gd name="connsiteX7" fmla="*/ 35 w 98314"/>
                          <a:gd name="connsiteY7" fmla="*/ 60176 h 146451"/>
                          <a:gd name="connsiteX0" fmla="*/ 35 w 168112"/>
                          <a:gd name="connsiteY0" fmla="*/ 60176 h 146451"/>
                          <a:gd name="connsiteX1" fmla="*/ 56858 w 168112"/>
                          <a:gd name="connsiteY1" fmla="*/ 5418 h 146451"/>
                          <a:gd name="connsiteX2" fmla="*/ 97301 w 168112"/>
                          <a:gd name="connsiteY2" fmla="*/ 7184 h 146451"/>
                          <a:gd name="connsiteX3" fmla="*/ 86444 w 168112"/>
                          <a:gd name="connsiteY3" fmla="*/ 51255 h 146451"/>
                          <a:gd name="connsiteX4" fmla="*/ 167915 w 168112"/>
                          <a:gd name="connsiteY4" fmla="*/ 103407 h 146451"/>
                          <a:gd name="connsiteX5" fmla="*/ 86885 w 168112"/>
                          <a:gd name="connsiteY5" fmla="*/ 122368 h 146451"/>
                          <a:gd name="connsiteX6" fmla="*/ 48986 w 168112"/>
                          <a:gd name="connsiteY6" fmla="*/ 143558 h 146451"/>
                          <a:gd name="connsiteX7" fmla="*/ 35 w 168112"/>
                          <a:gd name="connsiteY7" fmla="*/ 60176 h 146451"/>
                          <a:gd name="connsiteX0" fmla="*/ 35 w 164059"/>
                          <a:gd name="connsiteY0" fmla="*/ 60176 h 146451"/>
                          <a:gd name="connsiteX1" fmla="*/ 56858 w 164059"/>
                          <a:gd name="connsiteY1" fmla="*/ 5418 h 146451"/>
                          <a:gd name="connsiteX2" fmla="*/ 97301 w 164059"/>
                          <a:gd name="connsiteY2" fmla="*/ 7184 h 146451"/>
                          <a:gd name="connsiteX3" fmla="*/ 86444 w 164059"/>
                          <a:gd name="connsiteY3" fmla="*/ 51255 h 146451"/>
                          <a:gd name="connsiteX4" fmla="*/ 163853 w 164059"/>
                          <a:gd name="connsiteY4" fmla="*/ 108948 h 146451"/>
                          <a:gd name="connsiteX5" fmla="*/ 86885 w 164059"/>
                          <a:gd name="connsiteY5" fmla="*/ 122368 h 146451"/>
                          <a:gd name="connsiteX6" fmla="*/ 48986 w 164059"/>
                          <a:gd name="connsiteY6" fmla="*/ 143558 h 146451"/>
                          <a:gd name="connsiteX7" fmla="*/ 35 w 164059"/>
                          <a:gd name="connsiteY7" fmla="*/ 60176 h 146451"/>
                          <a:gd name="connsiteX0" fmla="*/ 35 w 163896"/>
                          <a:gd name="connsiteY0" fmla="*/ 63741 h 150016"/>
                          <a:gd name="connsiteX1" fmla="*/ 56858 w 163896"/>
                          <a:gd name="connsiteY1" fmla="*/ 8983 h 150016"/>
                          <a:gd name="connsiteX2" fmla="*/ 97301 w 163896"/>
                          <a:gd name="connsiteY2" fmla="*/ 10749 h 150016"/>
                          <a:gd name="connsiteX3" fmla="*/ 163853 w 163896"/>
                          <a:gd name="connsiteY3" fmla="*/ 112513 h 150016"/>
                          <a:gd name="connsiteX4" fmla="*/ 86885 w 163896"/>
                          <a:gd name="connsiteY4" fmla="*/ 125933 h 150016"/>
                          <a:gd name="connsiteX5" fmla="*/ 48986 w 163896"/>
                          <a:gd name="connsiteY5" fmla="*/ 147123 h 150016"/>
                          <a:gd name="connsiteX6" fmla="*/ 35 w 163896"/>
                          <a:gd name="connsiteY6" fmla="*/ 63741 h 150016"/>
                          <a:gd name="connsiteX0" fmla="*/ 44 w 163905"/>
                          <a:gd name="connsiteY0" fmla="*/ 63741 h 164747"/>
                          <a:gd name="connsiteX1" fmla="*/ 56867 w 163905"/>
                          <a:gd name="connsiteY1" fmla="*/ 8983 h 164747"/>
                          <a:gd name="connsiteX2" fmla="*/ 97310 w 163905"/>
                          <a:gd name="connsiteY2" fmla="*/ 10749 h 164747"/>
                          <a:gd name="connsiteX3" fmla="*/ 163862 w 163905"/>
                          <a:gd name="connsiteY3" fmla="*/ 112513 h 164747"/>
                          <a:gd name="connsiteX4" fmla="*/ 133617 w 163905"/>
                          <a:gd name="connsiteY4" fmla="*/ 159175 h 164747"/>
                          <a:gd name="connsiteX5" fmla="*/ 48995 w 163905"/>
                          <a:gd name="connsiteY5" fmla="*/ 147123 h 164747"/>
                          <a:gd name="connsiteX6" fmla="*/ 44 w 163905"/>
                          <a:gd name="connsiteY6" fmla="*/ 63741 h 164747"/>
                          <a:gd name="connsiteX0" fmla="*/ 44 w 174048"/>
                          <a:gd name="connsiteY0" fmla="*/ 59033 h 160039"/>
                          <a:gd name="connsiteX1" fmla="*/ 56867 w 174048"/>
                          <a:gd name="connsiteY1" fmla="*/ 4275 h 160039"/>
                          <a:gd name="connsiteX2" fmla="*/ 166378 w 174048"/>
                          <a:gd name="connsiteY2" fmla="*/ 15275 h 160039"/>
                          <a:gd name="connsiteX3" fmla="*/ 163862 w 174048"/>
                          <a:gd name="connsiteY3" fmla="*/ 107805 h 160039"/>
                          <a:gd name="connsiteX4" fmla="*/ 133617 w 174048"/>
                          <a:gd name="connsiteY4" fmla="*/ 154467 h 160039"/>
                          <a:gd name="connsiteX5" fmla="*/ 48995 w 174048"/>
                          <a:gd name="connsiteY5" fmla="*/ 142415 h 160039"/>
                          <a:gd name="connsiteX6" fmla="*/ 44 w 174048"/>
                          <a:gd name="connsiteY6" fmla="*/ 59033 h 160039"/>
                          <a:gd name="connsiteX0" fmla="*/ 44 w 181949"/>
                          <a:gd name="connsiteY0" fmla="*/ 58047 h 159053"/>
                          <a:gd name="connsiteX1" fmla="*/ 56867 w 181949"/>
                          <a:gd name="connsiteY1" fmla="*/ 3289 h 159053"/>
                          <a:gd name="connsiteX2" fmla="*/ 166378 w 181949"/>
                          <a:gd name="connsiteY2" fmla="*/ 14289 h 159053"/>
                          <a:gd name="connsiteX3" fmla="*/ 180114 w 181949"/>
                          <a:gd name="connsiteY3" fmla="*/ 80964 h 159053"/>
                          <a:gd name="connsiteX4" fmla="*/ 133617 w 181949"/>
                          <a:gd name="connsiteY4" fmla="*/ 153481 h 159053"/>
                          <a:gd name="connsiteX5" fmla="*/ 48995 w 181949"/>
                          <a:gd name="connsiteY5" fmla="*/ 141429 h 159053"/>
                          <a:gd name="connsiteX6" fmla="*/ 44 w 181949"/>
                          <a:gd name="connsiteY6" fmla="*/ 58047 h 1590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81949" h="159053">
                            <a:moveTo>
                              <a:pt x="44" y="58047"/>
                            </a:moveTo>
                            <a:cubicBezTo>
                              <a:pt x="1356" y="35024"/>
                              <a:pt x="29145" y="10582"/>
                              <a:pt x="56867" y="3289"/>
                            </a:cubicBezTo>
                            <a:cubicBezTo>
                              <a:pt x="84589" y="-4004"/>
                              <a:pt x="145837" y="1343"/>
                              <a:pt x="166378" y="14289"/>
                            </a:cubicBezTo>
                            <a:cubicBezTo>
                              <a:pt x="186919" y="27235"/>
                              <a:pt x="181850" y="61767"/>
                              <a:pt x="180114" y="80964"/>
                            </a:cubicBezTo>
                            <a:cubicBezTo>
                              <a:pt x="165757" y="91027"/>
                              <a:pt x="136510" y="141865"/>
                              <a:pt x="133617" y="153481"/>
                            </a:cubicBezTo>
                            <a:cubicBezTo>
                              <a:pt x="130724" y="165097"/>
                              <a:pt x="71257" y="157335"/>
                              <a:pt x="48995" y="141429"/>
                            </a:cubicBezTo>
                            <a:cubicBezTo>
                              <a:pt x="26733" y="125523"/>
                              <a:pt x="-1268" y="81070"/>
                              <a:pt x="44" y="58047"/>
                            </a:cubicBezTo>
                            <a:close/>
                          </a:path>
                        </a:pathLst>
                      </a:custGeom>
                      <a:grpFill/>
                      <a:ln w="6350" cap="flat" cmpd="sng" algn="ctr">
                        <a:noFill/>
                        <a:prstDash val="dash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 kern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  <p:sp>
                    <p:nvSpPr>
                      <p:cNvPr id="1042" name="Oval 45"/>
                      <p:cNvSpPr/>
                      <p:nvPr/>
                    </p:nvSpPr>
                    <p:spPr>
                      <a:xfrm flipH="1">
                        <a:off x="5360196" y="2588621"/>
                        <a:ext cx="294320" cy="166453"/>
                      </a:xfrm>
                      <a:custGeom>
                        <a:avLst/>
                        <a:gdLst>
                          <a:gd name="connsiteX0" fmla="*/ 0 w 78221"/>
                          <a:gd name="connsiteY0" fmla="*/ 51179 h 102358"/>
                          <a:gd name="connsiteX1" fmla="*/ 39111 w 78221"/>
                          <a:gd name="connsiteY1" fmla="*/ 0 h 102358"/>
                          <a:gd name="connsiteX2" fmla="*/ 78222 w 78221"/>
                          <a:gd name="connsiteY2" fmla="*/ 51179 h 102358"/>
                          <a:gd name="connsiteX3" fmla="*/ 39111 w 78221"/>
                          <a:gd name="connsiteY3" fmla="*/ 102358 h 102358"/>
                          <a:gd name="connsiteX4" fmla="*/ 0 w 78221"/>
                          <a:gd name="connsiteY4" fmla="*/ 51179 h 102358"/>
                          <a:gd name="connsiteX0" fmla="*/ 0 w 82937"/>
                          <a:gd name="connsiteY0" fmla="*/ 62449 h 113628"/>
                          <a:gd name="connsiteX1" fmla="*/ 39111 w 82937"/>
                          <a:gd name="connsiteY1" fmla="*/ 11270 h 113628"/>
                          <a:gd name="connsiteX2" fmla="*/ 79554 w 82937"/>
                          <a:gd name="connsiteY2" fmla="*/ 4091 h 113628"/>
                          <a:gd name="connsiteX3" fmla="*/ 78222 w 82937"/>
                          <a:gd name="connsiteY3" fmla="*/ 62449 h 113628"/>
                          <a:gd name="connsiteX4" fmla="*/ 39111 w 82937"/>
                          <a:gd name="connsiteY4" fmla="*/ 113628 h 113628"/>
                          <a:gd name="connsiteX5" fmla="*/ 0 w 82937"/>
                          <a:gd name="connsiteY5" fmla="*/ 62449 h 113628"/>
                          <a:gd name="connsiteX0" fmla="*/ 0 w 82374"/>
                          <a:gd name="connsiteY0" fmla="*/ 62449 h 113667"/>
                          <a:gd name="connsiteX1" fmla="*/ 39111 w 82374"/>
                          <a:gd name="connsiteY1" fmla="*/ 11270 h 113667"/>
                          <a:gd name="connsiteX2" fmla="*/ 79554 w 82374"/>
                          <a:gd name="connsiteY2" fmla="*/ 4091 h 113667"/>
                          <a:gd name="connsiteX3" fmla="*/ 78222 w 82374"/>
                          <a:gd name="connsiteY3" fmla="*/ 62449 h 113667"/>
                          <a:gd name="connsiteX4" fmla="*/ 48597 w 82374"/>
                          <a:gd name="connsiteY4" fmla="*/ 70766 h 113667"/>
                          <a:gd name="connsiteX5" fmla="*/ 39111 w 82374"/>
                          <a:gd name="connsiteY5" fmla="*/ 113628 h 113667"/>
                          <a:gd name="connsiteX6" fmla="*/ 0 w 82374"/>
                          <a:gd name="connsiteY6" fmla="*/ 62449 h 113667"/>
                          <a:gd name="connsiteX0" fmla="*/ 0 w 81096"/>
                          <a:gd name="connsiteY0" fmla="*/ 62449 h 113667"/>
                          <a:gd name="connsiteX1" fmla="*/ 39111 w 81096"/>
                          <a:gd name="connsiteY1" fmla="*/ 11270 h 113667"/>
                          <a:gd name="connsiteX2" fmla="*/ 79554 w 81096"/>
                          <a:gd name="connsiteY2" fmla="*/ 4091 h 113667"/>
                          <a:gd name="connsiteX3" fmla="*/ 68697 w 81096"/>
                          <a:gd name="connsiteY3" fmla="*/ 48162 h 113667"/>
                          <a:gd name="connsiteX4" fmla="*/ 48597 w 81096"/>
                          <a:gd name="connsiteY4" fmla="*/ 70766 h 113667"/>
                          <a:gd name="connsiteX5" fmla="*/ 39111 w 81096"/>
                          <a:gd name="connsiteY5" fmla="*/ 113628 h 113667"/>
                          <a:gd name="connsiteX6" fmla="*/ 0 w 81096"/>
                          <a:gd name="connsiteY6" fmla="*/ 62449 h 113667"/>
                          <a:gd name="connsiteX0" fmla="*/ 0 w 86793"/>
                          <a:gd name="connsiteY0" fmla="*/ 59560 h 110778"/>
                          <a:gd name="connsiteX1" fmla="*/ 39111 w 86793"/>
                          <a:gd name="connsiteY1" fmla="*/ 8381 h 110778"/>
                          <a:gd name="connsiteX2" fmla="*/ 79554 w 86793"/>
                          <a:gd name="connsiteY2" fmla="*/ 1202 h 110778"/>
                          <a:gd name="connsiteX3" fmla="*/ 86159 w 86793"/>
                          <a:gd name="connsiteY3" fmla="*/ 22340 h 110778"/>
                          <a:gd name="connsiteX4" fmla="*/ 68697 w 86793"/>
                          <a:gd name="connsiteY4" fmla="*/ 45273 h 110778"/>
                          <a:gd name="connsiteX5" fmla="*/ 48597 w 86793"/>
                          <a:gd name="connsiteY5" fmla="*/ 67877 h 110778"/>
                          <a:gd name="connsiteX6" fmla="*/ 39111 w 86793"/>
                          <a:gd name="connsiteY6" fmla="*/ 110739 h 110778"/>
                          <a:gd name="connsiteX7" fmla="*/ 0 w 86793"/>
                          <a:gd name="connsiteY7" fmla="*/ 59560 h 110778"/>
                          <a:gd name="connsiteX0" fmla="*/ 0 w 86793"/>
                          <a:gd name="connsiteY0" fmla="*/ 70311 h 121529"/>
                          <a:gd name="connsiteX1" fmla="*/ 39976 w 86793"/>
                          <a:gd name="connsiteY1" fmla="*/ 3030 h 121529"/>
                          <a:gd name="connsiteX2" fmla="*/ 79554 w 86793"/>
                          <a:gd name="connsiteY2" fmla="*/ 11953 h 121529"/>
                          <a:gd name="connsiteX3" fmla="*/ 86159 w 86793"/>
                          <a:gd name="connsiteY3" fmla="*/ 33091 h 121529"/>
                          <a:gd name="connsiteX4" fmla="*/ 68697 w 86793"/>
                          <a:gd name="connsiteY4" fmla="*/ 56024 h 121529"/>
                          <a:gd name="connsiteX5" fmla="*/ 48597 w 86793"/>
                          <a:gd name="connsiteY5" fmla="*/ 78628 h 121529"/>
                          <a:gd name="connsiteX6" fmla="*/ 39111 w 86793"/>
                          <a:gd name="connsiteY6" fmla="*/ 121490 h 121529"/>
                          <a:gd name="connsiteX7" fmla="*/ 0 w 86793"/>
                          <a:gd name="connsiteY7" fmla="*/ 70311 h 121529"/>
                          <a:gd name="connsiteX0" fmla="*/ 0 w 107046"/>
                          <a:gd name="connsiteY0" fmla="*/ 71061 h 122279"/>
                          <a:gd name="connsiteX1" fmla="*/ 39976 w 107046"/>
                          <a:gd name="connsiteY1" fmla="*/ 3780 h 122279"/>
                          <a:gd name="connsiteX2" fmla="*/ 79554 w 107046"/>
                          <a:gd name="connsiteY2" fmla="*/ 12703 h 122279"/>
                          <a:gd name="connsiteX3" fmla="*/ 106920 w 107046"/>
                          <a:gd name="connsiteY3" fmla="*/ 48153 h 122279"/>
                          <a:gd name="connsiteX4" fmla="*/ 68697 w 107046"/>
                          <a:gd name="connsiteY4" fmla="*/ 56774 h 122279"/>
                          <a:gd name="connsiteX5" fmla="*/ 48597 w 107046"/>
                          <a:gd name="connsiteY5" fmla="*/ 79378 h 122279"/>
                          <a:gd name="connsiteX6" fmla="*/ 39111 w 107046"/>
                          <a:gd name="connsiteY6" fmla="*/ 122240 h 122279"/>
                          <a:gd name="connsiteX7" fmla="*/ 0 w 107046"/>
                          <a:gd name="connsiteY7" fmla="*/ 71061 h 122279"/>
                          <a:gd name="connsiteX0" fmla="*/ 0 w 106947"/>
                          <a:gd name="connsiteY0" fmla="*/ 71061 h 122279"/>
                          <a:gd name="connsiteX1" fmla="*/ 39976 w 106947"/>
                          <a:gd name="connsiteY1" fmla="*/ 3780 h 122279"/>
                          <a:gd name="connsiteX2" fmla="*/ 79554 w 106947"/>
                          <a:gd name="connsiteY2" fmla="*/ 12703 h 122279"/>
                          <a:gd name="connsiteX3" fmla="*/ 106920 w 106947"/>
                          <a:gd name="connsiteY3" fmla="*/ 48153 h 122279"/>
                          <a:gd name="connsiteX4" fmla="*/ 74752 w 106947"/>
                          <a:gd name="connsiteY4" fmla="*/ 90767 h 122279"/>
                          <a:gd name="connsiteX5" fmla="*/ 48597 w 106947"/>
                          <a:gd name="connsiteY5" fmla="*/ 79378 h 122279"/>
                          <a:gd name="connsiteX6" fmla="*/ 39111 w 106947"/>
                          <a:gd name="connsiteY6" fmla="*/ 122240 h 122279"/>
                          <a:gd name="connsiteX7" fmla="*/ 0 w 106947"/>
                          <a:gd name="connsiteY7" fmla="*/ 71061 h 122279"/>
                          <a:gd name="connsiteX0" fmla="*/ 0 w 106947"/>
                          <a:gd name="connsiteY0" fmla="*/ 71061 h 124255"/>
                          <a:gd name="connsiteX1" fmla="*/ 39976 w 106947"/>
                          <a:gd name="connsiteY1" fmla="*/ 3780 h 124255"/>
                          <a:gd name="connsiteX2" fmla="*/ 79554 w 106947"/>
                          <a:gd name="connsiteY2" fmla="*/ 12703 h 124255"/>
                          <a:gd name="connsiteX3" fmla="*/ 106920 w 106947"/>
                          <a:gd name="connsiteY3" fmla="*/ 48153 h 124255"/>
                          <a:gd name="connsiteX4" fmla="*/ 74752 w 106947"/>
                          <a:gd name="connsiteY4" fmla="*/ 90767 h 124255"/>
                          <a:gd name="connsiteX5" fmla="*/ 55517 w 106947"/>
                          <a:gd name="connsiteY5" fmla="*/ 109792 h 124255"/>
                          <a:gd name="connsiteX6" fmla="*/ 39111 w 106947"/>
                          <a:gd name="connsiteY6" fmla="*/ 122240 h 124255"/>
                          <a:gd name="connsiteX7" fmla="*/ 0 w 106947"/>
                          <a:gd name="connsiteY7" fmla="*/ 71061 h 124255"/>
                          <a:gd name="connsiteX0" fmla="*/ 0 w 106947"/>
                          <a:gd name="connsiteY0" fmla="*/ 71061 h 125058"/>
                          <a:gd name="connsiteX1" fmla="*/ 39976 w 106947"/>
                          <a:gd name="connsiteY1" fmla="*/ 3780 h 125058"/>
                          <a:gd name="connsiteX2" fmla="*/ 79554 w 106947"/>
                          <a:gd name="connsiteY2" fmla="*/ 12703 h 125058"/>
                          <a:gd name="connsiteX3" fmla="*/ 106920 w 106947"/>
                          <a:gd name="connsiteY3" fmla="*/ 48153 h 125058"/>
                          <a:gd name="connsiteX4" fmla="*/ 74752 w 106947"/>
                          <a:gd name="connsiteY4" fmla="*/ 90767 h 125058"/>
                          <a:gd name="connsiteX5" fmla="*/ 61572 w 106947"/>
                          <a:gd name="connsiteY5" fmla="*/ 113371 h 125058"/>
                          <a:gd name="connsiteX6" fmla="*/ 39111 w 106947"/>
                          <a:gd name="connsiteY6" fmla="*/ 122240 h 125058"/>
                          <a:gd name="connsiteX7" fmla="*/ 0 w 106947"/>
                          <a:gd name="connsiteY7" fmla="*/ 71061 h 125058"/>
                          <a:gd name="connsiteX0" fmla="*/ 0 w 106920"/>
                          <a:gd name="connsiteY0" fmla="*/ 71061 h 125058"/>
                          <a:gd name="connsiteX1" fmla="*/ 39976 w 106920"/>
                          <a:gd name="connsiteY1" fmla="*/ 3780 h 125058"/>
                          <a:gd name="connsiteX2" fmla="*/ 79554 w 106920"/>
                          <a:gd name="connsiteY2" fmla="*/ 12703 h 125058"/>
                          <a:gd name="connsiteX3" fmla="*/ 106920 w 106920"/>
                          <a:gd name="connsiteY3" fmla="*/ 48153 h 125058"/>
                          <a:gd name="connsiteX4" fmla="*/ 79077 w 106920"/>
                          <a:gd name="connsiteY4" fmla="*/ 96133 h 125058"/>
                          <a:gd name="connsiteX5" fmla="*/ 61572 w 106920"/>
                          <a:gd name="connsiteY5" fmla="*/ 113371 h 125058"/>
                          <a:gd name="connsiteX6" fmla="*/ 39111 w 106920"/>
                          <a:gd name="connsiteY6" fmla="*/ 122240 h 125058"/>
                          <a:gd name="connsiteX7" fmla="*/ 0 w 106920"/>
                          <a:gd name="connsiteY7" fmla="*/ 71061 h 12505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106920" h="125058">
                            <a:moveTo>
                              <a:pt x="0" y="71061"/>
                            </a:moveTo>
                            <a:cubicBezTo>
                              <a:pt x="144" y="51318"/>
                              <a:pt x="26717" y="13506"/>
                              <a:pt x="39976" y="3780"/>
                            </a:cubicBezTo>
                            <a:cubicBezTo>
                              <a:pt x="53235" y="-5946"/>
                              <a:pt x="68397" y="5308"/>
                              <a:pt x="79554" y="12703"/>
                            </a:cubicBezTo>
                            <a:cubicBezTo>
                              <a:pt x="90711" y="20099"/>
                              <a:pt x="106999" y="34248"/>
                              <a:pt x="106920" y="48153"/>
                            </a:cubicBezTo>
                            <a:cubicBezTo>
                              <a:pt x="106841" y="62058"/>
                              <a:pt x="86635" y="85263"/>
                              <a:pt x="79077" y="96133"/>
                            </a:cubicBezTo>
                            <a:cubicBezTo>
                              <a:pt x="71519" y="107003"/>
                              <a:pt x="68091" y="104841"/>
                              <a:pt x="61572" y="113371"/>
                            </a:cubicBezTo>
                            <a:cubicBezTo>
                              <a:pt x="55054" y="121901"/>
                              <a:pt x="49373" y="129292"/>
                              <a:pt x="39111" y="122240"/>
                            </a:cubicBezTo>
                            <a:cubicBezTo>
                              <a:pt x="28849" y="115188"/>
                              <a:pt x="-144" y="90804"/>
                              <a:pt x="0" y="71061"/>
                            </a:cubicBezTo>
                            <a:close/>
                          </a:path>
                        </a:pathLst>
                      </a:custGeom>
                      <a:grpFill/>
                      <a:ln w="6350" cap="flat" cmpd="sng" algn="ctr">
                        <a:noFill/>
                        <a:prstDash val="dash"/>
                      </a:ln>
                      <a:effectLst/>
                    </p:spPr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900" kern="0">
                          <a:solidFill>
                            <a:srgbClr val="000000"/>
                          </a:solidFill>
                          <a:latin typeface="Arial"/>
                        </a:endParaRPr>
                      </a:p>
                    </p:txBody>
                  </p:sp>
                </p:grpSp>
              </p:grpSp>
              <p:grpSp>
                <p:nvGrpSpPr>
                  <p:cNvPr id="997" name="Group 210"/>
                  <p:cNvGrpSpPr>
                    <a:grpSpLocks noChangeAspect="1"/>
                  </p:cNvGrpSpPr>
                  <p:nvPr/>
                </p:nvGrpSpPr>
                <p:grpSpPr>
                  <a:xfrm>
                    <a:off x="3976580" y="2041451"/>
                    <a:ext cx="4517650" cy="4356948"/>
                    <a:chOff x="2935431" y="2097508"/>
                    <a:chExt cx="4291080" cy="3993937"/>
                  </a:xfrm>
                  <a:grpFill/>
                </p:grpSpPr>
                <p:grpSp>
                  <p:nvGrpSpPr>
                    <p:cNvPr id="1008" name="Group 211"/>
                    <p:cNvGrpSpPr/>
                    <p:nvPr/>
                  </p:nvGrpSpPr>
                  <p:grpSpPr>
                    <a:xfrm>
                      <a:off x="2935431" y="2097508"/>
                      <a:ext cx="4291080" cy="3993937"/>
                      <a:chOff x="2935431" y="2097508"/>
                      <a:chExt cx="4291080" cy="3993937"/>
                    </a:xfrm>
                    <a:grpFill/>
                  </p:grpSpPr>
                  <p:grpSp>
                    <p:nvGrpSpPr>
                      <p:cNvPr id="1012" name="Group 215"/>
                      <p:cNvGrpSpPr/>
                      <p:nvPr/>
                    </p:nvGrpSpPr>
                    <p:grpSpPr>
                      <a:xfrm>
                        <a:off x="2935431" y="2097508"/>
                        <a:ext cx="4291080" cy="3993937"/>
                        <a:chOff x="2935431" y="2097508"/>
                        <a:chExt cx="4291080" cy="3993937"/>
                      </a:xfrm>
                      <a:grpFill/>
                    </p:grpSpPr>
                    <p:sp>
                      <p:nvSpPr>
                        <p:cNvPr id="1014" name="DF"/>
                        <p:cNvSpPr/>
                        <p:nvPr/>
                      </p:nvSpPr>
                      <p:spPr bwMode="auto">
                        <a:xfrm>
                          <a:off x="5387158" y="4017701"/>
                          <a:ext cx="107052" cy="66320"/>
                        </a:xfrm>
                        <a:prstGeom prst="rect">
                          <a:avLst/>
                        </a:pr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anchor="ctr"/>
                        <a:lstStyle/>
                        <a:p>
                          <a:pPr algn="ctr">
                            <a:defRPr/>
                          </a:pPr>
                          <a:endParaRPr lang="en-US" sz="1100">
                            <a:solidFill>
                              <a:prstClr val="white"/>
                            </a:solidFill>
                          </a:endParaRPr>
                        </a:p>
                      </p:txBody>
                    </p:sp>
                    <p:grpSp>
                      <p:nvGrpSpPr>
                        <p:cNvPr id="1015" name="Group 218"/>
                        <p:cNvGrpSpPr/>
                        <p:nvPr/>
                      </p:nvGrpSpPr>
                      <p:grpSpPr>
                        <a:xfrm>
                          <a:off x="2935431" y="2097508"/>
                          <a:ext cx="4291080" cy="3993937"/>
                          <a:chOff x="2935431" y="2097508"/>
                          <a:chExt cx="4291080" cy="3993937"/>
                        </a:xfrm>
                        <a:grpFill/>
                      </p:grpSpPr>
                      <p:sp>
                        <p:nvSpPr>
                          <p:cNvPr id="1016" name="DF"/>
                          <p:cNvSpPr/>
                          <p:nvPr/>
                        </p:nvSpPr>
                        <p:spPr bwMode="auto">
                          <a:xfrm rot="10800000">
                            <a:off x="5395914" y="2130606"/>
                            <a:ext cx="48220" cy="48175"/>
                          </a:xfrm>
                          <a:custGeom>
                            <a:avLst/>
                            <a:gdLst>
                              <a:gd name="connsiteX0" fmla="*/ 0 w 92922"/>
                              <a:gd name="connsiteY0" fmla="*/ 38626 h 77251"/>
                              <a:gd name="connsiteX1" fmla="*/ 46461 w 92922"/>
                              <a:gd name="connsiteY1" fmla="*/ 0 h 77251"/>
                              <a:gd name="connsiteX2" fmla="*/ 92922 w 92922"/>
                              <a:gd name="connsiteY2" fmla="*/ 38626 h 77251"/>
                              <a:gd name="connsiteX3" fmla="*/ 46461 w 92922"/>
                              <a:gd name="connsiteY3" fmla="*/ 77252 h 77251"/>
                              <a:gd name="connsiteX4" fmla="*/ 0 w 92922"/>
                              <a:gd name="connsiteY4" fmla="*/ 38626 h 77251"/>
                              <a:gd name="connsiteX0" fmla="*/ 2773 w 95695"/>
                              <a:gd name="connsiteY0" fmla="*/ 46630 h 85256"/>
                              <a:gd name="connsiteX1" fmla="*/ 10043 w 95695"/>
                              <a:gd name="connsiteY1" fmla="*/ 3241 h 85256"/>
                              <a:gd name="connsiteX2" fmla="*/ 49234 w 95695"/>
                              <a:gd name="connsiteY2" fmla="*/ 8004 h 85256"/>
                              <a:gd name="connsiteX3" fmla="*/ 95695 w 95695"/>
                              <a:gd name="connsiteY3" fmla="*/ 46630 h 85256"/>
                              <a:gd name="connsiteX4" fmla="*/ 49234 w 95695"/>
                              <a:gd name="connsiteY4" fmla="*/ 85256 h 85256"/>
                              <a:gd name="connsiteX5" fmla="*/ 2773 w 95695"/>
                              <a:gd name="connsiteY5" fmla="*/ 46630 h 85256"/>
                              <a:gd name="connsiteX0" fmla="*/ 2217 w 98314"/>
                              <a:gd name="connsiteY0" fmla="*/ 62505 h 85631"/>
                              <a:gd name="connsiteX1" fmla="*/ 12662 w 98314"/>
                              <a:gd name="connsiteY1" fmla="*/ 3241 h 85631"/>
                              <a:gd name="connsiteX2" fmla="*/ 51853 w 98314"/>
                              <a:gd name="connsiteY2" fmla="*/ 8004 h 85631"/>
                              <a:gd name="connsiteX3" fmla="*/ 98314 w 98314"/>
                              <a:gd name="connsiteY3" fmla="*/ 46630 h 85631"/>
                              <a:gd name="connsiteX4" fmla="*/ 51853 w 98314"/>
                              <a:gd name="connsiteY4" fmla="*/ 85256 h 85631"/>
                              <a:gd name="connsiteX5" fmla="*/ 2217 w 98314"/>
                              <a:gd name="connsiteY5" fmla="*/ 62505 h 85631"/>
                              <a:gd name="connsiteX0" fmla="*/ 2659 w 98756"/>
                              <a:gd name="connsiteY0" fmla="*/ 62505 h 69284"/>
                              <a:gd name="connsiteX1" fmla="*/ 13104 w 98756"/>
                              <a:gd name="connsiteY1" fmla="*/ 3241 h 69284"/>
                              <a:gd name="connsiteX2" fmla="*/ 52295 w 98756"/>
                              <a:gd name="connsiteY2" fmla="*/ 8004 h 69284"/>
                              <a:gd name="connsiteX3" fmla="*/ 98756 w 98756"/>
                              <a:gd name="connsiteY3" fmla="*/ 46630 h 69284"/>
                              <a:gd name="connsiteX4" fmla="*/ 58645 w 98756"/>
                              <a:gd name="connsiteY4" fmla="*/ 66206 h 69284"/>
                              <a:gd name="connsiteX5" fmla="*/ 2659 w 98756"/>
                              <a:gd name="connsiteY5" fmla="*/ 62505 h 69284"/>
                              <a:gd name="connsiteX0" fmla="*/ 2659 w 98756"/>
                              <a:gd name="connsiteY0" fmla="*/ 62150 h 69531"/>
                              <a:gd name="connsiteX1" fmla="*/ 13104 w 98756"/>
                              <a:gd name="connsiteY1" fmla="*/ 2886 h 69531"/>
                              <a:gd name="connsiteX2" fmla="*/ 52295 w 98756"/>
                              <a:gd name="connsiteY2" fmla="*/ 7649 h 69531"/>
                              <a:gd name="connsiteX3" fmla="*/ 98756 w 98756"/>
                              <a:gd name="connsiteY3" fmla="*/ 36750 h 69531"/>
                              <a:gd name="connsiteX4" fmla="*/ 58645 w 98756"/>
                              <a:gd name="connsiteY4" fmla="*/ 65851 h 69531"/>
                              <a:gd name="connsiteX5" fmla="*/ 2659 w 98756"/>
                              <a:gd name="connsiteY5" fmla="*/ 62150 h 69531"/>
                              <a:gd name="connsiteX0" fmla="*/ 2659 w 98756"/>
                              <a:gd name="connsiteY0" fmla="*/ 69247 h 76628"/>
                              <a:gd name="connsiteX1" fmla="*/ 13104 w 98756"/>
                              <a:gd name="connsiteY1" fmla="*/ 9983 h 76628"/>
                              <a:gd name="connsiteX2" fmla="*/ 58645 w 98756"/>
                              <a:gd name="connsiteY2" fmla="*/ 2046 h 76628"/>
                              <a:gd name="connsiteX3" fmla="*/ 98756 w 98756"/>
                              <a:gd name="connsiteY3" fmla="*/ 43847 h 76628"/>
                              <a:gd name="connsiteX4" fmla="*/ 58645 w 98756"/>
                              <a:gd name="connsiteY4" fmla="*/ 72948 h 76628"/>
                              <a:gd name="connsiteX5" fmla="*/ 2659 w 98756"/>
                              <a:gd name="connsiteY5" fmla="*/ 69247 h 76628"/>
                              <a:gd name="connsiteX0" fmla="*/ 12211 w 108308"/>
                              <a:gd name="connsiteY0" fmla="*/ 72519 h 80420"/>
                              <a:gd name="connsiteX1" fmla="*/ 3606 w 108308"/>
                              <a:gd name="connsiteY1" fmla="*/ 4803 h 80420"/>
                              <a:gd name="connsiteX2" fmla="*/ 68197 w 108308"/>
                              <a:gd name="connsiteY2" fmla="*/ 5318 h 80420"/>
                              <a:gd name="connsiteX3" fmla="*/ 108308 w 108308"/>
                              <a:gd name="connsiteY3" fmla="*/ 47119 h 80420"/>
                              <a:gd name="connsiteX4" fmla="*/ 68197 w 108308"/>
                              <a:gd name="connsiteY4" fmla="*/ 76220 h 80420"/>
                              <a:gd name="connsiteX5" fmla="*/ 12211 w 108308"/>
                              <a:gd name="connsiteY5" fmla="*/ 72519 h 80420"/>
                              <a:gd name="connsiteX0" fmla="*/ 2818 w 127490"/>
                              <a:gd name="connsiteY0" fmla="*/ 76745 h 83125"/>
                              <a:gd name="connsiteX1" fmla="*/ 22788 w 127490"/>
                              <a:gd name="connsiteY1" fmla="*/ 4803 h 83125"/>
                              <a:gd name="connsiteX2" fmla="*/ 87379 w 127490"/>
                              <a:gd name="connsiteY2" fmla="*/ 5318 h 83125"/>
                              <a:gd name="connsiteX3" fmla="*/ 127490 w 127490"/>
                              <a:gd name="connsiteY3" fmla="*/ 47119 h 83125"/>
                              <a:gd name="connsiteX4" fmla="*/ 87379 w 127490"/>
                              <a:gd name="connsiteY4" fmla="*/ 76220 h 83125"/>
                              <a:gd name="connsiteX5" fmla="*/ 2818 w 127490"/>
                              <a:gd name="connsiteY5" fmla="*/ 76745 h 83125"/>
                              <a:gd name="connsiteX0" fmla="*/ 4020 w 128692"/>
                              <a:gd name="connsiteY0" fmla="*/ 76745 h 85175"/>
                              <a:gd name="connsiteX1" fmla="*/ 23990 w 128692"/>
                              <a:gd name="connsiteY1" fmla="*/ 4803 h 85175"/>
                              <a:gd name="connsiteX2" fmla="*/ 88581 w 128692"/>
                              <a:gd name="connsiteY2" fmla="*/ 5318 h 85175"/>
                              <a:gd name="connsiteX3" fmla="*/ 128692 w 128692"/>
                              <a:gd name="connsiteY3" fmla="*/ 47119 h 85175"/>
                              <a:gd name="connsiteX4" fmla="*/ 107631 w 128692"/>
                              <a:gd name="connsiteY4" fmla="*/ 80446 h 85175"/>
                              <a:gd name="connsiteX5" fmla="*/ 4020 w 128692"/>
                              <a:gd name="connsiteY5" fmla="*/ 76745 h 85175"/>
                              <a:gd name="connsiteX0" fmla="*/ 311 w 124983"/>
                              <a:gd name="connsiteY0" fmla="*/ 114981 h 126242"/>
                              <a:gd name="connsiteX1" fmla="*/ 71081 w 124983"/>
                              <a:gd name="connsiteY1" fmla="*/ 780 h 126242"/>
                              <a:gd name="connsiteX2" fmla="*/ 84872 w 124983"/>
                              <a:gd name="connsiteY2" fmla="*/ 43554 h 126242"/>
                              <a:gd name="connsiteX3" fmla="*/ 124983 w 124983"/>
                              <a:gd name="connsiteY3" fmla="*/ 85355 h 126242"/>
                              <a:gd name="connsiteX4" fmla="*/ 103922 w 124983"/>
                              <a:gd name="connsiteY4" fmla="*/ 118682 h 126242"/>
                              <a:gd name="connsiteX5" fmla="*/ 311 w 124983"/>
                              <a:gd name="connsiteY5" fmla="*/ 114981 h 126242"/>
                              <a:gd name="connsiteX0" fmla="*/ 3123 w 127795"/>
                              <a:gd name="connsiteY0" fmla="*/ 136754 h 149197"/>
                              <a:gd name="connsiteX1" fmla="*/ 31136 w 127795"/>
                              <a:gd name="connsiteY1" fmla="*/ 5728 h 149197"/>
                              <a:gd name="connsiteX2" fmla="*/ 73893 w 127795"/>
                              <a:gd name="connsiteY2" fmla="*/ 22553 h 149197"/>
                              <a:gd name="connsiteX3" fmla="*/ 87684 w 127795"/>
                              <a:gd name="connsiteY3" fmla="*/ 65327 h 149197"/>
                              <a:gd name="connsiteX4" fmla="*/ 127795 w 127795"/>
                              <a:gd name="connsiteY4" fmla="*/ 107128 h 149197"/>
                              <a:gd name="connsiteX5" fmla="*/ 106734 w 127795"/>
                              <a:gd name="connsiteY5" fmla="*/ 140455 h 149197"/>
                              <a:gd name="connsiteX6" fmla="*/ 3123 w 127795"/>
                              <a:gd name="connsiteY6" fmla="*/ 136754 h 149197"/>
                              <a:gd name="connsiteX0" fmla="*/ 9048 w 133720"/>
                              <a:gd name="connsiteY0" fmla="*/ 185654 h 201733"/>
                              <a:gd name="connsiteX1" fmla="*/ 8486 w 133720"/>
                              <a:gd name="connsiteY1" fmla="*/ 3916 h 201733"/>
                              <a:gd name="connsiteX2" fmla="*/ 37061 w 133720"/>
                              <a:gd name="connsiteY2" fmla="*/ 54628 h 201733"/>
                              <a:gd name="connsiteX3" fmla="*/ 79818 w 133720"/>
                              <a:gd name="connsiteY3" fmla="*/ 71453 h 201733"/>
                              <a:gd name="connsiteX4" fmla="*/ 93609 w 133720"/>
                              <a:gd name="connsiteY4" fmla="*/ 114227 h 201733"/>
                              <a:gd name="connsiteX5" fmla="*/ 133720 w 133720"/>
                              <a:gd name="connsiteY5" fmla="*/ 156028 h 201733"/>
                              <a:gd name="connsiteX6" fmla="*/ 112659 w 133720"/>
                              <a:gd name="connsiteY6" fmla="*/ 189355 h 201733"/>
                              <a:gd name="connsiteX7" fmla="*/ 9048 w 133720"/>
                              <a:gd name="connsiteY7" fmla="*/ 185654 h 201733"/>
                              <a:gd name="connsiteX0" fmla="*/ 9048 w 133720"/>
                              <a:gd name="connsiteY0" fmla="*/ 192718 h 208797"/>
                              <a:gd name="connsiteX1" fmla="*/ 8486 w 133720"/>
                              <a:gd name="connsiteY1" fmla="*/ 10980 h 208797"/>
                              <a:gd name="connsiteX2" fmla="*/ 37061 w 133720"/>
                              <a:gd name="connsiteY2" fmla="*/ 19432 h 208797"/>
                              <a:gd name="connsiteX3" fmla="*/ 37061 w 133720"/>
                              <a:gd name="connsiteY3" fmla="*/ 61692 h 208797"/>
                              <a:gd name="connsiteX4" fmla="*/ 79818 w 133720"/>
                              <a:gd name="connsiteY4" fmla="*/ 78517 h 208797"/>
                              <a:gd name="connsiteX5" fmla="*/ 93609 w 133720"/>
                              <a:gd name="connsiteY5" fmla="*/ 121291 h 208797"/>
                              <a:gd name="connsiteX6" fmla="*/ 133720 w 133720"/>
                              <a:gd name="connsiteY6" fmla="*/ 163092 h 208797"/>
                              <a:gd name="connsiteX7" fmla="*/ 112659 w 133720"/>
                              <a:gd name="connsiteY7" fmla="*/ 196419 h 208797"/>
                              <a:gd name="connsiteX8" fmla="*/ 9048 w 133720"/>
                              <a:gd name="connsiteY8" fmla="*/ 192718 h 208797"/>
                              <a:gd name="connsiteX0" fmla="*/ 33011 w 125933"/>
                              <a:gd name="connsiteY0" fmla="*/ 142007 h 196916"/>
                              <a:gd name="connsiteX1" fmla="*/ 699 w 125933"/>
                              <a:gd name="connsiteY1" fmla="*/ 10980 h 196916"/>
                              <a:gd name="connsiteX2" fmla="*/ 29274 w 125933"/>
                              <a:gd name="connsiteY2" fmla="*/ 19432 h 196916"/>
                              <a:gd name="connsiteX3" fmla="*/ 29274 w 125933"/>
                              <a:gd name="connsiteY3" fmla="*/ 61692 h 196916"/>
                              <a:gd name="connsiteX4" fmla="*/ 72031 w 125933"/>
                              <a:gd name="connsiteY4" fmla="*/ 78517 h 196916"/>
                              <a:gd name="connsiteX5" fmla="*/ 85822 w 125933"/>
                              <a:gd name="connsiteY5" fmla="*/ 121291 h 196916"/>
                              <a:gd name="connsiteX6" fmla="*/ 125933 w 125933"/>
                              <a:gd name="connsiteY6" fmla="*/ 163092 h 196916"/>
                              <a:gd name="connsiteX7" fmla="*/ 104872 w 125933"/>
                              <a:gd name="connsiteY7" fmla="*/ 196419 h 196916"/>
                              <a:gd name="connsiteX8" fmla="*/ 33011 w 125933"/>
                              <a:gd name="connsiteY8" fmla="*/ 142007 h 196916"/>
                              <a:gd name="connsiteX0" fmla="*/ 49204 w 142126"/>
                              <a:gd name="connsiteY0" fmla="*/ 142007 h 196916"/>
                              <a:gd name="connsiteX1" fmla="*/ 1017 w 142126"/>
                              <a:gd name="connsiteY1" fmla="*/ 61692 h 196916"/>
                              <a:gd name="connsiteX2" fmla="*/ 16892 w 142126"/>
                              <a:gd name="connsiteY2" fmla="*/ 10980 h 196916"/>
                              <a:gd name="connsiteX3" fmla="*/ 45467 w 142126"/>
                              <a:gd name="connsiteY3" fmla="*/ 19432 h 196916"/>
                              <a:gd name="connsiteX4" fmla="*/ 45467 w 142126"/>
                              <a:gd name="connsiteY4" fmla="*/ 61692 h 196916"/>
                              <a:gd name="connsiteX5" fmla="*/ 88224 w 142126"/>
                              <a:gd name="connsiteY5" fmla="*/ 78517 h 196916"/>
                              <a:gd name="connsiteX6" fmla="*/ 102015 w 142126"/>
                              <a:gd name="connsiteY6" fmla="*/ 121291 h 196916"/>
                              <a:gd name="connsiteX7" fmla="*/ 142126 w 142126"/>
                              <a:gd name="connsiteY7" fmla="*/ 163092 h 196916"/>
                              <a:gd name="connsiteX8" fmla="*/ 121065 w 142126"/>
                              <a:gd name="connsiteY8" fmla="*/ 196419 h 196916"/>
                              <a:gd name="connsiteX9" fmla="*/ 49204 w 142126"/>
                              <a:gd name="connsiteY9" fmla="*/ 142007 h 196916"/>
                              <a:gd name="connsiteX0" fmla="*/ 49204 w 142126"/>
                              <a:gd name="connsiteY0" fmla="*/ 142007 h 173263"/>
                              <a:gd name="connsiteX1" fmla="*/ 1017 w 142126"/>
                              <a:gd name="connsiteY1" fmla="*/ 61692 h 173263"/>
                              <a:gd name="connsiteX2" fmla="*/ 16892 w 142126"/>
                              <a:gd name="connsiteY2" fmla="*/ 10980 h 173263"/>
                              <a:gd name="connsiteX3" fmla="*/ 45467 w 142126"/>
                              <a:gd name="connsiteY3" fmla="*/ 19432 h 173263"/>
                              <a:gd name="connsiteX4" fmla="*/ 45467 w 142126"/>
                              <a:gd name="connsiteY4" fmla="*/ 61692 h 173263"/>
                              <a:gd name="connsiteX5" fmla="*/ 88224 w 142126"/>
                              <a:gd name="connsiteY5" fmla="*/ 78517 h 173263"/>
                              <a:gd name="connsiteX6" fmla="*/ 102015 w 142126"/>
                              <a:gd name="connsiteY6" fmla="*/ 121291 h 173263"/>
                              <a:gd name="connsiteX7" fmla="*/ 142126 w 142126"/>
                              <a:gd name="connsiteY7" fmla="*/ 163092 h 173263"/>
                              <a:gd name="connsiteX8" fmla="*/ 79790 w 142126"/>
                              <a:gd name="connsiteY8" fmla="*/ 162612 h 173263"/>
                              <a:gd name="connsiteX9" fmla="*/ 49204 w 142126"/>
                              <a:gd name="connsiteY9" fmla="*/ 142007 h 17326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45467 w 110376"/>
                              <a:gd name="connsiteY4" fmla="*/ 61692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10376"/>
                              <a:gd name="connsiteY0" fmla="*/ 142007 h 162833"/>
                              <a:gd name="connsiteX1" fmla="*/ 1017 w 110376"/>
                              <a:gd name="connsiteY1" fmla="*/ 61692 h 162833"/>
                              <a:gd name="connsiteX2" fmla="*/ 16892 w 110376"/>
                              <a:gd name="connsiteY2" fmla="*/ 10980 h 162833"/>
                              <a:gd name="connsiteX3" fmla="*/ 45467 w 110376"/>
                              <a:gd name="connsiteY3" fmla="*/ 19432 h 162833"/>
                              <a:gd name="connsiteX4" fmla="*/ 62136 w 110376"/>
                              <a:gd name="connsiteY4" fmla="*/ 49014 h 162833"/>
                              <a:gd name="connsiteX5" fmla="*/ 88224 w 110376"/>
                              <a:gd name="connsiteY5" fmla="*/ 78517 h 162833"/>
                              <a:gd name="connsiteX6" fmla="*/ 102015 w 110376"/>
                              <a:gd name="connsiteY6" fmla="*/ 121291 h 162833"/>
                              <a:gd name="connsiteX7" fmla="*/ 110376 w 110376"/>
                              <a:gd name="connsiteY7" fmla="*/ 133510 h 162833"/>
                              <a:gd name="connsiteX8" fmla="*/ 79790 w 110376"/>
                              <a:gd name="connsiteY8" fmla="*/ 162612 h 162833"/>
                              <a:gd name="connsiteX9" fmla="*/ 49204 w 110376"/>
                              <a:gd name="connsiteY9" fmla="*/ 142007 h 162833"/>
                              <a:gd name="connsiteX0" fmla="*/ 49204 w 105613"/>
                              <a:gd name="connsiteY0" fmla="*/ 142007 h 164051"/>
                              <a:gd name="connsiteX1" fmla="*/ 1017 w 105613"/>
                              <a:gd name="connsiteY1" fmla="*/ 61692 h 164051"/>
                              <a:gd name="connsiteX2" fmla="*/ 16892 w 105613"/>
                              <a:gd name="connsiteY2" fmla="*/ 10980 h 164051"/>
                              <a:gd name="connsiteX3" fmla="*/ 45467 w 105613"/>
                              <a:gd name="connsiteY3" fmla="*/ 19432 h 164051"/>
                              <a:gd name="connsiteX4" fmla="*/ 62136 w 105613"/>
                              <a:gd name="connsiteY4" fmla="*/ 49014 h 164051"/>
                              <a:gd name="connsiteX5" fmla="*/ 88224 w 105613"/>
                              <a:gd name="connsiteY5" fmla="*/ 78517 h 164051"/>
                              <a:gd name="connsiteX6" fmla="*/ 102015 w 105613"/>
                              <a:gd name="connsiteY6" fmla="*/ 121291 h 164051"/>
                              <a:gd name="connsiteX7" fmla="*/ 105613 w 105613"/>
                              <a:gd name="connsiteY7" fmla="*/ 111323 h 164051"/>
                              <a:gd name="connsiteX8" fmla="*/ 79790 w 105613"/>
                              <a:gd name="connsiteY8" fmla="*/ 162612 h 164051"/>
                              <a:gd name="connsiteX9" fmla="*/ 49204 w 105613"/>
                              <a:gd name="connsiteY9" fmla="*/ 142007 h 164051"/>
                              <a:gd name="connsiteX0" fmla="*/ 49204 w 105613"/>
                              <a:gd name="connsiteY0" fmla="*/ 142007 h 149974"/>
                              <a:gd name="connsiteX1" fmla="*/ 1017 w 105613"/>
                              <a:gd name="connsiteY1" fmla="*/ 61692 h 149974"/>
                              <a:gd name="connsiteX2" fmla="*/ 16892 w 105613"/>
                              <a:gd name="connsiteY2" fmla="*/ 10980 h 149974"/>
                              <a:gd name="connsiteX3" fmla="*/ 45467 w 105613"/>
                              <a:gd name="connsiteY3" fmla="*/ 19432 h 149974"/>
                              <a:gd name="connsiteX4" fmla="*/ 62136 w 105613"/>
                              <a:gd name="connsiteY4" fmla="*/ 49014 h 149974"/>
                              <a:gd name="connsiteX5" fmla="*/ 88224 w 105613"/>
                              <a:gd name="connsiteY5" fmla="*/ 78517 h 149974"/>
                              <a:gd name="connsiteX6" fmla="*/ 102015 w 105613"/>
                              <a:gd name="connsiteY6" fmla="*/ 121291 h 149974"/>
                              <a:gd name="connsiteX7" fmla="*/ 105613 w 105613"/>
                              <a:gd name="connsiteY7" fmla="*/ 111323 h 149974"/>
                              <a:gd name="connsiteX8" fmla="*/ 89315 w 105613"/>
                              <a:gd name="connsiteY8" fmla="*/ 143596 h 149974"/>
                              <a:gd name="connsiteX9" fmla="*/ 49204 w 105613"/>
                              <a:gd name="connsiteY9" fmla="*/ 142007 h 149974"/>
                              <a:gd name="connsiteX0" fmla="*/ 53967 w 105613"/>
                              <a:gd name="connsiteY0" fmla="*/ 122990 h 143862"/>
                              <a:gd name="connsiteX1" fmla="*/ 1017 w 105613"/>
                              <a:gd name="connsiteY1" fmla="*/ 61692 h 143862"/>
                              <a:gd name="connsiteX2" fmla="*/ 16892 w 105613"/>
                              <a:gd name="connsiteY2" fmla="*/ 10980 h 143862"/>
                              <a:gd name="connsiteX3" fmla="*/ 45467 w 105613"/>
                              <a:gd name="connsiteY3" fmla="*/ 19432 h 143862"/>
                              <a:gd name="connsiteX4" fmla="*/ 62136 w 105613"/>
                              <a:gd name="connsiteY4" fmla="*/ 49014 h 143862"/>
                              <a:gd name="connsiteX5" fmla="*/ 88224 w 105613"/>
                              <a:gd name="connsiteY5" fmla="*/ 78517 h 143862"/>
                              <a:gd name="connsiteX6" fmla="*/ 102015 w 105613"/>
                              <a:gd name="connsiteY6" fmla="*/ 121291 h 143862"/>
                              <a:gd name="connsiteX7" fmla="*/ 105613 w 105613"/>
                              <a:gd name="connsiteY7" fmla="*/ 111323 h 143862"/>
                              <a:gd name="connsiteX8" fmla="*/ 89315 w 105613"/>
                              <a:gd name="connsiteY8" fmla="*/ 143596 h 143862"/>
                              <a:gd name="connsiteX9" fmla="*/ 53967 w 105613"/>
                              <a:gd name="connsiteY9" fmla="*/ 122990 h 143862"/>
                              <a:gd name="connsiteX0" fmla="*/ 40087 w 91733"/>
                              <a:gd name="connsiteY0" fmla="*/ 122990 h 143903"/>
                              <a:gd name="connsiteX1" fmla="*/ 3806 w 91733"/>
                              <a:gd name="connsiteY1" fmla="*/ 52185 h 143903"/>
                              <a:gd name="connsiteX2" fmla="*/ 3012 w 91733"/>
                              <a:gd name="connsiteY2" fmla="*/ 10980 h 143903"/>
                              <a:gd name="connsiteX3" fmla="*/ 31587 w 91733"/>
                              <a:gd name="connsiteY3" fmla="*/ 19432 h 143903"/>
                              <a:gd name="connsiteX4" fmla="*/ 48256 w 91733"/>
                              <a:gd name="connsiteY4" fmla="*/ 49014 h 143903"/>
                              <a:gd name="connsiteX5" fmla="*/ 74344 w 91733"/>
                              <a:gd name="connsiteY5" fmla="*/ 78517 h 143903"/>
                              <a:gd name="connsiteX6" fmla="*/ 88135 w 91733"/>
                              <a:gd name="connsiteY6" fmla="*/ 121291 h 143903"/>
                              <a:gd name="connsiteX7" fmla="*/ 91733 w 91733"/>
                              <a:gd name="connsiteY7" fmla="*/ 111323 h 143903"/>
                              <a:gd name="connsiteX8" fmla="*/ 75435 w 91733"/>
                              <a:gd name="connsiteY8" fmla="*/ 143596 h 143903"/>
                              <a:gd name="connsiteX9" fmla="*/ 40087 w 91733"/>
                              <a:gd name="connsiteY9" fmla="*/ 122990 h 143903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88135 w 91733"/>
                              <a:gd name="connsiteY6" fmla="*/ 121291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43597"/>
                              <a:gd name="connsiteX1" fmla="*/ 3806 w 91733"/>
                              <a:gd name="connsiteY1" fmla="*/ 52185 h 143597"/>
                              <a:gd name="connsiteX2" fmla="*/ 3012 w 91733"/>
                              <a:gd name="connsiteY2" fmla="*/ 10980 h 143597"/>
                              <a:gd name="connsiteX3" fmla="*/ 31587 w 91733"/>
                              <a:gd name="connsiteY3" fmla="*/ 19432 h 143597"/>
                              <a:gd name="connsiteX4" fmla="*/ 48256 w 91733"/>
                              <a:gd name="connsiteY4" fmla="*/ 49014 h 143597"/>
                              <a:gd name="connsiteX5" fmla="*/ 74344 w 91733"/>
                              <a:gd name="connsiteY5" fmla="*/ 78517 h 143597"/>
                              <a:gd name="connsiteX6" fmla="*/ 78610 w 91733"/>
                              <a:gd name="connsiteY6" fmla="*/ 102275 h 143597"/>
                              <a:gd name="connsiteX7" fmla="*/ 91733 w 91733"/>
                              <a:gd name="connsiteY7" fmla="*/ 111323 h 143597"/>
                              <a:gd name="connsiteX8" fmla="*/ 75435 w 91733"/>
                              <a:gd name="connsiteY8" fmla="*/ 143596 h 143597"/>
                              <a:gd name="connsiteX9" fmla="*/ 44850 w 91733"/>
                              <a:gd name="connsiteY9" fmla="*/ 110312 h 143597"/>
                              <a:gd name="connsiteX0" fmla="*/ 44850 w 91733"/>
                              <a:gd name="connsiteY0" fmla="*/ 110312 h 124433"/>
                              <a:gd name="connsiteX1" fmla="*/ 3806 w 91733"/>
                              <a:gd name="connsiteY1" fmla="*/ 52185 h 124433"/>
                              <a:gd name="connsiteX2" fmla="*/ 3012 w 91733"/>
                              <a:gd name="connsiteY2" fmla="*/ 10980 h 124433"/>
                              <a:gd name="connsiteX3" fmla="*/ 31587 w 91733"/>
                              <a:gd name="connsiteY3" fmla="*/ 19432 h 124433"/>
                              <a:gd name="connsiteX4" fmla="*/ 48256 w 91733"/>
                              <a:gd name="connsiteY4" fmla="*/ 49014 h 124433"/>
                              <a:gd name="connsiteX5" fmla="*/ 74344 w 91733"/>
                              <a:gd name="connsiteY5" fmla="*/ 78517 h 124433"/>
                              <a:gd name="connsiteX6" fmla="*/ 78610 w 91733"/>
                              <a:gd name="connsiteY6" fmla="*/ 102275 h 124433"/>
                              <a:gd name="connsiteX7" fmla="*/ 91733 w 91733"/>
                              <a:gd name="connsiteY7" fmla="*/ 111323 h 124433"/>
                              <a:gd name="connsiteX8" fmla="*/ 65910 w 91733"/>
                              <a:gd name="connsiteY8" fmla="*/ 121409 h 124433"/>
                              <a:gd name="connsiteX9" fmla="*/ 44850 w 91733"/>
                              <a:gd name="connsiteY9" fmla="*/ 110312 h 124433"/>
                              <a:gd name="connsiteX0" fmla="*/ 44850 w 79374"/>
                              <a:gd name="connsiteY0" fmla="*/ 110312 h 122122"/>
                              <a:gd name="connsiteX1" fmla="*/ 3806 w 79374"/>
                              <a:gd name="connsiteY1" fmla="*/ 52185 h 122122"/>
                              <a:gd name="connsiteX2" fmla="*/ 3012 w 79374"/>
                              <a:gd name="connsiteY2" fmla="*/ 10980 h 122122"/>
                              <a:gd name="connsiteX3" fmla="*/ 31587 w 79374"/>
                              <a:gd name="connsiteY3" fmla="*/ 19432 h 122122"/>
                              <a:gd name="connsiteX4" fmla="*/ 48256 w 79374"/>
                              <a:gd name="connsiteY4" fmla="*/ 49014 h 122122"/>
                              <a:gd name="connsiteX5" fmla="*/ 74344 w 79374"/>
                              <a:gd name="connsiteY5" fmla="*/ 78517 h 122122"/>
                              <a:gd name="connsiteX6" fmla="*/ 78610 w 79374"/>
                              <a:gd name="connsiteY6" fmla="*/ 102275 h 122122"/>
                              <a:gd name="connsiteX7" fmla="*/ 75065 w 79374"/>
                              <a:gd name="connsiteY7" fmla="*/ 98645 h 122122"/>
                              <a:gd name="connsiteX8" fmla="*/ 65910 w 79374"/>
                              <a:gd name="connsiteY8" fmla="*/ 121409 h 122122"/>
                              <a:gd name="connsiteX9" fmla="*/ 44850 w 79374"/>
                              <a:gd name="connsiteY9" fmla="*/ 110312 h 122122"/>
                              <a:gd name="connsiteX0" fmla="*/ 42560 w 77084"/>
                              <a:gd name="connsiteY0" fmla="*/ 94411 h 106222"/>
                              <a:gd name="connsiteX1" fmla="*/ 1516 w 77084"/>
                              <a:gd name="connsiteY1" fmla="*/ 36284 h 106222"/>
                              <a:gd name="connsiteX2" fmla="*/ 10247 w 77084"/>
                              <a:gd name="connsiteY2" fmla="*/ 26774 h 106222"/>
                              <a:gd name="connsiteX3" fmla="*/ 29297 w 77084"/>
                              <a:gd name="connsiteY3" fmla="*/ 3531 h 106222"/>
                              <a:gd name="connsiteX4" fmla="*/ 45966 w 77084"/>
                              <a:gd name="connsiteY4" fmla="*/ 33113 h 106222"/>
                              <a:gd name="connsiteX5" fmla="*/ 72054 w 77084"/>
                              <a:gd name="connsiteY5" fmla="*/ 62616 h 106222"/>
                              <a:gd name="connsiteX6" fmla="*/ 76320 w 77084"/>
                              <a:gd name="connsiteY6" fmla="*/ 86374 h 106222"/>
                              <a:gd name="connsiteX7" fmla="*/ 72775 w 77084"/>
                              <a:gd name="connsiteY7" fmla="*/ 82744 h 106222"/>
                              <a:gd name="connsiteX8" fmla="*/ 63620 w 77084"/>
                              <a:gd name="connsiteY8" fmla="*/ 105508 h 106222"/>
                              <a:gd name="connsiteX9" fmla="*/ 42560 w 77084"/>
                              <a:gd name="connsiteY9" fmla="*/ 94411 h 106222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5966 w 77084"/>
                              <a:gd name="connsiteY4" fmla="*/ 21320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429"/>
                              <a:gd name="connsiteX1" fmla="*/ 1516 w 77084"/>
                              <a:gd name="connsiteY1" fmla="*/ 24491 h 94429"/>
                              <a:gd name="connsiteX2" fmla="*/ 10247 w 77084"/>
                              <a:gd name="connsiteY2" fmla="*/ 14981 h 94429"/>
                              <a:gd name="connsiteX3" fmla="*/ 29297 w 77084"/>
                              <a:gd name="connsiteY3" fmla="*/ 10756 h 94429"/>
                              <a:gd name="connsiteX4" fmla="*/ 43585 w 77084"/>
                              <a:gd name="connsiteY4" fmla="*/ 30829 h 94429"/>
                              <a:gd name="connsiteX5" fmla="*/ 72054 w 77084"/>
                              <a:gd name="connsiteY5" fmla="*/ 50823 h 94429"/>
                              <a:gd name="connsiteX6" fmla="*/ 76320 w 77084"/>
                              <a:gd name="connsiteY6" fmla="*/ 74581 h 94429"/>
                              <a:gd name="connsiteX7" fmla="*/ 72775 w 77084"/>
                              <a:gd name="connsiteY7" fmla="*/ 70951 h 94429"/>
                              <a:gd name="connsiteX8" fmla="*/ 63620 w 77084"/>
                              <a:gd name="connsiteY8" fmla="*/ 93715 h 94429"/>
                              <a:gd name="connsiteX9" fmla="*/ 42560 w 77084"/>
                              <a:gd name="connsiteY9" fmla="*/ 82618 h 94429"/>
                              <a:gd name="connsiteX0" fmla="*/ 42560 w 77084"/>
                              <a:gd name="connsiteY0" fmla="*/ 82618 h 94018"/>
                              <a:gd name="connsiteX1" fmla="*/ 1516 w 77084"/>
                              <a:gd name="connsiteY1" fmla="*/ 62524 h 94018"/>
                              <a:gd name="connsiteX2" fmla="*/ 10247 w 77084"/>
                              <a:gd name="connsiteY2" fmla="*/ 14981 h 94018"/>
                              <a:gd name="connsiteX3" fmla="*/ 29297 w 77084"/>
                              <a:gd name="connsiteY3" fmla="*/ 10756 h 94018"/>
                              <a:gd name="connsiteX4" fmla="*/ 43585 w 77084"/>
                              <a:gd name="connsiteY4" fmla="*/ 30829 h 94018"/>
                              <a:gd name="connsiteX5" fmla="*/ 72054 w 77084"/>
                              <a:gd name="connsiteY5" fmla="*/ 50823 h 94018"/>
                              <a:gd name="connsiteX6" fmla="*/ 76320 w 77084"/>
                              <a:gd name="connsiteY6" fmla="*/ 74581 h 94018"/>
                              <a:gd name="connsiteX7" fmla="*/ 72775 w 77084"/>
                              <a:gd name="connsiteY7" fmla="*/ 70951 h 94018"/>
                              <a:gd name="connsiteX8" fmla="*/ 63620 w 77084"/>
                              <a:gd name="connsiteY8" fmla="*/ 93715 h 94018"/>
                              <a:gd name="connsiteX9" fmla="*/ 42560 w 77084"/>
                              <a:gd name="connsiteY9" fmla="*/ 82618 h 94018"/>
                              <a:gd name="connsiteX0" fmla="*/ 42560 w 77084"/>
                              <a:gd name="connsiteY0" fmla="*/ 73899 h 85299"/>
                              <a:gd name="connsiteX1" fmla="*/ 1516 w 77084"/>
                              <a:gd name="connsiteY1" fmla="*/ 53805 h 85299"/>
                              <a:gd name="connsiteX2" fmla="*/ 10247 w 77084"/>
                              <a:gd name="connsiteY2" fmla="*/ 37955 h 85299"/>
                              <a:gd name="connsiteX3" fmla="*/ 29297 w 77084"/>
                              <a:gd name="connsiteY3" fmla="*/ 2037 h 85299"/>
                              <a:gd name="connsiteX4" fmla="*/ 43585 w 77084"/>
                              <a:gd name="connsiteY4" fmla="*/ 22110 h 85299"/>
                              <a:gd name="connsiteX5" fmla="*/ 72054 w 77084"/>
                              <a:gd name="connsiteY5" fmla="*/ 42104 h 85299"/>
                              <a:gd name="connsiteX6" fmla="*/ 76320 w 77084"/>
                              <a:gd name="connsiteY6" fmla="*/ 65862 h 85299"/>
                              <a:gd name="connsiteX7" fmla="*/ 72775 w 77084"/>
                              <a:gd name="connsiteY7" fmla="*/ 62232 h 85299"/>
                              <a:gd name="connsiteX8" fmla="*/ 63620 w 77084"/>
                              <a:gd name="connsiteY8" fmla="*/ 84996 h 85299"/>
                              <a:gd name="connsiteX9" fmla="*/ 42560 w 77084"/>
                              <a:gd name="connsiteY9" fmla="*/ 73899 h 85299"/>
                              <a:gd name="connsiteX0" fmla="*/ 42560 w 77084"/>
                              <a:gd name="connsiteY0" fmla="*/ 52685 h 64085"/>
                              <a:gd name="connsiteX1" fmla="*/ 1516 w 77084"/>
                              <a:gd name="connsiteY1" fmla="*/ 32591 h 64085"/>
                              <a:gd name="connsiteX2" fmla="*/ 10247 w 77084"/>
                              <a:gd name="connsiteY2" fmla="*/ 16741 h 64085"/>
                              <a:gd name="connsiteX3" fmla="*/ 29297 w 77084"/>
                              <a:gd name="connsiteY3" fmla="*/ 15687 h 64085"/>
                              <a:gd name="connsiteX4" fmla="*/ 43585 w 77084"/>
                              <a:gd name="connsiteY4" fmla="*/ 896 h 64085"/>
                              <a:gd name="connsiteX5" fmla="*/ 72054 w 77084"/>
                              <a:gd name="connsiteY5" fmla="*/ 20890 h 64085"/>
                              <a:gd name="connsiteX6" fmla="*/ 76320 w 77084"/>
                              <a:gd name="connsiteY6" fmla="*/ 44648 h 64085"/>
                              <a:gd name="connsiteX7" fmla="*/ 72775 w 77084"/>
                              <a:gd name="connsiteY7" fmla="*/ 41018 h 64085"/>
                              <a:gd name="connsiteX8" fmla="*/ 63620 w 77084"/>
                              <a:gd name="connsiteY8" fmla="*/ 63782 h 64085"/>
                              <a:gd name="connsiteX9" fmla="*/ 42560 w 77084"/>
                              <a:gd name="connsiteY9" fmla="*/ 52685 h 64085"/>
                              <a:gd name="connsiteX0" fmla="*/ 42560 w 76322"/>
                              <a:gd name="connsiteY0" fmla="*/ 51797 h 63197"/>
                              <a:gd name="connsiteX1" fmla="*/ 1516 w 76322"/>
                              <a:gd name="connsiteY1" fmla="*/ 31703 h 63197"/>
                              <a:gd name="connsiteX2" fmla="*/ 10247 w 76322"/>
                              <a:gd name="connsiteY2" fmla="*/ 15853 h 63197"/>
                              <a:gd name="connsiteX3" fmla="*/ 29297 w 76322"/>
                              <a:gd name="connsiteY3" fmla="*/ 14799 h 63197"/>
                              <a:gd name="connsiteX4" fmla="*/ 43585 w 76322"/>
                              <a:gd name="connsiteY4" fmla="*/ 8 h 63197"/>
                              <a:gd name="connsiteX5" fmla="*/ 44305 w 76322"/>
                              <a:gd name="connsiteY5" fmla="*/ 30542 h 63197"/>
                              <a:gd name="connsiteX6" fmla="*/ 72054 w 76322"/>
                              <a:gd name="connsiteY6" fmla="*/ 20002 h 63197"/>
                              <a:gd name="connsiteX7" fmla="*/ 76320 w 76322"/>
                              <a:gd name="connsiteY7" fmla="*/ 43760 h 63197"/>
                              <a:gd name="connsiteX8" fmla="*/ 72775 w 76322"/>
                              <a:gd name="connsiteY8" fmla="*/ 40130 h 63197"/>
                              <a:gd name="connsiteX9" fmla="*/ 63620 w 76322"/>
                              <a:gd name="connsiteY9" fmla="*/ 62894 h 63197"/>
                              <a:gd name="connsiteX10" fmla="*/ 42560 w 76322"/>
                              <a:gd name="connsiteY10" fmla="*/ 51797 h 63197"/>
                              <a:gd name="connsiteX0" fmla="*/ 42560 w 76322"/>
                              <a:gd name="connsiteY0" fmla="*/ 51797 h 94666"/>
                              <a:gd name="connsiteX1" fmla="*/ 1516 w 76322"/>
                              <a:gd name="connsiteY1" fmla="*/ 31703 h 94666"/>
                              <a:gd name="connsiteX2" fmla="*/ 10247 w 76322"/>
                              <a:gd name="connsiteY2" fmla="*/ 15853 h 94666"/>
                              <a:gd name="connsiteX3" fmla="*/ 29297 w 76322"/>
                              <a:gd name="connsiteY3" fmla="*/ 14799 h 94666"/>
                              <a:gd name="connsiteX4" fmla="*/ 43585 w 76322"/>
                              <a:gd name="connsiteY4" fmla="*/ 8 h 94666"/>
                              <a:gd name="connsiteX5" fmla="*/ 44305 w 76322"/>
                              <a:gd name="connsiteY5" fmla="*/ 30542 h 94666"/>
                              <a:gd name="connsiteX6" fmla="*/ 72054 w 76322"/>
                              <a:gd name="connsiteY6" fmla="*/ 20002 h 94666"/>
                              <a:gd name="connsiteX7" fmla="*/ 76320 w 76322"/>
                              <a:gd name="connsiteY7" fmla="*/ 43760 h 94666"/>
                              <a:gd name="connsiteX8" fmla="*/ 72775 w 76322"/>
                              <a:gd name="connsiteY8" fmla="*/ 40130 h 94666"/>
                              <a:gd name="connsiteX9" fmla="*/ 51714 w 76322"/>
                              <a:gd name="connsiteY9" fmla="*/ 94587 h 94666"/>
                              <a:gd name="connsiteX10" fmla="*/ 42560 w 76322"/>
                              <a:gd name="connsiteY10" fmla="*/ 51797 h 94666"/>
                              <a:gd name="connsiteX0" fmla="*/ 28272 w 76322"/>
                              <a:gd name="connsiteY0" fmla="*/ 48628 h 94626"/>
                              <a:gd name="connsiteX1" fmla="*/ 1516 w 76322"/>
                              <a:gd name="connsiteY1" fmla="*/ 31703 h 94626"/>
                              <a:gd name="connsiteX2" fmla="*/ 10247 w 76322"/>
                              <a:gd name="connsiteY2" fmla="*/ 15853 h 94626"/>
                              <a:gd name="connsiteX3" fmla="*/ 29297 w 76322"/>
                              <a:gd name="connsiteY3" fmla="*/ 14799 h 94626"/>
                              <a:gd name="connsiteX4" fmla="*/ 43585 w 76322"/>
                              <a:gd name="connsiteY4" fmla="*/ 8 h 94626"/>
                              <a:gd name="connsiteX5" fmla="*/ 44305 w 76322"/>
                              <a:gd name="connsiteY5" fmla="*/ 30542 h 94626"/>
                              <a:gd name="connsiteX6" fmla="*/ 72054 w 76322"/>
                              <a:gd name="connsiteY6" fmla="*/ 20002 h 94626"/>
                              <a:gd name="connsiteX7" fmla="*/ 76320 w 76322"/>
                              <a:gd name="connsiteY7" fmla="*/ 43760 h 94626"/>
                              <a:gd name="connsiteX8" fmla="*/ 72775 w 76322"/>
                              <a:gd name="connsiteY8" fmla="*/ 40130 h 94626"/>
                              <a:gd name="connsiteX9" fmla="*/ 51714 w 76322"/>
                              <a:gd name="connsiteY9" fmla="*/ 94587 h 94626"/>
                              <a:gd name="connsiteX10" fmla="*/ 28272 w 76322"/>
                              <a:gd name="connsiteY10" fmla="*/ 48628 h 94626"/>
                              <a:gd name="connsiteX0" fmla="*/ 28272 w 76322"/>
                              <a:gd name="connsiteY0" fmla="*/ 44915 h 90913"/>
                              <a:gd name="connsiteX1" fmla="*/ 1516 w 76322"/>
                              <a:gd name="connsiteY1" fmla="*/ 27990 h 90913"/>
                              <a:gd name="connsiteX2" fmla="*/ 10247 w 76322"/>
                              <a:gd name="connsiteY2" fmla="*/ 12140 h 90913"/>
                              <a:gd name="connsiteX3" fmla="*/ 29297 w 76322"/>
                              <a:gd name="connsiteY3" fmla="*/ 11086 h 90913"/>
                              <a:gd name="connsiteX4" fmla="*/ 44305 w 76322"/>
                              <a:gd name="connsiteY4" fmla="*/ 26829 h 90913"/>
                              <a:gd name="connsiteX5" fmla="*/ 72054 w 76322"/>
                              <a:gd name="connsiteY5" fmla="*/ 16289 h 90913"/>
                              <a:gd name="connsiteX6" fmla="*/ 76320 w 76322"/>
                              <a:gd name="connsiteY6" fmla="*/ 40047 h 90913"/>
                              <a:gd name="connsiteX7" fmla="*/ 72775 w 76322"/>
                              <a:gd name="connsiteY7" fmla="*/ 36417 h 90913"/>
                              <a:gd name="connsiteX8" fmla="*/ 51714 w 76322"/>
                              <a:gd name="connsiteY8" fmla="*/ 90874 h 90913"/>
                              <a:gd name="connsiteX9" fmla="*/ 28272 w 76322"/>
                              <a:gd name="connsiteY9" fmla="*/ 44915 h 90913"/>
                              <a:gd name="connsiteX0" fmla="*/ 28272 w 76322"/>
                              <a:gd name="connsiteY0" fmla="*/ 32778 h 78776"/>
                              <a:gd name="connsiteX1" fmla="*/ 1516 w 76322"/>
                              <a:gd name="connsiteY1" fmla="*/ 15853 h 78776"/>
                              <a:gd name="connsiteX2" fmla="*/ 10247 w 76322"/>
                              <a:gd name="connsiteY2" fmla="*/ 3 h 78776"/>
                              <a:gd name="connsiteX3" fmla="*/ 44305 w 76322"/>
                              <a:gd name="connsiteY3" fmla="*/ 14692 h 78776"/>
                              <a:gd name="connsiteX4" fmla="*/ 72054 w 76322"/>
                              <a:gd name="connsiteY4" fmla="*/ 4152 h 78776"/>
                              <a:gd name="connsiteX5" fmla="*/ 76320 w 76322"/>
                              <a:gd name="connsiteY5" fmla="*/ 27910 h 78776"/>
                              <a:gd name="connsiteX6" fmla="*/ 72775 w 76322"/>
                              <a:gd name="connsiteY6" fmla="*/ 24280 h 78776"/>
                              <a:gd name="connsiteX7" fmla="*/ 51714 w 76322"/>
                              <a:gd name="connsiteY7" fmla="*/ 78737 h 78776"/>
                              <a:gd name="connsiteX8" fmla="*/ 28272 w 76322"/>
                              <a:gd name="connsiteY8" fmla="*/ 32778 h 78776"/>
                              <a:gd name="connsiteX0" fmla="*/ 26989 w 75039"/>
                              <a:gd name="connsiteY0" fmla="*/ 29848 h 75846"/>
                              <a:gd name="connsiteX1" fmla="*/ 233 w 75039"/>
                              <a:gd name="connsiteY1" fmla="*/ 12923 h 75846"/>
                              <a:gd name="connsiteX2" fmla="*/ 43022 w 75039"/>
                              <a:gd name="connsiteY2" fmla="*/ 11762 h 75846"/>
                              <a:gd name="connsiteX3" fmla="*/ 70771 w 75039"/>
                              <a:gd name="connsiteY3" fmla="*/ 1222 h 75846"/>
                              <a:gd name="connsiteX4" fmla="*/ 75037 w 75039"/>
                              <a:gd name="connsiteY4" fmla="*/ 24980 h 75846"/>
                              <a:gd name="connsiteX5" fmla="*/ 71492 w 75039"/>
                              <a:gd name="connsiteY5" fmla="*/ 21350 h 75846"/>
                              <a:gd name="connsiteX6" fmla="*/ 50431 w 75039"/>
                              <a:gd name="connsiteY6" fmla="*/ 75807 h 75846"/>
                              <a:gd name="connsiteX7" fmla="*/ 26989 w 75039"/>
                              <a:gd name="connsiteY7" fmla="*/ 29848 h 75846"/>
                              <a:gd name="connsiteX0" fmla="*/ 105 w 48155"/>
                              <a:gd name="connsiteY0" fmla="*/ 30057 h 76055"/>
                              <a:gd name="connsiteX1" fmla="*/ 16138 w 48155"/>
                              <a:gd name="connsiteY1" fmla="*/ 11971 h 76055"/>
                              <a:gd name="connsiteX2" fmla="*/ 43887 w 48155"/>
                              <a:gd name="connsiteY2" fmla="*/ 1431 h 76055"/>
                              <a:gd name="connsiteX3" fmla="*/ 48153 w 48155"/>
                              <a:gd name="connsiteY3" fmla="*/ 25189 h 76055"/>
                              <a:gd name="connsiteX4" fmla="*/ 44608 w 48155"/>
                              <a:gd name="connsiteY4" fmla="*/ 21559 h 76055"/>
                              <a:gd name="connsiteX5" fmla="*/ 23547 w 48155"/>
                              <a:gd name="connsiteY5" fmla="*/ 76016 h 76055"/>
                              <a:gd name="connsiteX6" fmla="*/ 105 w 48155"/>
                              <a:gd name="connsiteY6" fmla="*/ 30057 h 76055"/>
                              <a:gd name="connsiteX0" fmla="*/ 111 w 48161"/>
                              <a:gd name="connsiteY0" fmla="*/ 18125 h 64123"/>
                              <a:gd name="connsiteX1" fmla="*/ 16144 w 48161"/>
                              <a:gd name="connsiteY1" fmla="*/ 39 h 64123"/>
                              <a:gd name="connsiteX2" fmla="*/ 48159 w 48161"/>
                              <a:gd name="connsiteY2" fmla="*/ 13257 h 64123"/>
                              <a:gd name="connsiteX3" fmla="*/ 44614 w 48161"/>
                              <a:gd name="connsiteY3" fmla="*/ 9627 h 64123"/>
                              <a:gd name="connsiteX4" fmla="*/ 23553 w 48161"/>
                              <a:gd name="connsiteY4" fmla="*/ 64084 h 64123"/>
                              <a:gd name="connsiteX5" fmla="*/ 111 w 48161"/>
                              <a:gd name="connsiteY5" fmla="*/ 18125 h 64123"/>
                              <a:gd name="connsiteX0" fmla="*/ 111 w 48220"/>
                              <a:gd name="connsiteY0" fmla="*/ 18124 h 64122"/>
                              <a:gd name="connsiteX1" fmla="*/ 16144 w 48220"/>
                              <a:gd name="connsiteY1" fmla="*/ 38 h 64122"/>
                              <a:gd name="connsiteX2" fmla="*/ 48159 w 48220"/>
                              <a:gd name="connsiteY2" fmla="*/ 13256 h 64122"/>
                              <a:gd name="connsiteX3" fmla="*/ 23553 w 48220"/>
                              <a:gd name="connsiteY3" fmla="*/ 64083 h 64122"/>
                              <a:gd name="connsiteX4" fmla="*/ 111 w 48220"/>
                              <a:gd name="connsiteY4" fmla="*/ 18124 h 64122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</a:cxnLst>
                            <a:rect l="l" t="t" r="r" b="b"/>
                            <a:pathLst>
                              <a:path w="48220" h="64122">
                                <a:moveTo>
                                  <a:pt x="111" y="18124"/>
                                </a:moveTo>
                                <a:cubicBezTo>
                                  <a:pt x="-1124" y="7450"/>
                                  <a:pt x="8136" y="849"/>
                                  <a:pt x="16144" y="38"/>
                                </a:cubicBezTo>
                                <a:cubicBezTo>
                                  <a:pt x="24152" y="-773"/>
                                  <a:pt x="43414" y="11658"/>
                                  <a:pt x="48159" y="13256"/>
                                </a:cubicBezTo>
                                <a:cubicBezTo>
                                  <a:pt x="49394" y="23930"/>
                                  <a:pt x="31561" y="63272"/>
                                  <a:pt x="23553" y="64083"/>
                                </a:cubicBezTo>
                                <a:cubicBezTo>
                                  <a:pt x="16136" y="65499"/>
                                  <a:pt x="8477" y="28605"/>
                                  <a:pt x="111" y="18124"/>
                                </a:cubicBezTo>
                                <a:close/>
                              </a:path>
                            </a:pathLst>
                          </a:custGeom>
                          <a:grpFill/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anchor="ctr"/>
                          <a:lstStyle/>
                          <a:p>
                            <a:pPr algn="ctr">
                              <a:defRPr/>
                            </a:pPr>
                            <a:endParaRPr lang="en-US" sz="1100">
                              <a:solidFill>
                                <a:prstClr val="white"/>
                              </a:solidFill>
                            </a:endParaRPr>
                          </a:p>
                        </p:txBody>
                      </p:sp>
                      <p:grpSp>
                        <p:nvGrpSpPr>
                          <p:cNvPr id="1017" name="Group 220"/>
                          <p:cNvGrpSpPr/>
                          <p:nvPr/>
                        </p:nvGrpSpPr>
                        <p:grpSpPr>
                          <a:xfrm>
                            <a:off x="2935431" y="2097508"/>
                            <a:ext cx="4291080" cy="3993937"/>
                            <a:chOff x="2935431" y="2097508"/>
                            <a:chExt cx="4291080" cy="3993937"/>
                          </a:xfrm>
                          <a:grpFill/>
                        </p:grpSpPr>
                        <p:grpSp>
                          <p:nvGrpSpPr>
                            <p:cNvPr id="1018" name="Group 221"/>
                            <p:cNvGrpSpPr/>
                            <p:nvPr/>
                          </p:nvGrpSpPr>
                          <p:grpSpPr>
                            <a:xfrm>
                              <a:off x="5082154" y="2889178"/>
                              <a:ext cx="2144357" cy="3202267"/>
                              <a:chOff x="5082154" y="2889178"/>
                              <a:chExt cx="2144357" cy="3202267"/>
                            </a:xfrm>
                            <a:grpFill/>
                          </p:grpSpPr>
                          <p:sp>
                            <p:nvSpPr>
                              <p:cNvPr id="1035" name="Freeform 239"/>
                              <p:cNvSpPr/>
                              <p:nvPr/>
                            </p:nvSpPr>
                            <p:spPr>
                              <a:xfrm>
                                <a:off x="5082154" y="4346973"/>
                                <a:ext cx="1491316" cy="1744472"/>
                              </a:xfrm>
                              <a:custGeom>
                                <a:avLst/>
                                <a:gdLst>
                                  <a:gd name="connsiteX0" fmla="*/ 17147 w 195280"/>
                                  <a:gd name="connsiteY0" fmla="*/ 11875 h 154450"/>
                                  <a:gd name="connsiteX1" fmla="*/ 17147 w 195280"/>
                                  <a:gd name="connsiteY1" fmla="*/ 11875 h 154450"/>
                                  <a:gd name="connsiteX2" fmla="*/ 40898 w 195280"/>
                                  <a:gd name="connsiteY2" fmla="*/ 142504 h 154450"/>
                                  <a:gd name="connsiteX3" fmla="*/ 76524 w 195280"/>
                                  <a:gd name="connsiteY3" fmla="*/ 154379 h 154450"/>
                                  <a:gd name="connsiteX4" fmla="*/ 195277 w 195280"/>
                                  <a:gd name="connsiteY4" fmla="*/ 106878 h 154450"/>
                                  <a:gd name="connsiteX5" fmla="*/ 183401 w 195280"/>
                                  <a:gd name="connsiteY5" fmla="*/ 47501 h 154450"/>
                                  <a:gd name="connsiteX6" fmla="*/ 112150 w 195280"/>
                                  <a:gd name="connsiteY6" fmla="*/ 0 h 154450"/>
                                  <a:gd name="connsiteX7" fmla="*/ 64648 w 195280"/>
                                  <a:gd name="connsiteY7" fmla="*/ 11875 h 154450"/>
                                  <a:gd name="connsiteX8" fmla="*/ 17147 w 195280"/>
                                  <a:gd name="connsiteY8" fmla="*/ 11875 h 154450"/>
                                  <a:gd name="connsiteX0" fmla="*/ 64648 w 195280"/>
                                  <a:gd name="connsiteY0" fmla="*/ 11875 h 154450"/>
                                  <a:gd name="connsiteX1" fmla="*/ 17147 w 195280"/>
                                  <a:gd name="connsiteY1" fmla="*/ 11875 h 154450"/>
                                  <a:gd name="connsiteX2" fmla="*/ 40898 w 195280"/>
                                  <a:gd name="connsiteY2" fmla="*/ 142504 h 154450"/>
                                  <a:gd name="connsiteX3" fmla="*/ 76524 w 195280"/>
                                  <a:gd name="connsiteY3" fmla="*/ 154379 h 154450"/>
                                  <a:gd name="connsiteX4" fmla="*/ 195277 w 195280"/>
                                  <a:gd name="connsiteY4" fmla="*/ 106878 h 154450"/>
                                  <a:gd name="connsiteX5" fmla="*/ 183401 w 195280"/>
                                  <a:gd name="connsiteY5" fmla="*/ 47501 h 154450"/>
                                  <a:gd name="connsiteX6" fmla="*/ 112150 w 195280"/>
                                  <a:gd name="connsiteY6" fmla="*/ 0 h 154450"/>
                                  <a:gd name="connsiteX7" fmla="*/ 64648 w 195280"/>
                                  <a:gd name="connsiteY7" fmla="*/ 11875 h 154450"/>
                                  <a:gd name="connsiteX0" fmla="*/ 23941 w 154573"/>
                                  <a:gd name="connsiteY0" fmla="*/ 11875 h 155931"/>
                                  <a:gd name="connsiteX1" fmla="*/ 191 w 154573"/>
                                  <a:gd name="connsiteY1" fmla="*/ 142504 h 155931"/>
                                  <a:gd name="connsiteX2" fmla="*/ 35817 w 154573"/>
                                  <a:gd name="connsiteY2" fmla="*/ 154379 h 155931"/>
                                  <a:gd name="connsiteX3" fmla="*/ 154570 w 154573"/>
                                  <a:gd name="connsiteY3" fmla="*/ 106878 h 155931"/>
                                  <a:gd name="connsiteX4" fmla="*/ 142694 w 154573"/>
                                  <a:gd name="connsiteY4" fmla="*/ 47501 h 155931"/>
                                  <a:gd name="connsiteX5" fmla="*/ 71443 w 154573"/>
                                  <a:gd name="connsiteY5" fmla="*/ 0 h 155931"/>
                                  <a:gd name="connsiteX6" fmla="*/ 23941 w 154573"/>
                                  <a:gd name="connsiteY6" fmla="*/ 11875 h 155931"/>
                                  <a:gd name="connsiteX0" fmla="*/ 13690 w 155773"/>
                                  <a:gd name="connsiteY0" fmla="*/ 57403 h 154450"/>
                                  <a:gd name="connsiteX1" fmla="*/ 1391 w 155773"/>
                                  <a:gd name="connsiteY1" fmla="*/ 142504 h 154450"/>
                                  <a:gd name="connsiteX2" fmla="*/ 37017 w 155773"/>
                                  <a:gd name="connsiteY2" fmla="*/ 154379 h 154450"/>
                                  <a:gd name="connsiteX3" fmla="*/ 155770 w 155773"/>
                                  <a:gd name="connsiteY3" fmla="*/ 106878 h 154450"/>
                                  <a:gd name="connsiteX4" fmla="*/ 143894 w 155773"/>
                                  <a:gd name="connsiteY4" fmla="*/ 47501 h 154450"/>
                                  <a:gd name="connsiteX5" fmla="*/ 72643 w 155773"/>
                                  <a:gd name="connsiteY5" fmla="*/ 0 h 154450"/>
                                  <a:gd name="connsiteX6" fmla="*/ 13690 w 155773"/>
                                  <a:gd name="connsiteY6" fmla="*/ 57403 h 154450"/>
                                  <a:gd name="connsiteX0" fmla="*/ 13690 w 155770"/>
                                  <a:gd name="connsiteY0" fmla="*/ 71971 h 169018"/>
                                  <a:gd name="connsiteX1" fmla="*/ 1391 w 155770"/>
                                  <a:gd name="connsiteY1" fmla="*/ 157072 h 169018"/>
                                  <a:gd name="connsiteX2" fmla="*/ 37017 w 155770"/>
                                  <a:gd name="connsiteY2" fmla="*/ 168947 h 169018"/>
                                  <a:gd name="connsiteX3" fmla="*/ 155770 w 155770"/>
                                  <a:gd name="connsiteY3" fmla="*/ 121446 h 169018"/>
                                  <a:gd name="connsiteX4" fmla="*/ 143894 w 155770"/>
                                  <a:gd name="connsiteY4" fmla="*/ 62069 h 169018"/>
                                  <a:gd name="connsiteX5" fmla="*/ 89819 w 155770"/>
                                  <a:gd name="connsiteY5" fmla="*/ 0 h 169018"/>
                                  <a:gd name="connsiteX6" fmla="*/ 13690 w 155770"/>
                                  <a:gd name="connsiteY6" fmla="*/ 71971 h 169018"/>
                                  <a:gd name="connsiteX0" fmla="*/ 22122 w 154659"/>
                                  <a:gd name="connsiteY0" fmla="*/ 31907 h 170133"/>
                                  <a:gd name="connsiteX1" fmla="*/ 280 w 154659"/>
                                  <a:gd name="connsiteY1" fmla="*/ 157072 h 170133"/>
                                  <a:gd name="connsiteX2" fmla="*/ 35906 w 154659"/>
                                  <a:gd name="connsiteY2" fmla="*/ 168947 h 170133"/>
                                  <a:gd name="connsiteX3" fmla="*/ 154659 w 154659"/>
                                  <a:gd name="connsiteY3" fmla="*/ 121446 h 170133"/>
                                  <a:gd name="connsiteX4" fmla="*/ 142783 w 154659"/>
                                  <a:gd name="connsiteY4" fmla="*/ 62069 h 170133"/>
                                  <a:gd name="connsiteX5" fmla="*/ 88708 w 154659"/>
                                  <a:gd name="connsiteY5" fmla="*/ 0 h 170133"/>
                                  <a:gd name="connsiteX6" fmla="*/ 22122 w 154659"/>
                                  <a:gd name="connsiteY6" fmla="*/ 31907 h 170133"/>
                                  <a:gd name="connsiteX0" fmla="*/ 72178 w 204715"/>
                                  <a:gd name="connsiteY0" fmla="*/ 31907 h 239671"/>
                                  <a:gd name="connsiteX1" fmla="*/ 61 w 204715"/>
                                  <a:gd name="connsiteY1" fmla="*/ 236087 h 239671"/>
                                  <a:gd name="connsiteX2" fmla="*/ 85962 w 204715"/>
                                  <a:gd name="connsiteY2" fmla="*/ 168947 h 239671"/>
                                  <a:gd name="connsiteX3" fmla="*/ 204715 w 204715"/>
                                  <a:gd name="connsiteY3" fmla="*/ 121446 h 239671"/>
                                  <a:gd name="connsiteX4" fmla="*/ 192839 w 204715"/>
                                  <a:gd name="connsiteY4" fmla="*/ 62069 h 239671"/>
                                  <a:gd name="connsiteX5" fmla="*/ 138764 w 204715"/>
                                  <a:gd name="connsiteY5" fmla="*/ 0 h 239671"/>
                                  <a:gd name="connsiteX6" fmla="*/ 72178 w 204715"/>
                                  <a:gd name="connsiteY6" fmla="*/ 31907 h 239671"/>
                                  <a:gd name="connsiteX0" fmla="*/ 134124 w 284806"/>
                                  <a:gd name="connsiteY0" fmla="*/ 31907 h 502566"/>
                                  <a:gd name="connsiteX1" fmla="*/ 62007 w 284806"/>
                                  <a:gd name="connsiteY1" fmla="*/ 236087 h 502566"/>
                                  <a:gd name="connsiteX2" fmla="*/ 1797 w 284806"/>
                                  <a:gd name="connsiteY2" fmla="*/ 502566 h 502566"/>
                                  <a:gd name="connsiteX3" fmla="*/ 266661 w 284806"/>
                                  <a:gd name="connsiteY3" fmla="*/ 121446 h 502566"/>
                                  <a:gd name="connsiteX4" fmla="*/ 254785 w 284806"/>
                                  <a:gd name="connsiteY4" fmla="*/ 62069 h 502566"/>
                                  <a:gd name="connsiteX5" fmla="*/ 200710 w 284806"/>
                                  <a:gd name="connsiteY5" fmla="*/ 0 h 502566"/>
                                  <a:gd name="connsiteX6" fmla="*/ 134124 w 284806"/>
                                  <a:gd name="connsiteY6" fmla="*/ 31907 h 502566"/>
                                  <a:gd name="connsiteX0" fmla="*/ 133275 w 279806"/>
                                  <a:gd name="connsiteY0" fmla="*/ 31907 h 537561"/>
                                  <a:gd name="connsiteX1" fmla="*/ 61158 w 279806"/>
                                  <a:gd name="connsiteY1" fmla="*/ 236087 h 537561"/>
                                  <a:gd name="connsiteX2" fmla="*/ 948 w 279806"/>
                                  <a:gd name="connsiteY2" fmla="*/ 502566 h 537561"/>
                                  <a:gd name="connsiteX3" fmla="*/ 57124 w 279806"/>
                                  <a:gd name="connsiteY3" fmla="*/ 494000 h 537561"/>
                                  <a:gd name="connsiteX4" fmla="*/ 265812 w 279806"/>
                                  <a:gd name="connsiteY4" fmla="*/ 121446 h 537561"/>
                                  <a:gd name="connsiteX5" fmla="*/ 253936 w 279806"/>
                                  <a:gd name="connsiteY5" fmla="*/ 62069 h 537561"/>
                                  <a:gd name="connsiteX6" fmla="*/ 199861 w 279806"/>
                                  <a:gd name="connsiteY6" fmla="*/ 0 h 537561"/>
                                  <a:gd name="connsiteX7" fmla="*/ 133275 w 279806"/>
                                  <a:gd name="connsiteY7" fmla="*/ 31907 h 537561"/>
                                  <a:gd name="connsiteX0" fmla="*/ 132894 w 273634"/>
                                  <a:gd name="connsiteY0" fmla="*/ 31907 h 526509"/>
                                  <a:gd name="connsiteX1" fmla="*/ 60777 w 273634"/>
                                  <a:gd name="connsiteY1" fmla="*/ 236087 h 526509"/>
                                  <a:gd name="connsiteX2" fmla="*/ 567 w 273634"/>
                                  <a:gd name="connsiteY2" fmla="*/ 502566 h 526509"/>
                                  <a:gd name="connsiteX3" fmla="*/ 56743 w 273634"/>
                                  <a:gd name="connsiteY3" fmla="*/ 494000 h 526509"/>
                                  <a:gd name="connsiteX4" fmla="*/ 135298 w 273634"/>
                                  <a:gd name="connsiteY4" fmla="*/ 300852 h 526509"/>
                                  <a:gd name="connsiteX5" fmla="*/ 265431 w 273634"/>
                                  <a:gd name="connsiteY5" fmla="*/ 121446 h 526509"/>
                                  <a:gd name="connsiteX6" fmla="*/ 253555 w 273634"/>
                                  <a:gd name="connsiteY6" fmla="*/ 62069 h 526509"/>
                                  <a:gd name="connsiteX7" fmla="*/ 199480 w 273634"/>
                                  <a:gd name="connsiteY7" fmla="*/ 0 h 526509"/>
                                  <a:gd name="connsiteX8" fmla="*/ 132894 w 273634"/>
                                  <a:gd name="connsiteY8" fmla="*/ 31907 h 526509"/>
                                  <a:gd name="connsiteX0" fmla="*/ 132894 w 272135"/>
                                  <a:gd name="connsiteY0" fmla="*/ 31907 h 526509"/>
                                  <a:gd name="connsiteX1" fmla="*/ 60777 w 272135"/>
                                  <a:gd name="connsiteY1" fmla="*/ 236087 h 526509"/>
                                  <a:gd name="connsiteX2" fmla="*/ 567 w 272135"/>
                                  <a:gd name="connsiteY2" fmla="*/ 502566 h 526509"/>
                                  <a:gd name="connsiteX3" fmla="*/ 56743 w 272135"/>
                                  <a:gd name="connsiteY3" fmla="*/ 494000 h 526509"/>
                                  <a:gd name="connsiteX4" fmla="*/ 135298 w 272135"/>
                                  <a:gd name="connsiteY4" fmla="*/ 300852 h 526509"/>
                                  <a:gd name="connsiteX5" fmla="*/ 155722 w 272135"/>
                                  <a:gd name="connsiteY5" fmla="*/ 204278 h 526509"/>
                                  <a:gd name="connsiteX6" fmla="*/ 265431 w 272135"/>
                                  <a:gd name="connsiteY6" fmla="*/ 121446 h 526509"/>
                                  <a:gd name="connsiteX7" fmla="*/ 253555 w 272135"/>
                                  <a:gd name="connsiteY7" fmla="*/ 62069 h 526509"/>
                                  <a:gd name="connsiteX8" fmla="*/ 199480 w 272135"/>
                                  <a:gd name="connsiteY8" fmla="*/ 0 h 526509"/>
                                  <a:gd name="connsiteX9" fmla="*/ 132894 w 272135"/>
                                  <a:gd name="connsiteY9" fmla="*/ 31907 h 526509"/>
                                  <a:gd name="connsiteX0" fmla="*/ 132894 w 268027"/>
                                  <a:gd name="connsiteY0" fmla="*/ 31907 h 526509"/>
                                  <a:gd name="connsiteX1" fmla="*/ 60777 w 268027"/>
                                  <a:gd name="connsiteY1" fmla="*/ 236087 h 526509"/>
                                  <a:gd name="connsiteX2" fmla="*/ 567 w 268027"/>
                                  <a:gd name="connsiteY2" fmla="*/ 502566 h 526509"/>
                                  <a:gd name="connsiteX3" fmla="*/ 56743 w 268027"/>
                                  <a:gd name="connsiteY3" fmla="*/ 494000 h 526509"/>
                                  <a:gd name="connsiteX4" fmla="*/ 135298 w 268027"/>
                                  <a:gd name="connsiteY4" fmla="*/ 300852 h 526509"/>
                                  <a:gd name="connsiteX5" fmla="*/ 155722 w 268027"/>
                                  <a:gd name="connsiteY5" fmla="*/ 204278 h 526509"/>
                                  <a:gd name="connsiteX6" fmla="*/ 212281 w 268027"/>
                                  <a:gd name="connsiteY6" fmla="*/ 147211 h 526509"/>
                                  <a:gd name="connsiteX7" fmla="*/ 265431 w 268027"/>
                                  <a:gd name="connsiteY7" fmla="*/ 121446 h 526509"/>
                                  <a:gd name="connsiteX8" fmla="*/ 253555 w 268027"/>
                                  <a:gd name="connsiteY8" fmla="*/ 62069 h 526509"/>
                                  <a:gd name="connsiteX9" fmla="*/ 199480 w 268027"/>
                                  <a:gd name="connsiteY9" fmla="*/ 0 h 526509"/>
                                  <a:gd name="connsiteX10" fmla="*/ 132894 w 268027"/>
                                  <a:gd name="connsiteY10" fmla="*/ 31907 h 526509"/>
                                  <a:gd name="connsiteX0" fmla="*/ 132894 w 319648"/>
                                  <a:gd name="connsiteY0" fmla="*/ 31907 h 526509"/>
                                  <a:gd name="connsiteX1" fmla="*/ 60777 w 319648"/>
                                  <a:gd name="connsiteY1" fmla="*/ 236087 h 526509"/>
                                  <a:gd name="connsiteX2" fmla="*/ 567 w 319648"/>
                                  <a:gd name="connsiteY2" fmla="*/ 502566 h 526509"/>
                                  <a:gd name="connsiteX3" fmla="*/ 56743 w 319648"/>
                                  <a:gd name="connsiteY3" fmla="*/ 494000 h 526509"/>
                                  <a:gd name="connsiteX4" fmla="*/ 135298 w 319648"/>
                                  <a:gd name="connsiteY4" fmla="*/ 300852 h 526509"/>
                                  <a:gd name="connsiteX5" fmla="*/ 155722 w 319648"/>
                                  <a:gd name="connsiteY5" fmla="*/ 204278 h 526509"/>
                                  <a:gd name="connsiteX6" fmla="*/ 212281 w 319648"/>
                                  <a:gd name="connsiteY6" fmla="*/ 147211 h 526509"/>
                                  <a:gd name="connsiteX7" fmla="*/ 265431 w 319648"/>
                                  <a:gd name="connsiteY7" fmla="*/ 121446 h 526509"/>
                                  <a:gd name="connsiteX8" fmla="*/ 317970 w 319648"/>
                                  <a:gd name="connsiteY8" fmla="*/ 35731 h 526509"/>
                                  <a:gd name="connsiteX9" fmla="*/ 199480 w 319648"/>
                                  <a:gd name="connsiteY9" fmla="*/ 0 h 526509"/>
                                  <a:gd name="connsiteX10" fmla="*/ 132894 w 319648"/>
                                  <a:gd name="connsiteY10" fmla="*/ 31907 h 526509"/>
                                  <a:gd name="connsiteX0" fmla="*/ 132894 w 347624"/>
                                  <a:gd name="connsiteY0" fmla="*/ 150485 h 645087"/>
                                  <a:gd name="connsiteX1" fmla="*/ 60777 w 347624"/>
                                  <a:gd name="connsiteY1" fmla="*/ 354665 h 645087"/>
                                  <a:gd name="connsiteX2" fmla="*/ 567 w 347624"/>
                                  <a:gd name="connsiteY2" fmla="*/ 621144 h 645087"/>
                                  <a:gd name="connsiteX3" fmla="*/ 56743 w 347624"/>
                                  <a:gd name="connsiteY3" fmla="*/ 612578 h 645087"/>
                                  <a:gd name="connsiteX4" fmla="*/ 135298 w 347624"/>
                                  <a:gd name="connsiteY4" fmla="*/ 419430 h 645087"/>
                                  <a:gd name="connsiteX5" fmla="*/ 155722 w 347624"/>
                                  <a:gd name="connsiteY5" fmla="*/ 322856 h 645087"/>
                                  <a:gd name="connsiteX6" fmla="*/ 212281 w 347624"/>
                                  <a:gd name="connsiteY6" fmla="*/ 265789 h 645087"/>
                                  <a:gd name="connsiteX7" fmla="*/ 265431 w 347624"/>
                                  <a:gd name="connsiteY7" fmla="*/ 240024 h 645087"/>
                                  <a:gd name="connsiteX8" fmla="*/ 317970 w 347624"/>
                                  <a:gd name="connsiteY8" fmla="*/ 154309 h 645087"/>
                                  <a:gd name="connsiteX9" fmla="*/ 341111 w 347624"/>
                                  <a:gd name="connsiteY9" fmla="*/ 211 h 645087"/>
                                  <a:gd name="connsiteX10" fmla="*/ 199480 w 347624"/>
                                  <a:gd name="connsiteY10" fmla="*/ 118578 h 645087"/>
                                  <a:gd name="connsiteX11" fmla="*/ 132894 w 347624"/>
                                  <a:gd name="connsiteY11" fmla="*/ 150485 h 645087"/>
                                  <a:gd name="connsiteX0" fmla="*/ 132894 w 347624"/>
                                  <a:gd name="connsiteY0" fmla="*/ 150649 h 645251"/>
                                  <a:gd name="connsiteX1" fmla="*/ 60777 w 347624"/>
                                  <a:gd name="connsiteY1" fmla="*/ 354829 h 645251"/>
                                  <a:gd name="connsiteX2" fmla="*/ 567 w 347624"/>
                                  <a:gd name="connsiteY2" fmla="*/ 621308 h 645251"/>
                                  <a:gd name="connsiteX3" fmla="*/ 56743 w 347624"/>
                                  <a:gd name="connsiteY3" fmla="*/ 612742 h 645251"/>
                                  <a:gd name="connsiteX4" fmla="*/ 135298 w 347624"/>
                                  <a:gd name="connsiteY4" fmla="*/ 419594 h 645251"/>
                                  <a:gd name="connsiteX5" fmla="*/ 155722 w 347624"/>
                                  <a:gd name="connsiteY5" fmla="*/ 323020 h 645251"/>
                                  <a:gd name="connsiteX6" fmla="*/ 212281 w 347624"/>
                                  <a:gd name="connsiteY6" fmla="*/ 265953 h 645251"/>
                                  <a:gd name="connsiteX7" fmla="*/ 265431 w 347624"/>
                                  <a:gd name="connsiteY7" fmla="*/ 240188 h 645251"/>
                                  <a:gd name="connsiteX8" fmla="*/ 317970 w 347624"/>
                                  <a:gd name="connsiteY8" fmla="*/ 154473 h 645251"/>
                                  <a:gd name="connsiteX9" fmla="*/ 341111 w 347624"/>
                                  <a:gd name="connsiteY9" fmla="*/ 375 h 645251"/>
                                  <a:gd name="connsiteX10" fmla="*/ 185340 w 347624"/>
                                  <a:gd name="connsiteY10" fmla="*/ 63870 h 645251"/>
                                  <a:gd name="connsiteX11" fmla="*/ 132894 w 347624"/>
                                  <a:gd name="connsiteY11" fmla="*/ 150649 h 645251"/>
                                  <a:gd name="connsiteX0" fmla="*/ 131323 w 347624"/>
                                  <a:gd name="connsiteY0" fmla="*/ 65049 h 645251"/>
                                  <a:gd name="connsiteX1" fmla="*/ 60777 w 347624"/>
                                  <a:gd name="connsiteY1" fmla="*/ 354829 h 645251"/>
                                  <a:gd name="connsiteX2" fmla="*/ 567 w 347624"/>
                                  <a:gd name="connsiteY2" fmla="*/ 621308 h 645251"/>
                                  <a:gd name="connsiteX3" fmla="*/ 56743 w 347624"/>
                                  <a:gd name="connsiteY3" fmla="*/ 612742 h 645251"/>
                                  <a:gd name="connsiteX4" fmla="*/ 135298 w 347624"/>
                                  <a:gd name="connsiteY4" fmla="*/ 419594 h 645251"/>
                                  <a:gd name="connsiteX5" fmla="*/ 155722 w 347624"/>
                                  <a:gd name="connsiteY5" fmla="*/ 323020 h 645251"/>
                                  <a:gd name="connsiteX6" fmla="*/ 212281 w 347624"/>
                                  <a:gd name="connsiteY6" fmla="*/ 265953 h 645251"/>
                                  <a:gd name="connsiteX7" fmla="*/ 265431 w 347624"/>
                                  <a:gd name="connsiteY7" fmla="*/ 240188 h 645251"/>
                                  <a:gd name="connsiteX8" fmla="*/ 317970 w 347624"/>
                                  <a:gd name="connsiteY8" fmla="*/ 154473 h 645251"/>
                                  <a:gd name="connsiteX9" fmla="*/ 341111 w 347624"/>
                                  <a:gd name="connsiteY9" fmla="*/ 375 h 645251"/>
                                  <a:gd name="connsiteX10" fmla="*/ 185340 w 347624"/>
                                  <a:gd name="connsiteY10" fmla="*/ 63870 h 645251"/>
                                  <a:gd name="connsiteX11" fmla="*/ 131323 w 347624"/>
                                  <a:gd name="connsiteY11" fmla="*/ 65049 h 645251"/>
                                  <a:gd name="connsiteX0" fmla="*/ 131323 w 347624"/>
                                  <a:gd name="connsiteY0" fmla="*/ 65272 h 645474"/>
                                  <a:gd name="connsiteX1" fmla="*/ 60777 w 347624"/>
                                  <a:gd name="connsiteY1" fmla="*/ 355052 h 645474"/>
                                  <a:gd name="connsiteX2" fmla="*/ 567 w 347624"/>
                                  <a:gd name="connsiteY2" fmla="*/ 621531 h 645474"/>
                                  <a:gd name="connsiteX3" fmla="*/ 56743 w 347624"/>
                                  <a:gd name="connsiteY3" fmla="*/ 612965 h 645474"/>
                                  <a:gd name="connsiteX4" fmla="*/ 135298 w 347624"/>
                                  <a:gd name="connsiteY4" fmla="*/ 419817 h 645474"/>
                                  <a:gd name="connsiteX5" fmla="*/ 155722 w 347624"/>
                                  <a:gd name="connsiteY5" fmla="*/ 323243 h 645474"/>
                                  <a:gd name="connsiteX6" fmla="*/ 212281 w 347624"/>
                                  <a:gd name="connsiteY6" fmla="*/ 266176 h 645474"/>
                                  <a:gd name="connsiteX7" fmla="*/ 265431 w 347624"/>
                                  <a:gd name="connsiteY7" fmla="*/ 240411 h 645474"/>
                                  <a:gd name="connsiteX8" fmla="*/ 317970 w 347624"/>
                                  <a:gd name="connsiteY8" fmla="*/ 154696 h 645474"/>
                                  <a:gd name="connsiteX9" fmla="*/ 341111 w 347624"/>
                                  <a:gd name="connsiteY9" fmla="*/ 598 h 645474"/>
                                  <a:gd name="connsiteX10" fmla="*/ 185340 w 347624"/>
                                  <a:gd name="connsiteY10" fmla="*/ 37754 h 645474"/>
                                  <a:gd name="connsiteX11" fmla="*/ 131323 w 347624"/>
                                  <a:gd name="connsiteY11" fmla="*/ 65272 h 645474"/>
                                  <a:gd name="connsiteX0" fmla="*/ 131323 w 415405"/>
                                  <a:gd name="connsiteY0" fmla="*/ 65272 h 645474"/>
                                  <a:gd name="connsiteX1" fmla="*/ 60777 w 415405"/>
                                  <a:gd name="connsiteY1" fmla="*/ 355052 h 645474"/>
                                  <a:gd name="connsiteX2" fmla="*/ 567 w 415405"/>
                                  <a:gd name="connsiteY2" fmla="*/ 621531 h 645474"/>
                                  <a:gd name="connsiteX3" fmla="*/ 56743 w 415405"/>
                                  <a:gd name="connsiteY3" fmla="*/ 612965 h 645474"/>
                                  <a:gd name="connsiteX4" fmla="*/ 135298 w 415405"/>
                                  <a:gd name="connsiteY4" fmla="*/ 419817 h 645474"/>
                                  <a:gd name="connsiteX5" fmla="*/ 155722 w 415405"/>
                                  <a:gd name="connsiteY5" fmla="*/ 323243 h 645474"/>
                                  <a:gd name="connsiteX6" fmla="*/ 212281 w 415405"/>
                                  <a:gd name="connsiteY6" fmla="*/ 266176 h 645474"/>
                                  <a:gd name="connsiteX7" fmla="*/ 265431 w 415405"/>
                                  <a:gd name="connsiteY7" fmla="*/ 240411 h 645474"/>
                                  <a:gd name="connsiteX8" fmla="*/ 413807 w 415405"/>
                                  <a:gd name="connsiteY8" fmla="*/ 159086 h 645474"/>
                                  <a:gd name="connsiteX9" fmla="*/ 341111 w 415405"/>
                                  <a:gd name="connsiteY9" fmla="*/ 598 h 645474"/>
                                  <a:gd name="connsiteX10" fmla="*/ 185340 w 415405"/>
                                  <a:gd name="connsiteY10" fmla="*/ 37754 h 645474"/>
                                  <a:gd name="connsiteX11" fmla="*/ 131323 w 415405"/>
                                  <a:gd name="connsiteY11" fmla="*/ 65272 h 645474"/>
                                  <a:gd name="connsiteX0" fmla="*/ 131323 w 415405"/>
                                  <a:gd name="connsiteY0" fmla="*/ 65272 h 645474"/>
                                  <a:gd name="connsiteX1" fmla="*/ 86594 w 415405"/>
                                  <a:gd name="connsiteY1" fmla="*/ 165213 h 645474"/>
                                  <a:gd name="connsiteX2" fmla="*/ 60777 w 415405"/>
                                  <a:gd name="connsiteY2" fmla="*/ 355052 h 645474"/>
                                  <a:gd name="connsiteX3" fmla="*/ 567 w 415405"/>
                                  <a:gd name="connsiteY3" fmla="*/ 621531 h 645474"/>
                                  <a:gd name="connsiteX4" fmla="*/ 56743 w 415405"/>
                                  <a:gd name="connsiteY4" fmla="*/ 612965 h 645474"/>
                                  <a:gd name="connsiteX5" fmla="*/ 135298 w 415405"/>
                                  <a:gd name="connsiteY5" fmla="*/ 419817 h 645474"/>
                                  <a:gd name="connsiteX6" fmla="*/ 155722 w 415405"/>
                                  <a:gd name="connsiteY6" fmla="*/ 323243 h 645474"/>
                                  <a:gd name="connsiteX7" fmla="*/ 212281 w 415405"/>
                                  <a:gd name="connsiteY7" fmla="*/ 266176 h 645474"/>
                                  <a:gd name="connsiteX8" fmla="*/ 265431 w 415405"/>
                                  <a:gd name="connsiteY8" fmla="*/ 240411 h 645474"/>
                                  <a:gd name="connsiteX9" fmla="*/ 413807 w 415405"/>
                                  <a:gd name="connsiteY9" fmla="*/ 159086 h 645474"/>
                                  <a:gd name="connsiteX10" fmla="*/ 341111 w 415405"/>
                                  <a:gd name="connsiteY10" fmla="*/ 598 h 645474"/>
                                  <a:gd name="connsiteX11" fmla="*/ 185340 w 415405"/>
                                  <a:gd name="connsiteY11" fmla="*/ 37754 h 645474"/>
                                  <a:gd name="connsiteX12" fmla="*/ 131323 w 415405"/>
                                  <a:gd name="connsiteY12" fmla="*/ 65272 h 645474"/>
                                  <a:gd name="connsiteX0" fmla="*/ 131323 w 415538"/>
                                  <a:gd name="connsiteY0" fmla="*/ 67515 h 647717"/>
                                  <a:gd name="connsiteX1" fmla="*/ 86594 w 415538"/>
                                  <a:gd name="connsiteY1" fmla="*/ 167456 h 647717"/>
                                  <a:gd name="connsiteX2" fmla="*/ 60777 w 415538"/>
                                  <a:gd name="connsiteY2" fmla="*/ 357295 h 647717"/>
                                  <a:gd name="connsiteX3" fmla="*/ 567 w 415538"/>
                                  <a:gd name="connsiteY3" fmla="*/ 623774 h 647717"/>
                                  <a:gd name="connsiteX4" fmla="*/ 56743 w 415538"/>
                                  <a:gd name="connsiteY4" fmla="*/ 615208 h 647717"/>
                                  <a:gd name="connsiteX5" fmla="*/ 135298 w 415538"/>
                                  <a:gd name="connsiteY5" fmla="*/ 422060 h 647717"/>
                                  <a:gd name="connsiteX6" fmla="*/ 155722 w 415538"/>
                                  <a:gd name="connsiteY6" fmla="*/ 325486 h 647717"/>
                                  <a:gd name="connsiteX7" fmla="*/ 212281 w 415538"/>
                                  <a:gd name="connsiteY7" fmla="*/ 268419 h 647717"/>
                                  <a:gd name="connsiteX8" fmla="*/ 265431 w 415538"/>
                                  <a:gd name="connsiteY8" fmla="*/ 242654 h 647717"/>
                                  <a:gd name="connsiteX9" fmla="*/ 413807 w 415538"/>
                                  <a:gd name="connsiteY9" fmla="*/ 161329 h 647717"/>
                                  <a:gd name="connsiteX10" fmla="*/ 341111 w 415538"/>
                                  <a:gd name="connsiteY10" fmla="*/ 2841 h 647717"/>
                                  <a:gd name="connsiteX11" fmla="*/ 267269 w 415538"/>
                                  <a:gd name="connsiteY11" fmla="*/ 119169 h 647717"/>
                                  <a:gd name="connsiteX12" fmla="*/ 185340 w 415538"/>
                                  <a:gd name="connsiteY12" fmla="*/ 39997 h 647717"/>
                                  <a:gd name="connsiteX13" fmla="*/ 131323 w 415538"/>
                                  <a:gd name="connsiteY13" fmla="*/ 67515 h 647717"/>
                                  <a:gd name="connsiteX0" fmla="*/ 131323 w 417269"/>
                                  <a:gd name="connsiteY0" fmla="*/ 64920 h 645122"/>
                                  <a:gd name="connsiteX1" fmla="*/ 86594 w 417269"/>
                                  <a:gd name="connsiteY1" fmla="*/ 164861 h 645122"/>
                                  <a:gd name="connsiteX2" fmla="*/ 60777 w 417269"/>
                                  <a:gd name="connsiteY2" fmla="*/ 354700 h 645122"/>
                                  <a:gd name="connsiteX3" fmla="*/ 567 w 417269"/>
                                  <a:gd name="connsiteY3" fmla="*/ 621179 h 645122"/>
                                  <a:gd name="connsiteX4" fmla="*/ 56743 w 417269"/>
                                  <a:gd name="connsiteY4" fmla="*/ 612613 h 645122"/>
                                  <a:gd name="connsiteX5" fmla="*/ 135298 w 417269"/>
                                  <a:gd name="connsiteY5" fmla="*/ 419465 h 645122"/>
                                  <a:gd name="connsiteX6" fmla="*/ 155722 w 417269"/>
                                  <a:gd name="connsiteY6" fmla="*/ 322891 h 645122"/>
                                  <a:gd name="connsiteX7" fmla="*/ 212281 w 417269"/>
                                  <a:gd name="connsiteY7" fmla="*/ 265824 h 645122"/>
                                  <a:gd name="connsiteX8" fmla="*/ 265431 w 417269"/>
                                  <a:gd name="connsiteY8" fmla="*/ 240059 h 645122"/>
                                  <a:gd name="connsiteX9" fmla="*/ 413807 w 417269"/>
                                  <a:gd name="connsiteY9" fmla="*/ 158734 h 645122"/>
                                  <a:gd name="connsiteX10" fmla="*/ 367819 w 417269"/>
                                  <a:gd name="connsiteY10" fmla="*/ 134133 h 645122"/>
                                  <a:gd name="connsiteX11" fmla="*/ 341111 w 417269"/>
                                  <a:gd name="connsiteY11" fmla="*/ 246 h 645122"/>
                                  <a:gd name="connsiteX12" fmla="*/ 267269 w 417269"/>
                                  <a:gd name="connsiteY12" fmla="*/ 116574 h 645122"/>
                                  <a:gd name="connsiteX13" fmla="*/ 185340 w 417269"/>
                                  <a:gd name="connsiteY13" fmla="*/ 37402 h 645122"/>
                                  <a:gd name="connsiteX14" fmla="*/ 131323 w 417269"/>
                                  <a:gd name="connsiteY14" fmla="*/ 64920 h 645122"/>
                                  <a:gd name="connsiteX0" fmla="*/ 131323 w 418757"/>
                                  <a:gd name="connsiteY0" fmla="*/ 64920 h 645122"/>
                                  <a:gd name="connsiteX1" fmla="*/ 86594 w 418757"/>
                                  <a:gd name="connsiteY1" fmla="*/ 164861 h 645122"/>
                                  <a:gd name="connsiteX2" fmla="*/ 60777 w 418757"/>
                                  <a:gd name="connsiteY2" fmla="*/ 354700 h 645122"/>
                                  <a:gd name="connsiteX3" fmla="*/ 567 w 418757"/>
                                  <a:gd name="connsiteY3" fmla="*/ 621179 h 645122"/>
                                  <a:gd name="connsiteX4" fmla="*/ 56743 w 418757"/>
                                  <a:gd name="connsiteY4" fmla="*/ 612613 h 645122"/>
                                  <a:gd name="connsiteX5" fmla="*/ 135298 w 418757"/>
                                  <a:gd name="connsiteY5" fmla="*/ 419465 h 645122"/>
                                  <a:gd name="connsiteX6" fmla="*/ 155722 w 418757"/>
                                  <a:gd name="connsiteY6" fmla="*/ 322891 h 645122"/>
                                  <a:gd name="connsiteX7" fmla="*/ 212281 w 418757"/>
                                  <a:gd name="connsiteY7" fmla="*/ 265824 h 645122"/>
                                  <a:gd name="connsiteX8" fmla="*/ 265431 w 418757"/>
                                  <a:gd name="connsiteY8" fmla="*/ 240059 h 645122"/>
                                  <a:gd name="connsiteX9" fmla="*/ 415378 w 418757"/>
                                  <a:gd name="connsiteY9" fmla="*/ 182878 h 645122"/>
                                  <a:gd name="connsiteX10" fmla="*/ 367819 w 418757"/>
                                  <a:gd name="connsiteY10" fmla="*/ 134133 h 645122"/>
                                  <a:gd name="connsiteX11" fmla="*/ 341111 w 418757"/>
                                  <a:gd name="connsiteY11" fmla="*/ 246 h 645122"/>
                                  <a:gd name="connsiteX12" fmla="*/ 267269 w 418757"/>
                                  <a:gd name="connsiteY12" fmla="*/ 116574 h 645122"/>
                                  <a:gd name="connsiteX13" fmla="*/ 185340 w 418757"/>
                                  <a:gd name="connsiteY13" fmla="*/ 37402 h 645122"/>
                                  <a:gd name="connsiteX14" fmla="*/ 131323 w 418757"/>
                                  <a:gd name="connsiteY14" fmla="*/ 64920 h 645122"/>
                                  <a:gd name="connsiteX0" fmla="*/ 131209 w 418643"/>
                                  <a:gd name="connsiteY0" fmla="*/ 64920 h 641858"/>
                                  <a:gd name="connsiteX1" fmla="*/ 86480 w 418643"/>
                                  <a:gd name="connsiteY1" fmla="*/ 164861 h 641858"/>
                                  <a:gd name="connsiteX2" fmla="*/ 60663 w 418643"/>
                                  <a:gd name="connsiteY2" fmla="*/ 354700 h 641858"/>
                                  <a:gd name="connsiteX3" fmla="*/ 453 w 418643"/>
                                  <a:gd name="connsiteY3" fmla="*/ 621179 h 641858"/>
                                  <a:gd name="connsiteX4" fmla="*/ 56629 w 418643"/>
                                  <a:gd name="connsiteY4" fmla="*/ 612613 h 641858"/>
                                  <a:gd name="connsiteX5" fmla="*/ 119472 w 418643"/>
                                  <a:gd name="connsiteY5" fmla="*/ 529209 h 641858"/>
                                  <a:gd name="connsiteX6" fmla="*/ 135184 w 418643"/>
                                  <a:gd name="connsiteY6" fmla="*/ 419465 h 641858"/>
                                  <a:gd name="connsiteX7" fmla="*/ 155608 w 418643"/>
                                  <a:gd name="connsiteY7" fmla="*/ 322891 h 641858"/>
                                  <a:gd name="connsiteX8" fmla="*/ 212167 w 418643"/>
                                  <a:gd name="connsiteY8" fmla="*/ 265824 h 641858"/>
                                  <a:gd name="connsiteX9" fmla="*/ 265317 w 418643"/>
                                  <a:gd name="connsiteY9" fmla="*/ 240059 h 641858"/>
                                  <a:gd name="connsiteX10" fmla="*/ 415264 w 418643"/>
                                  <a:gd name="connsiteY10" fmla="*/ 182878 h 641858"/>
                                  <a:gd name="connsiteX11" fmla="*/ 367705 w 418643"/>
                                  <a:gd name="connsiteY11" fmla="*/ 134133 h 641858"/>
                                  <a:gd name="connsiteX12" fmla="*/ 340997 w 418643"/>
                                  <a:gd name="connsiteY12" fmla="*/ 246 h 641858"/>
                                  <a:gd name="connsiteX13" fmla="*/ 267155 w 418643"/>
                                  <a:gd name="connsiteY13" fmla="*/ 116574 h 641858"/>
                                  <a:gd name="connsiteX14" fmla="*/ 185226 w 418643"/>
                                  <a:gd name="connsiteY14" fmla="*/ 37402 h 641858"/>
                                  <a:gd name="connsiteX15" fmla="*/ 131209 w 418643"/>
                                  <a:gd name="connsiteY15" fmla="*/ 64920 h 641858"/>
                                  <a:gd name="connsiteX0" fmla="*/ 131209 w 418643"/>
                                  <a:gd name="connsiteY0" fmla="*/ 64920 h 641858"/>
                                  <a:gd name="connsiteX1" fmla="*/ 90670 w 418643"/>
                                  <a:gd name="connsiteY1" fmla="*/ 170714 h 641858"/>
                                  <a:gd name="connsiteX2" fmla="*/ 60663 w 418643"/>
                                  <a:gd name="connsiteY2" fmla="*/ 354700 h 641858"/>
                                  <a:gd name="connsiteX3" fmla="*/ 453 w 418643"/>
                                  <a:gd name="connsiteY3" fmla="*/ 621179 h 641858"/>
                                  <a:gd name="connsiteX4" fmla="*/ 56629 w 418643"/>
                                  <a:gd name="connsiteY4" fmla="*/ 612613 h 641858"/>
                                  <a:gd name="connsiteX5" fmla="*/ 119472 w 418643"/>
                                  <a:gd name="connsiteY5" fmla="*/ 529209 h 641858"/>
                                  <a:gd name="connsiteX6" fmla="*/ 135184 w 418643"/>
                                  <a:gd name="connsiteY6" fmla="*/ 419465 h 641858"/>
                                  <a:gd name="connsiteX7" fmla="*/ 155608 w 418643"/>
                                  <a:gd name="connsiteY7" fmla="*/ 322891 h 641858"/>
                                  <a:gd name="connsiteX8" fmla="*/ 212167 w 418643"/>
                                  <a:gd name="connsiteY8" fmla="*/ 265824 h 641858"/>
                                  <a:gd name="connsiteX9" fmla="*/ 265317 w 418643"/>
                                  <a:gd name="connsiteY9" fmla="*/ 240059 h 641858"/>
                                  <a:gd name="connsiteX10" fmla="*/ 415264 w 418643"/>
                                  <a:gd name="connsiteY10" fmla="*/ 182878 h 641858"/>
                                  <a:gd name="connsiteX11" fmla="*/ 367705 w 418643"/>
                                  <a:gd name="connsiteY11" fmla="*/ 134133 h 641858"/>
                                  <a:gd name="connsiteX12" fmla="*/ 340997 w 418643"/>
                                  <a:gd name="connsiteY12" fmla="*/ 246 h 641858"/>
                                  <a:gd name="connsiteX13" fmla="*/ 267155 w 418643"/>
                                  <a:gd name="connsiteY13" fmla="*/ 116574 h 641858"/>
                                  <a:gd name="connsiteX14" fmla="*/ 185226 w 418643"/>
                                  <a:gd name="connsiteY14" fmla="*/ 37402 h 641858"/>
                                  <a:gd name="connsiteX15" fmla="*/ 131209 w 418643"/>
                                  <a:gd name="connsiteY15" fmla="*/ 64920 h 641858"/>
                                  <a:gd name="connsiteX0" fmla="*/ 131601 w 419035"/>
                                  <a:gd name="connsiteY0" fmla="*/ 64920 h 642665"/>
                                  <a:gd name="connsiteX1" fmla="*/ 91062 w 419035"/>
                                  <a:gd name="connsiteY1" fmla="*/ 170714 h 642665"/>
                                  <a:gd name="connsiteX2" fmla="*/ 102951 w 419035"/>
                                  <a:gd name="connsiteY2" fmla="*/ 354700 h 642665"/>
                                  <a:gd name="connsiteX3" fmla="*/ 845 w 419035"/>
                                  <a:gd name="connsiteY3" fmla="*/ 621179 h 642665"/>
                                  <a:gd name="connsiteX4" fmla="*/ 57021 w 419035"/>
                                  <a:gd name="connsiteY4" fmla="*/ 612613 h 642665"/>
                                  <a:gd name="connsiteX5" fmla="*/ 119864 w 419035"/>
                                  <a:gd name="connsiteY5" fmla="*/ 529209 h 642665"/>
                                  <a:gd name="connsiteX6" fmla="*/ 135576 w 419035"/>
                                  <a:gd name="connsiteY6" fmla="*/ 419465 h 642665"/>
                                  <a:gd name="connsiteX7" fmla="*/ 156000 w 419035"/>
                                  <a:gd name="connsiteY7" fmla="*/ 322891 h 642665"/>
                                  <a:gd name="connsiteX8" fmla="*/ 212559 w 419035"/>
                                  <a:gd name="connsiteY8" fmla="*/ 265824 h 642665"/>
                                  <a:gd name="connsiteX9" fmla="*/ 265709 w 419035"/>
                                  <a:gd name="connsiteY9" fmla="*/ 240059 h 642665"/>
                                  <a:gd name="connsiteX10" fmla="*/ 415656 w 419035"/>
                                  <a:gd name="connsiteY10" fmla="*/ 182878 h 642665"/>
                                  <a:gd name="connsiteX11" fmla="*/ 368097 w 419035"/>
                                  <a:gd name="connsiteY11" fmla="*/ 134133 h 642665"/>
                                  <a:gd name="connsiteX12" fmla="*/ 341389 w 419035"/>
                                  <a:gd name="connsiteY12" fmla="*/ 246 h 642665"/>
                                  <a:gd name="connsiteX13" fmla="*/ 267547 w 419035"/>
                                  <a:gd name="connsiteY13" fmla="*/ 116574 h 642665"/>
                                  <a:gd name="connsiteX14" fmla="*/ 185618 w 419035"/>
                                  <a:gd name="connsiteY14" fmla="*/ 37402 h 642665"/>
                                  <a:gd name="connsiteX15" fmla="*/ 131601 w 419035"/>
                                  <a:gd name="connsiteY15" fmla="*/ 64920 h 642665"/>
                                  <a:gd name="connsiteX0" fmla="*/ 95375 w 382809"/>
                                  <a:gd name="connsiteY0" fmla="*/ 64920 h 615864"/>
                                  <a:gd name="connsiteX1" fmla="*/ 54836 w 382809"/>
                                  <a:gd name="connsiteY1" fmla="*/ 170714 h 615864"/>
                                  <a:gd name="connsiteX2" fmla="*/ 66725 w 382809"/>
                                  <a:gd name="connsiteY2" fmla="*/ 354700 h 615864"/>
                                  <a:gd name="connsiteX3" fmla="*/ 2325 w 382809"/>
                                  <a:gd name="connsiteY3" fmla="*/ 574355 h 615864"/>
                                  <a:gd name="connsiteX4" fmla="*/ 20795 w 382809"/>
                                  <a:gd name="connsiteY4" fmla="*/ 612613 h 615864"/>
                                  <a:gd name="connsiteX5" fmla="*/ 83638 w 382809"/>
                                  <a:gd name="connsiteY5" fmla="*/ 529209 h 615864"/>
                                  <a:gd name="connsiteX6" fmla="*/ 99350 w 382809"/>
                                  <a:gd name="connsiteY6" fmla="*/ 419465 h 615864"/>
                                  <a:gd name="connsiteX7" fmla="*/ 119774 w 382809"/>
                                  <a:gd name="connsiteY7" fmla="*/ 322891 h 615864"/>
                                  <a:gd name="connsiteX8" fmla="*/ 176333 w 382809"/>
                                  <a:gd name="connsiteY8" fmla="*/ 265824 h 615864"/>
                                  <a:gd name="connsiteX9" fmla="*/ 229483 w 382809"/>
                                  <a:gd name="connsiteY9" fmla="*/ 240059 h 615864"/>
                                  <a:gd name="connsiteX10" fmla="*/ 379430 w 382809"/>
                                  <a:gd name="connsiteY10" fmla="*/ 182878 h 615864"/>
                                  <a:gd name="connsiteX11" fmla="*/ 331871 w 382809"/>
                                  <a:gd name="connsiteY11" fmla="*/ 134133 h 615864"/>
                                  <a:gd name="connsiteX12" fmla="*/ 305163 w 382809"/>
                                  <a:gd name="connsiteY12" fmla="*/ 246 h 615864"/>
                                  <a:gd name="connsiteX13" fmla="*/ 231321 w 382809"/>
                                  <a:gd name="connsiteY13" fmla="*/ 116574 h 615864"/>
                                  <a:gd name="connsiteX14" fmla="*/ 149392 w 382809"/>
                                  <a:gd name="connsiteY14" fmla="*/ 37402 h 615864"/>
                                  <a:gd name="connsiteX15" fmla="*/ 95375 w 382809"/>
                                  <a:gd name="connsiteY15" fmla="*/ 64920 h 615864"/>
                                  <a:gd name="connsiteX0" fmla="*/ 95375 w 382809"/>
                                  <a:gd name="connsiteY0" fmla="*/ 64920 h 615864"/>
                                  <a:gd name="connsiteX1" fmla="*/ 111317 w 382809"/>
                                  <a:gd name="connsiteY1" fmla="*/ 196331 h 615864"/>
                                  <a:gd name="connsiteX2" fmla="*/ 54836 w 382809"/>
                                  <a:gd name="connsiteY2" fmla="*/ 170714 h 615864"/>
                                  <a:gd name="connsiteX3" fmla="*/ 66725 w 382809"/>
                                  <a:gd name="connsiteY3" fmla="*/ 354700 h 615864"/>
                                  <a:gd name="connsiteX4" fmla="*/ 2325 w 382809"/>
                                  <a:gd name="connsiteY4" fmla="*/ 574355 h 615864"/>
                                  <a:gd name="connsiteX5" fmla="*/ 20795 w 382809"/>
                                  <a:gd name="connsiteY5" fmla="*/ 612613 h 615864"/>
                                  <a:gd name="connsiteX6" fmla="*/ 83638 w 382809"/>
                                  <a:gd name="connsiteY6" fmla="*/ 529209 h 615864"/>
                                  <a:gd name="connsiteX7" fmla="*/ 99350 w 382809"/>
                                  <a:gd name="connsiteY7" fmla="*/ 419465 h 615864"/>
                                  <a:gd name="connsiteX8" fmla="*/ 119774 w 382809"/>
                                  <a:gd name="connsiteY8" fmla="*/ 322891 h 615864"/>
                                  <a:gd name="connsiteX9" fmla="*/ 176333 w 382809"/>
                                  <a:gd name="connsiteY9" fmla="*/ 265824 h 615864"/>
                                  <a:gd name="connsiteX10" fmla="*/ 229483 w 382809"/>
                                  <a:gd name="connsiteY10" fmla="*/ 240059 h 615864"/>
                                  <a:gd name="connsiteX11" fmla="*/ 379430 w 382809"/>
                                  <a:gd name="connsiteY11" fmla="*/ 182878 h 615864"/>
                                  <a:gd name="connsiteX12" fmla="*/ 331871 w 382809"/>
                                  <a:gd name="connsiteY12" fmla="*/ 134133 h 615864"/>
                                  <a:gd name="connsiteX13" fmla="*/ 305163 w 382809"/>
                                  <a:gd name="connsiteY13" fmla="*/ 246 h 615864"/>
                                  <a:gd name="connsiteX14" fmla="*/ 231321 w 382809"/>
                                  <a:gd name="connsiteY14" fmla="*/ 116574 h 615864"/>
                                  <a:gd name="connsiteX15" fmla="*/ 149392 w 382809"/>
                                  <a:gd name="connsiteY15" fmla="*/ 37402 h 615864"/>
                                  <a:gd name="connsiteX16" fmla="*/ 95375 w 382809"/>
                                  <a:gd name="connsiteY16" fmla="*/ 64920 h 615864"/>
                                  <a:gd name="connsiteX0" fmla="*/ 141460 w 382809"/>
                                  <a:gd name="connsiteY0" fmla="*/ 170274 h 615864"/>
                                  <a:gd name="connsiteX1" fmla="*/ 111317 w 382809"/>
                                  <a:gd name="connsiteY1" fmla="*/ 196331 h 615864"/>
                                  <a:gd name="connsiteX2" fmla="*/ 54836 w 382809"/>
                                  <a:gd name="connsiteY2" fmla="*/ 170714 h 615864"/>
                                  <a:gd name="connsiteX3" fmla="*/ 66725 w 382809"/>
                                  <a:gd name="connsiteY3" fmla="*/ 354700 h 615864"/>
                                  <a:gd name="connsiteX4" fmla="*/ 2325 w 382809"/>
                                  <a:gd name="connsiteY4" fmla="*/ 574355 h 615864"/>
                                  <a:gd name="connsiteX5" fmla="*/ 20795 w 382809"/>
                                  <a:gd name="connsiteY5" fmla="*/ 612613 h 615864"/>
                                  <a:gd name="connsiteX6" fmla="*/ 83638 w 382809"/>
                                  <a:gd name="connsiteY6" fmla="*/ 529209 h 615864"/>
                                  <a:gd name="connsiteX7" fmla="*/ 99350 w 382809"/>
                                  <a:gd name="connsiteY7" fmla="*/ 419465 h 615864"/>
                                  <a:gd name="connsiteX8" fmla="*/ 119774 w 382809"/>
                                  <a:gd name="connsiteY8" fmla="*/ 322891 h 615864"/>
                                  <a:gd name="connsiteX9" fmla="*/ 176333 w 382809"/>
                                  <a:gd name="connsiteY9" fmla="*/ 265824 h 615864"/>
                                  <a:gd name="connsiteX10" fmla="*/ 229483 w 382809"/>
                                  <a:gd name="connsiteY10" fmla="*/ 240059 h 615864"/>
                                  <a:gd name="connsiteX11" fmla="*/ 379430 w 382809"/>
                                  <a:gd name="connsiteY11" fmla="*/ 182878 h 615864"/>
                                  <a:gd name="connsiteX12" fmla="*/ 331871 w 382809"/>
                                  <a:gd name="connsiteY12" fmla="*/ 134133 h 615864"/>
                                  <a:gd name="connsiteX13" fmla="*/ 305163 w 382809"/>
                                  <a:gd name="connsiteY13" fmla="*/ 246 h 615864"/>
                                  <a:gd name="connsiteX14" fmla="*/ 231321 w 382809"/>
                                  <a:gd name="connsiteY14" fmla="*/ 116574 h 615864"/>
                                  <a:gd name="connsiteX15" fmla="*/ 149392 w 382809"/>
                                  <a:gd name="connsiteY15" fmla="*/ 37402 h 615864"/>
                                  <a:gd name="connsiteX16" fmla="*/ 141460 w 382809"/>
                                  <a:gd name="connsiteY16" fmla="*/ 170274 h 615864"/>
                                  <a:gd name="connsiteX0" fmla="*/ 141460 w 382809"/>
                                  <a:gd name="connsiteY0" fmla="*/ 170274 h 615864"/>
                                  <a:gd name="connsiteX1" fmla="*/ 111317 w 382809"/>
                                  <a:gd name="connsiteY1" fmla="*/ 196331 h 615864"/>
                                  <a:gd name="connsiteX2" fmla="*/ 66725 w 382809"/>
                                  <a:gd name="connsiteY2" fmla="*/ 354700 h 615864"/>
                                  <a:gd name="connsiteX3" fmla="*/ 2325 w 382809"/>
                                  <a:gd name="connsiteY3" fmla="*/ 574355 h 615864"/>
                                  <a:gd name="connsiteX4" fmla="*/ 20795 w 382809"/>
                                  <a:gd name="connsiteY4" fmla="*/ 612613 h 615864"/>
                                  <a:gd name="connsiteX5" fmla="*/ 83638 w 382809"/>
                                  <a:gd name="connsiteY5" fmla="*/ 529209 h 615864"/>
                                  <a:gd name="connsiteX6" fmla="*/ 99350 w 382809"/>
                                  <a:gd name="connsiteY6" fmla="*/ 419465 h 615864"/>
                                  <a:gd name="connsiteX7" fmla="*/ 119774 w 382809"/>
                                  <a:gd name="connsiteY7" fmla="*/ 322891 h 615864"/>
                                  <a:gd name="connsiteX8" fmla="*/ 176333 w 382809"/>
                                  <a:gd name="connsiteY8" fmla="*/ 265824 h 615864"/>
                                  <a:gd name="connsiteX9" fmla="*/ 229483 w 382809"/>
                                  <a:gd name="connsiteY9" fmla="*/ 240059 h 615864"/>
                                  <a:gd name="connsiteX10" fmla="*/ 379430 w 382809"/>
                                  <a:gd name="connsiteY10" fmla="*/ 182878 h 615864"/>
                                  <a:gd name="connsiteX11" fmla="*/ 331871 w 382809"/>
                                  <a:gd name="connsiteY11" fmla="*/ 134133 h 615864"/>
                                  <a:gd name="connsiteX12" fmla="*/ 305163 w 382809"/>
                                  <a:gd name="connsiteY12" fmla="*/ 246 h 615864"/>
                                  <a:gd name="connsiteX13" fmla="*/ 231321 w 382809"/>
                                  <a:gd name="connsiteY13" fmla="*/ 116574 h 615864"/>
                                  <a:gd name="connsiteX14" fmla="*/ 149392 w 382809"/>
                                  <a:gd name="connsiteY14" fmla="*/ 37402 h 615864"/>
                                  <a:gd name="connsiteX15" fmla="*/ 141460 w 382809"/>
                                  <a:gd name="connsiteY15" fmla="*/ 170274 h 615864"/>
                                  <a:gd name="connsiteX0" fmla="*/ 141460 w 382809"/>
                                  <a:gd name="connsiteY0" fmla="*/ 170274 h 615864"/>
                                  <a:gd name="connsiteX1" fmla="*/ 111317 w 382809"/>
                                  <a:gd name="connsiteY1" fmla="*/ 196331 h 615864"/>
                                  <a:gd name="connsiteX2" fmla="*/ 66725 w 382809"/>
                                  <a:gd name="connsiteY2" fmla="*/ 354700 h 615864"/>
                                  <a:gd name="connsiteX3" fmla="*/ 2325 w 382809"/>
                                  <a:gd name="connsiteY3" fmla="*/ 574355 h 615864"/>
                                  <a:gd name="connsiteX4" fmla="*/ 20795 w 382809"/>
                                  <a:gd name="connsiteY4" fmla="*/ 612613 h 615864"/>
                                  <a:gd name="connsiteX5" fmla="*/ 83638 w 382809"/>
                                  <a:gd name="connsiteY5" fmla="*/ 529209 h 615864"/>
                                  <a:gd name="connsiteX6" fmla="*/ 99350 w 382809"/>
                                  <a:gd name="connsiteY6" fmla="*/ 419465 h 615864"/>
                                  <a:gd name="connsiteX7" fmla="*/ 119774 w 382809"/>
                                  <a:gd name="connsiteY7" fmla="*/ 322891 h 615864"/>
                                  <a:gd name="connsiteX8" fmla="*/ 176333 w 382809"/>
                                  <a:gd name="connsiteY8" fmla="*/ 265824 h 615864"/>
                                  <a:gd name="connsiteX9" fmla="*/ 229483 w 382809"/>
                                  <a:gd name="connsiteY9" fmla="*/ 240059 h 615864"/>
                                  <a:gd name="connsiteX10" fmla="*/ 379430 w 382809"/>
                                  <a:gd name="connsiteY10" fmla="*/ 182878 h 615864"/>
                                  <a:gd name="connsiteX11" fmla="*/ 331871 w 382809"/>
                                  <a:gd name="connsiteY11" fmla="*/ 134133 h 615864"/>
                                  <a:gd name="connsiteX12" fmla="*/ 305163 w 382809"/>
                                  <a:gd name="connsiteY12" fmla="*/ 246 h 615864"/>
                                  <a:gd name="connsiteX13" fmla="*/ 231321 w 382809"/>
                                  <a:gd name="connsiteY13" fmla="*/ 116574 h 615864"/>
                                  <a:gd name="connsiteX14" fmla="*/ 141460 w 382809"/>
                                  <a:gd name="connsiteY14" fmla="*/ 170274 h 615864"/>
                                  <a:gd name="connsiteX0" fmla="*/ 123701 w 365050"/>
                                  <a:gd name="connsiteY0" fmla="*/ 170274 h 613328"/>
                                  <a:gd name="connsiteX1" fmla="*/ 93558 w 365050"/>
                                  <a:gd name="connsiteY1" fmla="*/ 196331 h 613328"/>
                                  <a:gd name="connsiteX2" fmla="*/ 48966 w 365050"/>
                                  <a:gd name="connsiteY2" fmla="*/ 354700 h 613328"/>
                                  <a:gd name="connsiteX3" fmla="*/ 13893 w 365050"/>
                                  <a:gd name="connsiteY3" fmla="*/ 556796 h 613328"/>
                                  <a:gd name="connsiteX4" fmla="*/ 3036 w 365050"/>
                                  <a:gd name="connsiteY4" fmla="*/ 612613 h 613328"/>
                                  <a:gd name="connsiteX5" fmla="*/ 65879 w 365050"/>
                                  <a:gd name="connsiteY5" fmla="*/ 529209 h 613328"/>
                                  <a:gd name="connsiteX6" fmla="*/ 81591 w 365050"/>
                                  <a:gd name="connsiteY6" fmla="*/ 419465 h 613328"/>
                                  <a:gd name="connsiteX7" fmla="*/ 102015 w 365050"/>
                                  <a:gd name="connsiteY7" fmla="*/ 322891 h 613328"/>
                                  <a:gd name="connsiteX8" fmla="*/ 158574 w 365050"/>
                                  <a:gd name="connsiteY8" fmla="*/ 265824 h 613328"/>
                                  <a:gd name="connsiteX9" fmla="*/ 211724 w 365050"/>
                                  <a:gd name="connsiteY9" fmla="*/ 240059 h 613328"/>
                                  <a:gd name="connsiteX10" fmla="*/ 361671 w 365050"/>
                                  <a:gd name="connsiteY10" fmla="*/ 182878 h 613328"/>
                                  <a:gd name="connsiteX11" fmla="*/ 314112 w 365050"/>
                                  <a:gd name="connsiteY11" fmla="*/ 134133 h 613328"/>
                                  <a:gd name="connsiteX12" fmla="*/ 287404 w 365050"/>
                                  <a:gd name="connsiteY12" fmla="*/ 246 h 613328"/>
                                  <a:gd name="connsiteX13" fmla="*/ 213562 w 365050"/>
                                  <a:gd name="connsiteY13" fmla="*/ 116574 h 613328"/>
                                  <a:gd name="connsiteX14" fmla="*/ 123701 w 365050"/>
                                  <a:gd name="connsiteY14" fmla="*/ 170274 h 613328"/>
                                  <a:gd name="connsiteX0" fmla="*/ 124130 w 365479"/>
                                  <a:gd name="connsiteY0" fmla="*/ 170274 h 613328"/>
                                  <a:gd name="connsiteX1" fmla="*/ 93987 w 365479"/>
                                  <a:gd name="connsiteY1" fmla="*/ 196331 h 613328"/>
                                  <a:gd name="connsiteX2" fmla="*/ 66153 w 365479"/>
                                  <a:gd name="connsiteY2" fmla="*/ 354700 h 613328"/>
                                  <a:gd name="connsiteX3" fmla="*/ 14322 w 365479"/>
                                  <a:gd name="connsiteY3" fmla="*/ 556796 h 613328"/>
                                  <a:gd name="connsiteX4" fmla="*/ 3465 w 365479"/>
                                  <a:gd name="connsiteY4" fmla="*/ 612613 h 613328"/>
                                  <a:gd name="connsiteX5" fmla="*/ 66308 w 365479"/>
                                  <a:gd name="connsiteY5" fmla="*/ 529209 h 613328"/>
                                  <a:gd name="connsiteX6" fmla="*/ 82020 w 365479"/>
                                  <a:gd name="connsiteY6" fmla="*/ 419465 h 613328"/>
                                  <a:gd name="connsiteX7" fmla="*/ 102444 w 365479"/>
                                  <a:gd name="connsiteY7" fmla="*/ 322891 h 613328"/>
                                  <a:gd name="connsiteX8" fmla="*/ 159003 w 365479"/>
                                  <a:gd name="connsiteY8" fmla="*/ 265824 h 613328"/>
                                  <a:gd name="connsiteX9" fmla="*/ 212153 w 365479"/>
                                  <a:gd name="connsiteY9" fmla="*/ 240059 h 613328"/>
                                  <a:gd name="connsiteX10" fmla="*/ 362100 w 365479"/>
                                  <a:gd name="connsiteY10" fmla="*/ 182878 h 613328"/>
                                  <a:gd name="connsiteX11" fmla="*/ 314541 w 365479"/>
                                  <a:gd name="connsiteY11" fmla="*/ 134133 h 613328"/>
                                  <a:gd name="connsiteX12" fmla="*/ 287833 w 365479"/>
                                  <a:gd name="connsiteY12" fmla="*/ 246 h 613328"/>
                                  <a:gd name="connsiteX13" fmla="*/ 213991 w 365479"/>
                                  <a:gd name="connsiteY13" fmla="*/ 116574 h 613328"/>
                                  <a:gd name="connsiteX14" fmla="*/ 124130 w 365479"/>
                                  <a:gd name="connsiteY14" fmla="*/ 170274 h 613328"/>
                                  <a:gd name="connsiteX0" fmla="*/ 123667 w 365016"/>
                                  <a:gd name="connsiteY0" fmla="*/ 170274 h 612987"/>
                                  <a:gd name="connsiteX1" fmla="*/ 93524 w 365016"/>
                                  <a:gd name="connsiteY1" fmla="*/ 196331 h 612987"/>
                                  <a:gd name="connsiteX2" fmla="*/ 65690 w 365016"/>
                                  <a:gd name="connsiteY2" fmla="*/ 354700 h 612987"/>
                                  <a:gd name="connsiteX3" fmla="*/ 47438 w 365016"/>
                                  <a:gd name="connsiteY3" fmla="*/ 483128 h 612987"/>
                                  <a:gd name="connsiteX4" fmla="*/ 13859 w 365016"/>
                                  <a:gd name="connsiteY4" fmla="*/ 556796 h 612987"/>
                                  <a:gd name="connsiteX5" fmla="*/ 3002 w 365016"/>
                                  <a:gd name="connsiteY5" fmla="*/ 612613 h 612987"/>
                                  <a:gd name="connsiteX6" fmla="*/ 65845 w 365016"/>
                                  <a:gd name="connsiteY6" fmla="*/ 529209 h 612987"/>
                                  <a:gd name="connsiteX7" fmla="*/ 81557 w 365016"/>
                                  <a:gd name="connsiteY7" fmla="*/ 419465 h 612987"/>
                                  <a:gd name="connsiteX8" fmla="*/ 101981 w 365016"/>
                                  <a:gd name="connsiteY8" fmla="*/ 322891 h 612987"/>
                                  <a:gd name="connsiteX9" fmla="*/ 158540 w 365016"/>
                                  <a:gd name="connsiteY9" fmla="*/ 265824 h 612987"/>
                                  <a:gd name="connsiteX10" fmla="*/ 211690 w 365016"/>
                                  <a:gd name="connsiteY10" fmla="*/ 240059 h 612987"/>
                                  <a:gd name="connsiteX11" fmla="*/ 361637 w 365016"/>
                                  <a:gd name="connsiteY11" fmla="*/ 182878 h 612987"/>
                                  <a:gd name="connsiteX12" fmla="*/ 314078 w 365016"/>
                                  <a:gd name="connsiteY12" fmla="*/ 134133 h 612987"/>
                                  <a:gd name="connsiteX13" fmla="*/ 287370 w 365016"/>
                                  <a:gd name="connsiteY13" fmla="*/ 246 h 612987"/>
                                  <a:gd name="connsiteX14" fmla="*/ 213528 w 365016"/>
                                  <a:gd name="connsiteY14" fmla="*/ 116574 h 612987"/>
                                  <a:gd name="connsiteX15" fmla="*/ 123667 w 365016"/>
                                  <a:gd name="connsiteY15" fmla="*/ 170274 h 612987"/>
                                  <a:gd name="connsiteX0" fmla="*/ 123667 w 365016"/>
                                  <a:gd name="connsiteY0" fmla="*/ 170274 h 612987"/>
                                  <a:gd name="connsiteX1" fmla="*/ 93524 w 365016"/>
                                  <a:gd name="connsiteY1" fmla="*/ 196331 h 612987"/>
                                  <a:gd name="connsiteX2" fmla="*/ 65690 w 365016"/>
                                  <a:gd name="connsiteY2" fmla="*/ 354700 h 612987"/>
                                  <a:gd name="connsiteX3" fmla="*/ 47438 w 365016"/>
                                  <a:gd name="connsiteY3" fmla="*/ 483128 h 612987"/>
                                  <a:gd name="connsiteX4" fmla="*/ 13859 w 365016"/>
                                  <a:gd name="connsiteY4" fmla="*/ 556796 h 612987"/>
                                  <a:gd name="connsiteX5" fmla="*/ 3002 w 365016"/>
                                  <a:gd name="connsiteY5" fmla="*/ 612613 h 612987"/>
                                  <a:gd name="connsiteX6" fmla="*/ 65845 w 365016"/>
                                  <a:gd name="connsiteY6" fmla="*/ 529209 h 612987"/>
                                  <a:gd name="connsiteX7" fmla="*/ 102175 w 365016"/>
                                  <a:gd name="connsiteY7" fmla="*/ 467670 h 612987"/>
                                  <a:gd name="connsiteX8" fmla="*/ 81557 w 365016"/>
                                  <a:gd name="connsiteY8" fmla="*/ 419465 h 612987"/>
                                  <a:gd name="connsiteX9" fmla="*/ 101981 w 365016"/>
                                  <a:gd name="connsiteY9" fmla="*/ 322891 h 612987"/>
                                  <a:gd name="connsiteX10" fmla="*/ 158540 w 365016"/>
                                  <a:gd name="connsiteY10" fmla="*/ 265824 h 612987"/>
                                  <a:gd name="connsiteX11" fmla="*/ 211690 w 365016"/>
                                  <a:gd name="connsiteY11" fmla="*/ 240059 h 612987"/>
                                  <a:gd name="connsiteX12" fmla="*/ 361637 w 365016"/>
                                  <a:gd name="connsiteY12" fmla="*/ 182878 h 612987"/>
                                  <a:gd name="connsiteX13" fmla="*/ 314078 w 365016"/>
                                  <a:gd name="connsiteY13" fmla="*/ 134133 h 612987"/>
                                  <a:gd name="connsiteX14" fmla="*/ 287370 w 365016"/>
                                  <a:gd name="connsiteY14" fmla="*/ 246 h 612987"/>
                                  <a:gd name="connsiteX15" fmla="*/ 213528 w 365016"/>
                                  <a:gd name="connsiteY15" fmla="*/ 116574 h 612987"/>
                                  <a:gd name="connsiteX16" fmla="*/ 123667 w 365016"/>
                                  <a:gd name="connsiteY16" fmla="*/ 170274 h 612987"/>
                                  <a:gd name="connsiteX0" fmla="*/ 124269 w 365618"/>
                                  <a:gd name="connsiteY0" fmla="*/ 170274 h 612996"/>
                                  <a:gd name="connsiteX1" fmla="*/ 94126 w 365618"/>
                                  <a:gd name="connsiteY1" fmla="*/ 196331 h 612996"/>
                                  <a:gd name="connsiteX2" fmla="*/ 66292 w 365618"/>
                                  <a:gd name="connsiteY2" fmla="*/ 354700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82159 w 365618"/>
                                  <a:gd name="connsiteY8" fmla="*/ 419465 h 612996"/>
                                  <a:gd name="connsiteX9" fmla="*/ 102583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214130 w 365618"/>
                                  <a:gd name="connsiteY15" fmla="*/ 116574 h 612996"/>
                                  <a:gd name="connsiteX16" fmla="*/ 124269 w 365618"/>
                                  <a:gd name="connsiteY16" fmla="*/ 170274 h 612996"/>
                                  <a:gd name="connsiteX0" fmla="*/ 124269 w 365618"/>
                                  <a:gd name="connsiteY0" fmla="*/ 170274 h 612996"/>
                                  <a:gd name="connsiteX1" fmla="*/ 94126 w 365618"/>
                                  <a:gd name="connsiteY1" fmla="*/ 196331 h 612996"/>
                                  <a:gd name="connsiteX2" fmla="*/ 66292 w 365618"/>
                                  <a:gd name="connsiteY2" fmla="*/ 354700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02583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214130 w 365618"/>
                                  <a:gd name="connsiteY15" fmla="*/ 116574 h 612996"/>
                                  <a:gd name="connsiteX16" fmla="*/ 124269 w 365618"/>
                                  <a:gd name="connsiteY16" fmla="*/ 170274 h 612996"/>
                                  <a:gd name="connsiteX0" fmla="*/ 124269 w 365618"/>
                                  <a:gd name="connsiteY0" fmla="*/ 170274 h 612996"/>
                                  <a:gd name="connsiteX1" fmla="*/ 94126 w 365618"/>
                                  <a:gd name="connsiteY1" fmla="*/ 196331 h 612996"/>
                                  <a:gd name="connsiteX2" fmla="*/ 78861 w 365618"/>
                                  <a:gd name="connsiteY2" fmla="*/ 357627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02583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214130 w 365618"/>
                                  <a:gd name="connsiteY15" fmla="*/ 116574 h 612996"/>
                                  <a:gd name="connsiteX16" fmla="*/ 124269 w 365618"/>
                                  <a:gd name="connsiteY16" fmla="*/ 170274 h 612996"/>
                                  <a:gd name="connsiteX0" fmla="*/ 124269 w 365618"/>
                                  <a:gd name="connsiteY0" fmla="*/ 170274 h 612996"/>
                                  <a:gd name="connsiteX1" fmla="*/ 94126 w 365618"/>
                                  <a:gd name="connsiteY1" fmla="*/ 196331 h 612996"/>
                                  <a:gd name="connsiteX2" fmla="*/ 78861 w 365618"/>
                                  <a:gd name="connsiteY2" fmla="*/ 357627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15152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214130 w 365618"/>
                                  <a:gd name="connsiteY15" fmla="*/ 116574 h 612996"/>
                                  <a:gd name="connsiteX16" fmla="*/ 124269 w 365618"/>
                                  <a:gd name="connsiteY16" fmla="*/ 170274 h 612996"/>
                                  <a:gd name="connsiteX0" fmla="*/ 124269 w 365618"/>
                                  <a:gd name="connsiteY0" fmla="*/ 170274 h 612996"/>
                                  <a:gd name="connsiteX1" fmla="*/ 133927 w 365618"/>
                                  <a:gd name="connsiteY1" fmla="*/ 237302 h 612996"/>
                                  <a:gd name="connsiteX2" fmla="*/ 78861 w 365618"/>
                                  <a:gd name="connsiteY2" fmla="*/ 357627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15152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214130 w 365618"/>
                                  <a:gd name="connsiteY15" fmla="*/ 116574 h 612996"/>
                                  <a:gd name="connsiteX16" fmla="*/ 124269 w 365618"/>
                                  <a:gd name="connsiteY16" fmla="*/ 170274 h 612996"/>
                                  <a:gd name="connsiteX0" fmla="*/ 124269 w 365618"/>
                                  <a:gd name="connsiteY0" fmla="*/ 170274 h 612996"/>
                                  <a:gd name="connsiteX1" fmla="*/ 133927 w 365618"/>
                                  <a:gd name="connsiteY1" fmla="*/ 237302 h 612996"/>
                                  <a:gd name="connsiteX2" fmla="*/ 78861 w 365618"/>
                                  <a:gd name="connsiteY2" fmla="*/ 357627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15152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15" fmla="*/ 124269 w 365618"/>
                                  <a:gd name="connsiteY15" fmla="*/ 170274 h 612996"/>
                                  <a:gd name="connsiteX0" fmla="*/ 287972 w 365618"/>
                                  <a:gd name="connsiteY0" fmla="*/ 246 h 612996"/>
                                  <a:gd name="connsiteX1" fmla="*/ 133927 w 365618"/>
                                  <a:gd name="connsiteY1" fmla="*/ 237302 h 612996"/>
                                  <a:gd name="connsiteX2" fmla="*/ 78861 w 365618"/>
                                  <a:gd name="connsiteY2" fmla="*/ 357627 h 612996"/>
                                  <a:gd name="connsiteX3" fmla="*/ 71083 w 365618"/>
                                  <a:gd name="connsiteY3" fmla="*/ 477275 h 612996"/>
                                  <a:gd name="connsiteX4" fmla="*/ 14461 w 365618"/>
                                  <a:gd name="connsiteY4" fmla="*/ 556796 h 612996"/>
                                  <a:gd name="connsiteX5" fmla="*/ 3604 w 365618"/>
                                  <a:gd name="connsiteY5" fmla="*/ 612613 h 612996"/>
                                  <a:gd name="connsiteX6" fmla="*/ 66447 w 365618"/>
                                  <a:gd name="connsiteY6" fmla="*/ 529209 h 612996"/>
                                  <a:gd name="connsiteX7" fmla="*/ 102777 w 365618"/>
                                  <a:gd name="connsiteY7" fmla="*/ 467670 h 612996"/>
                                  <a:gd name="connsiteX8" fmla="*/ 101012 w 365618"/>
                                  <a:gd name="connsiteY8" fmla="*/ 413612 h 612996"/>
                                  <a:gd name="connsiteX9" fmla="*/ 115152 w 365618"/>
                                  <a:gd name="connsiteY9" fmla="*/ 322891 h 612996"/>
                                  <a:gd name="connsiteX10" fmla="*/ 159142 w 365618"/>
                                  <a:gd name="connsiteY10" fmla="*/ 265824 h 612996"/>
                                  <a:gd name="connsiteX11" fmla="*/ 212292 w 365618"/>
                                  <a:gd name="connsiteY11" fmla="*/ 240059 h 612996"/>
                                  <a:gd name="connsiteX12" fmla="*/ 362239 w 365618"/>
                                  <a:gd name="connsiteY12" fmla="*/ 182878 h 612996"/>
                                  <a:gd name="connsiteX13" fmla="*/ 314680 w 365618"/>
                                  <a:gd name="connsiteY13" fmla="*/ 134133 h 612996"/>
                                  <a:gd name="connsiteX14" fmla="*/ 287972 w 365618"/>
                                  <a:gd name="connsiteY14" fmla="*/ 246 h 612996"/>
                                  <a:gd name="connsiteX0" fmla="*/ 287972 w 365618"/>
                                  <a:gd name="connsiteY0" fmla="*/ 125 h 612875"/>
                                  <a:gd name="connsiteX1" fmla="*/ 228465 w 365618"/>
                                  <a:gd name="connsiteY1" fmla="*/ 160268 h 612875"/>
                                  <a:gd name="connsiteX2" fmla="*/ 133927 w 365618"/>
                                  <a:gd name="connsiteY2" fmla="*/ 237181 h 612875"/>
                                  <a:gd name="connsiteX3" fmla="*/ 78861 w 365618"/>
                                  <a:gd name="connsiteY3" fmla="*/ 357506 h 612875"/>
                                  <a:gd name="connsiteX4" fmla="*/ 71083 w 365618"/>
                                  <a:gd name="connsiteY4" fmla="*/ 477154 h 612875"/>
                                  <a:gd name="connsiteX5" fmla="*/ 14461 w 365618"/>
                                  <a:gd name="connsiteY5" fmla="*/ 556675 h 612875"/>
                                  <a:gd name="connsiteX6" fmla="*/ 3604 w 365618"/>
                                  <a:gd name="connsiteY6" fmla="*/ 612492 h 612875"/>
                                  <a:gd name="connsiteX7" fmla="*/ 66447 w 365618"/>
                                  <a:gd name="connsiteY7" fmla="*/ 529088 h 612875"/>
                                  <a:gd name="connsiteX8" fmla="*/ 102777 w 365618"/>
                                  <a:gd name="connsiteY8" fmla="*/ 467549 h 612875"/>
                                  <a:gd name="connsiteX9" fmla="*/ 101012 w 365618"/>
                                  <a:gd name="connsiteY9" fmla="*/ 413491 h 612875"/>
                                  <a:gd name="connsiteX10" fmla="*/ 115152 w 365618"/>
                                  <a:gd name="connsiteY10" fmla="*/ 322770 h 612875"/>
                                  <a:gd name="connsiteX11" fmla="*/ 159142 w 365618"/>
                                  <a:gd name="connsiteY11" fmla="*/ 265703 h 612875"/>
                                  <a:gd name="connsiteX12" fmla="*/ 212292 w 365618"/>
                                  <a:gd name="connsiteY12" fmla="*/ 239938 h 612875"/>
                                  <a:gd name="connsiteX13" fmla="*/ 362239 w 365618"/>
                                  <a:gd name="connsiteY13" fmla="*/ 182757 h 612875"/>
                                  <a:gd name="connsiteX14" fmla="*/ 314680 w 365618"/>
                                  <a:gd name="connsiteY14" fmla="*/ 134012 h 612875"/>
                                  <a:gd name="connsiteX15" fmla="*/ 287972 w 365618"/>
                                  <a:gd name="connsiteY15" fmla="*/ 125 h 612875"/>
                                  <a:gd name="connsiteX0" fmla="*/ 287972 w 442977"/>
                                  <a:gd name="connsiteY0" fmla="*/ 117 h 612867"/>
                                  <a:gd name="connsiteX1" fmla="*/ 228465 w 442977"/>
                                  <a:gd name="connsiteY1" fmla="*/ 160260 h 612867"/>
                                  <a:gd name="connsiteX2" fmla="*/ 133927 w 442977"/>
                                  <a:gd name="connsiteY2" fmla="*/ 237173 h 612867"/>
                                  <a:gd name="connsiteX3" fmla="*/ 78861 w 442977"/>
                                  <a:gd name="connsiteY3" fmla="*/ 357498 h 612867"/>
                                  <a:gd name="connsiteX4" fmla="*/ 71083 w 442977"/>
                                  <a:gd name="connsiteY4" fmla="*/ 477146 h 612867"/>
                                  <a:gd name="connsiteX5" fmla="*/ 14461 w 442977"/>
                                  <a:gd name="connsiteY5" fmla="*/ 556667 h 612867"/>
                                  <a:gd name="connsiteX6" fmla="*/ 3604 w 442977"/>
                                  <a:gd name="connsiteY6" fmla="*/ 612484 h 612867"/>
                                  <a:gd name="connsiteX7" fmla="*/ 66447 w 442977"/>
                                  <a:gd name="connsiteY7" fmla="*/ 529080 h 612867"/>
                                  <a:gd name="connsiteX8" fmla="*/ 102777 w 442977"/>
                                  <a:gd name="connsiteY8" fmla="*/ 467541 h 612867"/>
                                  <a:gd name="connsiteX9" fmla="*/ 101012 w 442977"/>
                                  <a:gd name="connsiteY9" fmla="*/ 413483 h 612867"/>
                                  <a:gd name="connsiteX10" fmla="*/ 115152 w 442977"/>
                                  <a:gd name="connsiteY10" fmla="*/ 322762 h 612867"/>
                                  <a:gd name="connsiteX11" fmla="*/ 159142 w 442977"/>
                                  <a:gd name="connsiteY11" fmla="*/ 265695 h 612867"/>
                                  <a:gd name="connsiteX12" fmla="*/ 212292 w 442977"/>
                                  <a:gd name="connsiteY12" fmla="*/ 239930 h 612867"/>
                                  <a:gd name="connsiteX13" fmla="*/ 362239 w 442977"/>
                                  <a:gd name="connsiteY13" fmla="*/ 182749 h 612867"/>
                                  <a:gd name="connsiteX14" fmla="*/ 442133 w 442977"/>
                                  <a:gd name="connsiteY14" fmla="*/ 110509 h 612867"/>
                                  <a:gd name="connsiteX15" fmla="*/ 314680 w 442977"/>
                                  <a:gd name="connsiteY15" fmla="*/ 134004 h 612867"/>
                                  <a:gd name="connsiteX16" fmla="*/ 287972 w 442977"/>
                                  <a:gd name="connsiteY16" fmla="*/ 117 h 612867"/>
                                  <a:gd name="connsiteX0" fmla="*/ 287972 w 442134"/>
                                  <a:gd name="connsiteY0" fmla="*/ 124 h 612874"/>
                                  <a:gd name="connsiteX1" fmla="*/ 228465 w 442134"/>
                                  <a:gd name="connsiteY1" fmla="*/ 160267 h 612874"/>
                                  <a:gd name="connsiteX2" fmla="*/ 133927 w 442134"/>
                                  <a:gd name="connsiteY2" fmla="*/ 237180 h 612874"/>
                                  <a:gd name="connsiteX3" fmla="*/ 78861 w 442134"/>
                                  <a:gd name="connsiteY3" fmla="*/ 357505 h 612874"/>
                                  <a:gd name="connsiteX4" fmla="*/ 71083 w 442134"/>
                                  <a:gd name="connsiteY4" fmla="*/ 477153 h 612874"/>
                                  <a:gd name="connsiteX5" fmla="*/ 14461 w 442134"/>
                                  <a:gd name="connsiteY5" fmla="*/ 556674 h 612874"/>
                                  <a:gd name="connsiteX6" fmla="*/ 3604 w 442134"/>
                                  <a:gd name="connsiteY6" fmla="*/ 612491 h 612874"/>
                                  <a:gd name="connsiteX7" fmla="*/ 66447 w 442134"/>
                                  <a:gd name="connsiteY7" fmla="*/ 529087 h 612874"/>
                                  <a:gd name="connsiteX8" fmla="*/ 102777 w 442134"/>
                                  <a:gd name="connsiteY8" fmla="*/ 467548 h 612874"/>
                                  <a:gd name="connsiteX9" fmla="*/ 101012 w 442134"/>
                                  <a:gd name="connsiteY9" fmla="*/ 413490 h 612874"/>
                                  <a:gd name="connsiteX10" fmla="*/ 115152 w 442134"/>
                                  <a:gd name="connsiteY10" fmla="*/ 322769 h 612874"/>
                                  <a:gd name="connsiteX11" fmla="*/ 159142 w 442134"/>
                                  <a:gd name="connsiteY11" fmla="*/ 265702 h 612874"/>
                                  <a:gd name="connsiteX12" fmla="*/ 212292 w 442134"/>
                                  <a:gd name="connsiteY12" fmla="*/ 239937 h 612874"/>
                                  <a:gd name="connsiteX13" fmla="*/ 362239 w 442134"/>
                                  <a:gd name="connsiteY13" fmla="*/ 182756 h 612874"/>
                                  <a:gd name="connsiteX14" fmla="*/ 442133 w 442134"/>
                                  <a:gd name="connsiteY14" fmla="*/ 110516 h 612874"/>
                                  <a:gd name="connsiteX15" fmla="*/ 362531 w 442134"/>
                                  <a:gd name="connsiteY15" fmla="*/ 154413 h 612874"/>
                                  <a:gd name="connsiteX16" fmla="*/ 314680 w 442134"/>
                                  <a:gd name="connsiteY16" fmla="*/ 134011 h 612874"/>
                                  <a:gd name="connsiteX17" fmla="*/ 287972 w 442134"/>
                                  <a:gd name="connsiteY17" fmla="*/ 124 h 612874"/>
                                  <a:gd name="connsiteX0" fmla="*/ 287972 w 469366"/>
                                  <a:gd name="connsiteY0" fmla="*/ 124 h 612874"/>
                                  <a:gd name="connsiteX1" fmla="*/ 228465 w 469366"/>
                                  <a:gd name="connsiteY1" fmla="*/ 160267 h 612874"/>
                                  <a:gd name="connsiteX2" fmla="*/ 133927 w 469366"/>
                                  <a:gd name="connsiteY2" fmla="*/ 237180 h 612874"/>
                                  <a:gd name="connsiteX3" fmla="*/ 78861 w 469366"/>
                                  <a:gd name="connsiteY3" fmla="*/ 357505 h 612874"/>
                                  <a:gd name="connsiteX4" fmla="*/ 71083 w 469366"/>
                                  <a:gd name="connsiteY4" fmla="*/ 477153 h 612874"/>
                                  <a:gd name="connsiteX5" fmla="*/ 14461 w 469366"/>
                                  <a:gd name="connsiteY5" fmla="*/ 556674 h 612874"/>
                                  <a:gd name="connsiteX6" fmla="*/ 3604 w 469366"/>
                                  <a:gd name="connsiteY6" fmla="*/ 612491 h 612874"/>
                                  <a:gd name="connsiteX7" fmla="*/ 66447 w 469366"/>
                                  <a:gd name="connsiteY7" fmla="*/ 529087 h 612874"/>
                                  <a:gd name="connsiteX8" fmla="*/ 102777 w 469366"/>
                                  <a:gd name="connsiteY8" fmla="*/ 467548 h 612874"/>
                                  <a:gd name="connsiteX9" fmla="*/ 101012 w 469366"/>
                                  <a:gd name="connsiteY9" fmla="*/ 413490 h 612874"/>
                                  <a:gd name="connsiteX10" fmla="*/ 115152 w 469366"/>
                                  <a:gd name="connsiteY10" fmla="*/ 322769 h 612874"/>
                                  <a:gd name="connsiteX11" fmla="*/ 159142 w 469366"/>
                                  <a:gd name="connsiteY11" fmla="*/ 265702 h 612874"/>
                                  <a:gd name="connsiteX12" fmla="*/ 212292 w 469366"/>
                                  <a:gd name="connsiteY12" fmla="*/ 239937 h 612874"/>
                                  <a:gd name="connsiteX13" fmla="*/ 362239 w 469366"/>
                                  <a:gd name="connsiteY13" fmla="*/ 182756 h 612874"/>
                                  <a:gd name="connsiteX14" fmla="*/ 469365 w 469366"/>
                                  <a:gd name="connsiteY14" fmla="*/ 57839 h 612874"/>
                                  <a:gd name="connsiteX15" fmla="*/ 362531 w 469366"/>
                                  <a:gd name="connsiteY15" fmla="*/ 154413 h 612874"/>
                                  <a:gd name="connsiteX16" fmla="*/ 314680 w 469366"/>
                                  <a:gd name="connsiteY16" fmla="*/ 134011 h 612874"/>
                                  <a:gd name="connsiteX17" fmla="*/ 287972 w 469366"/>
                                  <a:gd name="connsiteY17" fmla="*/ 124 h 612874"/>
                                  <a:gd name="connsiteX0" fmla="*/ 287972 w 494502"/>
                                  <a:gd name="connsiteY0" fmla="*/ 124 h 612874"/>
                                  <a:gd name="connsiteX1" fmla="*/ 228465 w 494502"/>
                                  <a:gd name="connsiteY1" fmla="*/ 160267 h 612874"/>
                                  <a:gd name="connsiteX2" fmla="*/ 133927 w 494502"/>
                                  <a:gd name="connsiteY2" fmla="*/ 237180 h 612874"/>
                                  <a:gd name="connsiteX3" fmla="*/ 78861 w 494502"/>
                                  <a:gd name="connsiteY3" fmla="*/ 357505 h 612874"/>
                                  <a:gd name="connsiteX4" fmla="*/ 71083 w 494502"/>
                                  <a:gd name="connsiteY4" fmla="*/ 477153 h 612874"/>
                                  <a:gd name="connsiteX5" fmla="*/ 14461 w 494502"/>
                                  <a:gd name="connsiteY5" fmla="*/ 556674 h 612874"/>
                                  <a:gd name="connsiteX6" fmla="*/ 3604 w 494502"/>
                                  <a:gd name="connsiteY6" fmla="*/ 612491 h 612874"/>
                                  <a:gd name="connsiteX7" fmla="*/ 66447 w 494502"/>
                                  <a:gd name="connsiteY7" fmla="*/ 529087 h 612874"/>
                                  <a:gd name="connsiteX8" fmla="*/ 102777 w 494502"/>
                                  <a:gd name="connsiteY8" fmla="*/ 467548 h 612874"/>
                                  <a:gd name="connsiteX9" fmla="*/ 101012 w 494502"/>
                                  <a:gd name="connsiteY9" fmla="*/ 413490 h 612874"/>
                                  <a:gd name="connsiteX10" fmla="*/ 115152 w 494502"/>
                                  <a:gd name="connsiteY10" fmla="*/ 322769 h 612874"/>
                                  <a:gd name="connsiteX11" fmla="*/ 159142 w 494502"/>
                                  <a:gd name="connsiteY11" fmla="*/ 265702 h 612874"/>
                                  <a:gd name="connsiteX12" fmla="*/ 212292 w 494502"/>
                                  <a:gd name="connsiteY12" fmla="*/ 239937 h 612874"/>
                                  <a:gd name="connsiteX13" fmla="*/ 362239 w 494502"/>
                                  <a:gd name="connsiteY13" fmla="*/ 182756 h 612874"/>
                                  <a:gd name="connsiteX14" fmla="*/ 494502 w 494502"/>
                                  <a:gd name="connsiteY14" fmla="*/ 2236 h 612874"/>
                                  <a:gd name="connsiteX15" fmla="*/ 362531 w 494502"/>
                                  <a:gd name="connsiteY15" fmla="*/ 154413 h 612874"/>
                                  <a:gd name="connsiteX16" fmla="*/ 314680 w 494502"/>
                                  <a:gd name="connsiteY16" fmla="*/ 134011 h 612874"/>
                                  <a:gd name="connsiteX17" fmla="*/ 287972 w 494502"/>
                                  <a:gd name="connsiteY17" fmla="*/ 124 h 612874"/>
                                  <a:gd name="connsiteX0" fmla="*/ 287972 w 494724"/>
                                  <a:gd name="connsiteY0" fmla="*/ 6643 h 619393"/>
                                  <a:gd name="connsiteX1" fmla="*/ 228465 w 494724"/>
                                  <a:gd name="connsiteY1" fmla="*/ 166786 h 619393"/>
                                  <a:gd name="connsiteX2" fmla="*/ 133927 w 494724"/>
                                  <a:gd name="connsiteY2" fmla="*/ 243699 h 619393"/>
                                  <a:gd name="connsiteX3" fmla="*/ 78861 w 494724"/>
                                  <a:gd name="connsiteY3" fmla="*/ 364024 h 619393"/>
                                  <a:gd name="connsiteX4" fmla="*/ 71083 w 494724"/>
                                  <a:gd name="connsiteY4" fmla="*/ 483672 h 619393"/>
                                  <a:gd name="connsiteX5" fmla="*/ 14461 w 494724"/>
                                  <a:gd name="connsiteY5" fmla="*/ 563193 h 619393"/>
                                  <a:gd name="connsiteX6" fmla="*/ 3604 w 494724"/>
                                  <a:gd name="connsiteY6" fmla="*/ 619010 h 619393"/>
                                  <a:gd name="connsiteX7" fmla="*/ 66447 w 494724"/>
                                  <a:gd name="connsiteY7" fmla="*/ 535606 h 619393"/>
                                  <a:gd name="connsiteX8" fmla="*/ 102777 w 494724"/>
                                  <a:gd name="connsiteY8" fmla="*/ 474067 h 619393"/>
                                  <a:gd name="connsiteX9" fmla="*/ 101012 w 494724"/>
                                  <a:gd name="connsiteY9" fmla="*/ 420009 h 619393"/>
                                  <a:gd name="connsiteX10" fmla="*/ 115152 w 494724"/>
                                  <a:gd name="connsiteY10" fmla="*/ 329288 h 619393"/>
                                  <a:gd name="connsiteX11" fmla="*/ 159142 w 494724"/>
                                  <a:gd name="connsiteY11" fmla="*/ 272221 h 619393"/>
                                  <a:gd name="connsiteX12" fmla="*/ 212292 w 494724"/>
                                  <a:gd name="connsiteY12" fmla="*/ 246456 h 619393"/>
                                  <a:gd name="connsiteX13" fmla="*/ 362239 w 494724"/>
                                  <a:gd name="connsiteY13" fmla="*/ 189275 h 619393"/>
                                  <a:gd name="connsiteX14" fmla="*/ 494502 w 494724"/>
                                  <a:gd name="connsiteY14" fmla="*/ 8755 h 619393"/>
                                  <a:gd name="connsiteX15" fmla="*/ 362531 w 494724"/>
                                  <a:gd name="connsiteY15" fmla="*/ 160932 h 619393"/>
                                  <a:gd name="connsiteX16" fmla="*/ 314680 w 494724"/>
                                  <a:gd name="connsiteY16" fmla="*/ 140530 h 619393"/>
                                  <a:gd name="connsiteX17" fmla="*/ 287972 w 494724"/>
                                  <a:gd name="connsiteY17" fmla="*/ 6643 h 619393"/>
                                  <a:gd name="connsiteX0" fmla="*/ 287972 w 494724"/>
                                  <a:gd name="connsiteY0" fmla="*/ 6643 h 619393"/>
                                  <a:gd name="connsiteX1" fmla="*/ 228465 w 494724"/>
                                  <a:gd name="connsiteY1" fmla="*/ 166786 h 619393"/>
                                  <a:gd name="connsiteX2" fmla="*/ 133927 w 494724"/>
                                  <a:gd name="connsiteY2" fmla="*/ 243699 h 619393"/>
                                  <a:gd name="connsiteX3" fmla="*/ 78861 w 494724"/>
                                  <a:gd name="connsiteY3" fmla="*/ 364024 h 619393"/>
                                  <a:gd name="connsiteX4" fmla="*/ 71083 w 494724"/>
                                  <a:gd name="connsiteY4" fmla="*/ 483672 h 619393"/>
                                  <a:gd name="connsiteX5" fmla="*/ 14461 w 494724"/>
                                  <a:gd name="connsiteY5" fmla="*/ 563193 h 619393"/>
                                  <a:gd name="connsiteX6" fmla="*/ 3604 w 494724"/>
                                  <a:gd name="connsiteY6" fmla="*/ 619010 h 619393"/>
                                  <a:gd name="connsiteX7" fmla="*/ 66447 w 494724"/>
                                  <a:gd name="connsiteY7" fmla="*/ 535606 h 619393"/>
                                  <a:gd name="connsiteX8" fmla="*/ 102777 w 494724"/>
                                  <a:gd name="connsiteY8" fmla="*/ 474067 h 619393"/>
                                  <a:gd name="connsiteX9" fmla="*/ 101012 w 494724"/>
                                  <a:gd name="connsiteY9" fmla="*/ 420009 h 619393"/>
                                  <a:gd name="connsiteX10" fmla="*/ 115152 w 494724"/>
                                  <a:gd name="connsiteY10" fmla="*/ 329288 h 619393"/>
                                  <a:gd name="connsiteX11" fmla="*/ 175671 w 494724"/>
                                  <a:gd name="connsiteY11" fmla="*/ 277994 h 619393"/>
                                  <a:gd name="connsiteX12" fmla="*/ 212292 w 494724"/>
                                  <a:gd name="connsiteY12" fmla="*/ 246456 h 619393"/>
                                  <a:gd name="connsiteX13" fmla="*/ 362239 w 494724"/>
                                  <a:gd name="connsiteY13" fmla="*/ 189275 h 619393"/>
                                  <a:gd name="connsiteX14" fmla="*/ 494502 w 494724"/>
                                  <a:gd name="connsiteY14" fmla="*/ 8755 h 619393"/>
                                  <a:gd name="connsiteX15" fmla="*/ 362531 w 494724"/>
                                  <a:gd name="connsiteY15" fmla="*/ 160932 h 619393"/>
                                  <a:gd name="connsiteX16" fmla="*/ 314680 w 494724"/>
                                  <a:gd name="connsiteY16" fmla="*/ 140530 h 619393"/>
                                  <a:gd name="connsiteX17" fmla="*/ 287972 w 494724"/>
                                  <a:gd name="connsiteY17" fmla="*/ 6643 h 619393"/>
                                  <a:gd name="connsiteX0" fmla="*/ 287972 w 494724"/>
                                  <a:gd name="connsiteY0" fmla="*/ 6643 h 619393"/>
                                  <a:gd name="connsiteX1" fmla="*/ 228465 w 494724"/>
                                  <a:gd name="connsiteY1" fmla="*/ 166786 h 619393"/>
                                  <a:gd name="connsiteX2" fmla="*/ 133927 w 494724"/>
                                  <a:gd name="connsiteY2" fmla="*/ 243699 h 619393"/>
                                  <a:gd name="connsiteX3" fmla="*/ 78861 w 494724"/>
                                  <a:gd name="connsiteY3" fmla="*/ 364024 h 619393"/>
                                  <a:gd name="connsiteX4" fmla="*/ 71083 w 494724"/>
                                  <a:gd name="connsiteY4" fmla="*/ 483672 h 619393"/>
                                  <a:gd name="connsiteX5" fmla="*/ 14461 w 494724"/>
                                  <a:gd name="connsiteY5" fmla="*/ 563193 h 619393"/>
                                  <a:gd name="connsiteX6" fmla="*/ 3604 w 494724"/>
                                  <a:gd name="connsiteY6" fmla="*/ 619010 h 619393"/>
                                  <a:gd name="connsiteX7" fmla="*/ 66447 w 494724"/>
                                  <a:gd name="connsiteY7" fmla="*/ 535606 h 619393"/>
                                  <a:gd name="connsiteX8" fmla="*/ 102777 w 494724"/>
                                  <a:gd name="connsiteY8" fmla="*/ 474067 h 619393"/>
                                  <a:gd name="connsiteX9" fmla="*/ 101012 w 494724"/>
                                  <a:gd name="connsiteY9" fmla="*/ 420009 h 619393"/>
                                  <a:gd name="connsiteX10" fmla="*/ 131681 w 494724"/>
                                  <a:gd name="connsiteY10" fmla="*/ 329288 h 619393"/>
                                  <a:gd name="connsiteX11" fmla="*/ 175671 w 494724"/>
                                  <a:gd name="connsiteY11" fmla="*/ 277994 h 619393"/>
                                  <a:gd name="connsiteX12" fmla="*/ 212292 w 494724"/>
                                  <a:gd name="connsiteY12" fmla="*/ 246456 h 619393"/>
                                  <a:gd name="connsiteX13" fmla="*/ 362239 w 494724"/>
                                  <a:gd name="connsiteY13" fmla="*/ 189275 h 619393"/>
                                  <a:gd name="connsiteX14" fmla="*/ 494502 w 494724"/>
                                  <a:gd name="connsiteY14" fmla="*/ 8755 h 619393"/>
                                  <a:gd name="connsiteX15" fmla="*/ 362531 w 494724"/>
                                  <a:gd name="connsiteY15" fmla="*/ 160932 h 619393"/>
                                  <a:gd name="connsiteX16" fmla="*/ 314680 w 494724"/>
                                  <a:gd name="connsiteY16" fmla="*/ 140530 h 619393"/>
                                  <a:gd name="connsiteX17" fmla="*/ 287972 w 494724"/>
                                  <a:gd name="connsiteY17" fmla="*/ 6643 h 619393"/>
                                  <a:gd name="connsiteX0" fmla="*/ 288578 w 495330"/>
                                  <a:gd name="connsiteY0" fmla="*/ 6643 h 619151"/>
                                  <a:gd name="connsiteX1" fmla="*/ 229071 w 495330"/>
                                  <a:gd name="connsiteY1" fmla="*/ 166786 h 619151"/>
                                  <a:gd name="connsiteX2" fmla="*/ 134533 w 495330"/>
                                  <a:gd name="connsiteY2" fmla="*/ 243699 h 619151"/>
                                  <a:gd name="connsiteX3" fmla="*/ 79467 w 495330"/>
                                  <a:gd name="connsiteY3" fmla="*/ 364024 h 619151"/>
                                  <a:gd name="connsiteX4" fmla="*/ 71689 w 495330"/>
                                  <a:gd name="connsiteY4" fmla="*/ 483672 h 619151"/>
                                  <a:gd name="connsiteX5" fmla="*/ 15067 w 495330"/>
                                  <a:gd name="connsiteY5" fmla="*/ 563193 h 619151"/>
                                  <a:gd name="connsiteX6" fmla="*/ 4210 w 495330"/>
                                  <a:gd name="connsiteY6" fmla="*/ 619010 h 619151"/>
                                  <a:gd name="connsiteX7" fmla="*/ 75317 w 495330"/>
                                  <a:gd name="connsiteY7" fmla="*/ 547152 h 619151"/>
                                  <a:gd name="connsiteX8" fmla="*/ 103383 w 495330"/>
                                  <a:gd name="connsiteY8" fmla="*/ 474067 h 619151"/>
                                  <a:gd name="connsiteX9" fmla="*/ 101618 w 495330"/>
                                  <a:gd name="connsiteY9" fmla="*/ 420009 h 619151"/>
                                  <a:gd name="connsiteX10" fmla="*/ 132287 w 495330"/>
                                  <a:gd name="connsiteY10" fmla="*/ 329288 h 619151"/>
                                  <a:gd name="connsiteX11" fmla="*/ 176277 w 495330"/>
                                  <a:gd name="connsiteY11" fmla="*/ 277994 h 619151"/>
                                  <a:gd name="connsiteX12" fmla="*/ 212898 w 495330"/>
                                  <a:gd name="connsiteY12" fmla="*/ 246456 h 619151"/>
                                  <a:gd name="connsiteX13" fmla="*/ 362845 w 495330"/>
                                  <a:gd name="connsiteY13" fmla="*/ 189275 h 619151"/>
                                  <a:gd name="connsiteX14" fmla="*/ 495108 w 495330"/>
                                  <a:gd name="connsiteY14" fmla="*/ 8755 h 619151"/>
                                  <a:gd name="connsiteX15" fmla="*/ 363137 w 495330"/>
                                  <a:gd name="connsiteY15" fmla="*/ 160932 h 619151"/>
                                  <a:gd name="connsiteX16" fmla="*/ 315286 w 495330"/>
                                  <a:gd name="connsiteY16" fmla="*/ 140530 h 619151"/>
                                  <a:gd name="connsiteX17" fmla="*/ 288578 w 495330"/>
                                  <a:gd name="connsiteY17" fmla="*/ 6643 h 619151"/>
                                  <a:gd name="connsiteX0" fmla="*/ 278097 w 484849"/>
                                  <a:gd name="connsiteY0" fmla="*/ 6643 h 636430"/>
                                  <a:gd name="connsiteX1" fmla="*/ 218590 w 484849"/>
                                  <a:gd name="connsiteY1" fmla="*/ 166786 h 636430"/>
                                  <a:gd name="connsiteX2" fmla="*/ 124052 w 484849"/>
                                  <a:gd name="connsiteY2" fmla="*/ 243699 h 636430"/>
                                  <a:gd name="connsiteX3" fmla="*/ 68986 w 484849"/>
                                  <a:gd name="connsiteY3" fmla="*/ 364024 h 636430"/>
                                  <a:gd name="connsiteX4" fmla="*/ 61208 w 484849"/>
                                  <a:gd name="connsiteY4" fmla="*/ 483672 h 636430"/>
                                  <a:gd name="connsiteX5" fmla="*/ 4586 w 484849"/>
                                  <a:gd name="connsiteY5" fmla="*/ 563193 h 636430"/>
                                  <a:gd name="connsiteX6" fmla="*/ 10258 w 484849"/>
                                  <a:gd name="connsiteY6" fmla="*/ 636328 h 636430"/>
                                  <a:gd name="connsiteX7" fmla="*/ 64836 w 484849"/>
                                  <a:gd name="connsiteY7" fmla="*/ 547152 h 636430"/>
                                  <a:gd name="connsiteX8" fmla="*/ 92902 w 484849"/>
                                  <a:gd name="connsiteY8" fmla="*/ 474067 h 636430"/>
                                  <a:gd name="connsiteX9" fmla="*/ 91137 w 484849"/>
                                  <a:gd name="connsiteY9" fmla="*/ 420009 h 636430"/>
                                  <a:gd name="connsiteX10" fmla="*/ 121806 w 484849"/>
                                  <a:gd name="connsiteY10" fmla="*/ 329288 h 636430"/>
                                  <a:gd name="connsiteX11" fmla="*/ 165796 w 484849"/>
                                  <a:gd name="connsiteY11" fmla="*/ 277994 h 636430"/>
                                  <a:gd name="connsiteX12" fmla="*/ 202417 w 484849"/>
                                  <a:gd name="connsiteY12" fmla="*/ 246456 h 636430"/>
                                  <a:gd name="connsiteX13" fmla="*/ 352364 w 484849"/>
                                  <a:gd name="connsiteY13" fmla="*/ 189275 h 636430"/>
                                  <a:gd name="connsiteX14" fmla="*/ 484627 w 484849"/>
                                  <a:gd name="connsiteY14" fmla="*/ 8755 h 636430"/>
                                  <a:gd name="connsiteX15" fmla="*/ 352656 w 484849"/>
                                  <a:gd name="connsiteY15" fmla="*/ 160932 h 636430"/>
                                  <a:gd name="connsiteX16" fmla="*/ 304805 w 484849"/>
                                  <a:gd name="connsiteY16" fmla="*/ 140530 h 636430"/>
                                  <a:gd name="connsiteX17" fmla="*/ 278097 w 484849"/>
                                  <a:gd name="connsiteY17" fmla="*/ 6643 h 636430"/>
                                  <a:gd name="connsiteX0" fmla="*/ 278097 w 484849"/>
                                  <a:gd name="connsiteY0" fmla="*/ 6643 h 636430"/>
                                  <a:gd name="connsiteX1" fmla="*/ 218590 w 484849"/>
                                  <a:gd name="connsiteY1" fmla="*/ 166786 h 636430"/>
                                  <a:gd name="connsiteX2" fmla="*/ 124052 w 484849"/>
                                  <a:gd name="connsiteY2" fmla="*/ 243699 h 636430"/>
                                  <a:gd name="connsiteX3" fmla="*/ 68986 w 484849"/>
                                  <a:gd name="connsiteY3" fmla="*/ 364024 h 636430"/>
                                  <a:gd name="connsiteX4" fmla="*/ 61208 w 484849"/>
                                  <a:gd name="connsiteY4" fmla="*/ 483672 h 636430"/>
                                  <a:gd name="connsiteX5" fmla="*/ 4586 w 484849"/>
                                  <a:gd name="connsiteY5" fmla="*/ 563193 h 636430"/>
                                  <a:gd name="connsiteX6" fmla="*/ 10258 w 484849"/>
                                  <a:gd name="connsiteY6" fmla="*/ 636328 h 636430"/>
                                  <a:gd name="connsiteX7" fmla="*/ 64836 w 484849"/>
                                  <a:gd name="connsiteY7" fmla="*/ 547152 h 636430"/>
                                  <a:gd name="connsiteX8" fmla="*/ 92902 w 484849"/>
                                  <a:gd name="connsiteY8" fmla="*/ 474067 h 636430"/>
                                  <a:gd name="connsiteX9" fmla="*/ 91137 w 484849"/>
                                  <a:gd name="connsiteY9" fmla="*/ 420009 h 636430"/>
                                  <a:gd name="connsiteX10" fmla="*/ 121806 w 484849"/>
                                  <a:gd name="connsiteY10" fmla="*/ 329288 h 636430"/>
                                  <a:gd name="connsiteX11" fmla="*/ 165796 w 484849"/>
                                  <a:gd name="connsiteY11" fmla="*/ 277994 h 636430"/>
                                  <a:gd name="connsiteX12" fmla="*/ 202417 w 484849"/>
                                  <a:gd name="connsiteY12" fmla="*/ 246456 h 636430"/>
                                  <a:gd name="connsiteX13" fmla="*/ 360628 w 484849"/>
                                  <a:gd name="connsiteY13" fmla="*/ 212366 h 636430"/>
                                  <a:gd name="connsiteX14" fmla="*/ 484627 w 484849"/>
                                  <a:gd name="connsiteY14" fmla="*/ 8755 h 636430"/>
                                  <a:gd name="connsiteX15" fmla="*/ 352656 w 484849"/>
                                  <a:gd name="connsiteY15" fmla="*/ 160932 h 636430"/>
                                  <a:gd name="connsiteX16" fmla="*/ 304805 w 484849"/>
                                  <a:gd name="connsiteY16" fmla="*/ 140530 h 636430"/>
                                  <a:gd name="connsiteX17" fmla="*/ 278097 w 484849"/>
                                  <a:gd name="connsiteY17" fmla="*/ 6643 h 636430"/>
                                  <a:gd name="connsiteX0" fmla="*/ 278097 w 455993"/>
                                  <a:gd name="connsiteY0" fmla="*/ 17782 h 647569"/>
                                  <a:gd name="connsiteX1" fmla="*/ 218590 w 455993"/>
                                  <a:gd name="connsiteY1" fmla="*/ 177925 h 647569"/>
                                  <a:gd name="connsiteX2" fmla="*/ 124052 w 455993"/>
                                  <a:gd name="connsiteY2" fmla="*/ 254838 h 647569"/>
                                  <a:gd name="connsiteX3" fmla="*/ 68986 w 455993"/>
                                  <a:gd name="connsiteY3" fmla="*/ 375163 h 647569"/>
                                  <a:gd name="connsiteX4" fmla="*/ 61208 w 455993"/>
                                  <a:gd name="connsiteY4" fmla="*/ 494811 h 647569"/>
                                  <a:gd name="connsiteX5" fmla="*/ 4586 w 455993"/>
                                  <a:gd name="connsiteY5" fmla="*/ 574332 h 647569"/>
                                  <a:gd name="connsiteX6" fmla="*/ 10258 w 455993"/>
                                  <a:gd name="connsiteY6" fmla="*/ 647467 h 647569"/>
                                  <a:gd name="connsiteX7" fmla="*/ 64836 w 455993"/>
                                  <a:gd name="connsiteY7" fmla="*/ 558291 h 647569"/>
                                  <a:gd name="connsiteX8" fmla="*/ 92902 w 455993"/>
                                  <a:gd name="connsiteY8" fmla="*/ 485206 h 647569"/>
                                  <a:gd name="connsiteX9" fmla="*/ 91137 w 455993"/>
                                  <a:gd name="connsiteY9" fmla="*/ 431148 h 647569"/>
                                  <a:gd name="connsiteX10" fmla="*/ 121806 w 455993"/>
                                  <a:gd name="connsiteY10" fmla="*/ 340427 h 647569"/>
                                  <a:gd name="connsiteX11" fmla="*/ 165796 w 455993"/>
                                  <a:gd name="connsiteY11" fmla="*/ 289133 h 647569"/>
                                  <a:gd name="connsiteX12" fmla="*/ 202417 w 455993"/>
                                  <a:gd name="connsiteY12" fmla="*/ 257595 h 647569"/>
                                  <a:gd name="connsiteX13" fmla="*/ 360628 w 455993"/>
                                  <a:gd name="connsiteY13" fmla="*/ 223505 h 647569"/>
                                  <a:gd name="connsiteX14" fmla="*/ 455702 w 455993"/>
                                  <a:gd name="connsiteY14" fmla="*/ 8348 h 647569"/>
                                  <a:gd name="connsiteX15" fmla="*/ 352656 w 455993"/>
                                  <a:gd name="connsiteY15" fmla="*/ 172071 h 647569"/>
                                  <a:gd name="connsiteX16" fmla="*/ 304805 w 455993"/>
                                  <a:gd name="connsiteY16" fmla="*/ 151669 h 647569"/>
                                  <a:gd name="connsiteX17" fmla="*/ 278097 w 455993"/>
                                  <a:gd name="connsiteY17" fmla="*/ 17782 h 647569"/>
                                  <a:gd name="connsiteX0" fmla="*/ 278097 w 478226"/>
                                  <a:gd name="connsiteY0" fmla="*/ 20296 h 650083"/>
                                  <a:gd name="connsiteX1" fmla="*/ 218590 w 478226"/>
                                  <a:gd name="connsiteY1" fmla="*/ 180439 h 650083"/>
                                  <a:gd name="connsiteX2" fmla="*/ 124052 w 478226"/>
                                  <a:gd name="connsiteY2" fmla="*/ 257352 h 650083"/>
                                  <a:gd name="connsiteX3" fmla="*/ 68986 w 478226"/>
                                  <a:gd name="connsiteY3" fmla="*/ 377677 h 650083"/>
                                  <a:gd name="connsiteX4" fmla="*/ 61208 w 478226"/>
                                  <a:gd name="connsiteY4" fmla="*/ 497325 h 650083"/>
                                  <a:gd name="connsiteX5" fmla="*/ 4586 w 478226"/>
                                  <a:gd name="connsiteY5" fmla="*/ 576846 h 650083"/>
                                  <a:gd name="connsiteX6" fmla="*/ 10258 w 478226"/>
                                  <a:gd name="connsiteY6" fmla="*/ 649981 h 650083"/>
                                  <a:gd name="connsiteX7" fmla="*/ 64836 w 478226"/>
                                  <a:gd name="connsiteY7" fmla="*/ 560805 h 650083"/>
                                  <a:gd name="connsiteX8" fmla="*/ 92902 w 478226"/>
                                  <a:gd name="connsiteY8" fmla="*/ 487720 h 650083"/>
                                  <a:gd name="connsiteX9" fmla="*/ 91137 w 478226"/>
                                  <a:gd name="connsiteY9" fmla="*/ 433662 h 650083"/>
                                  <a:gd name="connsiteX10" fmla="*/ 121806 w 478226"/>
                                  <a:gd name="connsiteY10" fmla="*/ 342941 h 650083"/>
                                  <a:gd name="connsiteX11" fmla="*/ 165796 w 478226"/>
                                  <a:gd name="connsiteY11" fmla="*/ 291647 h 650083"/>
                                  <a:gd name="connsiteX12" fmla="*/ 202417 w 478226"/>
                                  <a:gd name="connsiteY12" fmla="*/ 260109 h 650083"/>
                                  <a:gd name="connsiteX13" fmla="*/ 360628 w 478226"/>
                                  <a:gd name="connsiteY13" fmla="*/ 226019 h 650083"/>
                                  <a:gd name="connsiteX14" fmla="*/ 471869 w 478226"/>
                                  <a:gd name="connsiteY14" fmla="*/ 36042 h 650083"/>
                                  <a:gd name="connsiteX15" fmla="*/ 455702 w 478226"/>
                                  <a:gd name="connsiteY15" fmla="*/ 10862 h 650083"/>
                                  <a:gd name="connsiteX16" fmla="*/ 352656 w 478226"/>
                                  <a:gd name="connsiteY16" fmla="*/ 174585 h 650083"/>
                                  <a:gd name="connsiteX17" fmla="*/ 304805 w 478226"/>
                                  <a:gd name="connsiteY17" fmla="*/ 154183 h 650083"/>
                                  <a:gd name="connsiteX18" fmla="*/ 278097 w 478226"/>
                                  <a:gd name="connsiteY18" fmla="*/ 20296 h 650083"/>
                                  <a:gd name="connsiteX0" fmla="*/ 278097 w 478226"/>
                                  <a:gd name="connsiteY0" fmla="*/ 20296 h 650083"/>
                                  <a:gd name="connsiteX1" fmla="*/ 215673 w 478226"/>
                                  <a:gd name="connsiteY1" fmla="*/ 64906 h 650083"/>
                                  <a:gd name="connsiteX2" fmla="*/ 218590 w 478226"/>
                                  <a:gd name="connsiteY2" fmla="*/ 180439 h 650083"/>
                                  <a:gd name="connsiteX3" fmla="*/ 124052 w 478226"/>
                                  <a:gd name="connsiteY3" fmla="*/ 257352 h 650083"/>
                                  <a:gd name="connsiteX4" fmla="*/ 68986 w 478226"/>
                                  <a:gd name="connsiteY4" fmla="*/ 377677 h 650083"/>
                                  <a:gd name="connsiteX5" fmla="*/ 61208 w 478226"/>
                                  <a:gd name="connsiteY5" fmla="*/ 497325 h 650083"/>
                                  <a:gd name="connsiteX6" fmla="*/ 4586 w 478226"/>
                                  <a:gd name="connsiteY6" fmla="*/ 576846 h 650083"/>
                                  <a:gd name="connsiteX7" fmla="*/ 10258 w 478226"/>
                                  <a:gd name="connsiteY7" fmla="*/ 649981 h 650083"/>
                                  <a:gd name="connsiteX8" fmla="*/ 64836 w 478226"/>
                                  <a:gd name="connsiteY8" fmla="*/ 560805 h 650083"/>
                                  <a:gd name="connsiteX9" fmla="*/ 92902 w 478226"/>
                                  <a:gd name="connsiteY9" fmla="*/ 487720 h 650083"/>
                                  <a:gd name="connsiteX10" fmla="*/ 91137 w 478226"/>
                                  <a:gd name="connsiteY10" fmla="*/ 433662 h 650083"/>
                                  <a:gd name="connsiteX11" fmla="*/ 121806 w 478226"/>
                                  <a:gd name="connsiteY11" fmla="*/ 342941 h 650083"/>
                                  <a:gd name="connsiteX12" fmla="*/ 165796 w 478226"/>
                                  <a:gd name="connsiteY12" fmla="*/ 291647 h 650083"/>
                                  <a:gd name="connsiteX13" fmla="*/ 202417 w 478226"/>
                                  <a:gd name="connsiteY13" fmla="*/ 260109 h 650083"/>
                                  <a:gd name="connsiteX14" fmla="*/ 360628 w 478226"/>
                                  <a:gd name="connsiteY14" fmla="*/ 226019 h 650083"/>
                                  <a:gd name="connsiteX15" fmla="*/ 471869 w 478226"/>
                                  <a:gd name="connsiteY15" fmla="*/ 36042 h 650083"/>
                                  <a:gd name="connsiteX16" fmla="*/ 455702 w 478226"/>
                                  <a:gd name="connsiteY16" fmla="*/ 10862 h 650083"/>
                                  <a:gd name="connsiteX17" fmla="*/ 352656 w 478226"/>
                                  <a:gd name="connsiteY17" fmla="*/ 174585 h 650083"/>
                                  <a:gd name="connsiteX18" fmla="*/ 304805 w 478226"/>
                                  <a:gd name="connsiteY18" fmla="*/ 154183 h 650083"/>
                                  <a:gd name="connsiteX19" fmla="*/ 278097 w 478226"/>
                                  <a:gd name="connsiteY19" fmla="*/ 20296 h 650083"/>
                                  <a:gd name="connsiteX0" fmla="*/ 278097 w 478226"/>
                                  <a:gd name="connsiteY0" fmla="*/ 20296 h 650083"/>
                                  <a:gd name="connsiteX1" fmla="*/ 215673 w 478226"/>
                                  <a:gd name="connsiteY1" fmla="*/ 64906 h 650083"/>
                                  <a:gd name="connsiteX2" fmla="*/ 193797 w 478226"/>
                                  <a:gd name="connsiteY2" fmla="*/ 151575 h 650083"/>
                                  <a:gd name="connsiteX3" fmla="*/ 124052 w 478226"/>
                                  <a:gd name="connsiteY3" fmla="*/ 257352 h 650083"/>
                                  <a:gd name="connsiteX4" fmla="*/ 68986 w 478226"/>
                                  <a:gd name="connsiteY4" fmla="*/ 377677 h 650083"/>
                                  <a:gd name="connsiteX5" fmla="*/ 61208 w 478226"/>
                                  <a:gd name="connsiteY5" fmla="*/ 497325 h 650083"/>
                                  <a:gd name="connsiteX6" fmla="*/ 4586 w 478226"/>
                                  <a:gd name="connsiteY6" fmla="*/ 576846 h 650083"/>
                                  <a:gd name="connsiteX7" fmla="*/ 10258 w 478226"/>
                                  <a:gd name="connsiteY7" fmla="*/ 649981 h 650083"/>
                                  <a:gd name="connsiteX8" fmla="*/ 64836 w 478226"/>
                                  <a:gd name="connsiteY8" fmla="*/ 560805 h 650083"/>
                                  <a:gd name="connsiteX9" fmla="*/ 92902 w 478226"/>
                                  <a:gd name="connsiteY9" fmla="*/ 487720 h 650083"/>
                                  <a:gd name="connsiteX10" fmla="*/ 91137 w 478226"/>
                                  <a:gd name="connsiteY10" fmla="*/ 433662 h 650083"/>
                                  <a:gd name="connsiteX11" fmla="*/ 121806 w 478226"/>
                                  <a:gd name="connsiteY11" fmla="*/ 342941 h 650083"/>
                                  <a:gd name="connsiteX12" fmla="*/ 165796 w 478226"/>
                                  <a:gd name="connsiteY12" fmla="*/ 291647 h 650083"/>
                                  <a:gd name="connsiteX13" fmla="*/ 202417 w 478226"/>
                                  <a:gd name="connsiteY13" fmla="*/ 260109 h 650083"/>
                                  <a:gd name="connsiteX14" fmla="*/ 360628 w 478226"/>
                                  <a:gd name="connsiteY14" fmla="*/ 226019 h 650083"/>
                                  <a:gd name="connsiteX15" fmla="*/ 471869 w 478226"/>
                                  <a:gd name="connsiteY15" fmla="*/ 36042 h 650083"/>
                                  <a:gd name="connsiteX16" fmla="*/ 455702 w 478226"/>
                                  <a:gd name="connsiteY16" fmla="*/ 10862 h 650083"/>
                                  <a:gd name="connsiteX17" fmla="*/ 352656 w 478226"/>
                                  <a:gd name="connsiteY17" fmla="*/ 174585 h 650083"/>
                                  <a:gd name="connsiteX18" fmla="*/ 304805 w 478226"/>
                                  <a:gd name="connsiteY18" fmla="*/ 154183 h 650083"/>
                                  <a:gd name="connsiteX19" fmla="*/ 278097 w 478226"/>
                                  <a:gd name="connsiteY19" fmla="*/ 20296 h 650083"/>
                                  <a:gd name="connsiteX0" fmla="*/ 278097 w 478226"/>
                                  <a:gd name="connsiteY0" fmla="*/ 106856 h 736643"/>
                                  <a:gd name="connsiteX1" fmla="*/ 215673 w 478226"/>
                                  <a:gd name="connsiteY1" fmla="*/ 151466 h 736643"/>
                                  <a:gd name="connsiteX2" fmla="*/ 193797 w 478226"/>
                                  <a:gd name="connsiteY2" fmla="*/ 238135 h 736643"/>
                                  <a:gd name="connsiteX3" fmla="*/ 124052 w 478226"/>
                                  <a:gd name="connsiteY3" fmla="*/ 343912 h 736643"/>
                                  <a:gd name="connsiteX4" fmla="*/ 68986 w 478226"/>
                                  <a:gd name="connsiteY4" fmla="*/ 464237 h 736643"/>
                                  <a:gd name="connsiteX5" fmla="*/ 61208 w 478226"/>
                                  <a:gd name="connsiteY5" fmla="*/ 583885 h 736643"/>
                                  <a:gd name="connsiteX6" fmla="*/ 4586 w 478226"/>
                                  <a:gd name="connsiteY6" fmla="*/ 663406 h 736643"/>
                                  <a:gd name="connsiteX7" fmla="*/ 10258 w 478226"/>
                                  <a:gd name="connsiteY7" fmla="*/ 736541 h 736643"/>
                                  <a:gd name="connsiteX8" fmla="*/ 64836 w 478226"/>
                                  <a:gd name="connsiteY8" fmla="*/ 647365 h 736643"/>
                                  <a:gd name="connsiteX9" fmla="*/ 92902 w 478226"/>
                                  <a:gd name="connsiteY9" fmla="*/ 574280 h 736643"/>
                                  <a:gd name="connsiteX10" fmla="*/ 91137 w 478226"/>
                                  <a:gd name="connsiteY10" fmla="*/ 520222 h 736643"/>
                                  <a:gd name="connsiteX11" fmla="*/ 121806 w 478226"/>
                                  <a:gd name="connsiteY11" fmla="*/ 429501 h 736643"/>
                                  <a:gd name="connsiteX12" fmla="*/ 165796 w 478226"/>
                                  <a:gd name="connsiteY12" fmla="*/ 378207 h 736643"/>
                                  <a:gd name="connsiteX13" fmla="*/ 202417 w 478226"/>
                                  <a:gd name="connsiteY13" fmla="*/ 346669 h 736643"/>
                                  <a:gd name="connsiteX14" fmla="*/ 360628 w 478226"/>
                                  <a:gd name="connsiteY14" fmla="*/ 312579 h 736643"/>
                                  <a:gd name="connsiteX15" fmla="*/ 471869 w 478226"/>
                                  <a:gd name="connsiteY15" fmla="*/ 122602 h 736643"/>
                                  <a:gd name="connsiteX16" fmla="*/ 455702 w 478226"/>
                                  <a:gd name="connsiteY16" fmla="*/ 97422 h 736643"/>
                                  <a:gd name="connsiteX17" fmla="*/ 352656 w 478226"/>
                                  <a:gd name="connsiteY17" fmla="*/ 261145 h 736643"/>
                                  <a:gd name="connsiteX18" fmla="*/ 350259 w 478226"/>
                                  <a:gd name="connsiteY18" fmla="*/ 4058 h 736643"/>
                                  <a:gd name="connsiteX19" fmla="*/ 278097 w 478226"/>
                                  <a:gd name="connsiteY19" fmla="*/ 106856 h 736643"/>
                                  <a:gd name="connsiteX0" fmla="*/ 290494 w 478226"/>
                                  <a:gd name="connsiteY0" fmla="*/ 28276 h 756201"/>
                                  <a:gd name="connsiteX1" fmla="*/ 215673 w 478226"/>
                                  <a:gd name="connsiteY1" fmla="*/ 171024 h 756201"/>
                                  <a:gd name="connsiteX2" fmla="*/ 193797 w 478226"/>
                                  <a:gd name="connsiteY2" fmla="*/ 257693 h 756201"/>
                                  <a:gd name="connsiteX3" fmla="*/ 124052 w 478226"/>
                                  <a:gd name="connsiteY3" fmla="*/ 363470 h 756201"/>
                                  <a:gd name="connsiteX4" fmla="*/ 68986 w 478226"/>
                                  <a:gd name="connsiteY4" fmla="*/ 483795 h 756201"/>
                                  <a:gd name="connsiteX5" fmla="*/ 61208 w 478226"/>
                                  <a:gd name="connsiteY5" fmla="*/ 603443 h 756201"/>
                                  <a:gd name="connsiteX6" fmla="*/ 4586 w 478226"/>
                                  <a:gd name="connsiteY6" fmla="*/ 682964 h 756201"/>
                                  <a:gd name="connsiteX7" fmla="*/ 10258 w 478226"/>
                                  <a:gd name="connsiteY7" fmla="*/ 756099 h 756201"/>
                                  <a:gd name="connsiteX8" fmla="*/ 64836 w 478226"/>
                                  <a:gd name="connsiteY8" fmla="*/ 666923 h 756201"/>
                                  <a:gd name="connsiteX9" fmla="*/ 92902 w 478226"/>
                                  <a:gd name="connsiteY9" fmla="*/ 593838 h 756201"/>
                                  <a:gd name="connsiteX10" fmla="*/ 91137 w 478226"/>
                                  <a:gd name="connsiteY10" fmla="*/ 539780 h 756201"/>
                                  <a:gd name="connsiteX11" fmla="*/ 121806 w 478226"/>
                                  <a:gd name="connsiteY11" fmla="*/ 449059 h 756201"/>
                                  <a:gd name="connsiteX12" fmla="*/ 165796 w 478226"/>
                                  <a:gd name="connsiteY12" fmla="*/ 397765 h 756201"/>
                                  <a:gd name="connsiteX13" fmla="*/ 202417 w 478226"/>
                                  <a:gd name="connsiteY13" fmla="*/ 366227 h 756201"/>
                                  <a:gd name="connsiteX14" fmla="*/ 360628 w 478226"/>
                                  <a:gd name="connsiteY14" fmla="*/ 332137 h 756201"/>
                                  <a:gd name="connsiteX15" fmla="*/ 471869 w 478226"/>
                                  <a:gd name="connsiteY15" fmla="*/ 142160 h 756201"/>
                                  <a:gd name="connsiteX16" fmla="*/ 455702 w 478226"/>
                                  <a:gd name="connsiteY16" fmla="*/ 116980 h 756201"/>
                                  <a:gd name="connsiteX17" fmla="*/ 352656 w 478226"/>
                                  <a:gd name="connsiteY17" fmla="*/ 280703 h 756201"/>
                                  <a:gd name="connsiteX18" fmla="*/ 350259 w 478226"/>
                                  <a:gd name="connsiteY18" fmla="*/ 23616 h 756201"/>
                                  <a:gd name="connsiteX19" fmla="*/ 290494 w 478226"/>
                                  <a:gd name="connsiteY19" fmla="*/ 28276 h 756201"/>
                                  <a:gd name="connsiteX0" fmla="*/ 290494 w 478226"/>
                                  <a:gd name="connsiteY0" fmla="*/ 25135 h 753060"/>
                                  <a:gd name="connsiteX1" fmla="*/ 215673 w 478226"/>
                                  <a:gd name="connsiteY1" fmla="*/ 167883 h 753060"/>
                                  <a:gd name="connsiteX2" fmla="*/ 193797 w 478226"/>
                                  <a:gd name="connsiteY2" fmla="*/ 254552 h 753060"/>
                                  <a:gd name="connsiteX3" fmla="*/ 124052 w 478226"/>
                                  <a:gd name="connsiteY3" fmla="*/ 360329 h 753060"/>
                                  <a:gd name="connsiteX4" fmla="*/ 68986 w 478226"/>
                                  <a:gd name="connsiteY4" fmla="*/ 480654 h 753060"/>
                                  <a:gd name="connsiteX5" fmla="*/ 61208 w 478226"/>
                                  <a:gd name="connsiteY5" fmla="*/ 600302 h 753060"/>
                                  <a:gd name="connsiteX6" fmla="*/ 4586 w 478226"/>
                                  <a:gd name="connsiteY6" fmla="*/ 679823 h 753060"/>
                                  <a:gd name="connsiteX7" fmla="*/ 10258 w 478226"/>
                                  <a:gd name="connsiteY7" fmla="*/ 752958 h 753060"/>
                                  <a:gd name="connsiteX8" fmla="*/ 64836 w 478226"/>
                                  <a:gd name="connsiteY8" fmla="*/ 663782 h 753060"/>
                                  <a:gd name="connsiteX9" fmla="*/ 92902 w 478226"/>
                                  <a:gd name="connsiteY9" fmla="*/ 590697 h 753060"/>
                                  <a:gd name="connsiteX10" fmla="*/ 91137 w 478226"/>
                                  <a:gd name="connsiteY10" fmla="*/ 536639 h 753060"/>
                                  <a:gd name="connsiteX11" fmla="*/ 121806 w 478226"/>
                                  <a:gd name="connsiteY11" fmla="*/ 445918 h 753060"/>
                                  <a:gd name="connsiteX12" fmla="*/ 165796 w 478226"/>
                                  <a:gd name="connsiteY12" fmla="*/ 394624 h 753060"/>
                                  <a:gd name="connsiteX13" fmla="*/ 202417 w 478226"/>
                                  <a:gd name="connsiteY13" fmla="*/ 363086 h 753060"/>
                                  <a:gd name="connsiteX14" fmla="*/ 360628 w 478226"/>
                                  <a:gd name="connsiteY14" fmla="*/ 328996 h 753060"/>
                                  <a:gd name="connsiteX15" fmla="*/ 471869 w 478226"/>
                                  <a:gd name="connsiteY15" fmla="*/ 139019 h 753060"/>
                                  <a:gd name="connsiteX16" fmla="*/ 455702 w 478226"/>
                                  <a:gd name="connsiteY16" fmla="*/ 113839 h 753060"/>
                                  <a:gd name="connsiteX17" fmla="*/ 352656 w 478226"/>
                                  <a:gd name="connsiteY17" fmla="*/ 277562 h 753060"/>
                                  <a:gd name="connsiteX18" fmla="*/ 350259 w 478226"/>
                                  <a:gd name="connsiteY18" fmla="*/ 20475 h 753060"/>
                                  <a:gd name="connsiteX19" fmla="*/ 290494 w 478226"/>
                                  <a:gd name="connsiteY19" fmla="*/ 25135 h 753060"/>
                                  <a:gd name="connsiteX0" fmla="*/ 290494 w 478226"/>
                                  <a:gd name="connsiteY0" fmla="*/ 21734 h 749659"/>
                                  <a:gd name="connsiteX1" fmla="*/ 215673 w 478226"/>
                                  <a:gd name="connsiteY1" fmla="*/ 164482 h 749659"/>
                                  <a:gd name="connsiteX2" fmla="*/ 193797 w 478226"/>
                                  <a:gd name="connsiteY2" fmla="*/ 251151 h 749659"/>
                                  <a:gd name="connsiteX3" fmla="*/ 124052 w 478226"/>
                                  <a:gd name="connsiteY3" fmla="*/ 356928 h 749659"/>
                                  <a:gd name="connsiteX4" fmla="*/ 68986 w 478226"/>
                                  <a:gd name="connsiteY4" fmla="*/ 477253 h 749659"/>
                                  <a:gd name="connsiteX5" fmla="*/ 61208 w 478226"/>
                                  <a:gd name="connsiteY5" fmla="*/ 596901 h 749659"/>
                                  <a:gd name="connsiteX6" fmla="*/ 4586 w 478226"/>
                                  <a:gd name="connsiteY6" fmla="*/ 676422 h 749659"/>
                                  <a:gd name="connsiteX7" fmla="*/ 10258 w 478226"/>
                                  <a:gd name="connsiteY7" fmla="*/ 749557 h 749659"/>
                                  <a:gd name="connsiteX8" fmla="*/ 64836 w 478226"/>
                                  <a:gd name="connsiteY8" fmla="*/ 660381 h 749659"/>
                                  <a:gd name="connsiteX9" fmla="*/ 92902 w 478226"/>
                                  <a:gd name="connsiteY9" fmla="*/ 587296 h 749659"/>
                                  <a:gd name="connsiteX10" fmla="*/ 91137 w 478226"/>
                                  <a:gd name="connsiteY10" fmla="*/ 533238 h 749659"/>
                                  <a:gd name="connsiteX11" fmla="*/ 121806 w 478226"/>
                                  <a:gd name="connsiteY11" fmla="*/ 442517 h 749659"/>
                                  <a:gd name="connsiteX12" fmla="*/ 165796 w 478226"/>
                                  <a:gd name="connsiteY12" fmla="*/ 391223 h 749659"/>
                                  <a:gd name="connsiteX13" fmla="*/ 202417 w 478226"/>
                                  <a:gd name="connsiteY13" fmla="*/ 359685 h 749659"/>
                                  <a:gd name="connsiteX14" fmla="*/ 360628 w 478226"/>
                                  <a:gd name="connsiteY14" fmla="*/ 325595 h 749659"/>
                                  <a:gd name="connsiteX15" fmla="*/ 471869 w 478226"/>
                                  <a:gd name="connsiteY15" fmla="*/ 135618 h 749659"/>
                                  <a:gd name="connsiteX16" fmla="*/ 455702 w 478226"/>
                                  <a:gd name="connsiteY16" fmla="*/ 110438 h 749659"/>
                                  <a:gd name="connsiteX17" fmla="*/ 352656 w 478226"/>
                                  <a:gd name="connsiteY17" fmla="*/ 274161 h 749659"/>
                                  <a:gd name="connsiteX18" fmla="*/ 314846 w 478226"/>
                                  <a:gd name="connsiteY18" fmla="*/ 227983 h 749659"/>
                                  <a:gd name="connsiteX19" fmla="*/ 350259 w 478226"/>
                                  <a:gd name="connsiteY19" fmla="*/ 17074 h 749659"/>
                                  <a:gd name="connsiteX20" fmla="*/ 290494 w 478226"/>
                                  <a:gd name="connsiteY20" fmla="*/ 21734 h 749659"/>
                                  <a:gd name="connsiteX0" fmla="*/ 290494 w 478226"/>
                                  <a:gd name="connsiteY0" fmla="*/ 10858 h 738783"/>
                                  <a:gd name="connsiteX1" fmla="*/ 215673 w 478226"/>
                                  <a:gd name="connsiteY1" fmla="*/ 153606 h 738783"/>
                                  <a:gd name="connsiteX2" fmla="*/ 193797 w 478226"/>
                                  <a:gd name="connsiteY2" fmla="*/ 240275 h 738783"/>
                                  <a:gd name="connsiteX3" fmla="*/ 124052 w 478226"/>
                                  <a:gd name="connsiteY3" fmla="*/ 346052 h 738783"/>
                                  <a:gd name="connsiteX4" fmla="*/ 68986 w 478226"/>
                                  <a:gd name="connsiteY4" fmla="*/ 466377 h 738783"/>
                                  <a:gd name="connsiteX5" fmla="*/ 61208 w 478226"/>
                                  <a:gd name="connsiteY5" fmla="*/ 586025 h 738783"/>
                                  <a:gd name="connsiteX6" fmla="*/ 4586 w 478226"/>
                                  <a:gd name="connsiteY6" fmla="*/ 665546 h 738783"/>
                                  <a:gd name="connsiteX7" fmla="*/ 10258 w 478226"/>
                                  <a:gd name="connsiteY7" fmla="*/ 738681 h 738783"/>
                                  <a:gd name="connsiteX8" fmla="*/ 64836 w 478226"/>
                                  <a:gd name="connsiteY8" fmla="*/ 649505 h 738783"/>
                                  <a:gd name="connsiteX9" fmla="*/ 92902 w 478226"/>
                                  <a:gd name="connsiteY9" fmla="*/ 576420 h 738783"/>
                                  <a:gd name="connsiteX10" fmla="*/ 91137 w 478226"/>
                                  <a:gd name="connsiteY10" fmla="*/ 522362 h 738783"/>
                                  <a:gd name="connsiteX11" fmla="*/ 121806 w 478226"/>
                                  <a:gd name="connsiteY11" fmla="*/ 431641 h 738783"/>
                                  <a:gd name="connsiteX12" fmla="*/ 165796 w 478226"/>
                                  <a:gd name="connsiteY12" fmla="*/ 380347 h 738783"/>
                                  <a:gd name="connsiteX13" fmla="*/ 202417 w 478226"/>
                                  <a:gd name="connsiteY13" fmla="*/ 348809 h 738783"/>
                                  <a:gd name="connsiteX14" fmla="*/ 360628 w 478226"/>
                                  <a:gd name="connsiteY14" fmla="*/ 314719 h 738783"/>
                                  <a:gd name="connsiteX15" fmla="*/ 471869 w 478226"/>
                                  <a:gd name="connsiteY15" fmla="*/ 124742 h 738783"/>
                                  <a:gd name="connsiteX16" fmla="*/ 455702 w 478226"/>
                                  <a:gd name="connsiteY16" fmla="*/ 99562 h 738783"/>
                                  <a:gd name="connsiteX17" fmla="*/ 352656 w 478226"/>
                                  <a:gd name="connsiteY17" fmla="*/ 263285 h 738783"/>
                                  <a:gd name="connsiteX18" fmla="*/ 314846 w 478226"/>
                                  <a:gd name="connsiteY18" fmla="*/ 217107 h 738783"/>
                                  <a:gd name="connsiteX19" fmla="*/ 385093 w 478226"/>
                                  <a:gd name="connsiteY19" fmla="*/ 67015 h 738783"/>
                                  <a:gd name="connsiteX20" fmla="*/ 350259 w 478226"/>
                                  <a:gd name="connsiteY20" fmla="*/ 6198 h 738783"/>
                                  <a:gd name="connsiteX21" fmla="*/ 290494 w 478226"/>
                                  <a:gd name="connsiteY21" fmla="*/ 10858 h 738783"/>
                                  <a:gd name="connsiteX0" fmla="*/ 290494 w 478226"/>
                                  <a:gd name="connsiteY0" fmla="*/ 10858 h 738783"/>
                                  <a:gd name="connsiteX1" fmla="*/ 215673 w 478226"/>
                                  <a:gd name="connsiteY1" fmla="*/ 153606 h 738783"/>
                                  <a:gd name="connsiteX2" fmla="*/ 193797 w 478226"/>
                                  <a:gd name="connsiteY2" fmla="*/ 240275 h 738783"/>
                                  <a:gd name="connsiteX3" fmla="*/ 124052 w 478226"/>
                                  <a:gd name="connsiteY3" fmla="*/ 346052 h 738783"/>
                                  <a:gd name="connsiteX4" fmla="*/ 68986 w 478226"/>
                                  <a:gd name="connsiteY4" fmla="*/ 466377 h 738783"/>
                                  <a:gd name="connsiteX5" fmla="*/ 61208 w 478226"/>
                                  <a:gd name="connsiteY5" fmla="*/ 586025 h 738783"/>
                                  <a:gd name="connsiteX6" fmla="*/ 4586 w 478226"/>
                                  <a:gd name="connsiteY6" fmla="*/ 665546 h 738783"/>
                                  <a:gd name="connsiteX7" fmla="*/ 10258 w 478226"/>
                                  <a:gd name="connsiteY7" fmla="*/ 738681 h 738783"/>
                                  <a:gd name="connsiteX8" fmla="*/ 64836 w 478226"/>
                                  <a:gd name="connsiteY8" fmla="*/ 649505 h 738783"/>
                                  <a:gd name="connsiteX9" fmla="*/ 92902 w 478226"/>
                                  <a:gd name="connsiteY9" fmla="*/ 576420 h 738783"/>
                                  <a:gd name="connsiteX10" fmla="*/ 91137 w 478226"/>
                                  <a:gd name="connsiteY10" fmla="*/ 522362 h 738783"/>
                                  <a:gd name="connsiteX11" fmla="*/ 121806 w 478226"/>
                                  <a:gd name="connsiteY11" fmla="*/ 431641 h 738783"/>
                                  <a:gd name="connsiteX12" fmla="*/ 165796 w 478226"/>
                                  <a:gd name="connsiteY12" fmla="*/ 380347 h 738783"/>
                                  <a:gd name="connsiteX13" fmla="*/ 202417 w 478226"/>
                                  <a:gd name="connsiteY13" fmla="*/ 348809 h 738783"/>
                                  <a:gd name="connsiteX14" fmla="*/ 360628 w 478226"/>
                                  <a:gd name="connsiteY14" fmla="*/ 314719 h 738783"/>
                                  <a:gd name="connsiteX15" fmla="*/ 471869 w 478226"/>
                                  <a:gd name="connsiteY15" fmla="*/ 124742 h 738783"/>
                                  <a:gd name="connsiteX16" fmla="*/ 455702 w 478226"/>
                                  <a:gd name="connsiteY16" fmla="*/ 99562 h 738783"/>
                                  <a:gd name="connsiteX17" fmla="*/ 352656 w 478226"/>
                                  <a:gd name="connsiteY17" fmla="*/ 263285 h 738783"/>
                                  <a:gd name="connsiteX18" fmla="*/ 314846 w 478226"/>
                                  <a:gd name="connsiteY18" fmla="*/ 217107 h 738783"/>
                                  <a:gd name="connsiteX19" fmla="*/ 356168 w 478226"/>
                                  <a:gd name="connsiteY19" fmla="*/ 176698 h 738783"/>
                                  <a:gd name="connsiteX20" fmla="*/ 385093 w 478226"/>
                                  <a:gd name="connsiteY20" fmla="*/ 67015 h 738783"/>
                                  <a:gd name="connsiteX21" fmla="*/ 350259 w 478226"/>
                                  <a:gd name="connsiteY21" fmla="*/ 6198 h 738783"/>
                                  <a:gd name="connsiteX22" fmla="*/ 290494 w 478226"/>
                                  <a:gd name="connsiteY22" fmla="*/ 10858 h 738783"/>
                                  <a:gd name="connsiteX0" fmla="*/ 290494 w 478226"/>
                                  <a:gd name="connsiteY0" fmla="*/ 10858 h 738783"/>
                                  <a:gd name="connsiteX1" fmla="*/ 215673 w 478226"/>
                                  <a:gd name="connsiteY1" fmla="*/ 153606 h 738783"/>
                                  <a:gd name="connsiteX2" fmla="*/ 193797 w 478226"/>
                                  <a:gd name="connsiteY2" fmla="*/ 240275 h 738783"/>
                                  <a:gd name="connsiteX3" fmla="*/ 124052 w 478226"/>
                                  <a:gd name="connsiteY3" fmla="*/ 346052 h 738783"/>
                                  <a:gd name="connsiteX4" fmla="*/ 68986 w 478226"/>
                                  <a:gd name="connsiteY4" fmla="*/ 466377 h 738783"/>
                                  <a:gd name="connsiteX5" fmla="*/ 61208 w 478226"/>
                                  <a:gd name="connsiteY5" fmla="*/ 586025 h 738783"/>
                                  <a:gd name="connsiteX6" fmla="*/ 4586 w 478226"/>
                                  <a:gd name="connsiteY6" fmla="*/ 665546 h 738783"/>
                                  <a:gd name="connsiteX7" fmla="*/ 10258 w 478226"/>
                                  <a:gd name="connsiteY7" fmla="*/ 738681 h 738783"/>
                                  <a:gd name="connsiteX8" fmla="*/ 64836 w 478226"/>
                                  <a:gd name="connsiteY8" fmla="*/ 649505 h 738783"/>
                                  <a:gd name="connsiteX9" fmla="*/ 92902 w 478226"/>
                                  <a:gd name="connsiteY9" fmla="*/ 576420 h 738783"/>
                                  <a:gd name="connsiteX10" fmla="*/ 91137 w 478226"/>
                                  <a:gd name="connsiteY10" fmla="*/ 522362 h 738783"/>
                                  <a:gd name="connsiteX11" fmla="*/ 121806 w 478226"/>
                                  <a:gd name="connsiteY11" fmla="*/ 431641 h 738783"/>
                                  <a:gd name="connsiteX12" fmla="*/ 165796 w 478226"/>
                                  <a:gd name="connsiteY12" fmla="*/ 380347 h 738783"/>
                                  <a:gd name="connsiteX13" fmla="*/ 202417 w 478226"/>
                                  <a:gd name="connsiteY13" fmla="*/ 348809 h 738783"/>
                                  <a:gd name="connsiteX14" fmla="*/ 360628 w 478226"/>
                                  <a:gd name="connsiteY14" fmla="*/ 314719 h 738783"/>
                                  <a:gd name="connsiteX15" fmla="*/ 471869 w 478226"/>
                                  <a:gd name="connsiteY15" fmla="*/ 124742 h 738783"/>
                                  <a:gd name="connsiteX16" fmla="*/ 455702 w 478226"/>
                                  <a:gd name="connsiteY16" fmla="*/ 99562 h 738783"/>
                                  <a:gd name="connsiteX17" fmla="*/ 352656 w 478226"/>
                                  <a:gd name="connsiteY17" fmla="*/ 263285 h 738783"/>
                                  <a:gd name="connsiteX18" fmla="*/ 331375 w 478226"/>
                                  <a:gd name="connsiteY18" fmla="*/ 228653 h 738783"/>
                                  <a:gd name="connsiteX19" fmla="*/ 356168 w 478226"/>
                                  <a:gd name="connsiteY19" fmla="*/ 176698 h 738783"/>
                                  <a:gd name="connsiteX20" fmla="*/ 385093 w 478226"/>
                                  <a:gd name="connsiteY20" fmla="*/ 67015 h 738783"/>
                                  <a:gd name="connsiteX21" fmla="*/ 350259 w 478226"/>
                                  <a:gd name="connsiteY21" fmla="*/ 6198 h 738783"/>
                                  <a:gd name="connsiteX22" fmla="*/ 290494 w 478226"/>
                                  <a:gd name="connsiteY22" fmla="*/ 10858 h 738783"/>
                                  <a:gd name="connsiteX0" fmla="*/ 290494 w 478226"/>
                                  <a:gd name="connsiteY0" fmla="*/ 10460 h 738385"/>
                                  <a:gd name="connsiteX1" fmla="*/ 215673 w 478226"/>
                                  <a:gd name="connsiteY1" fmla="*/ 153208 h 738385"/>
                                  <a:gd name="connsiteX2" fmla="*/ 193797 w 478226"/>
                                  <a:gd name="connsiteY2" fmla="*/ 239877 h 738385"/>
                                  <a:gd name="connsiteX3" fmla="*/ 124052 w 478226"/>
                                  <a:gd name="connsiteY3" fmla="*/ 345654 h 738385"/>
                                  <a:gd name="connsiteX4" fmla="*/ 68986 w 478226"/>
                                  <a:gd name="connsiteY4" fmla="*/ 465979 h 738385"/>
                                  <a:gd name="connsiteX5" fmla="*/ 61208 w 478226"/>
                                  <a:gd name="connsiteY5" fmla="*/ 585627 h 738385"/>
                                  <a:gd name="connsiteX6" fmla="*/ 4586 w 478226"/>
                                  <a:gd name="connsiteY6" fmla="*/ 665148 h 738385"/>
                                  <a:gd name="connsiteX7" fmla="*/ 10258 w 478226"/>
                                  <a:gd name="connsiteY7" fmla="*/ 738283 h 738385"/>
                                  <a:gd name="connsiteX8" fmla="*/ 64836 w 478226"/>
                                  <a:gd name="connsiteY8" fmla="*/ 649107 h 738385"/>
                                  <a:gd name="connsiteX9" fmla="*/ 92902 w 478226"/>
                                  <a:gd name="connsiteY9" fmla="*/ 576022 h 738385"/>
                                  <a:gd name="connsiteX10" fmla="*/ 91137 w 478226"/>
                                  <a:gd name="connsiteY10" fmla="*/ 521964 h 738385"/>
                                  <a:gd name="connsiteX11" fmla="*/ 121806 w 478226"/>
                                  <a:gd name="connsiteY11" fmla="*/ 431243 h 738385"/>
                                  <a:gd name="connsiteX12" fmla="*/ 165796 w 478226"/>
                                  <a:gd name="connsiteY12" fmla="*/ 379949 h 738385"/>
                                  <a:gd name="connsiteX13" fmla="*/ 202417 w 478226"/>
                                  <a:gd name="connsiteY13" fmla="*/ 348411 h 738385"/>
                                  <a:gd name="connsiteX14" fmla="*/ 360628 w 478226"/>
                                  <a:gd name="connsiteY14" fmla="*/ 314321 h 738385"/>
                                  <a:gd name="connsiteX15" fmla="*/ 471869 w 478226"/>
                                  <a:gd name="connsiteY15" fmla="*/ 124344 h 738385"/>
                                  <a:gd name="connsiteX16" fmla="*/ 455702 w 478226"/>
                                  <a:gd name="connsiteY16" fmla="*/ 99164 h 738385"/>
                                  <a:gd name="connsiteX17" fmla="*/ 352656 w 478226"/>
                                  <a:gd name="connsiteY17" fmla="*/ 262887 h 738385"/>
                                  <a:gd name="connsiteX18" fmla="*/ 331375 w 478226"/>
                                  <a:gd name="connsiteY18" fmla="*/ 228255 h 738385"/>
                                  <a:gd name="connsiteX19" fmla="*/ 356168 w 478226"/>
                                  <a:gd name="connsiteY19" fmla="*/ 176300 h 738385"/>
                                  <a:gd name="connsiteX20" fmla="*/ 422283 w 478226"/>
                                  <a:gd name="connsiteY20" fmla="*/ 60844 h 738385"/>
                                  <a:gd name="connsiteX21" fmla="*/ 350259 w 478226"/>
                                  <a:gd name="connsiteY21" fmla="*/ 5800 h 738385"/>
                                  <a:gd name="connsiteX22" fmla="*/ 290494 w 478226"/>
                                  <a:gd name="connsiteY22" fmla="*/ 10460 h 738385"/>
                                  <a:gd name="connsiteX0" fmla="*/ 290494 w 478226"/>
                                  <a:gd name="connsiteY0" fmla="*/ 11259 h 739184"/>
                                  <a:gd name="connsiteX1" fmla="*/ 215673 w 478226"/>
                                  <a:gd name="connsiteY1" fmla="*/ 154007 h 739184"/>
                                  <a:gd name="connsiteX2" fmla="*/ 193797 w 478226"/>
                                  <a:gd name="connsiteY2" fmla="*/ 240676 h 739184"/>
                                  <a:gd name="connsiteX3" fmla="*/ 124052 w 478226"/>
                                  <a:gd name="connsiteY3" fmla="*/ 346453 h 739184"/>
                                  <a:gd name="connsiteX4" fmla="*/ 68986 w 478226"/>
                                  <a:gd name="connsiteY4" fmla="*/ 466778 h 739184"/>
                                  <a:gd name="connsiteX5" fmla="*/ 61208 w 478226"/>
                                  <a:gd name="connsiteY5" fmla="*/ 586426 h 739184"/>
                                  <a:gd name="connsiteX6" fmla="*/ 4586 w 478226"/>
                                  <a:gd name="connsiteY6" fmla="*/ 665947 h 739184"/>
                                  <a:gd name="connsiteX7" fmla="*/ 10258 w 478226"/>
                                  <a:gd name="connsiteY7" fmla="*/ 739082 h 739184"/>
                                  <a:gd name="connsiteX8" fmla="*/ 64836 w 478226"/>
                                  <a:gd name="connsiteY8" fmla="*/ 649906 h 739184"/>
                                  <a:gd name="connsiteX9" fmla="*/ 92902 w 478226"/>
                                  <a:gd name="connsiteY9" fmla="*/ 576821 h 739184"/>
                                  <a:gd name="connsiteX10" fmla="*/ 91137 w 478226"/>
                                  <a:gd name="connsiteY10" fmla="*/ 522763 h 739184"/>
                                  <a:gd name="connsiteX11" fmla="*/ 121806 w 478226"/>
                                  <a:gd name="connsiteY11" fmla="*/ 432042 h 739184"/>
                                  <a:gd name="connsiteX12" fmla="*/ 165796 w 478226"/>
                                  <a:gd name="connsiteY12" fmla="*/ 380748 h 739184"/>
                                  <a:gd name="connsiteX13" fmla="*/ 202417 w 478226"/>
                                  <a:gd name="connsiteY13" fmla="*/ 349210 h 739184"/>
                                  <a:gd name="connsiteX14" fmla="*/ 360628 w 478226"/>
                                  <a:gd name="connsiteY14" fmla="*/ 315120 h 739184"/>
                                  <a:gd name="connsiteX15" fmla="*/ 471869 w 478226"/>
                                  <a:gd name="connsiteY15" fmla="*/ 125143 h 739184"/>
                                  <a:gd name="connsiteX16" fmla="*/ 455702 w 478226"/>
                                  <a:gd name="connsiteY16" fmla="*/ 99963 h 739184"/>
                                  <a:gd name="connsiteX17" fmla="*/ 352656 w 478226"/>
                                  <a:gd name="connsiteY17" fmla="*/ 263686 h 739184"/>
                                  <a:gd name="connsiteX18" fmla="*/ 331375 w 478226"/>
                                  <a:gd name="connsiteY18" fmla="*/ 229054 h 739184"/>
                                  <a:gd name="connsiteX19" fmla="*/ 356168 w 478226"/>
                                  <a:gd name="connsiteY19" fmla="*/ 177099 h 739184"/>
                                  <a:gd name="connsiteX20" fmla="*/ 385093 w 478226"/>
                                  <a:gd name="connsiteY20" fmla="*/ 73189 h 739184"/>
                                  <a:gd name="connsiteX21" fmla="*/ 350259 w 478226"/>
                                  <a:gd name="connsiteY21" fmla="*/ 6599 h 739184"/>
                                  <a:gd name="connsiteX22" fmla="*/ 290494 w 478226"/>
                                  <a:gd name="connsiteY22" fmla="*/ 11259 h 739184"/>
                                  <a:gd name="connsiteX0" fmla="*/ 290494 w 478226"/>
                                  <a:gd name="connsiteY0" fmla="*/ 11259 h 739184"/>
                                  <a:gd name="connsiteX1" fmla="*/ 215673 w 478226"/>
                                  <a:gd name="connsiteY1" fmla="*/ 154007 h 739184"/>
                                  <a:gd name="connsiteX2" fmla="*/ 193797 w 478226"/>
                                  <a:gd name="connsiteY2" fmla="*/ 240676 h 739184"/>
                                  <a:gd name="connsiteX3" fmla="*/ 124052 w 478226"/>
                                  <a:gd name="connsiteY3" fmla="*/ 346453 h 739184"/>
                                  <a:gd name="connsiteX4" fmla="*/ 68986 w 478226"/>
                                  <a:gd name="connsiteY4" fmla="*/ 466778 h 739184"/>
                                  <a:gd name="connsiteX5" fmla="*/ 61208 w 478226"/>
                                  <a:gd name="connsiteY5" fmla="*/ 586426 h 739184"/>
                                  <a:gd name="connsiteX6" fmla="*/ 4586 w 478226"/>
                                  <a:gd name="connsiteY6" fmla="*/ 665947 h 739184"/>
                                  <a:gd name="connsiteX7" fmla="*/ 10258 w 478226"/>
                                  <a:gd name="connsiteY7" fmla="*/ 739082 h 739184"/>
                                  <a:gd name="connsiteX8" fmla="*/ 64836 w 478226"/>
                                  <a:gd name="connsiteY8" fmla="*/ 649906 h 739184"/>
                                  <a:gd name="connsiteX9" fmla="*/ 92902 w 478226"/>
                                  <a:gd name="connsiteY9" fmla="*/ 576821 h 739184"/>
                                  <a:gd name="connsiteX10" fmla="*/ 91137 w 478226"/>
                                  <a:gd name="connsiteY10" fmla="*/ 522763 h 739184"/>
                                  <a:gd name="connsiteX11" fmla="*/ 121806 w 478226"/>
                                  <a:gd name="connsiteY11" fmla="*/ 432042 h 739184"/>
                                  <a:gd name="connsiteX12" fmla="*/ 165796 w 478226"/>
                                  <a:gd name="connsiteY12" fmla="*/ 380748 h 739184"/>
                                  <a:gd name="connsiteX13" fmla="*/ 202417 w 478226"/>
                                  <a:gd name="connsiteY13" fmla="*/ 349210 h 739184"/>
                                  <a:gd name="connsiteX14" fmla="*/ 360628 w 478226"/>
                                  <a:gd name="connsiteY14" fmla="*/ 315120 h 739184"/>
                                  <a:gd name="connsiteX15" fmla="*/ 471869 w 478226"/>
                                  <a:gd name="connsiteY15" fmla="*/ 125143 h 739184"/>
                                  <a:gd name="connsiteX16" fmla="*/ 455702 w 478226"/>
                                  <a:gd name="connsiteY16" fmla="*/ 99963 h 739184"/>
                                  <a:gd name="connsiteX17" fmla="*/ 352656 w 478226"/>
                                  <a:gd name="connsiteY17" fmla="*/ 263686 h 739184"/>
                                  <a:gd name="connsiteX18" fmla="*/ 331375 w 478226"/>
                                  <a:gd name="connsiteY18" fmla="*/ 229054 h 739184"/>
                                  <a:gd name="connsiteX19" fmla="*/ 385093 w 478226"/>
                                  <a:gd name="connsiteY19" fmla="*/ 171326 h 739184"/>
                                  <a:gd name="connsiteX20" fmla="*/ 385093 w 478226"/>
                                  <a:gd name="connsiteY20" fmla="*/ 73189 h 739184"/>
                                  <a:gd name="connsiteX21" fmla="*/ 350259 w 478226"/>
                                  <a:gd name="connsiteY21" fmla="*/ 6599 h 739184"/>
                                  <a:gd name="connsiteX22" fmla="*/ 290494 w 478226"/>
                                  <a:gd name="connsiteY22" fmla="*/ 11259 h 739184"/>
                                  <a:gd name="connsiteX0" fmla="*/ 290494 w 478226"/>
                                  <a:gd name="connsiteY0" fmla="*/ 11259 h 739184"/>
                                  <a:gd name="connsiteX1" fmla="*/ 215673 w 478226"/>
                                  <a:gd name="connsiteY1" fmla="*/ 154007 h 739184"/>
                                  <a:gd name="connsiteX2" fmla="*/ 193797 w 478226"/>
                                  <a:gd name="connsiteY2" fmla="*/ 240676 h 739184"/>
                                  <a:gd name="connsiteX3" fmla="*/ 124052 w 478226"/>
                                  <a:gd name="connsiteY3" fmla="*/ 346453 h 739184"/>
                                  <a:gd name="connsiteX4" fmla="*/ 68986 w 478226"/>
                                  <a:gd name="connsiteY4" fmla="*/ 466778 h 739184"/>
                                  <a:gd name="connsiteX5" fmla="*/ 61208 w 478226"/>
                                  <a:gd name="connsiteY5" fmla="*/ 586426 h 739184"/>
                                  <a:gd name="connsiteX6" fmla="*/ 4586 w 478226"/>
                                  <a:gd name="connsiteY6" fmla="*/ 665947 h 739184"/>
                                  <a:gd name="connsiteX7" fmla="*/ 10258 w 478226"/>
                                  <a:gd name="connsiteY7" fmla="*/ 739082 h 739184"/>
                                  <a:gd name="connsiteX8" fmla="*/ 64836 w 478226"/>
                                  <a:gd name="connsiteY8" fmla="*/ 649906 h 739184"/>
                                  <a:gd name="connsiteX9" fmla="*/ 92902 w 478226"/>
                                  <a:gd name="connsiteY9" fmla="*/ 576821 h 739184"/>
                                  <a:gd name="connsiteX10" fmla="*/ 91137 w 478226"/>
                                  <a:gd name="connsiteY10" fmla="*/ 522763 h 739184"/>
                                  <a:gd name="connsiteX11" fmla="*/ 121806 w 478226"/>
                                  <a:gd name="connsiteY11" fmla="*/ 432042 h 739184"/>
                                  <a:gd name="connsiteX12" fmla="*/ 165796 w 478226"/>
                                  <a:gd name="connsiteY12" fmla="*/ 380748 h 739184"/>
                                  <a:gd name="connsiteX13" fmla="*/ 202417 w 478226"/>
                                  <a:gd name="connsiteY13" fmla="*/ 349210 h 739184"/>
                                  <a:gd name="connsiteX14" fmla="*/ 360628 w 478226"/>
                                  <a:gd name="connsiteY14" fmla="*/ 315120 h 739184"/>
                                  <a:gd name="connsiteX15" fmla="*/ 471869 w 478226"/>
                                  <a:gd name="connsiteY15" fmla="*/ 125143 h 739184"/>
                                  <a:gd name="connsiteX16" fmla="*/ 455702 w 478226"/>
                                  <a:gd name="connsiteY16" fmla="*/ 99963 h 739184"/>
                                  <a:gd name="connsiteX17" fmla="*/ 352656 w 478226"/>
                                  <a:gd name="connsiteY17" fmla="*/ 263686 h 739184"/>
                                  <a:gd name="connsiteX18" fmla="*/ 356168 w 478226"/>
                                  <a:gd name="connsiteY18" fmla="*/ 240600 h 739184"/>
                                  <a:gd name="connsiteX19" fmla="*/ 385093 w 478226"/>
                                  <a:gd name="connsiteY19" fmla="*/ 171326 h 739184"/>
                                  <a:gd name="connsiteX20" fmla="*/ 385093 w 478226"/>
                                  <a:gd name="connsiteY20" fmla="*/ 73189 h 739184"/>
                                  <a:gd name="connsiteX21" fmla="*/ 350259 w 478226"/>
                                  <a:gd name="connsiteY21" fmla="*/ 6599 h 739184"/>
                                  <a:gd name="connsiteX22" fmla="*/ 290494 w 478226"/>
                                  <a:gd name="connsiteY22" fmla="*/ 11259 h 739184"/>
                                  <a:gd name="connsiteX0" fmla="*/ 302917 w 490649"/>
                                  <a:gd name="connsiteY0" fmla="*/ 11259 h 804978"/>
                                  <a:gd name="connsiteX1" fmla="*/ 228096 w 490649"/>
                                  <a:gd name="connsiteY1" fmla="*/ 154007 h 804978"/>
                                  <a:gd name="connsiteX2" fmla="*/ 206220 w 490649"/>
                                  <a:gd name="connsiteY2" fmla="*/ 240676 h 804978"/>
                                  <a:gd name="connsiteX3" fmla="*/ 136475 w 490649"/>
                                  <a:gd name="connsiteY3" fmla="*/ 346453 h 804978"/>
                                  <a:gd name="connsiteX4" fmla="*/ 81409 w 490649"/>
                                  <a:gd name="connsiteY4" fmla="*/ 466778 h 804978"/>
                                  <a:gd name="connsiteX5" fmla="*/ 73631 w 490649"/>
                                  <a:gd name="connsiteY5" fmla="*/ 586426 h 804978"/>
                                  <a:gd name="connsiteX6" fmla="*/ 17009 w 490649"/>
                                  <a:gd name="connsiteY6" fmla="*/ 665947 h 804978"/>
                                  <a:gd name="connsiteX7" fmla="*/ 3828 w 490649"/>
                                  <a:gd name="connsiteY7" fmla="*/ 804928 h 804978"/>
                                  <a:gd name="connsiteX8" fmla="*/ 77259 w 490649"/>
                                  <a:gd name="connsiteY8" fmla="*/ 649906 h 804978"/>
                                  <a:gd name="connsiteX9" fmla="*/ 105325 w 490649"/>
                                  <a:gd name="connsiteY9" fmla="*/ 576821 h 804978"/>
                                  <a:gd name="connsiteX10" fmla="*/ 103560 w 490649"/>
                                  <a:gd name="connsiteY10" fmla="*/ 522763 h 804978"/>
                                  <a:gd name="connsiteX11" fmla="*/ 134229 w 490649"/>
                                  <a:gd name="connsiteY11" fmla="*/ 432042 h 804978"/>
                                  <a:gd name="connsiteX12" fmla="*/ 178219 w 490649"/>
                                  <a:gd name="connsiteY12" fmla="*/ 380748 h 804978"/>
                                  <a:gd name="connsiteX13" fmla="*/ 214840 w 490649"/>
                                  <a:gd name="connsiteY13" fmla="*/ 349210 h 804978"/>
                                  <a:gd name="connsiteX14" fmla="*/ 373051 w 490649"/>
                                  <a:gd name="connsiteY14" fmla="*/ 315120 h 804978"/>
                                  <a:gd name="connsiteX15" fmla="*/ 484292 w 490649"/>
                                  <a:gd name="connsiteY15" fmla="*/ 125143 h 804978"/>
                                  <a:gd name="connsiteX16" fmla="*/ 468125 w 490649"/>
                                  <a:gd name="connsiteY16" fmla="*/ 99963 h 804978"/>
                                  <a:gd name="connsiteX17" fmla="*/ 365079 w 490649"/>
                                  <a:gd name="connsiteY17" fmla="*/ 263686 h 804978"/>
                                  <a:gd name="connsiteX18" fmla="*/ 368591 w 490649"/>
                                  <a:gd name="connsiteY18" fmla="*/ 240600 h 804978"/>
                                  <a:gd name="connsiteX19" fmla="*/ 397516 w 490649"/>
                                  <a:gd name="connsiteY19" fmla="*/ 171326 h 804978"/>
                                  <a:gd name="connsiteX20" fmla="*/ 397516 w 490649"/>
                                  <a:gd name="connsiteY20" fmla="*/ 73189 h 804978"/>
                                  <a:gd name="connsiteX21" fmla="*/ 362682 w 490649"/>
                                  <a:gd name="connsiteY21" fmla="*/ 6599 h 804978"/>
                                  <a:gd name="connsiteX22" fmla="*/ 302917 w 490649"/>
                                  <a:gd name="connsiteY22" fmla="*/ 11259 h 804978"/>
                                  <a:gd name="connsiteX0" fmla="*/ 317402 w 505134"/>
                                  <a:gd name="connsiteY0" fmla="*/ 11259 h 810049"/>
                                  <a:gd name="connsiteX1" fmla="*/ 242581 w 505134"/>
                                  <a:gd name="connsiteY1" fmla="*/ 154007 h 810049"/>
                                  <a:gd name="connsiteX2" fmla="*/ 220705 w 505134"/>
                                  <a:gd name="connsiteY2" fmla="*/ 240676 h 810049"/>
                                  <a:gd name="connsiteX3" fmla="*/ 150960 w 505134"/>
                                  <a:gd name="connsiteY3" fmla="*/ 346453 h 810049"/>
                                  <a:gd name="connsiteX4" fmla="*/ 95894 w 505134"/>
                                  <a:gd name="connsiteY4" fmla="*/ 466778 h 810049"/>
                                  <a:gd name="connsiteX5" fmla="*/ 88116 w 505134"/>
                                  <a:gd name="connsiteY5" fmla="*/ 586426 h 810049"/>
                                  <a:gd name="connsiteX6" fmla="*/ 31494 w 505134"/>
                                  <a:gd name="connsiteY6" fmla="*/ 665947 h 810049"/>
                                  <a:gd name="connsiteX7" fmla="*/ 504 w 505134"/>
                                  <a:gd name="connsiteY7" fmla="*/ 763038 h 810049"/>
                                  <a:gd name="connsiteX8" fmla="*/ 18313 w 505134"/>
                                  <a:gd name="connsiteY8" fmla="*/ 804928 h 810049"/>
                                  <a:gd name="connsiteX9" fmla="*/ 91744 w 505134"/>
                                  <a:gd name="connsiteY9" fmla="*/ 649906 h 810049"/>
                                  <a:gd name="connsiteX10" fmla="*/ 119810 w 505134"/>
                                  <a:gd name="connsiteY10" fmla="*/ 576821 h 810049"/>
                                  <a:gd name="connsiteX11" fmla="*/ 118045 w 505134"/>
                                  <a:gd name="connsiteY11" fmla="*/ 522763 h 810049"/>
                                  <a:gd name="connsiteX12" fmla="*/ 148714 w 505134"/>
                                  <a:gd name="connsiteY12" fmla="*/ 432042 h 810049"/>
                                  <a:gd name="connsiteX13" fmla="*/ 192704 w 505134"/>
                                  <a:gd name="connsiteY13" fmla="*/ 380748 h 810049"/>
                                  <a:gd name="connsiteX14" fmla="*/ 229325 w 505134"/>
                                  <a:gd name="connsiteY14" fmla="*/ 349210 h 810049"/>
                                  <a:gd name="connsiteX15" fmla="*/ 387536 w 505134"/>
                                  <a:gd name="connsiteY15" fmla="*/ 315120 h 810049"/>
                                  <a:gd name="connsiteX16" fmla="*/ 498777 w 505134"/>
                                  <a:gd name="connsiteY16" fmla="*/ 125143 h 810049"/>
                                  <a:gd name="connsiteX17" fmla="*/ 482610 w 505134"/>
                                  <a:gd name="connsiteY17" fmla="*/ 99963 h 810049"/>
                                  <a:gd name="connsiteX18" fmla="*/ 379564 w 505134"/>
                                  <a:gd name="connsiteY18" fmla="*/ 263686 h 810049"/>
                                  <a:gd name="connsiteX19" fmla="*/ 383076 w 505134"/>
                                  <a:gd name="connsiteY19" fmla="*/ 240600 h 810049"/>
                                  <a:gd name="connsiteX20" fmla="*/ 412001 w 505134"/>
                                  <a:gd name="connsiteY20" fmla="*/ 171326 h 810049"/>
                                  <a:gd name="connsiteX21" fmla="*/ 412001 w 505134"/>
                                  <a:gd name="connsiteY21" fmla="*/ 73189 h 810049"/>
                                  <a:gd name="connsiteX22" fmla="*/ 377167 w 505134"/>
                                  <a:gd name="connsiteY22" fmla="*/ 6599 h 810049"/>
                                  <a:gd name="connsiteX23" fmla="*/ 317402 w 505134"/>
                                  <a:gd name="connsiteY23" fmla="*/ 11259 h 810049"/>
                                  <a:gd name="connsiteX0" fmla="*/ 317402 w 505134"/>
                                  <a:gd name="connsiteY0" fmla="*/ 11259 h 810049"/>
                                  <a:gd name="connsiteX1" fmla="*/ 242581 w 505134"/>
                                  <a:gd name="connsiteY1" fmla="*/ 154007 h 810049"/>
                                  <a:gd name="connsiteX2" fmla="*/ 220705 w 505134"/>
                                  <a:gd name="connsiteY2" fmla="*/ 240676 h 810049"/>
                                  <a:gd name="connsiteX3" fmla="*/ 150960 w 505134"/>
                                  <a:gd name="connsiteY3" fmla="*/ 346453 h 810049"/>
                                  <a:gd name="connsiteX4" fmla="*/ 95894 w 505134"/>
                                  <a:gd name="connsiteY4" fmla="*/ 466778 h 810049"/>
                                  <a:gd name="connsiteX5" fmla="*/ 88116 w 505134"/>
                                  <a:gd name="connsiteY5" fmla="*/ 586426 h 810049"/>
                                  <a:gd name="connsiteX6" fmla="*/ 31494 w 505134"/>
                                  <a:gd name="connsiteY6" fmla="*/ 665947 h 810049"/>
                                  <a:gd name="connsiteX7" fmla="*/ 504 w 505134"/>
                                  <a:gd name="connsiteY7" fmla="*/ 763038 h 810049"/>
                                  <a:gd name="connsiteX8" fmla="*/ 18313 w 505134"/>
                                  <a:gd name="connsiteY8" fmla="*/ 804928 h 810049"/>
                                  <a:gd name="connsiteX9" fmla="*/ 91744 w 505134"/>
                                  <a:gd name="connsiteY9" fmla="*/ 649906 h 810049"/>
                                  <a:gd name="connsiteX10" fmla="*/ 119810 w 505134"/>
                                  <a:gd name="connsiteY10" fmla="*/ 576821 h 810049"/>
                                  <a:gd name="connsiteX11" fmla="*/ 118045 w 505134"/>
                                  <a:gd name="connsiteY11" fmla="*/ 522763 h 810049"/>
                                  <a:gd name="connsiteX12" fmla="*/ 148714 w 505134"/>
                                  <a:gd name="connsiteY12" fmla="*/ 432042 h 810049"/>
                                  <a:gd name="connsiteX13" fmla="*/ 192704 w 505134"/>
                                  <a:gd name="connsiteY13" fmla="*/ 380748 h 810049"/>
                                  <a:gd name="connsiteX14" fmla="*/ 229325 w 505134"/>
                                  <a:gd name="connsiteY14" fmla="*/ 362942 h 810049"/>
                                  <a:gd name="connsiteX15" fmla="*/ 387536 w 505134"/>
                                  <a:gd name="connsiteY15" fmla="*/ 315120 h 810049"/>
                                  <a:gd name="connsiteX16" fmla="*/ 498777 w 505134"/>
                                  <a:gd name="connsiteY16" fmla="*/ 125143 h 810049"/>
                                  <a:gd name="connsiteX17" fmla="*/ 482610 w 505134"/>
                                  <a:gd name="connsiteY17" fmla="*/ 99963 h 810049"/>
                                  <a:gd name="connsiteX18" fmla="*/ 379564 w 505134"/>
                                  <a:gd name="connsiteY18" fmla="*/ 263686 h 810049"/>
                                  <a:gd name="connsiteX19" fmla="*/ 383076 w 505134"/>
                                  <a:gd name="connsiteY19" fmla="*/ 240600 h 810049"/>
                                  <a:gd name="connsiteX20" fmla="*/ 412001 w 505134"/>
                                  <a:gd name="connsiteY20" fmla="*/ 171326 h 810049"/>
                                  <a:gd name="connsiteX21" fmla="*/ 412001 w 505134"/>
                                  <a:gd name="connsiteY21" fmla="*/ 73189 h 810049"/>
                                  <a:gd name="connsiteX22" fmla="*/ 377167 w 505134"/>
                                  <a:gd name="connsiteY22" fmla="*/ 6599 h 810049"/>
                                  <a:gd name="connsiteX23" fmla="*/ 317402 w 505134"/>
                                  <a:gd name="connsiteY23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19810 w 505376"/>
                                  <a:gd name="connsiteY10" fmla="*/ 576821 h 810049"/>
                                  <a:gd name="connsiteX11" fmla="*/ 118045 w 505376"/>
                                  <a:gd name="connsiteY11" fmla="*/ 522763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29325 w 505376"/>
                                  <a:gd name="connsiteY14" fmla="*/ 362942 h 810049"/>
                                  <a:gd name="connsiteX15" fmla="*/ 384205 w 505376"/>
                                  <a:gd name="connsiteY15" fmla="*/ 305965 h 810049"/>
                                  <a:gd name="connsiteX16" fmla="*/ 498777 w 505376"/>
                                  <a:gd name="connsiteY16" fmla="*/ 125143 h 810049"/>
                                  <a:gd name="connsiteX17" fmla="*/ 482610 w 505376"/>
                                  <a:gd name="connsiteY17" fmla="*/ 99963 h 810049"/>
                                  <a:gd name="connsiteX18" fmla="*/ 379564 w 505376"/>
                                  <a:gd name="connsiteY18" fmla="*/ 263686 h 810049"/>
                                  <a:gd name="connsiteX19" fmla="*/ 383076 w 505376"/>
                                  <a:gd name="connsiteY19" fmla="*/ 240600 h 810049"/>
                                  <a:gd name="connsiteX20" fmla="*/ 412001 w 505376"/>
                                  <a:gd name="connsiteY20" fmla="*/ 171326 h 810049"/>
                                  <a:gd name="connsiteX21" fmla="*/ 412001 w 505376"/>
                                  <a:gd name="connsiteY21" fmla="*/ 73189 h 810049"/>
                                  <a:gd name="connsiteX22" fmla="*/ 377167 w 505376"/>
                                  <a:gd name="connsiteY22" fmla="*/ 6599 h 810049"/>
                                  <a:gd name="connsiteX23" fmla="*/ 317402 w 505376"/>
                                  <a:gd name="connsiteY23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19810 w 505376"/>
                                  <a:gd name="connsiteY10" fmla="*/ 576821 h 810049"/>
                                  <a:gd name="connsiteX11" fmla="*/ 118045 w 505376"/>
                                  <a:gd name="connsiteY11" fmla="*/ 522763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29325 w 505376"/>
                                  <a:gd name="connsiteY14" fmla="*/ 362942 h 810049"/>
                                  <a:gd name="connsiteX15" fmla="*/ 311100 w 505376"/>
                                  <a:gd name="connsiteY15" fmla="*/ 328761 h 810049"/>
                                  <a:gd name="connsiteX16" fmla="*/ 384205 w 505376"/>
                                  <a:gd name="connsiteY16" fmla="*/ 305965 h 810049"/>
                                  <a:gd name="connsiteX17" fmla="*/ 498777 w 505376"/>
                                  <a:gd name="connsiteY17" fmla="*/ 125143 h 810049"/>
                                  <a:gd name="connsiteX18" fmla="*/ 482610 w 505376"/>
                                  <a:gd name="connsiteY18" fmla="*/ 99963 h 810049"/>
                                  <a:gd name="connsiteX19" fmla="*/ 379564 w 505376"/>
                                  <a:gd name="connsiteY19" fmla="*/ 263686 h 810049"/>
                                  <a:gd name="connsiteX20" fmla="*/ 383076 w 505376"/>
                                  <a:gd name="connsiteY20" fmla="*/ 240600 h 810049"/>
                                  <a:gd name="connsiteX21" fmla="*/ 412001 w 505376"/>
                                  <a:gd name="connsiteY21" fmla="*/ 171326 h 810049"/>
                                  <a:gd name="connsiteX22" fmla="*/ 412001 w 505376"/>
                                  <a:gd name="connsiteY22" fmla="*/ 73189 h 810049"/>
                                  <a:gd name="connsiteX23" fmla="*/ 377167 w 505376"/>
                                  <a:gd name="connsiteY23" fmla="*/ 6599 h 810049"/>
                                  <a:gd name="connsiteX24" fmla="*/ 317402 w 505376"/>
                                  <a:gd name="connsiteY24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19810 w 505376"/>
                                  <a:gd name="connsiteY10" fmla="*/ 576821 h 810049"/>
                                  <a:gd name="connsiteX11" fmla="*/ 118045 w 505376"/>
                                  <a:gd name="connsiteY11" fmla="*/ 522763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42651 w 505376"/>
                                  <a:gd name="connsiteY14" fmla="*/ 367520 h 810049"/>
                                  <a:gd name="connsiteX15" fmla="*/ 311100 w 505376"/>
                                  <a:gd name="connsiteY15" fmla="*/ 328761 h 810049"/>
                                  <a:gd name="connsiteX16" fmla="*/ 384205 w 505376"/>
                                  <a:gd name="connsiteY16" fmla="*/ 305965 h 810049"/>
                                  <a:gd name="connsiteX17" fmla="*/ 498777 w 505376"/>
                                  <a:gd name="connsiteY17" fmla="*/ 125143 h 810049"/>
                                  <a:gd name="connsiteX18" fmla="*/ 482610 w 505376"/>
                                  <a:gd name="connsiteY18" fmla="*/ 99963 h 810049"/>
                                  <a:gd name="connsiteX19" fmla="*/ 379564 w 505376"/>
                                  <a:gd name="connsiteY19" fmla="*/ 263686 h 810049"/>
                                  <a:gd name="connsiteX20" fmla="*/ 383076 w 505376"/>
                                  <a:gd name="connsiteY20" fmla="*/ 240600 h 810049"/>
                                  <a:gd name="connsiteX21" fmla="*/ 412001 w 505376"/>
                                  <a:gd name="connsiteY21" fmla="*/ 171326 h 810049"/>
                                  <a:gd name="connsiteX22" fmla="*/ 412001 w 505376"/>
                                  <a:gd name="connsiteY22" fmla="*/ 73189 h 810049"/>
                                  <a:gd name="connsiteX23" fmla="*/ 377167 w 505376"/>
                                  <a:gd name="connsiteY23" fmla="*/ 6599 h 810049"/>
                                  <a:gd name="connsiteX24" fmla="*/ 317402 w 505376"/>
                                  <a:gd name="connsiteY24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19810 w 505376"/>
                                  <a:gd name="connsiteY10" fmla="*/ 576821 h 810049"/>
                                  <a:gd name="connsiteX11" fmla="*/ 104718 w 505376"/>
                                  <a:gd name="connsiteY11" fmla="*/ 518185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42651 w 505376"/>
                                  <a:gd name="connsiteY14" fmla="*/ 367520 h 810049"/>
                                  <a:gd name="connsiteX15" fmla="*/ 311100 w 505376"/>
                                  <a:gd name="connsiteY15" fmla="*/ 328761 h 810049"/>
                                  <a:gd name="connsiteX16" fmla="*/ 384205 w 505376"/>
                                  <a:gd name="connsiteY16" fmla="*/ 305965 h 810049"/>
                                  <a:gd name="connsiteX17" fmla="*/ 498777 w 505376"/>
                                  <a:gd name="connsiteY17" fmla="*/ 125143 h 810049"/>
                                  <a:gd name="connsiteX18" fmla="*/ 482610 w 505376"/>
                                  <a:gd name="connsiteY18" fmla="*/ 99963 h 810049"/>
                                  <a:gd name="connsiteX19" fmla="*/ 379564 w 505376"/>
                                  <a:gd name="connsiteY19" fmla="*/ 263686 h 810049"/>
                                  <a:gd name="connsiteX20" fmla="*/ 383076 w 505376"/>
                                  <a:gd name="connsiteY20" fmla="*/ 240600 h 810049"/>
                                  <a:gd name="connsiteX21" fmla="*/ 412001 w 505376"/>
                                  <a:gd name="connsiteY21" fmla="*/ 171326 h 810049"/>
                                  <a:gd name="connsiteX22" fmla="*/ 412001 w 505376"/>
                                  <a:gd name="connsiteY22" fmla="*/ 73189 h 810049"/>
                                  <a:gd name="connsiteX23" fmla="*/ 377167 w 505376"/>
                                  <a:gd name="connsiteY23" fmla="*/ 6599 h 810049"/>
                                  <a:gd name="connsiteX24" fmla="*/ 317402 w 505376"/>
                                  <a:gd name="connsiteY24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03152 w 505376"/>
                                  <a:gd name="connsiteY10" fmla="*/ 581399 h 810049"/>
                                  <a:gd name="connsiteX11" fmla="*/ 104718 w 505376"/>
                                  <a:gd name="connsiteY11" fmla="*/ 518185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42651 w 505376"/>
                                  <a:gd name="connsiteY14" fmla="*/ 367520 h 810049"/>
                                  <a:gd name="connsiteX15" fmla="*/ 311100 w 505376"/>
                                  <a:gd name="connsiteY15" fmla="*/ 328761 h 810049"/>
                                  <a:gd name="connsiteX16" fmla="*/ 384205 w 505376"/>
                                  <a:gd name="connsiteY16" fmla="*/ 305965 h 810049"/>
                                  <a:gd name="connsiteX17" fmla="*/ 498777 w 505376"/>
                                  <a:gd name="connsiteY17" fmla="*/ 125143 h 810049"/>
                                  <a:gd name="connsiteX18" fmla="*/ 482610 w 505376"/>
                                  <a:gd name="connsiteY18" fmla="*/ 99963 h 810049"/>
                                  <a:gd name="connsiteX19" fmla="*/ 379564 w 505376"/>
                                  <a:gd name="connsiteY19" fmla="*/ 263686 h 810049"/>
                                  <a:gd name="connsiteX20" fmla="*/ 383076 w 505376"/>
                                  <a:gd name="connsiteY20" fmla="*/ 240600 h 810049"/>
                                  <a:gd name="connsiteX21" fmla="*/ 412001 w 505376"/>
                                  <a:gd name="connsiteY21" fmla="*/ 171326 h 810049"/>
                                  <a:gd name="connsiteX22" fmla="*/ 412001 w 505376"/>
                                  <a:gd name="connsiteY22" fmla="*/ 73189 h 810049"/>
                                  <a:gd name="connsiteX23" fmla="*/ 377167 w 505376"/>
                                  <a:gd name="connsiteY23" fmla="*/ 6599 h 810049"/>
                                  <a:gd name="connsiteX24" fmla="*/ 317402 w 505376"/>
                                  <a:gd name="connsiteY24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03152 w 505376"/>
                                  <a:gd name="connsiteY10" fmla="*/ 581399 h 810049"/>
                                  <a:gd name="connsiteX11" fmla="*/ 104718 w 505376"/>
                                  <a:gd name="connsiteY11" fmla="*/ 518185 h 810049"/>
                                  <a:gd name="connsiteX12" fmla="*/ 148714 w 505376"/>
                                  <a:gd name="connsiteY12" fmla="*/ 432042 h 810049"/>
                                  <a:gd name="connsiteX13" fmla="*/ 192704 w 505376"/>
                                  <a:gd name="connsiteY13" fmla="*/ 380748 h 810049"/>
                                  <a:gd name="connsiteX14" fmla="*/ 242651 w 505376"/>
                                  <a:gd name="connsiteY14" fmla="*/ 373672 h 810049"/>
                                  <a:gd name="connsiteX15" fmla="*/ 311100 w 505376"/>
                                  <a:gd name="connsiteY15" fmla="*/ 328761 h 810049"/>
                                  <a:gd name="connsiteX16" fmla="*/ 384205 w 505376"/>
                                  <a:gd name="connsiteY16" fmla="*/ 305965 h 810049"/>
                                  <a:gd name="connsiteX17" fmla="*/ 498777 w 505376"/>
                                  <a:gd name="connsiteY17" fmla="*/ 125143 h 810049"/>
                                  <a:gd name="connsiteX18" fmla="*/ 482610 w 505376"/>
                                  <a:gd name="connsiteY18" fmla="*/ 99963 h 810049"/>
                                  <a:gd name="connsiteX19" fmla="*/ 379564 w 505376"/>
                                  <a:gd name="connsiteY19" fmla="*/ 263686 h 810049"/>
                                  <a:gd name="connsiteX20" fmla="*/ 383076 w 505376"/>
                                  <a:gd name="connsiteY20" fmla="*/ 240600 h 810049"/>
                                  <a:gd name="connsiteX21" fmla="*/ 412001 w 505376"/>
                                  <a:gd name="connsiteY21" fmla="*/ 171326 h 810049"/>
                                  <a:gd name="connsiteX22" fmla="*/ 412001 w 505376"/>
                                  <a:gd name="connsiteY22" fmla="*/ 73189 h 810049"/>
                                  <a:gd name="connsiteX23" fmla="*/ 377167 w 505376"/>
                                  <a:gd name="connsiteY23" fmla="*/ 6599 h 810049"/>
                                  <a:gd name="connsiteX24" fmla="*/ 317402 w 505376"/>
                                  <a:gd name="connsiteY24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03152 w 505376"/>
                                  <a:gd name="connsiteY10" fmla="*/ 581399 h 810049"/>
                                  <a:gd name="connsiteX11" fmla="*/ 104718 w 505376"/>
                                  <a:gd name="connsiteY11" fmla="*/ 518185 h 810049"/>
                                  <a:gd name="connsiteX12" fmla="*/ 148714 w 505376"/>
                                  <a:gd name="connsiteY12" fmla="*/ 432042 h 810049"/>
                                  <a:gd name="connsiteX13" fmla="*/ 169470 w 505376"/>
                                  <a:gd name="connsiteY13" fmla="*/ 412588 h 810049"/>
                                  <a:gd name="connsiteX14" fmla="*/ 192704 w 505376"/>
                                  <a:gd name="connsiteY14" fmla="*/ 380748 h 810049"/>
                                  <a:gd name="connsiteX15" fmla="*/ 242651 w 505376"/>
                                  <a:gd name="connsiteY15" fmla="*/ 373672 h 810049"/>
                                  <a:gd name="connsiteX16" fmla="*/ 311100 w 505376"/>
                                  <a:gd name="connsiteY16" fmla="*/ 328761 h 810049"/>
                                  <a:gd name="connsiteX17" fmla="*/ 384205 w 505376"/>
                                  <a:gd name="connsiteY17" fmla="*/ 305965 h 810049"/>
                                  <a:gd name="connsiteX18" fmla="*/ 498777 w 505376"/>
                                  <a:gd name="connsiteY18" fmla="*/ 125143 h 810049"/>
                                  <a:gd name="connsiteX19" fmla="*/ 482610 w 505376"/>
                                  <a:gd name="connsiteY19" fmla="*/ 99963 h 810049"/>
                                  <a:gd name="connsiteX20" fmla="*/ 379564 w 505376"/>
                                  <a:gd name="connsiteY20" fmla="*/ 263686 h 810049"/>
                                  <a:gd name="connsiteX21" fmla="*/ 383076 w 505376"/>
                                  <a:gd name="connsiteY21" fmla="*/ 240600 h 810049"/>
                                  <a:gd name="connsiteX22" fmla="*/ 412001 w 505376"/>
                                  <a:gd name="connsiteY22" fmla="*/ 171326 h 810049"/>
                                  <a:gd name="connsiteX23" fmla="*/ 412001 w 505376"/>
                                  <a:gd name="connsiteY23" fmla="*/ 73189 h 810049"/>
                                  <a:gd name="connsiteX24" fmla="*/ 377167 w 505376"/>
                                  <a:gd name="connsiteY24" fmla="*/ 6599 h 810049"/>
                                  <a:gd name="connsiteX25" fmla="*/ 317402 w 505376"/>
                                  <a:gd name="connsiteY25" fmla="*/ 11259 h 810049"/>
                                  <a:gd name="connsiteX0" fmla="*/ 317402 w 505376"/>
                                  <a:gd name="connsiteY0" fmla="*/ 11259 h 810049"/>
                                  <a:gd name="connsiteX1" fmla="*/ 242581 w 505376"/>
                                  <a:gd name="connsiteY1" fmla="*/ 154007 h 810049"/>
                                  <a:gd name="connsiteX2" fmla="*/ 220705 w 505376"/>
                                  <a:gd name="connsiteY2" fmla="*/ 240676 h 810049"/>
                                  <a:gd name="connsiteX3" fmla="*/ 150960 w 505376"/>
                                  <a:gd name="connsiteY3" fmla="*/ 346453 h 810049"/>
                                  <a:gd name="connsiteX4" fmla="*/ 95894 w 505376"/>
                                  <a:gd name="connsiteY4" fmla="*/ 466778 h 810049"/>
                                  <a:gd name="connsiteX5" fmla="*/ 88116 w 505376"/>
                                  <a:gd name="connsiteY5" fmla="*/ 586426 h 810049"/>
                                  <a:gd name="connsiteX6" fmla="*/ 31494 w 505376"/>
                                  <a:gd name="connsiteY6" fmla="*/ 665947 h 810049"/>
                                  <a:gd name="connsiteX7" fmla="*/ 504 w 505376"/>
                                  <a:gd name="connsiteY7" fmla="*/ 763038 h 810049"/>
                                  <a:gd name="connsiteX8" fmla="*/ 18313 w 505376"/>
                                  <a:gd name="connsiteY8" fmla="*/ 804928 h 810049"/>
                                  <a:gd name="connsiteX9" fmla="*/ 91744 w 505376"/>
                                  <a:gd name="connsiteY9" fmla="*/ 649906 h 810049"/>
                                  <a:gd name="connsiteX10" fmla="*/ 103152 w 505376"/>
                                  <a:gd name="connsiteY10" fmla="*/ 581399 h 810049"/>
                                  <a:gd name="connsiteX11" fmla="*/ 104718 w 505376"/>
                                  <a:gd name="connsiteY11" fmla="*/ 518185 h 810049"/>
                                  <a:gd name="connsiteX12" fmla="*/ 148714 w 505376"/>
                                  <a:gd name="connsiteY12" fmla="*/ 432042 h 810049"/>
                                  <a:gd name="connsiteX13" fmla="*/ 169470 w 505376"/>
                                  <a:gd name="connsiteY13" fmla="*/ 412588 h 810049"/>
                                  <a:gd name="connsiteX14" fmla="*/ 194196 w 505376"/>
                                  <a:gd name="connsiteY14" fmla="*/ 388950 h 810049"/>
                                  <a:gd name="connsiteX15" fmla="*/ 242651 w 505376"/>
                                  <a:gd name="connsiteY15" fmla="*/ 373672 h 810049"/>
                                  <a:gd name="connsiteX16" fmla="*/ 311100 w 505376"/>
                                  <a:gd name="connsiteY16" fmla="*/ 328761 h 810049"/>
                                  <a:gd name="connsiteX17" fmla="*/ 384205 w 505376"/>
                                  <a:gd name="connsiteY17" fmla="*/ 305965 h 810049"/>
                                  <a:gd name="connsiteX18" fmla="*/ 498777 w 505376"/>
                                  <a:gd name="connsiteY18" fmla="*/ 125143 h 810049"/>
                                  <a:gd name="connsiteX19" fmla="*/ 482610 w 505376"/>
                                  <a:gd name="connsiteY19" fmla="*/ 99963 h 810049"/>
                                  <a:gd name="connsiteX20" fmla="*/ 379564 w 505376"/>
                                  <a:gd name="connsiteY20" fmla="*/ 263686 h 810049"/>
                                  <a:gd name="connsiteX21" fmla="*/ 383076 w 505376"/>
                                  <a:gd name="connsiteY21" fmla="*/ 240600 h 810049"/>
                                  <a:gd name="connsiteX22" fmla="*/ 412001 w 505376"/>
                                  <a:gd name="connsiteY22" fmla="*/ 171326 h 810049"/>
                                  <a:gd name="connsiteX23" fmla="*/ 412001 w 505376"/>
                                  <a:gd name="connsiteY23" fmla="*/ 73189 h 810049"/>
                                  <a:gd name="connsiteX24" fmla="*/ 377167 w 505376"/>
                                  <a:gd name="connsiteY24" fmla="*/ 6599 h 810049"/>
                                  <a:gd name="connsiteX25" fmla="*/ 317402 w 505376"/>
                                  <a:gd name="connsiteY25" fmla="*/ 11259 h 810049"/>
                                  <a:gd name="connsiteX0" fmla="*/ 317142 w 505116"/>
                                  <a:gd name="connsiteY0" fmla="*/ 11259 h 805957"/>
                                  <a:gd name="connsiteX1" fmla="*/ 242321 w 505116"/>
                                  <a:gd name="connsiteY1" fmla="*/ 154007 h 805957"/>
                                  <a:gd name="connsiteX2" fmla="*/ 220445 w 505116"/>
                                  <a:gd name="connsiteY2" fmla="*/ 240676 h 805957"/>
                                  <a:gd name="connsiteX3" fmla="*/ 150700 w 505116"/>
                                  <a:gd name="connsiteY3" fmla="*/ 346453 h 805957"/>
                                  <a:gd name="connsiteX4" fmla="*/ 95634 w 505116"/>
                                  <a:gd name="connsiteY4" fmla="*/ 466778 h 805957"/>
                                  <a:gd name="connsiteX5" fmla="*/ 87856 w 505116"/>
                                  <a:gd name="connsiteY5" fmla="*/ 586426 h 805957"/>
                                  <a:gd name="connsiteX6" fmla="*/ 31234 w 505116"/>
                                  <a:gd name="connsiteY6" fmla="*/ 665947 h 805957"/>
                                  <a:gd name="connsiteX7" fmla="*/ 244 w 505116"/>
                                  <a:gd name="connsiteY7" fmla="*/ 763038 h 805957"/>
                                  <a:gd name="connsiteX8" fmla="*/ 18053 w 505116"/>
                                  <a:gd name="connsiteY8" fmla="*/ 804928 h 805957"/>
                                  <a:gd name="connsiteX9" fmla="*/ 40873 w 505116"/>
                                  <a:gd name="connsiteY9" fmla="*/ 724245 h 805957"/>
                                  <a:gd name="connsiteX10" fmla="*/ 91484 w 505116"/>
                                  <a:gd name="connsiteY10" fmla="*/ 649906 h 805957"/>
                                  <a:gd name="connsiteX11" fmla="*/ 102892 w 505116"/>
                                  <a:gd name="connsiteY11" fmla="*/ 581399 h 805957"/>
                                  <a:gd name="connsiteX12" fmla="*/ 104458 w 505116"/>
                                  <a:gd name="connsiteY12" fmla="*/ 518185 h 805957"/>
                                  <a:gd name="connsiteX13" fmla="*/ 148454 w 505116"/>
                                  <a:gd name="connsiteY13" fmla="*/ 432042 h 805957"/>
                                  <a:gd name="connsiteX14" fmla="*/ 169210 w 505116"/>
                                  <a:gd name="connsiteY14" fmla="*/ 412588 h 805957"/>
                                  <a:gd name="connsiteX15" fmla="*/ 193936 w 505116"/>
                                  <a:gd name="connsiteY15" fmla="*/ 388950 h 805957"/>
                                  <a:gd name="connsiteX16" fmla="*/ 242391 w 505116"/>
                                  <a:gd name="connsiteY16" fmla="*/ 373672 h 805957"/>
                                  <a:gd name="connsiteX17" fmla="*/ 310840 w 505116"/>
                                  <a:gd name="connsiteY17" fmla="*/ 328761 h 805957"/>
                                  <a:gd name="connsiteX18" fmla="*/ 383945 w 505116"/>
                                  <a:gd name="connsiteY18" fmla="*/ 305965 h 805957"/>
                                  <a:gd name="connsiteX19" fmla="*/ 498517 w 505116"/>
                                  <a:gd name="connsiteY19" fmla="*/ 125143 h 805957"/>
                                  <a:gd name="connsiteX20" fmla="*/ 482350 w 505116"/>
                                  <a:gd name="connsiteY20" fmla="*/ 99963 h 805957"/>
                                  <a:gd name="connsiteX21" fmla="*/ 379304 w 505116"/>
                                  <a:gd name="connsiteY21" fmla="*/ 263686 h 805957"/>
                                  <a:gd name="connsiteX22" fmla="*/ 382816 w 505116"/>
                                  <a:gd name="connsiteY22" fmla="*/ 240600 h 805957"/>
                                  <a:gd name="connsiteX23" fmla="*/ 411741 w 505116"/>
                                  <a:gd name="connsiteY23" fmla="*/ 171326 h 805957"/>
                                  <a:gd name="connsiteX24" fmla="*/ 411741 w 505116"/>
                                  <a:gd name="connsiteY24" fmla="*/ 73189 h 805957"/>
                                  <a:gd name="connsiteX25" fmla="*/ 376907 w 505116"/>
                                  <a:gd name="connsiteY25" fmla="*/ 6599 h 805957"/>
                                  <a:gd name="connsiteX26" fmla="*/ 317142 w 505116"/>
                                  <a:gd name="connsiteY26" fmla="*/ 11259 h 805957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8319 w 505579"/>
                                  <a:gd name="connsiteY5" fmla="*/ 586426 h 803965"/>
                                  <a:gd name="connsiteX6" fmla="*/ 31697 w 505579"/>
                                  <a:gd name="connsiteY6" fmla="*/ 665947 h 803965"/>
                                  <a:gd name="connsiteX7" fmla="*/ 707 w 505579"/>
                                  <a:gd name="connsiteY7" fmla="*/ 763038 h 803965"/>
                                  <a:gd name="connsiteX8" fmla="*/ 12547 w 505579"/>
                                  <a:gd name="connsiteY8" fmla="*/ 802877 h 803965"/>
                                  <a:gd name="connsiteX9" fmla="*/ 41336 w 505579"/>
                                  <a:gd name="connsiteY9" fmla="*/ 724245 h 803965"/>
                                  <a:gd name="connsiteX10" fmla="*/ 91947 w 505579"/>
                                  <a:gd name="connsiteY10" fmla="*/ 649906 h 803965"/>
                                  <a:gd name="connsiteX11" fmla="*/ 103355 w 505579"/>
                                  <a:gd name="connsiteY11" fmla="*/ 581399 h 803965"/>
                                  <a:gd name="connsiteX12" fmla="*/ 104921 w 505579"/>
                                  <a:gd name="connsiteY12" fmla="*/ 518185 h 803965"/>
                                  <a:gd name="connsiteX13" fmla="*/ 148917 w 505579"/>
                                  <a:gd name="connsiteY13" fmla="*/ 432042 h 803965"/>
                                  <a:gd name="connsiteX14" fmla="*/ 169673 w 505579"/>
                                  <a:gd name="connsiteY14" fmla="*/ 412588 h 803965"/>
                                  <a:gd name="connsiteX15" fmla="*/ 194399 w 505579"/>
                                  <a:gd name="connsiteY15" fmla="*/ 388950 h 803965"/>
                                  <a:gd name="connsiteX16" fmla="*/ 242854 w 505579"/>
                                  <a:gd name="connsiteY16" fmla="*/ 373672 h 803965"/>
                                  <a:gd name="connsiteX17" fmla="*/ 311303 w 505579"/>
                                  <a:gd name="connsiteY17" fmla="*/ 328761 h 803965"/>
                                  <a:gd name="connsiteX18" fmla="*/ 384408 w 505579"/>
                                  <a:gd name="connsiteY18" fmla="*/ 305965 h 803965"/>
                                  <a:gd name="connsiteX19" fmla="*/ 498980 w 505579"/>
                                  <a:gd name="connsiteY19" fmla="*/ 125143 h 803965"/>
                                  <a:gd name="connsiteX20" fmla="*/ 482813 w 505579"/>
                                  <a:gd name="connsiteY20" fmla="*/ 99963 h 803965"/>
                                  <a:gd name="connsiteX21" fmla="*/ 379767 w 505579"/>
                                  <a:gd name="connsiteY21" fmla="*/ 263686 h 803965"/>
                                  <a:gd name="connsiteX22" fmla="*/ 383279 w 505579"/>
                                  <a:gd name="connsiteY22" fmla="*/ 240600 h 803965"/>
                                  <a:gd name="connsiteX23" fmla="*/ 412204 w 505579"/>
                                  <a:gd name="connsiteY23" fmla="*/ 171326 h 803965"/>
                                  <a:gd name="connsiteX24" fmla="*/ 412204 w 505579"/>
                                  <a:gd name="connsiteY24" fmla="*/ 73189 h 803965"/>
                                  <a:gd name="connsiteX25" fmla="*/ 377370 w 505579"/>
                                  <a:gd name="connsiteY25" fmla="*/ 6599 h 803965"/>
                                  <a:gd name="connsiteX26" fmla="*/ 317605 w 505579"/>
                                  <a:gd name="connsiteY26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8319 w 505579"/>
                                  <a:gd name="connsiteY5" fmla="*/ 586426 h 803965"/>
                                  <a:gd name="connsiteX6" fmla="*/ 31697 w 505579"/>
                                  <a:gd name="connsiteY6" fmla="*/ 665947 h 803965"/>
                                  <a:gd name="connsiteX7" fmla="*/ 707 w 505579"/>
                                  <a:gd name="connsiteY7" fmla="*/ 763038 h 803965"/>
                                  <a:gd name="connsiteX8" fmla="*/ 12547 w 505579"/>
                                  <a:gd name="connsiteY8" fmla="*/ 802877 h 803965"/>
                                  <a:gd name="connsiteX9" fmla="*/ 41336 w 505579"/>
                                  <a:gd name="connsiteY9" fmla="*/ 724245 h 803965"/>
                                  <a:gd name="connsiteX10" fmla="*/ 87597 w 505579"/>
                                  <a:gd name="connsiteY10" fmla="*/ 666835 h 803965"/>
                                  <a:gd name="connsiteX11" fmla="*/ 91947 w 505579"/>
                                  <a:gd name="connsiteY11" fmla="*/ 649906 h 803965"/>
                                  <a:gd name="connsiteX12" fmla="*/ 103355 w 505579"/>
                                  <a:gd name="connsiteY12" fmla="*/ 581399 h 803965"/>
                                  <a:gd name="connsiteX13" fmla="*/ 104921 w 505579"/>
                                  <a:gd name="connsiteY13" fmla="*/ 518185 h 803965"/>
                                  <a:gd name="connsiteX14" fmla="*/ 148917 w 505579"/>
                                  <a:gd name="connsiteY14" fmla="*/ 432042 h 803965"/>
                                  <a:gd name="connsiteX15" fmla="*/ 169673 w 505579"/>
                                  <a:gd name="connsiteY15" fmla="*/ 412588 h 803965"/>
                                  <a:gd name="connsiteX16" fmla="*/ 194399 w 505579"/>
                                  <a:gd name="connsiteY16" fmla="*/ 388950 h 803965"/>
                                  <a:gd name="connsiteX17" fmla="*/ 242854 w 505579"/>
                                  <a:gd name="connsiteY17" fmla="*/ 373672 h 803965"/>
                                  <a:gd name="connsiteX18" fmla="*/ 311303 w 505579"/>
                                  <a:gd name="connsiteY18" fmla="*/ 328761 h 803965"/>
                                  <a:gd name="connsiteX19" fmla="*/ 384408 w 505579"/>
                                  <a:gd name="connsiteY19" fmla="*/ 305965 h 803965"/>
                                  <a:gd name="connsiteX20" fmla="*/ 498980 w 505579"/>
                                  <a:gd name="connsiteY20" fmla="*/ 125143 h 803965"/>
                                  <a:gd name="connsiteX21" fmla="*/ 482813 w 505579"/>
                                  <a:gd name="connsiteY21" fmla="*/ 99963 h 803965"/>
                                  <a:gd name="connsiteX22" fmla="*/ 379767 w 505579"/>
                                  <a:gd name="connsiteY22" fmla="*/ 263686 h 803965"/>
                                  <a:gd name="connsiteX23" fmla="*/ 383279 w 505579"/>
                                  <a:gd name="connsiteY23" fmla="*/ 240600 h 803965"/>
                                  <a:gd name="connsiteX24" fmla="*/ 412204 w 505579"/>
                                  <a:gd name="connsiteY24" fmla="*/ 171326 h 803965"/>
                                  <a:gd name="connsiteX25" fmla="*/ 412204 w 505579"/>
                                  <a:gd name="connsiteY25" fmla="*/ 73189 h 803965"/>
                                  <a:gd name="connsiteX26" fmla="*/ 377370 w 505579"/>
                                  <a:gd name="connsiteY26" fmla="*/ 6599 h 803965"/>
                                  <a:gd name="connsiteX27" fmla="*/ 317605 w 505579"/>
                                  <a:gd name="connsiteY27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8319 w 505579"/>
                                  <a:gd name="connsiteY5" fmla="*/ 586426 h 803965"/>
                                  <a:gd name="connsiteX6" fmla="*/ 31697 w 505579"/>
                                  <a:gd name="connsiteY6" fmla="*/ 665947 h 803965"/>
                                  <a:gd name="connsiteX7" fmla="*/ 707 w 505579"/>
                                  <a:gd name="connsiteY7" fmla="*/ 763038 h 803965"/>
                                  <a:gd name="connsiteX8" fmla="*/ 12547 w 505579"/>
                                  <a:gd name="connsiteY8" fmla="*/ 802877 h 803965"/>
                                  <a:gd name="connsiteX9" fmla="*/ 41336 w 505579"/>
                                  <a:gd name="connsiteY9" fmla="*/ 724245 h 803965"/>
                                  <a:gd name="connsiteX10" fmla="*/ 87597 w 505579"/>
                                  <a:gd name="connsiteY10" fmla="*/ 666835 h 803965"/>
                                  <a:gd name="connsiteX11" fmla="*/ 91947 w 505579"/>
                                  <a:gd name="connsiteY11" fmla="*/ 649906 h 803965"/>
                                  <a:gd name="connsiteX12" fmla="*/ 109982 w 505579"/>
                                  <a:gd name="connsiteY12" fmla="*/ 609425 h 803965"/>
                                  <a:gd name="connsiteX13" fmla="*/ 103355 w 505579"/>
                                  <a:gd name="connsiteY13" fmla="*/ 581399 h 803965"/>
                                  <a:gd name="connsiteX14" fmla="*/ 104921 w 505579"/>
                                  <a:gd name="connsiteY14" fmla="*/ 518185 h 803965"/>
                                  <a:gd name="connsiteX15" fmla="*/ 148917 w 505579"/>
                                  <a:gd name="connsiteY15" fmla="*/ 432042 h 803965"/>
                                  <a:gd name="connsiteX16" fmla="*/ 169673 w 505579"/>
                                  <a:gd name="connsiteY16" fmla="*/ 412588 h 803965"/>
                                  <a:gd name="connsiteX17" fmla="*/ 194399 w 505579"/>
                                  <a:gd name="connsiteY17" fmla="*/ 388950 h 803965"/>
                                  <a:gd name="connsiteX18" fmla="*/ 242854 w 505579"/>
                                  <a:gd name="connsiteY18" fmla="*/ 373672 h 803965"/>
                                  <a:gd name="connsiteX19" fmla="*/ 311303 w 505579"/>
                                  <a:gd name="connsiteY19" fmla="*/ 328761 h 803965"/>
                                  <a:gd name="connsiteX20" fmla="*/ 384408 w 505579"/>
                                  <a:gd name="connsiteY20" fmla="*/ 305965 h 803965"/>
                                  <a:gd name="connsiteX21" fmla="*/ 498980 w 505579"/>
                                  <a:gd name="connsiteY21" fmla="*/ 125143 h 803965"/>
                                  <a:gd name="connsiteX22" fmla="*/ 482813 w 505579"/>
                                  <a:gd name="connsiteY22" fmla="*/ 99963 h 803965"/>
                                  <a:gd name="connsiteX23" fmla="*/ 379767 w 505579"/>
                                  <a:gd name="connsiteY23" fmla="*/ 263686 h 803965"/>
                                  <a:gd name="connsiteX24" fmla="*/ 383279 w 505579"/>
                                  <a:gd name="connsiteY24" fmla="*/ 240600 h 803965"/>
                                  <a:gd name="connsiteX25" fmla="*/ 412204 w 505579"/>
                                  <a:gd name="connsiteY25" fmla="*/ 171326 h 803965"/>
                                  <a:gd name="connsiteX26" fmla="*/ 412204 w 505579"/>
                                  <a:gd name="connsiteY26" fmla="*/ 73189 h 803965"/>
                                  <a:gd name="connsiteX27" fmla="*/ 377370 w 505579"/>
                                  <a:gd name="connsiteY27" fmla="*/ 6599 h 803965"/>
                                  <a:gd name="connsiteX28" fmla="*/ 317605 w 505579"/>
                                  <a:gd name="connsiteY28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8319 w 505579"/>
                                  <a:gd name="connsiteY5" fmla="*/ 586426 h 803965"/>
                                  <a:gd name="connsiteX6" fmla="*/ 31697 w 505579"/>
                                  <a:gd name="connsiteY6" fmla="*/ 665947 h 803965"/>
                                  <a:gd name="connsiteX7" fmla="*/ 707 w 505579"/>
                                  <a:gd name="connsiteY7" fmla="*/ 763038 h 803965"/>
                                  <a:gd name="connsiteX8" fmla="*/ 12547 w 505579"/>
                                  <a:gd name="connsiteY8" fmla="*/ 802877 h 803965"/>
                                  <a:gd name="connsiteX9" fmla="*/ 41336 w 505579"/>
                                  <a:gd name="connsiteY9" fmla="*/ 724245 h 803965"/>
                                  <a:gd name="connsiteX10" fmla="*/ 87597 w 505579"/>
                                  <a:gd name="connsiteY10" fmla="*/ 666835 h 803965"/>
                                  <a:gd name="connsiteX11" fmla="*/ 91947 w 505579"/>
                                  <a:gd name="connsiteY11" fmla="*/ 649906 h 803965"/>
                                  <a:gd name="connsiteX12" fmla="*/ 109982 w 505579"/>
                                  <a:gd name="connsiteY12" fmla="*/ 609425 h 803965"/>
                                  <a:gd name="connsiteX13" fmla="*/ 103355 w 505579"/>
                                  <a:gd name="connsiteY13" fmla="*/ 581399 h 803965"/>
                                  <a:gd name="connsiteX14" fmla="*/ 96551 w 505579"/>
                                  <a:gd name="connsiteY14" fmla="*/ 554065 h 803965"/>
                                  <a:gd name="connsiteX15" fmla="*/ 104921 w 505579"/>
                                  <a:gd name="connsiteY15" fmla="*/ 518185 h 803965"/>
                                  <a:gd name="connsiteX16" fmla="*/ 148917 w 505579"/>
                                  <a:gd name="connsiteY16" fmla="*/ 432042 h 803965"/>
                                  <a:gd name="connsiteX17" fmla="*/ 169673 w 505579"/>
                                  <a:gd name="connsiteY17" fmla="*/ 412588 h 803965"/>
                                  <a:gd name="connsiteX18" fmla="*/ 194399 w 505579"/>
                                  <a:gd name="connsiteY18" fmla="*/ 388950 h 803965"/>
                                  <a:gd name="connsiteX19" fmla="*/ 242854 w 505579"/>
                                  <a:gd name="connsiteY19" fmla="*/ 373672 h 803965"/>
                                  <a:gd name="connsiteX20" fmla="*/ 311303 w 505579"/>
                                  <a:gd name="connsiteY20" fmla="*/ 328761 h 803965"/>
                                  <a:gd name="connsiteX21" fmla="*/ 384408 w 505579"/>
                                  <a:gd name="connsiteY21" fmla="*/ 305965 h 803965"/>
                                  <a:gd name="connsiteX22" fmla="*/ 498980 w 505579"/>
                                  <a:gd name="connsiteY22" fmla="*/ 125143 h 803965"/>
                                  <a:gd name="connsiteX23" fmla="*/ 482813 w 505579"/>
                                  <a:gd name="connsiteY23" fmla="*/ 99963 h 803965"/>
                                  <a:gd name="connsiteX24" fmla="*/ 379767 w 505579"/>
                                  <a:gd name="connsiteY24" fmla="*/ 263686 h 803965"/>
                                  <a:gd name="connsiteX25" fmla="*/ 383279 w 505579"/>
                                  <a:gd name="connsiteY25" fmla="*/ 240600 h 803965"/>
                                  <a:gd name="connsiteX26" fmla="*/ 412204 w 505579"/>
                                  <a:gd name="connsiteY26" fmla="*/ 171326 h 803965"/>
                                  <a:gd name="connsiteX27" fmla="*/ 412204 w 505579"/>
                                  <a:gd name="connsiteY27" fmla="*/ 73189 h 803965"/>
                                  <a:gd name="connsiteX28" fmla="*/ 377370 w 505579"/>
                                  <a:gd name="connsiteY28" fmla="*/ 6599 h 803965"/>
                                  <a:gd name="connsiteX29" fmla="*/ 317605 w 505579"/>
                                  <a:gd name="connsiteY29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8319 w 505579"/>
                                  <a:gd name="connsiteY5" fmla="*/ 586426 h 803965"/>
                                  <a:gd name="connsiteX6" fmla="*/ 31697 w 505579"/>
                                  <a:gd name="connsiteY6" fmla="*/ 665947 h 803965"/>
                                  <a:gd name="connsiteX7" fmla="*/ 707 w 505579"/>
                                  <a:gd name="connsiteY7" fmla="*/ 763038 h 803965"/>
                                  <a:gd name="connsiteX8" fmla="*/ 12547 w 505579"/>
                                  <a:gd name="connsiteY8" fmla="*/ 802877 h 803965"/>
                                  <a:gd name="connsiteX9" fmla="*/ 41336 w 505579"/>
                                  <a:gd name="connsiteY9" fmla="*/ 724245 h 803965"/>
                                  <a:gd name="connsiteX10" fmla="*/ 87597 w 505579"/>
                                  <a:gd name="connsiteY10" fmla="*/ 666835 h 803965"/>
                                  <a:gd name="connsiteX11" fmla="*/ 91947 w 505579"/>
                                  <a:gd name="connsiteY11" fmla="*/ 649906 h 803965"/>
                                  <a:gd name="connsiteX12" fmla="*/ 109982 w 505579"/>
                                  <a:gd name="connsiteY12" fmla="*/ 609425 h 803965"/>
                                  <a:gd name="connsiteX13" fmla="*/ 103355 w 505579"/>
                                  <a:gd name="connsiteY13" fmla="*/ 581399 h 803965"/>
                                  <a:gd name="connsiteX14" fmla="*/ 96551 w 505579"/>
                                  <a:gd name="connsiteY14" fmla="*/ 554065 h 803965"/>
                                  <a:gd name="connsiteX15" fmla="*/ 101936 w 505579"/>
                                  <a:gd name="connsiteY15" fmla="*/ 507933 h 803965"/>
                                  <a:gd name="connsiteX16" fmla="*/ 148917 w 505579"/>
                                  <a:gd name="connsiteY16" fmla="*/ 432042 h 803965"/>
                                  <a:gd name="connsiteX17" fmla="*/ 169673 w 505579"/>
                                  <a:gd name="connsiteY17" fmla="*/ 412588 h 803965"/>
                                  <a:gd name="connsiteX18" fmla="*/ 194399 w 505579"/>
                                  <a:gd name="connsiteY18" fmla="*/ 388950 h 803965"/>
                                  <a:gd name="connsiteX19" fmla="*/ 242854 w 505579"/>
                                  <a:gd name="connsiteY19" fmla="*/ 373672 h 803965"/>
                                  <a:gd name="connsiteX20" fmla="*/ 311303 w 505579"/>
                                  <a:gd name="connsiteY20" fmla="*/ 328761 h 803965"/>
                                  <a:gd name="connsiteX21" fmla="*/ 384408 w 505579"/>
                                  <a:gd name="connsiteY21" fmla="*/ 305965 h 803965"/>
                                  <a:gd name="connsiteX22" fmla="*/ 498980 w 505579"/>
                                  <a:gd name="connsiteY22" fmla="*/ 125143 h 803965"/>
                                  <a:gd name="connsiteX23" fmla="*/ 482813 w 505579"/>
                                  <a:gd name="connsiteY23" fmla="*/ 99963 h 803965"/>
                                  <a:gd name="connsiteX24" fmla="*/ 379767 w 505579"/>
                                  <a:gd name="connsiteY24" fmla="*/ 263686 h 803965"/>
                                  <a:gd name="connsiteX25" fmla="*/ 383279 w 505579"/>
                                  <a:gd name="connsiteY25" fmla="*/ 240600 h 803965"/>
                                  <a:gd name="connsiteX26" fmla="*/ 412204 w 505579"/>
                                  <a:gd name="connsiteY26" fmla="*/ 171326 h 803965"/>
                                  <a:gd name="connsiteX27" fmla="*/ 412204 w 505579"/>
                                  <a:gd name="connsiteY27" fmla="*/ 73189 h 803965"/>
                                  <a:gd name="connsiteX28" fmla="*/ 377370 w 505579"/>
                                  <a:gd name="connsiteY28" fmla="*/ 6599 h 803965"/>
                                  <a:gd name="connsiteX29" fmla="*/ 317605 w 505579"/>
                                  <a:gd name="connsiteY29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4613 w 505579"/>
                                  <a:gd name="connsiteY5" fmla="*/ 521259 h 803965"/>
                                  <a:gd name="connsiteX6" fmla="*/ 88319 w 505579"/>
                                  <a:gd name="connsiteY6" fmla="*/ 586426 h 803965"/>
                                  <a:gd name="connsiteX7" fmla="*/ 31697 w 505579"/>
                                  <a:gd name="connsiteY7" fmla="*/ 665947 h 803965"/>
                                  <a:gd name="connsiteX8" fmla="*/ 707 w 505579"/>
                                  <a:gd name="connsiteY8" fmla="*/ 763038 h 803965"/>
                                  <a:gd name="connsiteX9" fmla="*/ 12547 w 505579"/>
                                  <a:gd name="connsiteY9" fmla="*/ 802877 h 803965"/>
                                  <a:gd name="connsiteX10" fmla="*/ 41336 w 505579"/>
                                  <a:gd name="connsiteY10" fmla="*/ 724245 h 803965"/>
                                  <a:gd name="connsiteX11" fmla="*/ 87597 w 505579"/>
                                  <a:gd name="connsiteY11" fmla="*/ 666835 h 803965"/>
                                  <a:gd name="connsiteX12" fmla="*/ 91947 w 505579"/>
                                  <a:gd name="connsiteY12" fmla="*/ 649906 h 803965"/>
                                  <a:gd name="connsiteX13" fmla="*/ 109982 w 505579"/>
                                  <a:gd name="connsiteY13" fmla="*/ 609425 h 803965"/>
                                  <a:gd name="connsiteX14" fmla="*/ 103355 w 505579"/>
                                  <a:gd name="connsiteY14" fmla="*/ 581399 h 803965"/>
                                  <a:gd name="connsiteX15" fmla="*/ 96551 w 505579"/>
                                  <a:gd name="connsiteY15" fmla="*/ 554065 h 803965"/>
                                  <a:gd name="connsiteX16" fmla="*/ 101936 w 505579"/>
                                  <a:gd name="connsiteY16" fmla="*/ 507933 h 803965"/>
                                  <a:gd name="connsiteX17" fmla="*/ 148917 w 505579"/>
                                  <a:gd name="connsiteY17" fmla="*/ 432042 h 803965"/>
                                  <a:gd name="connsiteX18" fmla="*/ 169673 w 505579"/>
                                  <a:gd name="connsiteY18" fmla="*/ 412588 h 803965"/>
                                  <a:gd name="connsiteX19" fmla="*/ 194399 w 505579"/>
                                  <a:gd name="connsiteY19" fmla="*/ 388950 h 803965"/>
                                  <a:gd name="connsiteX20" fmla="*/ 242854 w 505579"/>
                                  <a:gd name="connsiteY20" fmla="*/ 373672 h 803965"/>
                                  <a:gd name="connsiteX21" fmla="*/ 311303 w 505579"/>
                                  <a:gd name="connsiteY21" fmla="*/ 328761 h 803965"/>
                                  <a:gd name="connsiteX22" fmla="*/ 384408 w 505579"/>
                                  <a:gd name="connsiteY22" fmla="*/ 305965 h 803965"/>
                                  <a:gd name="connsiteX23" fmla="*/ 498980 w 505579"/>
                                  <a:gd name="connsiteY23" fmla="*/ 125143 h 803965"/>
                                  <a:gd name="connsiteX24" fmla="*/ 482813 w 505579"/>
                                  <a:gd name="connsiteY24" fmla="*/ 99963 h 803965"/>
                                  <a:gd name="connsiteX25" fmla="*/ 379767 w 505579"/>
                                  <a:gd name="connsiteY25" fmla="*/ 263686 h 803965"/>
                                  <a:gd name="connsiteX26" fmla="*/ 383279 w 505579"/>
                                  <a:gd name="connsiteY26" fmla="*/ 240600 h 803965"/>
                                  <a:gd name="connsiteX27" fmla="*/ 412204 w 505579"/>
                                  <a:gd name="connsiteY27" fmla="*/ 171326 h 803965"/>
                                  <a:gd name="connsiteX28" fmla="*/ 412204 w 505579"/>
                                  <a:gd name="connsiteY28" fmla="*/ 73189 h 803965"/>
                                  <a:gd name="connsiteX29" fmla="*/ 377370 w 505579"/>
                                  <a:gd name="connsiteY29" fmla="*/ 6599 h 803965"/>
                                  <a:gd name="connsiteX30" fmla="*/ 317605 w 505579"/>
                                  <a:gd name="connsiteY30" fmla="*/ 11259 h 803965"/>
                                  <a:gd name="connsiteX0" fmla="*/ 317605 w 505579"/>
                                  <a:gd name="connsiteY0" fmla="*/ 11259 h 803965"/>
                                  <a:gd name="connsiteX1" fmla="*/ 242784 w 505579"/>
                                  <a:gd name="connsiteY1" fmla="*/ 154007 h 803965"/>
                                  <a:gd name="connsiteX2" fmla="*/ 220908 w 505579"/>
                                  <a:gd name="connsiteY2" fmla="*/ 240676 h 803965"/>
                                  <a:gd name="connsiteX3" fmla="*/ 151163 w 505579"/>
                                  <a:gd name="connsiteY3" fmla="*/ 346453 h 803965"/>
                                  <a:gd name="connsiteX4" fmla="*/ 96097 w 505579"/>
                                  <a:gd name="connsiteY4" fmla="*/ 466778 h 803965"/>
                                  <a:gd name="connsiteX5" fmla="*/ 84613 w 505579"/>
                                  <a:gd name="connsiteY5" fmla="*/ 521259 h 803965"/>
                                  <a:gd name="connsiteX6" fmla="*/ 88319 w 505579"/>
                                  <a:gd name="connsiteY6" fmla="*/ 586426 h 803965"/>
                                  <a:gd name="connsiteX7" fmla="*/ 31697 w 505579"/>
                                  <a:gd name="connsiteY7" fmla="*/ 665947 h 803965"/>
                                  <a:gd name="connsiteX8" fmla="*/ 707 w 505579"/>
                                  <a:gd name="connsiteY8" fmla="*/ 763038 h 803965"/>
                                  <a:gd name="connsiteX9" fmla="*/ 12547 w 505579"/>
                                  <a:gd name="connsiteY9" fmla="*/ 802877 h 803965"/>
                                  <a:gd name="connsiteX10" fmla="*/ 41336 w 505579"/>
                                  <a:gd name="connsiteY10" fmla="*/ 724245 h 803965"/>
                                  <a:gd name="connsiteX11" fmla="*/ 87597 w 505579"/>
                                  <a:gd name="connsiteY11" fmla="*/ 666835 h 803965"/>
                                  <a:gd name="connsiteX12" fmla="*/ 91947 w 505579"/>
                                  <a:gd name="connsiteY12" fmla="*/ 649906 h 803965"/>
                                  <a:gd name="connsiteX13" fmla="*/ 109982 w 505579"/>
                                  <a:gd name="connsiteY13" fmla="*/ 609425 h 803965"/>
                                  <a:gd name="connsiteX14" fmla="*/ 103355 w 505579"/>
                                  <a:gd name="connsiteY14" fmla="*/ 581399 h 803965"/>
                                  <a:gd name="connsiteX15" fmla="*/ 96551 w 505579"/>
                                  <a:gd name="connsiteY15" fmla="*/ 554065 h 803965"/>
                                  <a:gd name="connsiteX16" fmla="*/ 102520 w 505579"/>
                                  <a:gd name="connsiteY16" fmla="*/ 527410 h 803965"/>
                                  <a:gd name="connsiteX17" fmla="*/ 101936 w 505579"/>
                                  <a:gd name="connsiteY17" fmla="*/ 507933 h 803965"/>
                                  <a:gd name="connsiteX18" fmla="*/ 148917 w 505579"/>
                                  <a:gd name="connsiteY18" fmla="*/ 432042 h 803965"/>
                                  <a:gd name="connsiteX19" fmla="*/ 169673 w 505579"/>
                                  <a:gd name="connsiteY19" fmla="*/ 412588 h 803965"/>
                                  <a:gd name="connsiteX20" fmla="*/ 194399 w 505579"/>
                                  <a:gd name="connsiteY20" fmla="*/ 388950 h 803965"/>
                                  <a:gd name="connsiteX21" fmla="*/ 242854 w 505579"/>
                                  <a:gd name="connsiteY21" fmla="*/ 373672 h 803965"/>
                                  <a:gd name="connsiteX22" fmla="*/ 311303 w 505579"/>
                                  <a:gd name="connsiteY22" fmla="*/ 328761 h 803965"/>
                                  <a:gd name="connsiteX23" fmla="*/ 384408 w 505579"/>
                                  <a:gd name="connsiteY23" fmla="*/ 305965 h 803965"/>
                                  <a:gd name="connsiteX24" fmla="*/ 498980 w 505579"/>
                                  <a:gd name="connsiteY24" fmla="*/ 125143 h 803965"/>
                                  <a:gd name="connsiteX25" fmla="*/ 482813 w 505579"/>
                                  <a:gd name="connsiteY25" fmla="*/ 99963 h 803965"/>
                                  <a:gd name="connsiteX26" fmla="*/ 379767 w 505579"/>
                                  <a:gd name="connsiteY26" fmla="*/ 263686 h 803965"/>
                                  <a:gd name="connsiteX27" fmla="*/ 383279 w 505579"/>
                                  <a:gd name="connsiteY27" fmla="*/ 240600 h 803965"/>
                                  <a:gd name="connsiteX28" fmla="*/ 412204 w 505579"/>
                                  <a:gd name="connsiteY28" fmla="*/ 171326 h 803965"/>
                                  <a:gd name="connsiteX29" fmla="*/ 412204 w 505579"/>
                                  <a:gd name="connsiteY29" fmla="*/ 73189 h 803965"/>
                                  <a:gd name="connsiteX30" fmla="*/ 377370 w 505579"/>
                                  <a:gd name="connsiteY30" fmla="*/ 6599 h 803965"/>
                                  <a:gd name="connsiteX31" fmla="*/ 317605 w 505579"/>
                                  <a:gd name="connsiteY31" fmla="*/ 11259 h 803965"/>
                                  <a:gd name="connsiteX0" fmla="*/ 317605 w 495272"/>
                                  <a:gd name="connsiteY0" fmla="*/ 11259 h 803965"/>
                                  <a:gd name="connsiteX1" fmla="*/ 242784 w 495272"/>
                                  <a:gd name="connsiteY1" fmla="*/ 154007 h 803965"/>
                                  <a:gd name="connsiteX2" fmla="*/ 220908 w 495272"/>
                                  <a:gd name="connsiteY2" fmla="*/ 240676 h 803965"/>
                                  <a:gd name="connsiteX3" fmla="*/ 151163 w 495272"/>
                                  <a:gd name="connsiteY3" fmla="*/ 346453 h 803965"/>
                                  <a:gd name="connsiteX4" fmla="*/ 96097 w 495272"/>
                                  <a:gd name="connsiteY4" fmla="*/ 466778 h 803965"/>
                                  <a:gd name="connsiteX5" fmla="*/ 84613 w 495272"/>
                                  <a:gd name="connsiteY5" fmla="*/ 521259 h 803965"/>
                                  <a:gd name="connsiteX6" fmla="*/ 88319 w 495272"/>
                                  <a:gd name="connsiteY6" fmla="*/ 586426 h 803965"/>
                                  <a:gd name="connsiteX7" fmla="*/ 31697 w 495272"/>
                                  <a:gd name="connsiteY7" fmla="*/ 665947 h 803965"/>
                                  <a:gd name="connsiteX8" fmla="*/ 707 w 495272"/>
                                  <a:gd name="connsiteY8" fmla="*/ 763038 h 803965"/>
                                  <a:gd name="connsiteX9" fmla="*/ 12547 w 495272"/>
                                  <a:gd name="connsiteY9" fmla="*/ 802877 h 803965"/>
                                  <a:gd name="connsiteX10" fmla="*/ 41336 w 495272"/>
                                  <a:gd name="connsiteY10" fmla="*/ 724245 h 803965"/>
                                  <a:gd name="connsiteX11" fmla="*/ 87597 w 495272"/>
                                  <a:gd name="connsiteY11" fmla="*/ 666835 h 803965"/>
                                  <a:gd name="connsiteX12" fmla="*/ 91947 w 495272"/>
                                  <a:gd name="connsiteY12" fmla="*/ 649906 h 803965"/>
                                  <a:gd name="connsiteX13" fmla="*/ 109982 w 495272"/>
                                  <a:gd name="connsiteY13" fmla="*/ 609425 h 803965"/>
                                  <a:gd name="connsiteX14" fmla="*/ 103355 w 495272"/>
                                  <a:gd name="connsiteY14" fmla="*/ 581399 h 803965"/>
                                  <a:gd name="connsiteX15" fmla="*/ 96551 w 495272"/>
                                  <a:gd name="connsiteY15" fmla="*/ 554065 h 803965"/>
                                  <a:gd name="connsiteX16" fmla="*/ 102520 w 495272"/>
                                  <a:gd name="connsiteY16" fmla="*/ 527410 h 803965"/>
                                  <a:gd name="connsiteX17" fmla="*/ 101936 w 495272"/>
                                  <a:gd name="connsiteY17" fmla="*/ 507933 h 803965"/>
                                  <a:gd name="connsiteX18" fmla="*/ 148917 w 495272"/>
                                  <a:gd name="connsiteY18" fmla="*/ 432042 h 803965"/>
                                  <a:gd name="connsiteX19" fmla="*/ 169673 w 495272"/>
                                  <a:gd name="connsiteY19" fmla="*/ 412588 h 803965"/>
                                  <a:gd name="connsiteX20" fmla="*/ 194399 w 495272"/>
                                  <a:gd name="connsiteY20" fmla="*/ 388950 h 803965"/>
                                  <a:gd name="connsiteX21" fmla="*/ 242854 w 495272"/>
                                  <a:gd name="connsiteY21" fmla="*/ 373672 h 803965"/>
                                  <a:gd name="connsiteX22" fmla="*/ 311303 w 495272"/>
                                  <a:gd name="connsiteY22" fmla="*/ 328761 h 803965"/>
                                  <a:gd name="connsiteX23" fmla="*/ 384408 w 495272"/>
                                  <a:gd name="connsiteY23" fmla="*/ 305965 h 803965"/>
                                  <a:gd name="connsiteX24" fmla="*/ 484057 w 495272"/>
                                  <a:gd name="connsiteY24" fmla="*/ 135395 h 803965"/>
                                  <a:gd name="connsiteX25" fmla="*/ 482813 w 495272"/>
                                  <a:gd name="connsiteY25" fmla="*/ 99963 h 803965"/>
                                  <a:gd name="connsiteX26" fmla="*/ 379767 w 495272"/>
                                  <a:gd name="connsiteY26" fmla="*/ 263686 h 803965"/>
                                  <a:gd name="connsiteX27" fmla="*/ 383279 w 495272"/>
                                  <a:gd name="connsiteY27" fmla="*/ 240600 h 803965"/>
                                  <a:gd name="connsiteX28" fmla="*/ 412204 w 495272"/>
                                  <a:gd name="connsiteY28" fmla="*/ 171326 h 803965"/>
                                  <a:gd name="connsiteX29" fmla="*/ 412204 w 495272"/>
                                  <a:gd name="connsiteY29" fmla="*/ 73189 h 803965"/>
                                  <a:gd name="connsiteX30" fmla="*/ 377370 w 495272"/>
                                  <a:gd name="connsiteY30" fmla="*/ 6599 h 803965"/>
                                  <a:gd name="connsiteX31" fmla="*/ 317605 w 495272"/>
                                  <a:gd name="connsiteY31" fmla="*/ 11259 h 803965"/>
                                  <a:gd name="connsiteX0" fmla="*/ 317605 w 493633"/>
                                  <a:gd name="connsiteY0" fmla="*/ 11259 h 803965"/>
                                  <a:gd name="connsiteX1" fmla="*/ 242784 w 493633"/>
                                  <a:gd name="connsiteY1" fmla="*/ 154007 h 803965"/>
                                  <a:gd name="connsiteX2" fmla="*/ 220908 w 493633"/>
                                  <a:gd name="connsiteY2" fmla="*/ 240676 h 803965"/>
                                  <a:gd name="connsiteX3" fmla="*/ 151163 w 493633"/>
                                  <a:gd name="connsiteY3" fmla="*/ 346453 h 803965"/>
                                  <a:gd name="connsiteX4" fmla="*/ 96097 w 493633"/>
                                  <a:gd name="connsiteY4" fmla="*/ 466778 h 803965"/>
                                  <a:gd name="connsiteX5" fmla="*/ 84613 w 493633"/>
                                  <a:gd name="connsiteY5" fmla="*/ 521259 h 803965"/>
                                  <a:gd name="connsiteX6" fmla="*/ 88319 w 493633"/>
                                  <a:gd name="connsiteY6" fmla="*/ 586426 h 803965"/>
                                  <a:gd name="connsiteX7" fmla="*/ 31697 w 493633"/>
                                  <a:gd name="connsiteY7" fmla="*/ 665947 h 803965"/>
                                  <a:gd name="connsiteX8" fmla="*/ 707 w 493633"/>
                                  <a:gd name="connsiteY8" fmla="*/ 763038 h 803965"/>
                                  <a:gd name="connsiteX9" fmla="*/ 12547 w 493633"/>
                                  <a:gd name="connsiteY9" fmla="*/ 802877 h 803965"/>
                                  <a:gd name="connsiteX10" fmla="*/ 41336 w 493633"/>
                                  <a:gd name="connsiteY10" fmla="*/ 724245 h 803965"/>
                                  <a:gd name="connsiteX11" fmla="*/ 87597 w 493633"/>
                                  <a:gd name="connsiteY11" fmla="*/ 666835 h 803965"/>
                                  <a:gd name="connsiteX12" fmla="*/ 91947 w 493633"/>
                                  <a:gd name="connsiteY12" fmla="*/ 649906 h 803965"/>
                                  <a:gd name="connsiteX13" fmla="*/ 109982 w 493633"/>
                                  <a:gd name="connsiteY13" fmla="*/ 609425 h 803965"/>
                                  <a:gd name="connsiteX14" fmla="*/ 103355 w 493633"/>
                                  <a:gd name="connsiteY14" fmla="*/ 581399 h 803965"/>
                                  <a:gd name="connsiteX15" fmla="*/ 96551 w 493633"/>
                                  <a:gd name="connsiteY15" fmla="*/ 554065 h 803965"/>
                                  <a:gd name="connsiteX16" fmla="*/ 102520 w 493633"/>
                                  <a:gd name="connsiteY16" fmla="*/ 527410 h 803965"/>
                                  <a:gd name="connsiteX17" fmla="*/ 101936 w 493633"/>
                                  <a:gd name="connsiteY17" fmla="*/ 507933 h 803965"/>
                                  <a:gd name="connsiteX18" fmla="*/ 148917 w 493633"/>
                                  <a:gd name="connsiteY18" fmla="*/ 432042 h 803965"/>
                                  <a:gd name="connsiteX19" fmla="*/ 169673 w 493633"/>
                                  <a:gd name="connsiteY19" fmla="*/ 412588 h 803965"/>
                                  <a:gd name="connsiteX20" fmla="*/ 194399 w 493633"/>
                                  <a:gd name="connsiteY20" fmla="*/ 388950 h 803965"/>
                                  <a:gd name="connsiteX21" fmla="*/ 242854 w 493633"/>
                                  <a:gd name="connsiteY21" fmla="*/ 373672 h 803965"/>
                                  <a:gd name="connsiteX22" fmla="*/ 311303 w 493633"/>
                                  <a:gd name="connsiteY22" fmla="*/ 328761 h 803965"/>
                                  <a:gd name="connsiteX23" fmla="*/ 384408 w 493633"/>
                                  <a:gd name="connsiteY23" fmla="*/ 305965 h 803965"/>
                                  <a:gd name="connsiteX24" fmla="*/ 409933 w 493633"/>
                                  <a:gd name="connsiteY24" fmla="*/ 260861 h 803965"/>
                                  <a:gd name="connsiteX25" fmla="*/ 484057 w 493633"/>
                                  <a:gd name="connsiteY25" fmla="*/ 135395 h 803965"/>
                                  <a:gd name="connsiteX26" fmla="*/ 482813 w 493633"/>
                                  <a:gd name="connsiteY26" fmla="*/ 99963 h 803965"/>
                                  <a:gd name="connsiteX27" fmla="*/ 379767 w 493633"/>
                                  <a:gd name="connsiteY27" fmla="*/ 263686 h 803965"/>
                                  <a:gd name="connsiteX28" fmla="*/ 383279 w 493633"/>
                                  <a:gd name="connsiteY28" fmla="*/ 240600 h 803965"/>
                                  <a:gd name="connsiteX29" fmla="*/ 412204 w 493633"/>
                                  <a:gd name="connsiteY29" fmla="*/ 171326 h 803965"/>
                                  <a:gd name="connsiteX30" fmla="*/ 412204 w 493633"/>
                                  <a:gd name="connsiteY30" fmla="*/ 73189 h 803965"/>
                                  <a:gd name="connsiteX31" fmla="*/ 377370 w 493633"/>
                                  <a:gd name="connsiteY31" fmla="*/ 6599 h 803965"/>
                                  <a:gd name="connsiteX32" fmla="*/ 317605 w 493633"/>
                                  <a:gd name="connsiteY32" fmla="*/ 11259 h 803965"/>
                                  <a:gd name="connsiteX0" fmla="*/ 317605 w 493633"/>
                                  <a:gd name="connsiteY0" fmla="*/ 11259 h 803965"/>
                                  <a:gd name="connsiteX1" fmla="*/ 242784 w 493633"/>
                                  <a:gd name="connsiteY1" fmla="*/ 154007 h 803965"/>
                                  <a:gd name="connsiteX2" fmla="*/ 220908 w 493633"/>
                                  <a:gd name="connsiteY2" fmla="*/ 240676 h 803965"/>
                                  <a:gd name="connsiteX3" fmla="*/ 151163 w 493633"/>
                                  <a:gd name="connsiteY3" fmla="*/ 346453 h 803965"/>
                                  <a:gd name="connsiteX4" fmla="*/ 96097 w 493633"/>
                                  <a:gd name="connsiteY4" fmla="*/ 466778 h 803965"/>
                                  <a:gd name="connsiteX5" fmla="*/ 84613 w 493633"/>
                                  <a:gd name="connsiteY5" fmla="*/ 521259 h 803965"/>
                                  <a:gd name="connsiteX6" fmla="*/ 88319 w 493633"/>
                                  <a:gd name="connsiteY6" fmla="*/ 586426 h 803965"/>
                                  <a:gd name="connsiteX7" fmla="*/ 31697 w 493633"/>
                                  <a:gd name="connsiteY7" fmla="*/ 665947 h 803965"/>
                                  <a:gd name="connsiteX8" fmla="*/ 707 w 493633"/>
                                  <a:gd name="connsiteY8" fmla="*/ 763038 h 803965"/>
                                  <a:gd name="connsiteX9" fmla="*/ 12547 w 493633"/>
                                  <a:gd name="connsiteY9" fmla="*/ 802877 h 803965"/>
                                  <a:gd name="connsiteX10" fmla="*/ 41336 w 493633"/>
                                  <a:gd name="connsiteY10" fmla="*/ 724245 h 803965"/>
                                  <a:gd name="connsiteX11" fmla="*/ 87597 w 493633"/>
                                  <a:gd name="connsiteY11" fmla="*/ 666835 h 803965"/>
                                  <a:gd name="connsiteX12" fmla="*/ 91947 w 493633"/>
                                  <a:gd name="connsiteY12" fmla="*/ 649906 h 803965"/>
                                  <a:gd name="connsiteX13" fmla="*/ 109982 w 493633"/>
                                  <a:gd name="connsiteY13" fmla="*/ 609425 h 803965"/>
                                  <a:gd name="connsiteX14" fmla="*/ 103355 w 493633"/>
                                  <a:gd name="connsiteY14" fmla="*/ 581399 h 803965"/>
                                  <a:gd name="connsiteX15" fmla="*/ 96551 w 493633"/>
                                  <a:gd name="connsiteY15" fmla="*/ 554065 h 803965"/>
                                  <a:gd name="connsiteX16" fmla="*/ 102520 w 493633"/>
                                  <a:gd name="connsiteY16" fmla="*/ 527410 h 803965"/>
                                  <a:gd name="connsiteX17" fmla="*/ 101936 w 493633"/>
                                  <a:gd name="connsiteY17" fmla="*/ 507933 h 803965"/>
                                  <a:gd name="connsiteX18" fmla="*/ 148917 w 493633"/>
                                  <a:gd name="connsiteY18" fmla="*/ 432042 h 803965"/>
                                  <a:gd name="connsiteX19" fmla="*/ 169673 w 493633"/>
                                  <a:gd name="connsiteY19" fmla="*/ 412588 h 803965"/>
                                  <a:gd name="connsiteX20" fmla="*/ 194399 w 493633"/>
                                  <a:gd name="connsiteY20" fmla="*/ 388950 h 803965"/>
                                  <a:gd name="connsiteX21" fmla="*/ 242854 w 493633"/>
                                  <a:gd name="connsiteY21" fmla="*/ 373672 h 803965"/>
                                  <a:gd name="connsiteX22" fmla="*/ 311303 w 493633"/>
                                  <a:gd name="connsiteY22" fmla="*/ 328761 h 803965"/>
                                  <a:gd name="connsiteX23" fmla="*/ 388885 w 493633"/>
                                  <a:gd name="connsiteY23" fmla="*/ 318267 h 803965"/>
                                  <a:gd name="connsiteX24" fmla="*/ 409933 w 493633"/>
                                  <a:gd name="connsiteY24" fmla="*/ 260861 h 803965"/>
                                  <a:gd name="connsiteX25" fmla="*/ 484057 w 493633"/>
                                  <a:gd name="connsiteY25" fmla="*/ 135395 h 803965"/>
                                  <a:gd name="connsiteX26" fmla="*/ 482813 w 493633"/>
                                  <a:gd name="connsiteY26" fmla="*/ 99963 h 803965"/>
                                  <a:gd name="connsiteX27" fmla="*/ 379767 w 493633"/>
                                  <a:gd name="connsiteY27" fmla="*/ 263686 h 803965"/>
                                  <a:gd name="connsiteX28" fmla="*/ 383279 w 493633"/>
                                  <a:gd name="connsiteY28" fmla="*/ 240600 h 803965"/>
                                  <a:gd name="connsiteX29" fmla="*/ 412204 w 493633"/>
                                  <a:gd name="connsiteY29" fmla="*/ 171326 h 803965"/>
                                  <a:gd name="connsiteX30" fmla="*/ 412204 w 493633"/>
                                  <a:gd name="connsiteY30" fmla="*/ 73189 h 803965"/>
                                  <a:gd name="connsiteX31" fmla="*/ 377370 w 493633"/>
                                  <a:gd name="connsiteY31" fmla="*/ 6599 h 803965"/>
                                  <a:gd name="connsiteX32" fmla="*/ 317605 w 493633"/>
                                  <a:gd name="connsiteY32" fmla="*/ 11259 h 803965"/>
                                  <a:gd name="connsiteX0" fmla="*/ 317605 w 493358"/>
                                  <a:gd name="connsiteY0" fmla="*/ 11259 h 803965"/>
                                  <a:gd name="connsiteX1" fmla="*/ 242784 w 493358"/>
                                  <a:gd name="connsiteY1" fmla="*/ 154007 h 803965"/>
                                  <a:gd name="connsiteX2" fmla="*/ 220908 w 493358"/>
                                  <a:gd name="connsiteY2" fmla="*/ 240676 h 803965"/>
                                  <a:gd name="connsiteX3" fmla="*/ 151163 w 493358"/>
                                  <a:gd name="connsiteY3" fmla="*/ 346453 h 803965"/>
                                  <a:gd name="connsiteX4" fmla="*/ 96097 w 493358"/>
                                  <a:gd name="connsiteY4" fmla="*/ 466778 h 803965"/>
                                  <a:gd name="connsiteX5" fmla="*/ 84613 w 493358"/>
                                  <a:gd name="connsiteY5" fmla="*/ 521259 h 803965"/>
                                  <a:gd name="connsiteX6" fmla="*/ 88319 w 493358"/>
                                  <a:gd name="connsiteY6" fmla="*/ 586426 h 803965"/>
                                  <a:gd name="connsiteX7" fmla="*/ 31697 w 493358"/>
                                  <a:gd name="connsiteY7" fmla="*/ 665947 h 803965"/>
                                  <a:gd name="connsiteX8" fmla="*/ 707 w 493358"/>
                                  <a:gd name="connsiteY8" fmla="*/ 763038 h 803965"/>
                                  <a:gd name="connsiteX9" fmla="*/ 12547 w 493358"/>
                                  <a:gd name="connsiteY9" fmla="*/ 802877 h 803965"/>
                                  <a:gd name="connsiteX10" fmla="*/ 41336 w 493358"/>
                                  <a:gd name="connsiteY10" fmla="*/ 724245 h 803965"/>
                                  <a:gd name="connsiteX11" fmla="*/ 87597 w 493358"/>
                                  <a:gd name="connsiteY11" fmla="*/ 666835 h 803965"/>
                                  <a:gd name="connsiteX12" fmla="*/ 91947 w 493358"/>
                                  <a:gd name="connsiteY12" fmla="*/ 649906 h 803965"/>
                                  <a:gd name="connsiteX13" fmla="*/ 109982 w 493358"/>
                                  <a:gd name="connsiteY13" fmla="*/ 609425 h 803965"/>
                                  <a:gd name="connsiteX14" fmla="*/ 103355 w 493358"/>
                                  <a:gd name="connsiteY14" fmla="*/ 581399 h 803965"/>
                                  <a:gd name="connsiteX15" fmla="*/ 96551 w 493358"/>
                                  <a:gd name="connsiteY15" fmla="*/ 554065 h 803965"/>
                                  <a:gd name="connsiteX16" fmla="*/ 102520 w 493358"/>
                                  <a:gd name="connsiteY16" fmla="*/ 527410 h 803965"/>
                                  <a:gd name="connsiteX17" fmla="*/ 101936 w 493358"/>
                                  <a:gd name="connsiteY17" fmla="*/ 507933 h 803965"/>
                                  <a:gd name="connsiteX18" fmla="*/ 148917 w 493358"/>
                                  <a:gd name="connsiteY18" fmla="*/ 432042 h 803965"/>
                                  <a:gd name="connsiteX19" fmla="*/ 169673 w 493358"/>
                                  <a:gd name="connsiteY19" fmla="*/ 412588 h 803965"/>
                                  <a:gd name="connsiteX20" fmla="*/ 194399 w 493358"/>
                                  <a:gd name="connsiteY20" fmla="*/ 388950 h 803965"/>
                                  <a:gd name="connsiteX21" fmla="*/ 242854 w 493358"/>
                                  <a:gd name="connsiteY21" fmla="*/ 373672 h 803965"/>
                                  <a:gd name="connsiteX22" fmla="*/ 311303 w 493358"/>
                                  <a:gd name="connsiteY22" fmla="*/ 328761 h 803965"/>
                                  <a:gd name="connsiteX23" fmla="*/ 388885 w 493358"/>
                                  <a:gd name="connsiteY23" fmla="*/ 318267 h 803965"/>
                                  <a:gd name="connsiteX24" fmla="*/ 414410 w 493358"/>
                                  <a:gd name="connsiteY24" fmla="*/ 264962 h 803965"/>
                                  <a:gd name="connsiteX25" fmla="*/ 484057 w 493358"/>
                                  <a:gd name="connsiteY25" fmla="*/ 135395 h 803965"/>
                                  <a:gd name="connsiteX26" fmla="*/ 482813 w 493358"/>
                                  <a:gd name="connsiteY26" fmla="*/ 99963 h 803965"/>
                                  <a:gd name="connsiteX27" fmla="*/ 379767 w 493358"/>
                                  <a:gd name="connsiteY27" fmla="*/ 263686 h 803965"/>
                                  <a:gd name="connsiteX28" fmla="*/ 383279 w 493358"/>
                                  <a:gd name="connsiteY28" fmla="*/ 240600 h 803965"/>
                                  <a:gd name="connsiteX29" fmla="*/ 412204 w 493358"/>
                                  <a:gd name="connsiteY29" fmla="*/ 171326 h 803965"/>
                                  <a:gd name="connsiteX30" fmla="*/ 412204 w 493358"/>
                                  <a:gd name="connsiteY30" fmla="*/ 73189 h 803965"/>
                                  <a:gd name="connsiteX31" fmla="*/ 377370 w 493358"/>
                                  <a:gd name="connsiteY31" fmla="*/ 6599 h 803965"/>
                                  <a:gd name="connsiteX32" fmla="*/ 317605 w 493358"/>
                                  <a:gd name="connsiteY32" fmla="*/ 11259 h 803965"/>
                                  <a:gd name="connsiteX0" fmla="*/ 317605 w 493449"/>
                                  <a:gd name="connsiteY0" fmla="*/ 11259 h 803965"/>
                                  <a:gd name="connsiteX1" fmla="*/ 242784 w 493449"/>
                                  <a:gd name="connsiteY1" fmla="*/ 154007 h 803965"/>
                                  <a:gd name="connsiteX2" fmla="*/ 220908 w 493449"/>
                                  <a:gd name="connsiteY2" fmla="*/ 240676 h 803965"/>
                                  <a:gd name="connsiteX3" fmla="*/ 151163 w 493449"/>
                                  <a:gd name="connsiteY3" fmla="*/ 346453 h 803965"/>
                                  <a:gd name="connsiteX4" fmla="*/ 96097 w 493449"/>
                                  <a:gd name="connsiteY4" fmla="*/ 466778 h 803965"/>
                                  <a:gd name="connsiteX5" fmla="*/ 84613 w 493449"/>
                                  <a:gd name="connsiteY5" fmla="*/ 521259 h 803965"/>
                                  <a:gd name="connsiteX6" fmla="*/ 88319 w 493449"/>
                                  <a:gd name="connsiteY6" fmla="*/ 586426 h 803965"/>
                                  <a:gd name="connsiteX7" fmla="*/ 31697 w 493449"/>
                                  <a:gd name="connsiteY7" fmla="*/ 665947 h 803965"/>
                                  <a:gd name="connsiteX8" fmla="*/ 707 w 493449"/>
                                  <a:gd name="connsiteY8" fmla="*/ 763038 h 803965"/>
                                  <a:gd name="connsiteX9" fmla="*/ 12547 w 493449"/>
                                  <a:gd name="connsiteY9" fmla="*/ 802877 h 803965"/>
                                  <a:gd name="connsiteX10" fmla="*/ 41336 w 493449"/>
                                  <a:gd name="connsiteY10" fmla="*/ 724245 h 803965"/>
                                  <a:gd name="connsiteX11" fmla="*/ 87597 w 493449"/>
                                  <a:gd name="connsiteY11" fmla="*/ 666835 h 803965"/>
                                  <a:gd name="connsiteX12" fmla="*/ 91947 w 493449"/>
                                  <a:gd name="connsiteY12" fmla="*/ 649906 h 803965"/>
                                  <a:gd name="connsiteX13" fmla="*/ 109982 w 493449"/>
                                  <a:gd name="connsiteY13" fmla="*/ 609425 h 803965"/>
                                  <a:gd name="connsiteX14" fmla="*/ 103355 w 493449"/>
                                  <a:gd name="connsiteY14" fmla="*/ 581399 h 803965"/>
                                  <a:gd name="connsiteX15" fmla="*/ 96551 w 493449"/>
                                  <a:gd name="connsiteY15" fmla="*/ 554065 h 803965"/>
                                  <a:gd name="connsiteX16" fmla="*/ 102520 w 493449"/>
                                  <a:gd name="connsiteY16" fmla="*/ 527410 h 803965"/>
                                  <a:gd name="connsiteX17" fmla="*/ 101936 w 493449"/>
                                  <a:gd name="connsiteY17" fmla="*/ 507933 h 803965"/>
                                  <a:gd name="connsiteX18" fmla="*/ 148917 w 493449"/>
                                  <a:gd name="connsiteY18" fmla="*/ 432042 h 803965"/>
                                  <a:gd name="connsiteX19" fmla="*/ 169673 w 493449"/>
                                  <a:gd name="connsiteY19" fmla="*/ 412588 h 803965"/>
                                  <a:gd name="connsiteX20" fmla="*/ 194399 w 493449"/>
                                  <a:gd name="connsiteY20" fmla="*/ 388950 h 803965"/>
                                  <a:gd name="connsiteX21" fmla="*/ 242854 w 493449"/>
                                  <a:gd name="connsiteY21" fmla="*/ 373672 h 803965"/>
                                  <a:gd name="connsiteX22" fmla="*/ 311303 w 493449"/>
                                  <a:gd name="connsiteY22" fmla="*/ 328761 h 803965"/>
                                  <a:gd name="connsiteX23" fmla="*/ 388885 w 493449"/>
                                  <a:gd name="connsiteY23" fmla="*/ 318267 h 803965"/>
                                  <a:gd name="connsiteX24" fmla="*/ 414410 w 493449"/>
                                  <a:gd name="connsiteY24" fmla="*/ 264962 h 803965"/>
                                  <a:gd name="connsiteX25" fmla="*/ 412918 w 493449"/>
                                  <a:gd name="connsiteY25" fmla="*/ 258811 h 803965"/>
                                  <a:gd name="connsiteX26" fmla="*/ 484057 w 493449"/>
                                  <a:gd name="connsiteY26" fmla="*/ 135395 h 803965"/>
                                  <a:gd name="connsiteX27" fmla="*/ 482813 w 493449"/>
                                  <a:gd name="connsiteY27" fmla="*/ 99963 h 803965"/>
                                  <a:gd name="connsiteX28" fmla="*/ 379767 w 493449"/>
                                  <a:gd name="connsiteY28" fmla="*/ 263686 h 803965"/>
                                  <a:gd name="connsiteX29" fmla="*/ 383279 w 493449"/>
                                  <a:gd name="connsiteY29" fmla="*/ 240600 h 803965"/>
                                  <a:gd name="connsiteX30" fmla="*/ 412204 w 493449"/>
                                  <a:gd name="connsiteY30" fmla="*/ 171326 h 803965"/>
                                  <a:gd name="connsiteX31" fmla="*/ 412204 w 493449"/>
                                  <a:gd name="connsiteY31" fmla="*/ 73189 h 803965"/>
                                  <a:gd name="connsiteX32" fmla="*/ 377370 w 493449"/>
                                  <a:gd name="connsiteY32" fmla="*/ 6599 h 803965"/>
                                  <a:gd name="connsiteX33" fmla="*/ 317605 w 493449"/>
                                  <a:gd name="connsiteY33" fmla="*/ 11259 h 803965"/>
                                  <a:gd name="connsiteX0" fmla="*/ 317605 w 493449"/>
                                  <a:gd name="connsiteY0" fmla="*/ 11259 h 803965"/>
                                  <a:gd name="connsiteX1" fmla="*/ 242784 w 493449"/>
                                  <a:gd name="connsiteY1" fmla="*/ 154007 h 803965"/>
                                  <a:gd name="connsiteX2" fmla="*/ 220908 w 493449"/>
                                  <a:gd name="connsiteY2" fmla="*/ 240676 h 803965"/>
                                  <a:gd name="connsiteX3" fmla="*/ 151163 w 493449"/>
                                  <a:gd name="connsiteY3" fmla="*/ 346453 h 803965"/>
                                  <a:gd name="connsiteX4" fmla="*/ 96097 w 493449"/>
                                  <a:gd name="connsiteY4" fmla="*/ 466778 h 803965"/>
                                  <a:gd name="connsiteX5" fmla="*/ 84613 w 493449"/>
                                  <a:gd name="connsiteY5" fmla="*/ 521259 h 803965"/>
                                  <a:gd name="connsiteX6" fmla="*/ 88319 w 493449"/>
                                  <a:gd name="connsiteY6" fmla="*/ 586426 h 803965"/>
                                  <a:gd name="connsiteX7" fmla="*/ 31697 w 493449"/>
                                  <a:gd name="connsiteY7" fmla="*/ 665947 h 803965"/>
                                  <a:gd name="connsiteX8" fmla="*/ 707 w 493449"/>
                                  <a:gd name="connsiteY8" fmla="*/ 763038 h 803965"/>
                                  <a:gd name="connsiteX9" fmla="*/ 12547 w 493449"/>
                                  <a:gd name="connsiteY9" fmla="*/ 802877 h 803965"/>
                                  <a:gd name="connsiteX10" fmla="*/ 41336 w 493449"/>
                                  <a:gd name="connsiteY10" fmla="*/ 724245 h 803965"/>
                                  <a:gd name="connsiteX11" fmla="*/ 87597 w 493449"/>
                                  <a:gd name="connsiteY11" fmla="*/ 666835 h 803965"/>
                                  <a:gd name="connsiteX12" fmla="*/ 91947 w 493449"/>
                                  <a:gd name="connsiteY12" fmla="*/ 649906 h 803965"/>
                                  <a:gd name="connsiteX13" fmla="*/ 109982 w 493449"/>
                                  <a:gd name="connsiteY13" fmla="*/ 609425 h 803965"/>
                                  <a:gd name="connsiteX14" fmla="*/ 103355 w 493449"/>
                                  <a:gd name="connsiteY14" fmla="*/ 581399 h 803965"/>
                                  <a:gd name="connsiteX15" fmla="*/ 96551 w 493449"/>
                                  <a:gd name="connsiteY15" fmla="*/ 554065 h 803965"/>
                                  <a:gd name="connsiteX16" fmla="*/ 102520 w 493449"/>
                                  <a:gd name="connsiteY16" fmla="*/ 527410 h 803965"/>
                                  <a:gd name="connsiteX17" fmla="*/ 101936 w 493449"/>
                                  <a:gd name="connsiteY17" fmla="*/ 507933 h 803965"/>
                                  <a:gd name="connsiteX18" fmla="*/ 148917 w 493449"/>
                                  <a:gd name="connsiteY18" fmla="*/ 432042 h 803965"/>
                                  <a:gd name="connsiteX19" fmla="*/ 169673 w 493449"/>
                                  <a:gd name="connsiteY19" fmla="*/ 412588 h 803965"/>
                                  <a:gd name="connsiteX20" fmla="*/ 194399 w 493449"/>
                                  <a:gd name="connsiteY20" fmla="*/ 388950 h 803965"/>
                                  <a:gd name="connsiteX21" fmla="*/ 242854 w 493449"/>
                                  <a:gd name="connsiteY21" fmla="*/ 373672 h 803965"/>
                                  <a:gd name="connsiteX22" fmla="*/ 311303 w 493449"/>
                                  <a:gd name="connsiteY22" fmla="*/ 328761 h 803965"/>
                                  <a:gd name="connsiteX23" fmla="*/ 388885 w 493449"/>
                                  <a:gd name="connsiteY23" fmla="*/ 318267 h 803965"/>
                                  <a:gd name="connsiteX24" fmla="*/ 415902 w 493449"/>
                                  <a:gd name="connsiteY24" fmla="*/ 279315 h 803965"/>
                                  <a:gd name="connsiteX25" fmla="*/ 412918 w 493449"/>
                                  <a:gd name="connsiteY25" fmla="*/ 258811 h 803965"/>
                                  <a:gd name="connsiteX26" fmla="*/ 484057 w 493449"/>
                                  <a:gd name="connsiteY26" fmla="*/ 135395 h 803965"/>
                                  <a:gd name="connsiteX27" fmla="*/ 482813 w 493449"/>
                                  <a:gd name="connsiteY27" fmla="*/ 99963 h 803965"/>
                                  <a:gd name="connsiteX28" fmla="*/ 379767 w 493449"/>
                                  <a:gd name="connsiteY28" fmla="*/ 263686 h 803965"/>
                                  <a:gd name="connsiteX29" fmla="*/ 383279 w 493449"/>
                                  <a:gd name="connsiteY29" fmla="*/ 240600 h 803965"/>
                                  <a:gd name="connsiteX30" fmla="*/ 412204 w 493449"/>
                                  <a:gd name="connsiteY30" fmla="*/ 171326 h 803965"/>
                                  <a:gd name="connsiteX31" fmla="*/ 412204 w 493449"/>
                                  <a:gd name="connsiteY31" fmla="*/ 73189 h 803965"/>
                                  <a:gd name="connsiteX32" fmla="*/ 377370 w 493449"/>
                                  <a:gd name="connsiteY32" fmla="*/ 6599 h 803965"/>
                                  <a:gd name="connsiteX33" fmla="*/ 317605 w 493449"/>
                                  <a:gd name="connsiteY33" fmla="*/ 11259 h 803965"/>
                                  <a:gd name="connsiteX0" fmla="*/ 317605 w 493449"/>
                                  <a:gd name="connsiteY0" fmla="*/ 11259 h 803965"/>
                                  <a:gd name="connsiteX1" fmla="*/ 242784 w 493449"/>
                                  <a:gd name="connsiteY1" fmla="*/ 154007 h 803965"/>
                                  <a:gd name="connsiteX2" fmla="*/ 220908 w 493449"/>
                                  <a:gd name="connsiteY2" fmla="*/ 240676 h 803965"/>
                                  <a:gd name="connsiteX3" fmla="*/ 151163 w 493449"/>
                                  <a:gd name="connsiteY3" fmla="*/ 346453 h 803965"/>
                                  <a:gd name="connsiteX4" fmla="*/ 96097 w 493449"/>
                                  <a:gd name="connsiteY4" fmla="*/ 466778 h 803965"/>
                                  <a:gd name="connsiteX5" fmla="*/ 84613 w 493449"/>
                                  <a:gd name="connsiteY5" fmla="*/ 521259 h 803965"/>
                                  <a:gd name="connsiteX6" fmla="*/ 88319 w 493449"/>
                                  <a:gd name="connsiteY6" fmla="*/ 586426 h 803965"/>
                                  <a:gd name="connsiteX7" fmla="*/ 31697 w 493449"/>
                                  <a:gd name="connsiteY7" fmla="*/ 665947 h 803965"/>
                                  <a:gd name="connsiteX8" fmla="*/ 707 w 493449"/>
                                  <a:gd name="connsiteY8" fmla="*/ 763038 h 803965"/>
                                  <a:gd name="connsiteX9" fmla="*/ 12547 w 493449"/>
                                  <a:gd name="connsiteY9" fmla="*/ 802877 h 803965"/>
                                  <a:gd name="connsiteX10" fmla="*/ 41336 w 493449"/>
                                  <a:gd name="connsiteY10" fmla="*/ 724245 h 803965"/>
                                  <a:gd name="connsiteX11" fmla="*/ 87597 w 493449"/>
                                  <a:gd name="connsiteY11" fmla="*/ 666835 h 803965"/>
                                  <a:gd name="connsiteX12" fmla="*/ 91947 w 493449"/>
                                  <a:gd name="connsiteY12" fmla="*/ 649906 h 803965"/>
                                  <a:gd name="connsiteX13" fmla="*/ 109982 w 493449"/>
                                  <a:gd name="connsiteY13" fmla="*/ 609425 h 803965"/>
                                  <a:gd name="connsiteX14" fmla="*/ 103355 w 493449"/>
                                  <a:gd name="connsiteY14" fmla="*/ 581399 h 803965"/>
                                  <a:gd name="connsiteX15" fmla="*/ 96551 w 493449"/>
                                  <a:gd name="connsiteY15" fmla="*/ 554065 h 803965"/>
                                  <a:gd name="connsiteX16" fmla="*/ 102520 w 493449"/>
                                  <a:gd name="connsiteY16" fmla="*/ 527410 h 803965"/>
                                  <a:gd name="connsiteX17" fmla="*/ 101936 w 493449"/>
                                  <a:gd name="connsiteY17" fmla="*/ 507933 h 803965"/>
                                  <a:gd name="connsiteX18" fmla="*/ 148917 w 493449"/>
                                  <a:gd name="connsiteY18" fmla="*/ 432042 h 803965"/>
                                  <a:gd name="connsiteX19" fmla="*/ 169673 w 493449"/>
                                  <a:gd name="connsiteY19" fmla="*/ 412588 h 803965"/>
                                  <a:gd name="connsiteX20" fmla="*/ 194399 w 493449"/>
                                  <a:gd name="connsiteY20" fmla="*/ 388950 h 803965"/>
                                  <a:gd name="connsiteX21" fmla="*/ 242854 w 493449"/>
                                  <a:gd name="connsiteY21" fmla="*/ 373672 h 803965"/>
                                  <a:gd name="connsiteX22" fmla="*/ 311303 w 493449"/>
                                  <a:gd name="connsiteY22" fmla="*/ 328761 h 803965"/>
                                  <a:gd name="connsiteX23" fmla="*/ 388885 w 493449"/>
                                  <a:gd name="connsiteY23" fmla="*/ 318267 h 803965"/>
                                  <a:gd name="connsiteX24" fmla="*/ 399488 w 493449"/>
                                  <a:gd name="connsiteY24" fmla="*/ 301868 h 803965"/>
                                  <a:gd name="connsiteX25" fmla="*/ 415902 w 493449"/>
                                  <a:gd name="connsiteY25" fmla="*/ 279315 h 803965"/>
                                  <a:gd name="connsiteX26" fmla="*/ 412918 w 493449"/>
                                  <a:gd name="connsiteY26" fmla="*/ 258811 h 803965"/>
                                  <a:gd name="connsiteX27" fmla="*/ 484057 w 493449"/>
                                  <a:gd name="connsiteY27" fmla="*/ 135395 h 803965"/>
                                  <a:gd name="connsiteX28" fmla="*/ 482813 w 493449"/>
                                  <a:gd name="connsiteY28" fmla="*/ 99963 h 803965"/>
                                  <a:gd name="connsiteX29" fmla="*/ 379767 w 493449"/>
                                  <a:gd name="connsiteY29" fmla="*/ 263686 h 803965"/>
                                  <a:gd name="connsiteX30" fmla="*/ 383279 w 493449"/>
                                  <a:gd name="connsiteY30" fmla="*/ 240600 h 803965"/>
                                  <a:gd name="connsiteX31" fmla="*/ 412204 w 493449"/>
                                  <a:gd name="connsiteY31" fmla="*/ 171326 h 803965"/>
                                  <a:gd name="connsiteX32" fmla="*/ 412204 w 493449"/>
                                  <a:gd name="connsiteY32" fmla="*/ 73189 h 803965"/>
                                  <a:gd name="connsiteX33" fmla="*/ 377370 w 493449"/>
                                  <a:gd name="connsiteY33" fmla="*/ 6599 h 803965"/>
                                  <a:gd name="connsiteX34" fmla="*/ 317605 w 493449"/>
                                  <a:gd name="connsiteY34" fmla="*/ 11259 h 803965"/>
                                  <a:gd name="connsiteX0" fmla="*/ 317605 w 492731"/>
                                  <a:gd name="connsiteY0" fmla="*/ 11259 h 803965"/>
                                  <a:gd name="connsiteX1" fmla="*/ 242784 w 492731"/>
                                  <a:gd name="connsiteY1" fmla="*/ 154007 h 803965"/>
                                  <a:gd name="connsiteX2" fmla="*/ 220908 w 492731"/>
                                  <a:gd name="connsiteY2" fmla="*/ 240676 h 803965"/>
                                  <a:gd name="connsiteX3" fmla="*/ 151163 w 492731"/>
                                  <a:gd name="connsiteY3" fmla="*/ 346453 h 803965"/>
                                  <a:gd name="connsiteX4" fmla="*/ 96097 w 492731"/>
                                  <a:gd name="connsiteY4" fmla="*/ 466778 h 803965"/>
                                  <a:gd name="connsiteX5" fmla="*/ 84613 w 492731"/>
                                  <a:gd name="connsiteY5" fmla="*/ 521259 h 803965"/>
                                  <a:gd name="connsiteX6" fmla="*/ 88319 w 492731"/>
                                  <a:gd name="connsiteY6" fmla="*/ 586426 h 803965"/>
                                  <a:gd name="connsiteX7" fmla="*/ 31697 w 492731"/>
                                  <a:gd name="connsiteY7" fmla="*/ 665947 h 803965"/>
                                  <a:gd name="connsiteX8" fmla="*/ 707 w 492731"/>
                                  <a:gd name="connsiteY8" fmla="*/ 763038 h 803965"/>
                                  <a:gd name="connsiteX9" fmla="*/ 12547 w 492731"/>
                                  <a:gd name="connsiteY9" fmla="*/ 802877 h 803965"/>
                                  <a:gd name="connsiteX10" fmla="*/ 41336 w 492731"/>
                                  <a:gd name="connsiteY10" fmla="*/ 724245 h 803965"/>
                                  <a:gd name="connsiteX11" fmla="*/ 87597 w 492731"/>
                                  <a:gd name="connsiteY11" fmla="*/ 666835 h 803965"/>
                                  <a:gd name="connsiteX12" fmla="*/ 91947 w 492731"/>
                                  <a:gd name="connsiteY12" fmla="*/ 649906 h 803965"/>
                                  <a:gd name="connsiteX13" fmla="*/ 109982 w 492731"/>
                                  <a:gd name="connsiteY13" fmla="*/ 609425 h 803965"/>
                                  <a:gd name="connsiteX14" fmla="*/ 103355 w 492731"/>
                                  <a:gd name="connsiteY14" fmla="*/ 581399 h 803965"/>
                                  <a:gd name="connsiteX15" fmla="*/ 96551 w 492731"/>
                                  <a:gd name="connsiteY15" fmla="*/ 554065 h 803965"/>
                                  <a:gd name="connsiteX16" fmla="*/ 102520 w 492731"/>
                                  <a:gd name="connsiteY16" fmla="*/ 527410 h 803965"/>
                                  <a:gd name="connsiteX17" fmla="*/ 101936 w 492731"/>
                                  <a:gd name="connsiteY17" fmla="*/ 507933 h 803965"/>
                                  <a:gd name="connsiteX18" fmla="*/ 148917 w 492731"/>
                                  <a:gd name="connsiteY18" fmla="*/ 432042 h 803965"/>
                                  <a:gd name="connsiteX19" fmla="*/ 169673 w 492731"/>
                                  <a:gd name="connsiteY19" fmla="*/ 412588 h 803965"/>
                                  <a:gd name="connsiteX20" fmla="*/ 194399 w 492731"/>
                                  <a:gd name="connsiteY20" fmla="*/ 388950 h 803965"/>
                                  <a:gd name="connsiteX21" fmla="*/ 242854 w 492731"/>
                                  <a:gd name="connsiteY21" fmla="*/ 373672 h 803965"/>
                                  <a:gd name="connsiteX22" fmla="*/ 311303 w 492731"/>
                                  <a:gd name="connsiteY22" fmla="*/ 328761 h 803965"/>
                                  <a:gd name="connsiteX23" fmla="*/ 388885 w 492731"/>
                                  <a:gd name="connsiteY23" fmla="*/ 318267 h 803965"/>
                                  <a:gd name="connsiteX24" fmla="*/ 399488 w 492731"/>
                                  <a:gd name="connsiteY24" fmla="*/ 301868 h 803965"/>
                                  <a:gd name="connsiteX25" fmla="*/ 415902 w 492731"/>
                                  <a:gd name="connsiteY25" fmla="*/ 279315 h 803965"/>
                                  <a:gd name="connsiteX26" fmla="*/ 424856 w 492731"/>
                                  <a:gd name="connsiteY26" fmla="*/ 246509 h 803965"/>
                                  <a:gd name="connsiteX27" fmla="*/ 484057 w 492731"/>
                                  <a:gd name="connsiteY27" fmla="*/ 135395 h 803965"/>
                                  <a:gd name="connsiteX28" fmla="*/ 482813 w 492731"/>
                                  <a:gd name="connsiteY28" fmla="*/ 99963 h 803965"/>
                                  <a:gd name="connsiteX29" fmla="*/ 379767 w 492731"/>
                                  <a:gd name="connsiteY29" fmla="*/ 263686 h 803965"/>
                                  <a:gd name="connsiteX30" fmla="*/ 383279 w 492731"/>
                                  <a:gd name="connsiteY30" fmla="*/ 240600 h 803965"/>
                                  <a:gd name="connsiteX31" fmla="*/ 412204 w 492731"/>
                                  <a:gd name="connsiteY31" fmla="*/ 171326 h 803965"/>
                                  <a:gd name="connsiteX32" fmla="*/ 412204 w 492731"/>
                                  <a:gd name="connsiteY32" fmla="*/ 73189 h 803965"/>
                                  <a:gd name="connsiteX33" fmla="*/ 377370 w 492731"/>
                                  <a:gd name="connsiteY33" fmla="*/ 6599 h 803965"/>
                                  <a:gd name="connsiteX34" fmla="*/ 317605 w 492731"/>
                                  <a:gd name="connsiteY34" fmla="*/ 11259 h 803965"/>
                                  <a:gd name="connsiteX0" fmla="*/ 317605 w 491804"/>
                                  <a:gd name="connsiteY0" fmla="*/ 11259 h 803965"/>
                                  <a:gd name="connsiteX1" fmla="*/ 242784 w 491804"/>
                                  <a:gd name="connsiteY1" fmla="*/ 154007 h 803965"/>
                                  <a:gd name="connsiteX2" fmla="*/ 220908 w 491804"/>
                                  <a:gd name="connsiteY2" fmla="*/ 240676 h 803965"/>
                                  <a:gd name="connsiteX3" fmla="*/ 151163 w 491804"/>
                                  <a:gd name="connsiteY3" fmla="*/ 346453 h 803965"/>
                                  <a:gd name="connsiteX4" fmla="*/ 96097 w 491804"/>
                                  <a:gd name="connsiteY4" fmla="*/ 466778 h 803965"/>
                                  <a:gd name="connsiteX5" fmla="*/ 84613 w 491804"/>
                                  <a:gd name="connsiteY5" fmla="*/ 521259 h 803965"/>
                                  <a:gd name="connsiteX6" fmla="*/ 88319 w 491804"/>
                                  <a:gd name="connsiteY6" fmla="*/ 586426 h 803965"/>
                                  <a:gd name="connsiteX7" fmla="*/ 31697 w 491804"/>
                                  <a:gd name="connsiteY7" fmla="*/ 665947 h 803965"/>
                                  <a:gd name="connsiteX8" fmla="*/ 707 w 491804"/>
                                  <a:gd name="connsiteY8" fmla="*/ 763038 h 803965"/>
                                  <a:gd name="connsiteX9" fmla="*/ 12547 w 491804"/>
                                  <a:gd name="connsiteY9" fmla="*/ 802877 h 803965"/>
                                  <a:gd name="connsiteX10" fmla="*/ 41336 w 491804"/>
                                  <a:gd name="connsiteY10" fmla="*/ 724245 h 803965"/>
                                  <a:gd name="connsiteX11" fmla="*/ 87597 w 491804"/>
                                  <a:gd name="connsiteY11" fmla="*/ 666835 h 803965"/>
                                  <a:gd name="connsiteX12" fmla="*/ 91947 w 491804"/>
                                  <a:gd name="connsiteY12" fmla="*/ 649906 h 803965"/>
                                  <a:gd name="connsiteX13" fmla="*/ 109982 w 491804"/>
                                  <a:gd name="connsiteY13" fmla="*/ 609425 h 803965"/>
                                  <a:gd name="connsiteX14" fmla="*/ 103355 w 491804"/>
                                  <a:gd name="connsiteY14" fmla="*/ 581399 h 803965"/>
                                  <a:gd name="connsiteX15" fmla="*/ 96551 w 491804"/>
                                  <a:gd name="connsiteY15" fmla="*/ 554065 h 803965"/>
                                  <a:gd name="connsiteX16" fmla="*/ 102520 w 491804"/>
                                  <a:gd name="connsiteY16" fmla="*/ 527410 h 803965"/>
                                  <a:gd name="connsiteX17" fmla="*/ 101936 w 491804"/>
                                  <a:gd name="connsiteY17" fmla="*/ 507933 h 803965"/>
                                  <a:gd name="connsiteX18" fmla="*/ 148917 w 491804"/>
                                  <a:gd name="connsiteY18" fmla="*/ 432042 h 803965"/>
                                  <a:gd name="connsiteX19" fmla="*/ 169673 w 491804"/>
                                  <a:gd name="connsiteY19" fmla="*/ 412588 h 803965"/>
                                  <a:gd name="connsiteX20" fmla="*/ 194399 w 491804"/>
                                  <a:gd name="connsiteY20" fmla="*/ 388950 h 803965"/>
                                  <a:gd name="connsiteX21" fmla="*/ 242854 w 491804"/>
                                  <a:gd name="connsiteY21" fmla="*/ 373672 h 803965"/>
                                  <a:gd name="connsiteX22" fmla="*/ 311303 w 491804"/>
                                  <a:gd name="connsiteY22" fmla="*/ 328761 h 803965"/>
                                  <a:gd name="connsiteX23" fmla="*/ 388885 w 491804"/>
                                  <a:gd name="connsiteY23" fmla="*/ 318267 h 803965"/>
                                  <a:gd name="connsiteX24" fmla="*/ 399488 w 491804"/>
                                  <a:gd name="connsiteY24" fmla="*/ 301868 h 803965"/>
                                  <a:gd name="connsiteX25" fmla="*/ 415902 w 491804"/>
                                  <a:gd name="connsiteY25" fmla="*/ 279315 h 803965"/>
                                  <a:gd name="connsiteX26" fmla="*/ 441271 w 491804"/>
                                  <a:gd name="connsiteY26" fmla="*/ 264962 h 803965"/>
                                  <a:gd name="connsiteX27" fmla="*/ 484057 w 491804"/>
                                  <a:gd name="connsiteY27" fmla="*/ 135395 h 803965"/>
                                  <a:gd name="connsiteX28" fmla="*/ 482813 w 491804"/>
                                  <a:gd name="connsiteY28" fmla="*/ 99963 h 803965"/>
                                  <a:gd name="connsiteX29" fmla="*/ 379767 w 491804"/>
                                  <a:gd name="connsiteY29" fmla="*/ 263686 h 803965"/>
                                  <a:gd name="connsiteX30" fmla="*/ 383279 w 491804"/>
                                  <a:gd name="connsiteY30" fmla="*/ 240600 h 803965"/>
                                  <a:gd name="connsiteX31" fmla="*/ 412204 w 491804"/>
                                  <a:gd name="connsiteY31" fmla="*/ 171326 h 803965"/>
                                  <a:gd name="connsiteX32" fmla="*/ 412204 w 491804"/>
                                  <a:gd name="connsiteY32" fmla="*/ 73189 h 803965"/>
                                  <a:gd name="connsiteX33" fmla="*/ 377370 w 491804"/>
                                  <a:gd name="connsiteY33" fmla="*/ 6599 h 803965"/>
                                  <a:gd name="connsiteX34" fmla="*/ 317605 w 491804"/>
                                  <a:gd name="connsiteY34" fmla="*/ 11259 h 803965"/>
                                  <a:gd name="connsiteX0" fmla="*/ 317605 w 491804"/>
                                  <a:gd name="connsiteY0" fmla="*/ 11259 h 803965"/>
                                  <a:gd name="connsiteX1" fmla="*/ 242784 w 491804"/>
                                  <a:gd name="connsiteY1" fmla="*/ 154007 h 803965"/>
                                  <a:gd name="connsiteX2" fmla="*/ 220908 w 491804"/>
                                  <a:gd name="connsiteY2" fmla="*/ 240676 h 803965"/>
                                  <a:gd name="connsiteX3" fmla="*/ 151163 w 491804"/>
                                  <a:gd name="connsiteY3" fmla="*/ 346453 h 803965"/>
                                  <a:gd name="connsiteX4" fmla="*/ 96097 w 491804"/>
                                  <a:gd name="connsiteY4" fmla="*/ 466778 h 803965"/>
                                  <a:gd name="connsiteX5" fmla="*/ 84613 w 491804"/>
                                  <a:gd name="connsiteY5" fmla="*/ 521259 h 803965"/>
                                  <a:gd name="connsiteX6" fmla="*/ 88319 w 491804"/>
                                  <a:gd name="connsiteY6" fmla="*/ 586426 h 803965"/>
                                  <a:gd name="connsiteX7" fmla="*/ 31697 w 491804"/>
                                  <a:gd name="connsiteY7" fmla="*/ 665947 h 803965"/>
                                  <a:gd name="connsiteX8" fmla="*/ 707 w 491804"/>
                                  <a:gd name="connsiteY8" fmla="*/ 763038 h 803965"/>
                                  <a:gd name="connsiteX9" fmla="*/ 12547 w 491804"/>
                                  <a:gd name="connsiteY9" fmla="*/ 802877 h 803965"/>
                                  <a:gd name="connsiteX10" fmla="*/ 41336 w 491804"/>
                                  <a:gd name="connsiteY10" fmla="*/ 724245 h 803965"/>
                                  <a:gd name="connsiteX11" fmla="*/ 87597 w 491804"/>
                                  <a:gd name="connsiteY11" fmla="*/ 666835 h 803965"/>
                                  <a:gd name="connsiteX12" fmla="*/ 91947 w 491804"/>
                                  <a:gd name="connsiteY12" fmla="*/ 649906 h 803965"/>
                                  <a:gd name="connsiteX13" fmla="*/ 109982 w 491804"/>
                                  <a:gd name="connsiteY13" fmla="*/ 609425 h 803965"/>
                                  <a:gd name="connsiteX14" fmla="*/ 103355 w 491804"/>
                                  <a:gd name="connsiteY14" fmla="*/ 581399 h 803965"/>
                                  <a:gd name="connsiteX15" fmla="*/ 96551 w 491804"/>
                                  <a:gd name="connsiteY15" fmla="*/ 554065 h 803965"/>
                                  <a:gd name="connsiteX16" fmla="*/ 102520 w 491804"/>
                                  <a:gd name="connsiteY16" fmla="*/ 527410 h 803965"/>
                                  <a:gd name="connsiteX17" fmla="*/ 101936 w 491804"/>
                                  <a:gd name="connsiteY17" fmla="*/ 507933 h 803965"/>
                                  <a:gd name="connsiteX18" fmla="*/ 148917 w 491804"/>
                                  <a:gd name="connsiteY18" fmla="*/ 432042 h 803965"/>
                                  <a:gd name="connsiteX19" fmla="*/ 169673 w 491804"/>
                                  <a:gd name="connsiteY19" fmla="*/ 412588 h 803965"/>
                                  <a:gd name="connsiteX20" fmla="*/ 194399 w 491804"/>
                                  <a:gd name="connsiteY20" fmla="*/ 388950 h 803965"/>
                                  <a:gd name="connsiteX21" fmla="*/ 242854 w 491804"/>
                                  <a:gd name="connsiteY21" fmla="*/ 373672 h 803965"/>
                                  <a:gd name="connsiteX22" fmla="*/ 311303 w 491804"/>
                                  <a:gd name="connsiteY22" fmla="*/ 328761 h 803965"/>
                                  <a:gd name="connsiteX23" fmla="*/ 388885 w 491804"/>
                                  <a:gd name="connsiteY23" fmla="*/ 318267 h 803965"/>
                                  <a:gd name="connsiteX24" fmla="*/ 399488 w 491804"/>
                                  <a:gd name="connsiteY24" fmla="*/ 301868 h 803965"/>
                                  <a:gd name="connsiteX25" fmla="*/ 415902 w 491804"/>
                                  <a:gd name="connsiteY25" fmla="*/ 279315 h 803965"/>
                                  <a:gd name="connsiteX26" fmla="*/ 441271 w 491804"/>
                                  <a:gd name="connsiteY26" fmla="*/ 264962 h 803965"/>
                                  <a:gd name="connsiteX27" fmla="*/ 484057 w 491804"/>
                                  <a:gd name="connsiteY27" fmla="*/ 135395 h 803965"/>
                                  <a:gd name="connsiteX28" fmla="*/ 482813 w 491804"/>
                                  <a:gd name="connsiteY28" fmla="*/ 99963 h 803965"/>
                                  <a:gd name="connsiteX29" fmla="*/ 379767 w 491804"/>
                                  <a:gd name="connsiteY29" fmla="*/ 263686 h 803965"/>
                                  <a:gd name="connsiteX30" fmla="*/ 383279 w 491804"/>
                                  <a:gd name="connsiteY30" fmla="*/ 240600 h 803965"/>
                                  <a:gd name="connsiteX31" fmla="*/ 412204 w 491804"/>
                                  <a:gd name="connsiteY31" fmla="*/ 171326 h 803965"/>
                                  <a:gd name="connsiteX32" fmla="*/ 412204 w 491804"/>
                                  <a:gd name="connsiteY32" fmla="*/ 73189 h 803965"/>
                                  <a:gd name="connsiteX33" fmla="*/ 377370 w 491804"/>
                                  <a:gd name="connsiteY33" fmla="*/ 6599 h 803965"/>
                                  <a:gd name="connsiteX34" fmla="*/ 317605 w 491804"/>
                                  <a:gd name="connsiteY34" fmla="*/ 11259 h 803965"/>
                                  <a:gd name="connsiteX0" fmla="*/ 317605 w 491967"/>
                                  <a:gd name="connsiteY0" fmla="*/ 11259 h 803965"/>
                                  <a:gd name="connsiteX1" fmla="*/ 242784 w 491967"/>
                                  <a:gd name="connsiteY1" fmla="*/ 154007 h 803965"/>
                                  <a:gd name="connsiteX2" fmla="*/ 220908 w 491967"/>
                                  <a:gd name="connsiteY2" fmla="*/ 240676 h 803965"/>
                                  <a:gd name="connsiteX3" fmla="*/ 151163 w 491967"/>
                                  <a:gd name="connsiteY3" fmla="*/ 346453 h 803965"/>
                                  <a:gd name="connsiteX4" fmla="*/ 96097 w 491967"/>
                                  <a:gd name="connsiteY4" fmla="*/ 466778 h 803965"/>
                                  <a:gd name="connsiteX5" fmla="*/ 84613 w 491967"/>
                                  <a:gd name="connsiteY5" fmla="*/ 521259 h 803965"/>
                                  <a:gd name="connsiteX6" fmla="*/ 88319 w 491967"/>
                                  <a:gd name="connsiteY6" fmla="*/ 586426 h 803965"/>
                                  <a:gd name="connsiteX7" fmla="*/ 31697 w 491967"/>
                                  <a:gd name="connsiteY7" fmla="*/ 665947 h 803965"/>
                                  <a:gd name="connsiteX8" fmla="*/ 707 w 491967"/>
                                  <a:gd name="connsiteY8" fmla="*/ 763038 h 803965"/>
                                  <a:gd name="connsiteX9" fmla="*/ 12547 w 491967"/>
                                  <a:gd name="connsiteY9" fmla="*/ 802877 h 803965"/>
                                  <a:gd name="connsiteX10" fmla="*/ 41336 w 491967"/>
                                  <a:gd name="connsiteY10" fmla="*/ 724245 h 803965"/>
                                  <a:gd name="connsiteX11" fmla="*/ 87597 w 491967"/>
                                  <a:gd name="connsiteY11" fmla="*/ 666835 h 803965"/>
                                  <a:gd name="connsiteX12" fmla="*/ 91947 w 491967"/>
                                  <a:gd name="connsiteY12" fmla="*/ 649906 h 803965"/>
                                  <a:gd name="connsiteX13" fmla="*/ 109982 w 491967"/>
                                  <a:gd name="connsiteY13" fmla="*/ 609425 h 803965"/>
                                  <a:gd name="connsiteX14" fmla="*/ 103355 w 491967"/>
                                  <a:gd name="connsiteY14" fmla="*/ 581399 h 803965"/>
                                  <a:gd name="connsiteX15" fmla="*/ 96551 w 491967"/>
                                  <a:gd name="connsiteY15" fmla="*/ 554065 h 803965"/>
                                  <a:gd name="connsiteX16" fmla="*/ 102520 w 491967"/>
                                  <a:gd name="connsiteY16" fmla="*/ 527410 h 803965"/>
                                  <a:gd name="connsiteX17" fmla="*/ 101936 w 491967"/>
                                  <a:gd name="connsiteY17" fmla="*/ 507933 h 803965"/>
                                  <a:gd name="connsiteX18" fmla="*/ 148917 w 491967"/>
                                  <a:gd name="connsiteY18" fmla="*/ 432042 h 803965"/>
                                  <a:gd name="connsiteX19" fmla="*/ 169673 w 491967"/>
                                  <a:gd name="connsiteY19" fmla="*/ 412588 h 803965"/>
                                  <a:gd name="connsiteX20" fmla="*/ 194399 w 491967"/>
                                  <a:gd name="connsiteY20" fmla="*/ 388950 h 803965"/>
                                  <a:gd name="connsiteX21" fmla="*/ 242854 w 491967"/>
                                  <a:gd name="connsiteY21" fmla="*/ 373672 h 803965"/>
                                  <a:gd name="connsiteX22" fmla="*/ 311303 w 491967"/>
                                  <a:gd name="connsiteY22" fmla="*/ 328761 h 803965"/>
                                  <a:gd name="connsiteX23" fmla="*/ 388885 w 491967"/>
                                  <a:gd name="connsiteY23" fmla="*/ 318267 h 803965"/>
                                  <a:gd name="connsiteX24" fmla="*/ 399488 w 491967"/>
                                  <a:gd name="connsiteY24" fmla="*/ 301868 h 803965"/>
                                  <a:gd name="connsiteX25" fmla="*/ 415902 w 491967"/>
                                  <a:gd name="connsiteY25" fmla="*/ 279315 h 803965"/>
                                  <a:gd name="connsiteX26" fmla="*/ 441271 w 491967"/>
                                  <a:gd name="connsiteY26" fmla="*/ 264962 h 803965"/>
                                  <a:gd name="connsiteX27" fmla="*/ 438287 w 491967"/>
                                  <a:gd name="connsiteY27" fmla="*/ 223954 h 803965"/>
                                  <a:gd name="connsiteX28" fmla="*/ 484057 w 491967"/>
                                  <a:gd name="connsiteY28" fmla="*/ 135395 h 803965"/>
                                  <a:gd name="connsiteX29" fmla="*/ 482813 w 491967"/>
                                  <a:gd name="connsiteY29" fmla="*/ 99963 h 803965"/>
                                  <a:gd name="connsiteX30" fmla="*/ 379767 w 491967"/>
                                  <a:gd name="connsiteY30" fmla="*/ 263686 h 803965"/>
                                  <a:gd name="connsiteX31" fmla="*/ 383279 w 491967"/>
                                  <a:gd name="connsiteY31" fmla="*/ 240600 h 803965"/>
                                  <a:gd name="connsiteX32" fmla="*/ 412204 w 491967"/>
                                  <a:gd name="connsiteY32" fmla="*/ 171326 h 803965"/>
                                  <a:gd name="connsiteX33" fmla="*/ 412204 w 491967"/>
                                  <a:gd name="connsiteY33" fmla="*/ 73189 h 803965"/>
                                  <a:gd name="connsiteX34" fmla="*/ 377370 w 491967"/>
                                  <a:gd name="connsiteY34" fmla="*/ 6599 h 803965"/>
                                  <a:gd name="connsiteX35" fmla="*/ 317605 w 491967"/>
                                  <a:gd name="connsiteY35" fmla="*/ 11259 h 803965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  <a:cxn ang="0">
                                    <a:pos x="connsiteX19" y="connsiteY19"/>
                                  </a:cxn>
                                  <a:cxn ang="0">
                                    <a:pos x="connsiteX20" y="connsiteY20"/>
                                  </a:cxn>
                                  <a:cxn ang="0">
                                    <a:pos x="connsiteX21" y="connsiteY21"/>
                                  </a:cxn>
                                  <a:cxn ang="0">
                                    <a:pos x="connsiteX22" y="connsiteY22"/>
                                  </a:cxn>
                                  <a:cxn ang="0">
                                    <a:pos x="connsiteX23" y="connsiteY23"/>
                                  </a:cxn>
                                  <a:cxn ang="0">
                                    <a:pos x="connsiteX24" y="connsiteY24"/>
                                  </a:cxn>
                                  <a:cxn ang="0">
                                    <a:pos x="connsiteX25" y="connsiteY25"/>
                                  </a:cxn>
                                  <a:cxn ang="0">
                                    <a:pos x="connsiteX26" y="connsiteY26"/>
                                  </a:cxn>
                                  <a:cxn ang="0">
                                    <a:pos x="connsiteX27" y="connsiteY27"/>
                                  </a:cxn>
                                  <a:cxn ang="0">
                                    <a:pos x="connsiteX28" y="connsiteY28"/>
                                  </a:cxn>
                                  <a:cxn ang="0">
                                    <a:pos x="connsiteX29" y="connsiteY29"/>
                                  </a:cxn>
                                  <a:cxn ang="0">
                                    <a:pos x="connsiteX30" y="connsiteY30"/>
                                  </a:cxn>
                                  <a:cxn ang="0">
                                    <a:pos x="connsiteX31" y="connsiteY31"/>
                                  </a:cxn>
                                  <a:cxn ang="0">
                                    <a:pos x="connsiteX32" y="connsiteY32"/>
                                  </a:cxn>
                                  <a:cxn ang="0">
                                    <a:pos x="connsiteX33" y="connsiteY33"/>
                                  </a:cxn>
                                  <a:cxn ang="0">
                                    <a:pos x="connsiteX34" y="connsiteY34"/>
                                  </a:cxn>
                                  <a:cxn ang="0">
                                    <a:pos x="connsiteX35" y="connsiteY35"/>
                                  </a:cxn>
                                </a:cxnLst>
                                <a:rect l="l" t="t" r="r" b="b"/>
                                <a:pathLst>
                                  <a:path w="491967" h="803965">
                                    <a:moveTo>
                                      <a:pt x="317605" y="11259"/>
                                    </a:moveTo>
                                    <a:cubicBezTo>
                                      <a:pt x="274513" y="24281"/>
                                      <a:pt x="252702" y="127317"/>
                                      <a:pt x="242784" y="154007"/>
                                    </a:cubicBezTo>
                                    <a:cubicBezTo>
                                      <a:pt x="232866" y="180698"/>
                                      <a:pt x="236178" y="208602"/>
                                      <a:pt x="220908" y="240676"/>
                                    </a:cubicBezTo>
                                    <a:cubicBezTo>
                                      <a:pt x="205638" y="272750"/>
                                      <a:pt x="171965" y="308769"/>
                                      <a:pt x="151163" y="346453"/>
                                    </a:cubicBezTo>
                                    <a:cubicBezTo>
                                      <a:pt x="130361" y="384137"/>
                                      <a:pt x="107189" y="437644"/>
                                      <a:pt x="96097" y="466778"/>
                                    </a:cubicBezTo>
                                    <a:cubicBezTo>
                                      <a:pt x="85005" y="495912"/>
                                      <a:pt x="85909" y="501318"/>
                                      <a:pt x="84613" y="521259"/>
                                    </a:cubicBezTo>
                                    <a:cubicBezTo>
                                      <a:pt x="83317" y="541200"/>
                                      <a:pt x="97138" y="562311"/>
                                      <a:pt x="88319" y="586426"/>
                                    </a:cubicBezTo>
                                    <a:cubicBezTo>
                                      <a:pt x="79500" y="610541"/>
                                      <a:pt x="46299" y="636512"/>
                                      <a:pt x="31697" y="665947"/>
                                    </a:cubicBezTo>
                                    <a:cubicBezTo>
                                      <a:pt x="17095" y="695382"/>
                                      <a:pt x="3899" y="740216"/>
                                      <a:pt x="707" y="763038"/>
                                    </a:cubicBezTo>
                                    <a:cubicBezTo>
                                      <a:pt x="-2485" y="785860"/>
                                      <a:pt x="5776" y="809342"/>
                                      <a:pt x="12547" y="802877"/>
                                    </a:cubicBezTo>
                                    <a:cubicBezTo>
                                      <a:pt x="19318" y="796412"/>
                                      <a:pt x="29574" y="747944"/>
                                      <a:pt x="41336" y="724245"/>
                                    </a:cubicBezTo>
                                    <a:cubicBezTo>
                                      <a:pt x="53098" y="700546"/>
                                      <a:pt x="79162" y="679225"/>
                                      <a:pt x="87597" y="666835"/>
                                    </a:cubicBezTo>
                                    <a:cubicBezTo>
                                      <a:pt x="96032" y="654445"/>
                                      <a:pt x="88216" y="659474"/>
                                      <a:pt x="91947" y="649906"/>
                                    </a:cubicBezTo>
                                    <a:cubicBezTo>
                                      <a:pt x="95678" y="640338"/>
                                      <a:pt x="108081" y="620843"/>
                                      <a:pt x="109982" y="609425"/>
                                    </a:cubicBezTo>
                                    <a:cubicBezTo>
                                      <a:pt x="111883" y="598007"/>
                                      <a:pt x="105593" y="590626"/>
                                      <a:pt x="103355" y="581399"/>
                                    </a:cubicBezTo>
                                    <a:cubicBezTo>
                                      <a:pt x="101117" y="572172"/>
                                      <a:pt x="97436" y="563063"/>
                                      <a:pt x="96551" y="554065"/>
                                    </a:cubicBezTo>
                                    <a:cubicBezTo>
                                      <a:pt x="95666" y="545067"/>
                                      <a:pt x="101623" y="535099"/>
                                      <a:pt x="102520" y="527410"/>
                                    </a:cubicBezTo>
                                    <a:cubicBezTo>
                                      <a:pt x="103418" y="519721"/>
                                      <a:pt x="94203" y="523828"/>
                                      <a:pt x="101936" y="507933"/>
                                    </a:cubicBezTo>
                                    <a:cubicBezTo>
                                      <a:pt x="109669" y="492038"/>
                                      <a:pt x="137628" y="447933"/>
                                      <a:pt x="148917" y="432042"/>
                                    </a:cubicBezTo>
                                    <a:cubicBezTo>
                                      <a:pt x="160206" y="416151"/>
                                      <a:pt x="162341" y="421137"/>
                                      <a:pt x="169673" y="412588"/>
                                    </a:cubicBezTo>
                                    <a:cubicBezTo>
                                      <a:pt x="177005" y="404039"/>
                                      <a:pt x="182202" y="395436"/>
                                      <a:pt x="194399" y="388950"/>
                                    </a:cubicBezTo>
                                    <a:cubicBezTo>
                                      <a:pt x="206596" y="382464"/>
                                      <a:pt x="223370" y="383703"/>
                                      <a:pt x="242854" y="373672"/>
                                    </a:cubicBezTo>
                                    <a:cubicBezTo>
                                      <a:pt x="262338" y="363641"/>
                                      <a:pt x="285490" y="338257"/>
                                      <a:pt x="311303" y="328761"/>
                                    </a:cubicBezTo>
                                    <a:cubicBezTo>
                                      <a:pt x="337116" y="319265"/>
                                      <a:pt x="374188" y="322749"/>
                                      <a:pt x="388885" y="318267"/>
                                    </a:cubicBezTo>
                                    <a:cubicBezTo>
                                      <a:pt x="403583" y="313785"/>
                                      <a:pt x="394985" y="308360"/>
                                      <a:pt x="399488" y="301868"/>
                                    </a:cubicBezTo>
                                    <a:cubicBezTo>
                                      <a:pt x="403991" y="295376"/>
                                      <a:pt x="414410" y="287175"/>
                                      <a:pt x="415902" y="279315"/>
                                    </a:cubicBezTo>
                                    <a:cubicBezTo>
                                      <a:pt x="417394" y="271455"/>
                                      <a:pt x="434556" y="276923"/>
                                      <a:pt x="441271" y="264962"/>
                                    </a:cubicBezTo>
                                    <a:cubicBezTo>
                                      <a:pt x="447986" y="253001"/>
                                      <a:pt x="431156" y="245548"/>
                                      <a:pt x="438287" y="223954"/>
                                    </a:cubicBezTo>
                                    <a:cubicBezTo>
                                      <a:pt x="445418" y="202360"/>
                                      <a:pt x="476636" y="156060"/>
                                      <a:pt x="484057" y="135395"/>
                                    </a:cubicBezTo>
                                    <a:cubicBezTo>
                                      <a:pt x="491478" y="114730"/>
                                      <a:pt x="497861" y="78797"/>
                                      <a:pt x="482813" y="99963"/>
                                    </a:cubicBezTo>
                                    <a:cubicBezTo>
                                      <a:pt x="488797" y="47440"/>
                                      <a:pt x="401009" y="259770"/>
                                      <a:pt x="379767" y="263686"/>
                                    </a:cubicBezTo>
                                    <a:cubicBezTo>
                                      <a:pt x="361801" y="277504"/>
                                      <a:pt x="383678" y="283448"/>
                                      <a:pt x="383279" y="240600"/>
                                    </a:cubicBezTo>
                                    <a:cubicBezTo>
                                      <a:pt x="379732" y="225207"/>
                                      <a:pt x="400496" y="196341"/>
                                      <a:pt x="412204" y="171326"/>
                                    </a:cubicBezTo>
                                    <a:cubicBezTo>
                                      <a:pt x="423912" y="146311"/>
                                      <a:pt x="409057" y="100644"/>
                                      <a:pt x="412204" y="73189"/>
                                    </a:cubicBezTo>
                                    <a:cubicBezTo>
                                      <a:pt x="415351" y="45735"/>
                                      <a:pt x="393136" y="16921"/>
                                      <a:pt x="377370" y="6599"/>
                                    </a:cubicBezTo>
                                    <a:cubicBezTo>
                                      <a:pt x="361604" y="-3723"/>
                                      <a:pt x="360697" y="-1763"/>
                                      <a:pt x="317605" y="11259"/>
                                    </a:cubicBezTo>
                                    <a:close/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75000"/>
                                  <a:alpha val="6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anchor="ctr"/>
                              <a:lstStyle/>
                              <a:p>
                                <a:pPr algn="ctr">
                                  <a:defRPr/>
                                </a:pPr>
                                <a:endParaRPr lang="pt-BR" sz="110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036" name="Oval 1"/>
                              <p:cNvSpPr/>
                              <p:nvPr/>
                            </p:nvSpPr>
                            <p:spPr>
                              <a:xfrm>
                                <a:off x="6781167" y="2889178"/>
                                <a:ext cx="445344" cy="631327"/>
                              </a:xfrm>
                              <a:custGeom>
                                <a:avLst/>
                                <a:gdLst>
                                  <a:gd name="connsiteX0" fmla="*/ 0 w 175290"/>
                                  <a:gd name="connsiteY0" fmla="*/ 415689 h 831377"/>
                                  <a:gd name="connsiteX1" fmla="*/ 87645 w 175290"/>
                                  <a:gd name="connsiteY1" fmla="*/ 0 h 831377"/>
                                  <a:gd name="connsiteX2" fmla="*/ 175290 w 175290"/>
                                  <a:gd name="connsiteY2" fmla="*/ 415689 h 831377"/>
                                  <a:gd name="connsiteX3" fmla="*/ 87645 w 175290"/>
                                  <a:gd name="connsiteY3" fmla="*/ 831378 h 831377"/>
                                  <a:gd name="connsiteX4" fmla="*/ 0 w 175290"/>
                                  <a:gd name="connsiteY4" fmla="*/ 415689 h 831377"/>
                                  <a:gd name="connsiteX0" fmla="*/ 277887 w 453177"/>
                                  <a:gd name="connsiteY0" fmla="*/ 415689 h 781372"/>
                                  <a:gd name="connsiteX1" fmla="*/ 365532 w 453177"/>
                                  <a:gd name="connsiteY1" fmla="*/ 0 h 781372"/>
                                  <a:gd name="connsiteX2" fmla="*/ 453177 w 453177"/>
                                  <a:gd name="connsiteY2" fmla="*/ 415689 h 781372"/>
                                  <a:gd name="connsiteX3" fmla="*/ 5963 w 453177"/>
                                  <a:gd name="connsiteY3" fmla="*/ 781372 h 781372"/>
                                  <a:gd name="connsiteX4" fmla="*/ 277887 w 453177"/>
                                  <a:gd name="connsiteY4" fmla="*/ 415689 h 781372"/>
                                  <a:gd name="connsiteX0" fmla="*/ 273064 w 388823"/>
                                  <a:gd name="connsiteY0" fmla="*/ 415694 h 781381"/>
                                  <a:gd name="connsiteX1" fmla="*/ 360709 w 388823"/>
                                  <a:gd name="connsiteY1" fmla="*/ 5 h 781381"/>
                                  <a:gd name="connsiteX2" fmla="*/ 388823 w 388823"/>
                                  <a:gd name="connsiteY2" fmla="*/ 408551 h 781381"/>
                                  <a:gd name="connsiteX3" fmla="*/ 1140 w 388823"/>
                                  <a:gd name="connsiteY3" fmla="*/ 781377 h 781381"/>
                                  <a:gd name="connsiteX4" fmla="*/ 273064 w 388823"/>
                                  <a:gd name="connsiteY4" fmla="*/ 415694 h 781381"/>
                                  <a:gd name="connsiteX0" fmla="*/ 273690 w 420406"/>
                                  <a:gd name="connsiteY0" fmla="*/ 415694 h 781381"/>
                                  <a:gd name="connsiteX1" fmla="*/ 361335 w 420406"/>
                                  <a:gd name="connsiteY1" fmla="*/ 5 h 781381"/>
                                  <a:gd name="connsiteX2" fmla="*/ 420406 w 420406"/>
                                  <a:gd name="connsiteY2" fmla="*/ 408551 h 781381"/>
                                  <a:gd name="connsiteX3" fmla="*/ 1766 w 420406"/>
                                  <a:gd name="connsiteY3" fmla="*/ 781377 h 781381"/>
                                  <a:gd name="connsiteX4" fmla="*/ 273690 w 420406"/>
                                  <a:gd name="connsiteY4" fmla="*/ 415694 h 781381"/>
                                  <a:gd name="connsiteX0" fmla="*/ 273715 w 420431"/>
                                  <a:gd name="connsiteY0" fmla="*/ 308548 h 674235"/>
                                  <a:gd name="connsiteX1" fmla="*/ 382791 w 420431"/>
                                  <a:gd name="connsiteY1" fmla="*/ 15 h 674235"/>
                                  <a:gd name="connsiteX2" fmla="*/ 420431 w 420431"/>
                                  <a:gd name="connsiteY2" fmla="*/ 301405 h 674235"/>
                                  <a:gd name="connsiteX3" fmla="*/ 1791 w 420431"/>
                                  <a:gd name="connsiteY3" fmla="*/ 674231 h 674235"/>
                                  <a:gd name="connsiteX4" fmla="*/ 273715 w 420431"/>
                                  <a:gd name="connsiteY4" fmla="*/ 308548 h 674235"/>
                                  <a:gd name="connsiteX0" fmla="*/ 219346 w 366062"/>
                                  <a:gd name="connsiteY0" fmla="*/ 308548 h 688521"/>
                                  <a:gd name="connsiteX1" fmla="*/ 328422 w 366062"/>
                                  <a:gd name="connsiteY1" fmla="*/ 15 h 688521"/>
                                  <a:gd name="connsiteX2" fmla="*/ 366062 w 366062"/>
                                  <a:gd name="connsiteY2" fmla="*/ 301405 h 688521"/>
                                  <a:gd name="connsiteX3" fmla="*/ 2191 w 366062"/>
                                  <a:gd name="connsiteY3" fmla="*/ 688518 h 688521"/>
                                  <a:gd name="connsiteX4" fmla="*/ 219346 w 366062"/>
                                  <a:gd name="connsiteY4" fmla="*/ 308548 h 688521"/>
                                  <a:gd name="connsiteX0" fmla="*/ 219036 w 353846"/>
                                  <a:gd name="connsiteY0" fmla="*/ 308574 h 688554"/>
                                  <a:gd name="connsiteX1" fmla="*/ 328112 w 353846"/>
                                  <a:gd name="connsiteY1" fmla="*/ 41 h 688554"/>
                                  <a:gd name="connsiteX2" fmla="*/ 353846 w 353846"/>
                                  <a:gd name="connsiteY2" fmla="*/ 296669 h 688554"/>
                                  <a:gd name="connsiteX3" fmla="*/ 1881 w 353846"/>
                                  <a:gd name="connsiteY3" fmla="*/ 688544 h 688554"/>
                                  <a:gd name="connsiteX4" fmla="*/ 219036 w 353846"/>
                                  <a:gd name="connsiteY4" fmla="*/ 308574 h 688554"/>
                                  <a:gd name="connsiteX0" fmla="*/ 219036 w 390008"/>
                                  <a:gd name="connsiteY0" fmla="*/ 312239 h 692219"/>
                                  <a:gd name="connsiteX1" fmla="*/ 328112 w 390008"/>
                                  <a:gd name="connsiteY1" fmla="*/ 3706 h 692219"/>
                                  <a:gd name="connsiteX2" fmla="*/ 379870 w 390008"/>
                                  <a:gd name="connsiteY2" fmla="*/ 151655 h 692219"/>
                                  <a:gd name="connsiteX3" fmla="*/ 353846 w 390008"/>
                                  <a:gd name="connsiteY3" fmla="*/ 300334 h 692219"/>
                                  <a:gd name="connsiteX4" fmla="*/ 1881 w 390008"/>
                                  <a:gd name="connsiteY4" fmla="*/ 692209 h 692219"/>
                                  <a:gd name="connsiteX5" fmla="*/ 219036 w 390008"/>
                                  <a:gd name="connsiteY5" fmla="*/ 312239 h 692219"/>
                                  <a:gd name="connsiteX0" fmla="*/ 217522 w 379622"/>
                                  <a:gd name="connsiteY0" fmla="*/ 312239 h 695223"/>
                                  <a:gd name="connsiteX1" fmla="*/ 326598 w 379622"/>
                                  <a:gd name="connsiteY1" fmla="*/ 3706 h 695223"/>
                                  <a:gd name="connsiteX2" fmla="*/ 378356 w 379622"/>
                                  <a:gd name="connsiteY2" fmla="*/ 151655 h 695223"/>
                                  <a:gd name="connsiteX3" fmla="*/ 352332 w 379622"/>
                                  <a:gd name="connsiteY3" fmla="*/ 300334 h 695223"/>
                                  <a:gd name="connsiteX4" fmla="*/ 273581 w 379622"/>
                                  <a:gd name="connsiteY4" fmla="*/ 480269 h 695223"/>
                                  <a:gd name="connsiteX5" fmla="*/ 367 w 379622"/>
                                  <a:gd name="connsiteY5" fmla="*/ 692209 h 695223"/>
                                  <a:gd name="connsiteX6" fmla="*/ 217522 w 379622"/>
                                  <a:gd name="connsiteY6" fmla="*/ 312239 h 695223"/>
                                  <a:gd name="connsiteX0" fmla="*/ 217522 w 382225"/>
                                  <a:gd name="connsiteY0" fmla="*/ 312239 h 695223"/>
                                  <a:gd name="connsiteX1" fmla="*/ 326598 w 382225"/>
                                  <a:gd name="connsiteY1" fmla="*/ 3706 h 695223"/>
                                  <a:gd name="connsiteX2" fmla="*/ 378356 w 382225"/>
                                  <a:gd name="connsiteY2" fmla="*/ 151655 h 695223"/>
                                  <a:gd name="connsiteX3" fmla="*/ 364238 w 382225"/>
                                  <a:gd name="connsiteY3" fmla="*/ 297953 h 695223"/>
                                  <a:gd name="connsiteX4" fmla="*/ 273581 w 382225"/>
                                  <a:gd name="connsiteY4" fmla="*/ 480269 h 695223"/>
                                  <a:gd name="connsiteX5" fmla="*/ 367 w 382225"/>
                                  <a:gd name="connsiteY5" fmla="*/ 692209 h 695223"/>
                                  <a:gd name="connsiteX6" fmla="*/ 217522 w 382225"/>
                                  <a:gd name="connsiteY6" fmla="*/ 312239 h 695223"/>
                                  <a:gd name="connsiteX0" fmla="*/ 217522 w 382225"/>
                                  <a:gd name="connsiteY0" fmla="*/ 359366 h 695816"/>
                                  <a:gd name="connsiteX1" fmla="*/ 326598 w 382225"/>
                                  <a:gd name="connsiteY1" fmla="*/ 5589 h 695816"/>
                                  <a:gd name="connsiteX2" fmla="*/ 378356 w 382225"/>
                                  <a:gd name="connsiteY2" fmla="*/ 153538 h 695816"/>
                                  <a:gd name="connsiteX3" fmla="*/ 364238 w 382225"/>
                                  <a:gd name="connsiteY3" fmla="*/ 299836 h 695816"/>
                                  <a:gd name="connsiteX4" fmla="*/ 273581 w 382225"/>
                                  <a:gd name="connsiteY4" fmla="*/ 482152 h 695816"/>
                                  <a:gd name="connsiteX5" fmla="*/ 367 w 382225"/>
                                  <a:gd name="connsiteY5" fmla="*/ 694092 h 695816"/>
                                  <a:gd name="connsiteX6" fmla="*/ 217522 w 382225"/>
                                  <a:gd name="connsiteY6" fmla="*/ 359366 h 695816"/>
                                  <a:gd name="connsiteX0" fmla="*/ 243444 w 381953"/>
                                  <a:gd name="connsiteY0" fmla="*/ 366828 h 695957"/>
                                  <a:gd name="connsiteX1" fmla="*/ 326326 w 381953"/>
                                  <a:gd name="connsiteY1" fmla="*/ 5907 h 695957"/>
                                  <a:gd name="connsiteX2" fmla="*/ 378084 w 381953"/>
                                  <a:gd name="connsiteY2" fmla="*/ 153856 h 695957"/>
                                  <a:gd name="connsiteX3" fmla="*/ 363966 w 381953"/>
                                  <a:gd name="connsiteY3" fmla="*/ 300154 h 695957"/>
                                  <a:gd name="connsiteX4" fmla="*/ 273309 w 381953"/>
                                  <a:gd name="connsiteY4" fmla="*/ 482470 h 695957"/>
                                  <a:gd name="connsiteX5" fmla="*/ 95 w 381953"/>
                                  <a:gd name="connsiteY5" fmla="*/ 694410 h 695957"/>
                                  <a:gd name="connsiteX6" fmla="*/ 243444 w 381953"/>
                                  <a:gd name="connsiteY6" fmla="*/ 366828 h 695957"/>
                                  <a:gd name="connsiteX0" fmla="*/ 243444 w 379080"/>
                                  <a:gd name="connsiteY0" fmla="*/ 366828 h 695838"/>
                                  <a:gd name="connsiteX1" fmla="*/ 326326 w 379080"/>
                                  <a:gd name="connsiteY1" fmla="*/ 5907 h 695838"/>
                                  <a:gd name="connsiteX2" fmla="*/ 378084 w 379080"/>
                                  <a:gd name="connsiteY2" fmla="*/ 153856 h 695838"/>
                                  <a:gd name="connsiteX3" fmla="*/ 363966 w 379080"/>
                                  <a:gd name="connsiteY3" fmla="*/ 300154 h 695838"/>
                                  <a:gd name="connsiteX4" fmla="*/ 335222 w 379080"/>
                                  <a:gd name="connsiteY4" fmla="*/ 406271 h 695838"/>
                                  <a:gd name="connsiteX5" fmla="*/ 273309 w 379080"/>
                                  <a:gd name="connsiteY5" fmla="*/ 482470 h 695838"/>
                                  <a:gd name="connsiteX6" fmla="*/ 95 w 379080"/>
                                  <a:gd name="connsiteY6" fmla="*/ 694410 h 695838"/>
                                  <a:gd name="connsiteX7" fmla="*/ 243444 w 379080"/>
                                  <a:gd name="connsiteY7" fmla="*/ 366828 h 695838"/>
                                  <a:gd name="connsiteX0" fmla="*/ 243441 w 379077"/>
                                  <a:gd name="connsiteY0" fmla="*/ 372957 h 701967"/>
                                  <a:gd name="connsiteX1" fmla="*/ 292201 w 379077"/>
                                  <a:gd name="connsiteY1" fmla="*/ 49685 h 701967"/>
                                  <a:gd name="connsiteX2" fmla="*/ 326323 w 379077"/>
                                  <a:gd name="connsiteY2" fmla="*/ 12036 h 701967"/>
                                  <a:gd name="connsiteX3" fmla="*/ 378081 w 379077"/>
                                  <a:gd name="connsiteY3" fmla="*/ 159985 h 701967"/>
                                  <a:gd name="connsiteX4" fmla="*/ 363963 w 379077"/>
                                  <a:gd name="connsiteY4" fmla="*/ 306283 h 701967"/>
                                  <a:gd name="connsiteX5" fmla="*/ 335219 w 379077"/>
                                  <a:gd name="connsiteY5" fmla="*/ 412400 h 701967"/>
                                  <a:gd name="connsiteX6" fmla="*/ 273306 w 379077"/>
                                  <a:gd name="connsiteY6" fmla="*/ 488599 h 701967"/>
                                  <a:gd name="connsiteX7" fmla="*/ 92 w 379077"/>
                                  <a:gd name="connsiteY7" fmla="*/ 700539 h 701967"/>
                                  <a:gd name="connsiteX8" fmla="*/ 243441 w 379077"/>
                                  <a:gd name="connsiteY8" fmla="*/ 372957 h 701967"/>
                                  <a:gd name="connsiteX0" fmla="*/ 243441 w 379299"/>
                                  <a:gd name="connsiteY0" fmla="*/ 444886 h 773896"/>
                                  <a:gd name="connsiteX1" fmla="*/ 292201 w 379299"/>
                                  <a:gd name="connsiteY1" fmla="*/ 121614 h 773896"/>
                                  <a:gd name="connsiteX2" fmla="*/ 334383 w 379299"/>
                                  <a:gd name="connsiteY2" fmla="*/ 2764 h 773896"/>
                                  <a:gd name="connsiteX3" fmla="*/ 378081 w 379299"/>
                                  <a:gd name="connsiteY3" fmla="*/ 231914 h 773896"/>
                                  <a:gd name="connsiteX4" fmla="*/ 363963 w 379299"/>
                                  <a:gd name="connsiteY4" fmla="*/ 378212 h 773896"/>
                                  <a:gd name="connsiteX5" fmla="*/ 335219 w 379299"/>
                                  <a:gd name="connsiteY5" fmla="*/ 484329 h 773896"/>
                                  <a:gd name="connsiteX6" fmla="*/ 273306 w 379299"/>
                                  <a:gd name="connsiteY6" fmla="*/ 560528 h 773896"/>
                                  <a:gd name="connsiteX7" fmla="*/ 92 w 379299"/>
                                  <a:gd name="connsiteY7" fmla="*/ 772468 h 773896"/>
                                  <a:gd name="connsiteX8" fmla="*/ 243441 w 379299"/>
                                  <a:gd name="connsiteY8" fmla="*/ 444886 h 773896"/>
                                  <a:gd name="connsiteX0" fmla="*/ 424134 w 570110"/>
                                  <a:gd name="connsiteY0" fmla="*/ 626479 h 955489"/>
                                  <a:gd name="connsiteX1" fmla="*/ 472894 w 570110"/>
                                  <a:gd name="connsiteY1" fmla="*/ 303207 h 955489"/>
                                  <a:gd name="connsiteX2" fmla="*/ 73 w 570110"/>
                                  <a:gd name="connsiteY2" fmla="*/ 1980 h 955489"/>
                                  <a:gd name="connsiteX3" fmla="*/ 515076 w 570110"/>
                                  <a:gd name="connsiteY3" fmla="*/ 184357 h 955489"/>
                                  <a:gd name="connsiteX4" fmla="*/ 558774 w 570110"/>
                                  <a:gd name="connsiteY4" fmla="*/ 413507 h 955489"/>
                                  <a:gd name="connsiteX5" fmla="*/ 544656 w 570110"/>
                                  <a:gd name="connsiteY5" fmla="*/ 559805 h 955489"/>
                                  <a:gd name="connsiteX6" fmla="*/ 515912 w 570110"/>
                                  <a:gd name="connsiteY6" fmla="*/ 665922 h 955489"/>
                                  <a:gd name="connsiteX7" fmla="*/ 453999 w 570110"/>
                                  <a:gd name="connsiteY7" fmla="*/ 742121 h 955489"/>
                                  <a:gd name="connsiteX8" fmla="*/ 180785 w 570110"/>
                                  <a:gd name="connsiteY8" fmla="*/ 954061 h 955489"/>
                                  <a:gd name="connsiteX9" fmla="*/ 424134 w 570110"/>
                                  <a:gd name="connsiteY9" fmla="*/ 626479 h 955489"/>
                                  <a:gd name="connsiteX0" fmla="*/ 467547 w 613523"/>
                                  <a:gd name="connsiteY0" fmla="*/ 629550 h 958560"/>
                                  <a:gd name="connsiteX1" fmla="*/ 516307 w 613523"/>
                                  <a:gd name="connsiteY1" fmla="*/ 306278 h 958560"/>
                                  <a:gd name="connsiteX2" fmla="*/ 81098 w 613523"/>
                                  <a:gd name="connsiteY2" fmla="*/ 101969 h 958560"/>
                                  <a:gd name="connsiteX3" fmla="*/ 43486 w 613523"/>
                                  <a:gd name="connsiteY3" fmla="*/ 5051 h 958560"/>
                                  <a:gd name="connsiteX4" fmla="*/ 558489 w 613523"/>
                                  <a:gd name="connsiteY4" fmla="*/ 187428 h 958560"/>
                                  <a:gd name="connsiteX5" fmla="*/ 602187 w 613523"/>
                                  <a:gd name="connsiteY5" fmla="*/ 416578 h 958560"/>
                                  <a:gd name="connsiteX6" fmla="*/ 588069 w 613523"/>
                                  <a:gd name="connsiteY6" fmla="*/ 562876 h 958560"/>
                                  <a:gd name="connsiteX7" fmla="*/ 559325 w 613523"/>
                                  <a:gd name="connsiteY7" fmla="*/ 668993 h 958560"/>
                                  <a:gd name="connsiteX8" fmla="*/ 497412 w 613523"/>
                                  <a:gd name="connsiteY8" fmla="*/ 745192 h 958560"/>
                                  <a:gd name="connsiteX9" fmla="*/ 224198 w 613523"/>
                                  <a:gd name="connsiteY9" fmla="*/ 957132 h 958560"/>
                                  <a:gd name="connsiteX10" fmla="*/ 467547 w 613523"/>
                                  <a:gd name="connsiteY10" fmla="*/ 629550 h 958560"/>
                                  <a:gd name="connsiteX0" fmla="*/ 467547 w 605112"/>
                                  <a:gd name="connsiteY0" fmla="*/ 629550 h 958560"/>
                                  <a:gd name="connsiteX1" fmla="*/ 516307 w 605112"/>
                                  <a:gd name="connsiteY1" fmla="*/ 306278 h 958560"/>
                                  <a:gd name="connsiteX2" fmla="*/ 81098 w 605112"/>
                                  <a:gd name="connsiteY2" fmla="*/ 101969 h 958560"/>
                                  <a:gd name="connsiteX3" fmla="*/ 43486 w 605112"/>
                                  <a:gd name="connsiteY3" fmla="*/ 5051 h 958560"/>
                                  <a:gd name="connsiteX4" fmla="*/ 531625 w 605112"/>
                                  <a:gd name="connsiteY4" fmla="*/ 187428 h 958560"/>
                                  <a:gd name="connsiteX5" fmla="*/ 602187 w 605112"/>
                                  <a:gd name="connsiteY5" fmla="*/ 416578 h 958560"/>
                                  <a:gd name="connsiteX6" fmla="*/ 588069 w 605112"/>
                                  <a:gd name="connsiteY6" fmla="*/ 562876 h 958560"/>
                                  <a:gd name="connsiteX7" fmla="*/ 559325 w 605112"/>
                                  <a:gd name="connsiteY7" fmla="*/ 668993 h 958560"/>
                                  <a:gd name="connsiteX8" fmla="*/ 497412 w 605112"/>
                                  <a:gd name="connsiteY8" fmla="*/ 745192 h 958560"/>
                                  <a:gd name="connsiteX9" fmla="*/ 224198 w 605112"/>
                                  <a:gd name="connsiteY9" fmla="*/ 957132 h 958560"/>
                                  <a:gd name="connsiteX10" fmla="*/ 467547 w 605112"/>
                                  <a:gd name="connsiteY10" fmla="*/ 629550 h 958560"/>
                                  <a:gd name="connsiteX0" fmla="*/ 387915 w 625491"/>
                                  <a:gd name="connsiteY0" fmla="*/ 759503 h 1088513"/>
                                  <a:gd name="connsiteX1" fmla="*/ 436675 w 625491"/>
                                  <a:gd name="connsiteY1" fmla="*/ 436231 h 1088513"/>
                                  <a:gd name="connsiteX2" fmla="*/ 1466 w 625491"/>
                                  <a:gd name="connsiteY2" fmla="*/ 231922 h 1088513"/>
                                  <a:gd name="connsiteX3" fmla="*/ 608606 w 625491"/>
                                  <a:gd name="connsiteY3" fmla="*/ 2289 h 1088513"/>
                                  <a:gd name="connsiteX4" fmla="*/ 451993 w 625491"/>
                                  <a:gd name="connsiteY4" fmla="*/ 317381 h 1088513"/>
                                  <a:gd name="connsiteX5" fmla="*/ 522555 w 625491"/>
                                  <a:gd name="connsiteY5" fmla="*/ 546531 h 1088513"/>
                                  <a:gd name="connsiteX6" fmla="*/ 508437 w 625491"/>
                                  <a:gd name="connsiteY6" fmla="*/ 692829 h 1088513"/>
                                  <a:gd name="connsiteX7" fmla="*/ 479693 w 625491"/>
                                  <a:gd name="connsiteY7" fmla="*/ 798946 h 1088513"/>
                                  <a:gd name="connsiteX8" fmla="*/ 417780 w 625491"/>
                                  <a:gd name="connsiteY8" fmla="*/ 875145 h 1088513"/>
                                  <a:gd name="connsiteX9" fmla="*/ 144566 w 625491"/>
                                  <a:gd name="connsiteY9" fmla="*/ 1087085 h 1088513"/>
                                  <a:gd name="connsiteX10" fmla="*/ 387915 w 625491"/>
                                  <a:gd name="connsiteY10" fmla="*/ 759503 h 1088513"/>
                                  <a:gd name="connsiteX0" fmla="*/ 387915 w 650065"/>
                                  <a:gd name="connsiteY0" fmla="*/ 758050 h 1087060"/>
                                  <a:gd name="connsiteX1" fmla="*/ 436675 w 650065"/>
                                  <a:gd name="connsiteY1" fmla="*/ 434778 h 1087060"/>
                                  <a:gd name="connsiteX2" fmla="*/ 1466 w 650065"/>
                                  <a:gd name="connsiteY2" fmla="*/ 230469 h 1087060"/>
                                  <a:gd name="connsiteX3" fmla="*/ 608606 w 650065"/>
                                  <a:gd name="connsiteY3" fmla="*/ 836 h 1087060"/>
                                  <a:gd name="connsiteX4" fmla="*/ 588108 w 650065"/>
                                  <a:gd name="connsiteY4" fmla="*/ 315928 h 1087060"/>
                                  <a:gd name="connsiteX5" fmla="*/ 522555 w 650065"/>
                                  <a:gd name="connsiteY5" fmla="*/ 545078 h 1087060"/>
                                  <a:gd name="connsiteX6" fmla="*/ 508437 w 650065"/>
                                  <a:gd name="connsiteY6" fmla="*/ 691376 h 1087060"/>
                                  <a:gd name="connsiteX7" fmla="*/ 479693 w 650065"/>
                                  <a:gd name="connsiteY7" fmla="*/ 797493 h 1087060"/>
                                  <a:gd name="connsiteX8" fmla="*/ 417780 w 650065"/>
                                  <a:gd name="connsiteY8" fmla="*/ 873692 h 1087060"/>
                                  <a:gd name="connsiteX9" fmla="*/ 144566 w 650065"/>
                                  <a:gd name="connsiteY9" fmla="*/ 1085632 h 1087060"/>
                                  <a:gd name="connsiteX10" fmla="*/ 387915 w 650065"/>
                                  <a:gd name="connsiteY10" fmla="*/ 758050 h 1087060"/>
                                  <a:gd name="connsiteX0" fmla="*/ 243441 w 468943"/>
                                  <a:gd name="connsiteY0" fmla="*/ 757770 h 1086780"/>
                                  <a:gd name="connsiteX1" fmla="*/ 292201 w 468943"/>
                                  <a:gd name="connsiteY1" fmla="*/ 434498 h 1086780"/>
                                  <a:gd name="connsiteX2" fmla="*/ 358466 w 468943"/>
                                  <a:gd name="connsiteY2" fmla="*/ 244159 h 1086780"/>
                                  <a:gd name="connsiteX3" fmla="*/ 464132 w 468943"/>
                                  <a:gd name="connsiteY3" fmla="*/ 556 h 1086780"/>
                                  <a:gd name="connsiteX4" fmla="*/ 443634 w 468943"/>
                                  <a:gd name="connsiteY4" fmla="*/ 315648 h 1086780"/>
                                  <a:gd name="connsiteX5" fmla="*/ 378081 w 468943"/>
                                  <a:gd name="connsiteY5" fmla="*/ 544798 h 1086780"/>
                                  <a:gd name="connsiteX6" fmla="*/ 363963 w 468943"/>
                                  <a:gd name="connsiteY6" fmla="*/ 691096 h 1086780"/>
                                  <a:gd name="connsiteX7" fmla="*/ 335219 w 468943"/>
                                  <a:gd name="connsiteY7" fmla="*/ 797213 h 1086780"/>
                                  <a:gd name="connsiteX8" fmla="*/ 273306 w 468943"/>
                                  <a:gd name="connsiteY8" fmla="*/ 873412 h 1086780"/>
                                  <a:gd name="connsiteX9" fmla="*/ 92 w 468943"/>
                                  <a:gd name="connsiteY9" fmla="*/ 1085352 h 1086780"/>
                                  <a:gd name="connsiteX10" fmla="*/ 243441 w 468943"/>
                                  <a:gd name="connsiteY10" fmla="*/ 757770 h 1086780"/>
                                  <a:gd name="connsiteX0" fmla="*/ 243441 w 468943"/>
                                  <a:gd name="connsiteY0" fmla="*/ 757732 h 1086742"/>
                                  <a:gd name="connsiteX1" fmla="*/ 292201 w 468943"/>
                                  <a:gd name="connsiteY1" fmla="*/ 434460 h 1086742"/>
                                  <a:gd name="connsiteX2" fmla="*/ 343053 w 468943"/>
                                  <a:gd name="connsiteY2" fmla="*/ 351389 h 1086742"/>
                                  <a:gd name="connsiteX3" fmla="*/ 358466 w 468943"/>
                                  <a:gd name="connsiteY3" fmla="*/ 244121 h 1086742"/>
                                  <a:gd name="connsiteX4" fmla="*/ 464132 w 468943"/>
                                  <a:gd name="connsiteY4" fmla="*/ 518 h 1086742"/>
                                  <a:gd name="connsiteX5" fmla="*/ 443634 w 468943"/>
                                  <a:gd name="connsiteY5" fmla="*/ 315610 h 1086742"/>
                                  <a:gd name="connsiteX6" fmla="*/ 378081 w 468943"/>
                                  <a:gd name="connsiteY6" fmla="*/ 544760 h 1086742"/>
                                  <a:gd name="connsiteX7" fmla="*/ 363963 w 468943"/>
                                  <a:gd name="connsiteY7" fmla="*/ 691058 h 1086742"/>
                                  <a:gd name="connsiteX8" fmla="*/ 335219 w 468943"/>
                                  <a:gd name="connsiteY8" fmla="*/ 797175 h 1086742"/>
                                  <a:gd name="connsiteX9" fmla="*/ 273306 w 468943"/>
                                  <a:gd name="connsiteY9" fmla="*/ 873374 h 1086742"/>
                                  <a:gd name="connsiteX10" fmla="*/ 92 w 468943"/>
                                  <a:gd name="connsiteY10" fmla="*/ 1085314 h 1086742"/>
                                  <a:gd name="connsiteX11" fmla="*/ 243441 w 468943"/>
                                  <a:gd name="connsiteY11" fmla="*/ 757732 h 1086742"/>
                                  <a:gd name="connsiteX0" fmla="*/ 243441 w 449000"/>
                                  <a:gd name="connsiteY0" fmla="*/ 757732 h 1086742"/>
                                  <a:gd name="connsiteX1" fmla="*/ 292201 w 449000"/>
                                  <a:gd name="connsiteY1" fmla="*/ 434460 h 1086742"/>
                                  <a:gd name="connsiteX2" fmla="*/ 343053 w 449000"/>
                                  <a:gd name="connsiteY2" fmla="*/ 351389 h 1086742"/>
                                  <a:gd name="connsiteX3" fmla="*/ 358466 w 449000"/>
                                  <a:gd name="connsiteY3" fmla="*/ 244121 h 1086742"/>
                                  <a:gd name="connsiteX4" fmla="*/ 435477 w 449000"/>
                                  <a:gd name="connsiteY4" fmla="*/ 518 h 1086742"/>
                                  <a:gd name="connsiteX5" fmla="*/ 443634 w 449000"/>
                                  <a:gd name="connsiteY5" fmla="*/ 315610 h 1086742"/>
                                  <a:gd name="connsiteX6" fmla="*/ 378081 w 449000"/>
                                  <a:gd name="connsiteY6" fmla="*/ 544760 h 1086742"/>
                                  <a:gd name="connsiteX7" fmla="*/ 363963 w 449000"/>
                                  <a:gd name="connsiteY7" fmla="*/ 691058 h 1086742"/>
                                  <a:gd name="connsiteX8" fmla="*/ 335219 w 449000"/>
                                  <a:gd name="connsiteY8" fmla="*/ 797175 h 1086742"/>
                                  <a:gd name="connsiteX9" fmla="*/ 273306 w 449000"/>
                                  <a:gd name="connsiteY9" fmla="*/ 873374 h 1086742"/>
                                  <a:gd name="connsiteX10" fmla="*/ 92 w 449000"/>
                                  <a:gd name="connsiteY10" fmla="*/ 1085314 h 1086742"/>
                                  <a:gd name="connsiteX11" fmla="*/ 243441 w 449000"/>
                                  <a:gd name="connsiteY11" fmla="*/ 757732 h 1086742"/>
                                  <a:gd name="connsiteX0" fmla="*/ 250600 w 456159"/>
                                  <a:gd name="connsiteY0" fmla="*/ 757732 h 1086742"/>
                                  <a:gd name="connsiteX1" fmla="*/ 299360 w 456159"/>
                                  <a:gd name="connsiteY1" fmla="*/ 434460 h 1086742"/>
                                  <a:gd name="connsiteX2" fmla="*/ 350212 w 456159"/>
                                  <a:gd name="connsiteY2" fmla="*/ 351389 h 1086742"/>
                                  <a:gd name="connsiteX3" fmla="*/ 365625 w 456159"/>
                                  <a:gd name="connsiteY3" fmla="*/ 244121 h 1086742"/>
                                  <a:gd name="connsiteX4" fmla="*/ 442636 w 456159"/>
                                  <a:gd name="connsiteY4" fmla="*/ 518 h 1086742"/>
                                  <a:gd name="connsiteX5" fmla="*/ 450793 w 456159"/>
                                  <a:gd name="connsiteY5" fmla="*/ 315610 h 1086742"/>
                                  <a:gd name="connsiteX6" fmla="*/ 385240 w 456159"/>
                                  <a:gd name="connsiteY6" fmla="*/ 544760 h 1086742"/>
                                  <a:gd name="connsiteX7" fmla="*/ 371122 w 456159"/>
                                  <a:gd name="connsiteY7" fmla="*/ 691058 h 1086742"/>
                                  <a:gd name="connsiteX8" fmla="*/ 342378 w 456159"/>
                                  <a:gd name="connsiteY8" fmla="*/ 797175 h 1086742"/>
                                  <a:gd name="connsiteX9" fmla="*/ 280465 w 456159"/>
                                  <a:gd name="connsiteY9" fmla="*/ 873374 h 1086742"/>
                                  <a:gd name="connsiteX10" fmla="*/ 88 w 456159"/>
                                  <a:gd name="connsiteY10" fmla="*/ 1085314 h 1086742"/>
                                  <a:gd name="connsiteX11" fmla="*/ 250600 w 456159"/>
                                  <a:gd name="connsiteY11" fmla="*/ 757732 h 1086742"/>
                                  <a:gd name="connsiteX0" fmla="*/ 186156 w 391715"/>
                                  <a:gd name="connsiteY0" fmla="*/ 757732 h 1114504"/>
                                  <a:gd name="connsiteX1" fmla="*/ 234916 w 391715"/>
                                  <a:gd name="connsiteY1" fmla="*/ 434460 h 1114504"/>
                                  <a:gd name="connsiteX2" fmla="*/ 285768 w 391715"/>
                                  <a:gd name="connsiteY2" fmla="*/ 351389 h 1114504"/>
                                  <a:gd name="connsiteX3" fmla="*/ 301181 w 391715"/>
                                  <a:gd name="connsiteY3" fmla="*/ 244121 h 1114504"/>
                                  <a:gd name="connsiteX4" fmla="*/ 378192 w 391715"/>
                                  <a:gd name="connsiteY4" fmla="*/ 518 h 1114504"/>
                                  <a:gd name="connsiteX5" fmla="*/ 386349 w 391715"/>
                                  <a:gd name="connsiteY5" fmla="*/ 315610 h 1114504"/>
                                  <a:gd name="connsiteX6" fmla="*/ 320796 w 391715"/>
                                  <a:gd name="connsiteY6" fmla="*/ 544760 h 1114504"/>
                                  <a:gd name="connsiteX7" fmla="*/ 306678 w 391715"/>
                                  <a:gd name="connsiteY7" fmla="*/ 691058 h 1114504"/>
                                  <a:gd name="connsiteX8" fmla="*/ 277934 w 391715"/>
                                  <a:gd name="connsiteY8" fmla="*/ 797175 h 1114504"/>
                                  <a:gd name="connsiteX9" fmla="*/ 216021 w 391715"/>
                                  <a:gd name="connsiteY9" fmla="*/ 873374 h 1114504"/>
                                  <a:gd name="connsiteX10" fmla="*/ 119 w 391715"/>
                                  <a:gd name="connsiteY10" fmla="*/ 1113254 h 1114504"/>
                                  <a:gd name="connsiteX11" fmla="*/ 186156 w 391715"/>
                                  <a:gd name="connsiteY11" fmla="*/ 757732 h 1114504"/>
                                  <a:gd name="connsiteX0" fmla="*/ 201911 w 407470"/>
                                  <a:gd name="connsiteY0" fmla="*/ 757732 h 1116615"/>
                                  <a:gd name="connsiteX1" fmla="*/ 250671 w 407470"/>
                                  <a:gd name="connsiteY1" fmla="*/ 434460 h 1116615"/>
                                  <a:gd name="connsiteX2" fmla="*/ 301523 w 407470"/>
                                  <a:gd name="connsiteY2" fmla="*/ 351389 h 1116615"/>
                                  <a:gd name="connsiteX3" fmla="*/ 316936 w 407470"/>
                                  <a:gd name="connsiteY3" fmla="*/ 244121 h 1116615"/>
                                  <a:gd name="connsiteX4" fmla="*/ 393947 w 407470"/>
                                  <a:gd name="connsiteY4" fmla="*/ 518 h 1116615"/>
                                  <a:gd name="connsiteX5" fmla="*/ 402104 w 407470"/>
                                  <a:gd name="connsiteY5" fmla="*/ 315610 h 1116615"/>
                                  <a:gd name="connsiteX6" fmla="*/ 336551 w 407470"/>
                                  <a:gd name="connsiteY6" fmla="*/ 544760 h 1116615"/>
                                  <a:gd name="connsiteX7" fmla="*/ 322433 w 407470"/>
                                  <a:gd name="connsiteY7" fmla="*/ 691058 h 1116615"/>
                                  <a:gd name="connsiteX8" fmla="*/ 293689 w 407470"/>
                                  <a:gd name="connsiteY8" fmla="*/ 797175 h 1116615"/>
                                  <a:gd name="connsiteX9" fmla="*/ 231776 w 407470"/>
                                  <a:gd name="connsiteY9" fmla="*/ 873374 h 1116615"/>
                                  <a:gd name="connsiteX10" fmla="*/ 15874 w 407470"/>
                                  <a:gd name="connsiteY10" fmla="*/ 1113254 h 1116615"/>
                                  <a:gd name="connsiteX11" fmla="*/ 201911 w 407470"/>
                                  <a:gd name="connsiteY11" fmla="*/ 757732 h 1116615"/>
                                  <a:gd name="connsiteX0" fmla="*/ 201911 w 538128"/>
                                  <a:gd name="connsiteY0" fmla="*/ 757732 h 1116615"/>
                                  <a:gd name="connsiteX1" fmla="*/ 250671 w 538128"/>
                                  <a:gd name="connsiteY1" fmla="*/ 434460 h 1116615"/>
                                  <a:gd name="connsiteX2" fmla="*/ 301523 w 538128"/>
                                  <a:gd name="connsiteY2" fmla="*/ 351389 h 1116615"/>
                                  <a:gd name="connsiteX3" fmla="*/ 316936 w 538128"/>
                                  <a:gd name="connsiteY3" fmla="*/ 244121 h 1116615"/>
                                  <a:gd name="connsiteX4" fmla="*/ 393947 w 538128"/>
                                  <a:gd name="connsiteY4" fmla="*/ 518 h 1116615"/>
                                  <a:gd name="connsiteX5" fmla="*/ 402104 w 538128"/>
                                  <a:gd name="connsiteY5" fmla="*/ 315610 h 1116615"/>
                                  <a:gd name="connsiteX6" fmla="*/ 537140 w 538128"/>
                                  <a:gd name="connsiteY6" fmla="*/ 530790 h 1116615"/>
                                  <a:gd name="connsiteX7" fmla="*/ 322433 w 538128"/>
                                  <a:gd name="connsiteY7" fmla="*/ 691058 h 1116615"/>
                                  <a:gd name="connsiteX8" fmla="*/ 293689 w 538128"/>
                                  <a:gd name="connsiteY8" fmla="*/ 797175 h 1116615"/>
                                  <a:gd name="connsiteX9" fmla="*/ 231776 w 538128"/>
                                  <a:gd name="connsiteY9" fmla="*/ 873374 h 1116615"/>
                                  <a:gd name="connsiteX10" fmla="*/ 15874 w 538128"/>
                                  <a:gd name="connsiteY10" fmla="*/ 1113254 h 1116615"/>
                                  <a:gd name="connsiteX11" fmla="*/ 201911 w 538128"/>
                                  <a:gd name="connsiteY11" fmla="*/ 757732 h 1116615"/>
                                  <a:gd name="connsiteX0" fmla="*/ 204149 w 540366"/>
                                  <a:gd name="connsiteY0" fmla="*/ 757732 h 1116615"/>
                                  <a:gd name="connsiteX1" fmla="*/ 474990 w 540366"/>
                                  <a:gd name="connsiteY1" fmla="*/ 497325 h 1116615"/>
                                  <a:gd name="connsiteX2" fmla="*/ 303761 w 540366"/>
                                  <a:gd name="connsiteY2" fmla="*/ 351389 h 1116615"/>
                                  <a:gd name="connsiteX3" fmla="*/ 319174 w 540366"/>
                                  <a:gd name="connsiteY3" fmla="*/ 244121 h 1116615"/>
                                  <a:gd name="connsiteX4" fmla="*/ 396185 w 540366"/>
                                  <a:gd name="connsiteY4" fmla="*/ 518 h 1116615"/>
                                  <a:gd name="connsiteX5" fmla="*/ 404342 w 540366"/>
                                  <a:gd name="connsiteY5" fmla="*/ 315610 h 1116615"/>
                                  <a:gd name="connsiteX6" fmla="*/ 539378 w 540366"/>
                                  <a:gd name="connsiteY6" fmla="*/ 530790 h 1116615"/>
                                  <a:gd name="connsiteX7" fmla="*/ 324671 w 540366"/>
                                  <a:gd name="connsiteY7" fmla="*/ 691058 h 1116615"/>
                                  <a:gd name="connsiteX8" fmla="*/ 295927 w 540366"/>
                                  <a:gd name="connsiteY8" fmla="*/ 797175 h 1116615"/>
                                  <a:gd name="connsiteX9" fmla="*/ 234014 w 540366"/>
                                  <a:gd name="connsiteY9" fmla="*/ 873374 h 1116615"/>
                                  <a:gd name="connsiteX10" fmla="*/ 18112 w 540366"/>
                                  <a:gd name="connsiteY10" fmla="*/ 1113254 h 1116615"/>
                                  <a:gd name="connsiteX11" fmla="*/ 204149 w 540366"/>
                                  <a:gd name="connsiteY11" fmla="*/ 757732 h 1116615"/>
                                  <a:gd name="connsiteX0" fmla="*/ 204149 w 539529"/>
                                  <a:gd name="connsiteY0" fmla="*/ 757732 h 1116615"/>
                                  <a:gd name="connsiteX1" fmla="*/ 474990 w 539529"/>
                                  <a:gd name="connsiteY1" fmla="*/ 497325 h 1116615"/>
                                  <a:gd name="connsiteX2" fmla="*/ 303761 w 539529"/>
                                  <a:gd name="connsiteY2" fmla="*/ 351389 h 1116615"/>
                                  <a:gd name="connsiteX3" fmla="*/ 319174 w 539529"/>
                                  <a:gd name="connsiteY3" fmla="*/ 244121 h 1116615"/>
                                  <a:gd name="connsiteX4" fmla="*/ 396185 w 539529"/>
                                  <a:gd name="connsiteY4" fmla="*/ 518 h 1116615"/>
                                  <a:gd name="connsiteX5" fmla="*/ 404342 w 539529"/>
                                  <a:gd name="connsiteY5" fmla="*/ 315610 h 1116615"/>
                                  <a:gd name="connsiteX6" fmla="*/ 539378 w 539529"/>
                                  <a:gd name="connsiteY6" fmla="*/ 530790 h 1116615"/>
                                  <a:gd name="connsiteX7" fmla="*/ 374818 w 539529"/>
                                  <a:gd name="connsiteY7" fmla="*/ 712013 h 1116615"/>
                                  <a:gd name="connsiteX8" fmla="*/ 295927 w 539529"/>
                                  <a:gd name="connsiteY8" fmla="*/ 797175 h 1116615"/>
                                  <a:gd name="connsiteX9" fmla="*/ 234014 w 539529"/>
                                  <a:gd name="connsiteY9" fmla="*/ 873374 h 1116615"/>
                                  <a:gd name="connsiteX10" fmla="*/ 18112 w 539529"/>
                                  <a:gd name="connsiteY10" fmla="*/ 1113254 h 1116615"/>
                                  <a:gd name="connsiteX11" fmla="*/ 204149 w 539529"/>
                                  <a:gd name="connsiteY11" fmla="*/ 757732 h 1116615"/>
                                  <a:gd name="connsiteX0" fmla="*/ 204149 w 573637"/>
                                  <a:gd name="connsiteY0" fmla="*/ 757223 h 1116106"/>
                                  <a:gd name="connsiteX1" fmla="*/ 474990 w 573637"/>
                                  <a:gd name="connsiteY1" fmla="*/ 496816 h 1116106"/>
                                  <a:gd name="connsiteX2" fmla="*/ 303761 w 573637"/>
                                  <a:gd name="connsiteY2" fmla="*/ 350880 h 1116106"/>
                                  <a:gd name="connsiteX3" fmla="*/ 319174 w 573637"/>
                                  <a:gd name="connsiteY3" fmla="*/ 243612 h 1116106"/>
                                  <a:gd name="connsiteX4" fmla="*/ 396185 w 573637"/>
                                  <a:gd name="connsiteY4" fmla="*/ 9 h 1116106"/>
                                  <a:gd name="connsiteX5" fmla="*/ 561948 w 573637"/>
                                  <a:gd name="connsiteY5" fmla="*/ 252236 h 1116106"/>
                                  <a:gd name="connsiteX6" fmla="*/ 539378 w 573637"/>
                                  <a:gd name="connsiteY6" fmla="*/ 530281 h 1116106"/>
                                  <a:gd name="connsiteX7" fmla="*/ 374818 w 573637"/>
                                  <a:gd name="connsiteY7" fmla="*/ 711504 h 1116106"/>
                                  <a:gd name="connsiteX8" fmla="*/ 295927 w 573637"/>
                                  <a:gd name="connsiteY8" fmla="*/ 796666 h 1116106"/>
                                  <a:gd name="connsiteX9" fmla="*/ 234014 w 573637"/>
                                  <a:gd name="connsiteY9" fmla="*/ 872865 h 1116106"/>
                                  <a:gd name="connsiteX10" fmla="*/ 18112 w 573637"/>
                                  <a:gd name="connsiteY10" fmla="*/ 1112745 h 1116106"/>
                                  <a:gd name="connsiteX11" fmla="*/ 204149 w 573637"/>
                                  <a:gd name="connsiteY11" fmla="*/ 757223 h 1116106"/>
                                  <a:gd name="connsiteX0" fmla="*/ 204149 w 573637"/>
                                  <a:gd name="connsiteY0" fmla="*/ 757223 h 1116106"/>
                                  <a:gd name="connsiteX1" fmla="*/ 474990 w 573637"/>
                                  <a:gd name="connsiteY1" fmla="*/ 496816 h 1116106"/>
                                  <a:gd name="connsiteX2" fmla="*/ 475695 w 573637"/>
                                  <a:gd name="connsiteY2" fmla="*/ 315955 h 1116106"/>
                                  <a:gd name="connsiteX3" fmla="*/ 319174 w 573637"/>
                                  <a:gd name="connsiteY3" fmla="*/ 243612 h 1116106"/>
                                  <a:gd name="connsiteX4" fmla="*/ 396185 w 573637"/>
                                  <a:gd name="connsiteY4" fmla="*/ 9 h 1116106"/>
                                  <a:gd name="connsiteX5" fmla="*/ 561948 w 573637"/>
                                  <a:gd name="connsiteY5" fmla="*/ 252236 h 1116106"/>
                                  <a:gd name="connsiteX6" fmla="*/ 539378 w 573637"/>
                                  <a:gd name="connsiteY6" fmla="*/ 530281 h 1116106"/>
                                  <a:gd name="connsiteX7" fmla="*/ 374818 w 573637"/>
                                  <a:gd name="connsiteY7" fmla="*/ 711504 h 1116106"/>
                                  <a:gd name="connsiteX8" fmla="*/ 295927 w 573637"/>
                                  <a:gd name="connsiteY8" fmla="*/ 796666 h 1116106"/>
                                  <a:gd name="connsiteX9" fmla="*/ 234014 w 573637"/>
                                  <a:gd name="connsiteY9" fmla="*/ 872865 h 1116106"/>
                                  <a:gd name="connsiteX10" fmla="*/ 18112 w 573637"/>
                                  <a:gd name="connsiteY10" fmla="*/ 1112745 h 1116106"/>
                                  <a:gd name="connsiteX11" fmla="*/ 204149 w 573637"/>
                                  <a:gd name="connsiteY11" fmla="*/ 757223 h 1116106"/>
                                  <a:gd name="connsiteX0" fmla="*/ 207751 w 577239"/>
                                  <a:gd name="connsiteY0" fmla="*/ 834761 h 1193644"/>
                                  <a:gd name="connsiteX1" fmla="*/ 478592 w 577239"/>
                                  <a:gd name="connsiteY1" fmla="*/ 574354 h 1193644"/>
                                  <a:gd name="connsiteX2" fmla="*/ 479297 w 577239"/>
                                  <a:gd name="connsiteY2" fmla="*/ 393493 h 1193644"/>
                                  <a:gd name="connsiteX3" fmla="*/ 401 w 577239"/>
                                  <a:gd name="connsiteY3" fmla="*/ 20794 h 1193644"/>
                                  <a:gd name="connsiteX4" fmla="*/ 399787 w 577239"/>
                                  <a:gd name="connsiteY4" fmla="*/ 77547 h 1193644"/>
                                  <a:gd name="connsiteX5" fmla="*/ 565550 w 577239"/>
                                  <a:gd name="connsiteY5" fmla="*/ 329774 h 1193644"/>
                                  <a:gd name="connsiteX6" fmla="*/ 542980 w 577239"/>
                                  <a:gd name="connsiteY6" fmla="*/ 607819 h 1193644"/>
                                  <a:gd name="connsiteX7" fmla="*/ 378420 w 577239"/>
                                  <a:gd name="connsiteY7" fmla="*/ 789042 h 1193644"/>
                                  <a:gd name="connsiteX8" fmla="*/ 299529 w 577239"/>
                                  <a:gd name="connsiteY8" fmla="*/ 874204 h 1193644"/>
                                  <a:gd name="connsiteX9" fmla="*/ 237616 w 577239"/>
                                  <a:gd name="connsiteY9" fmla="*/ 950403 h 1193644"/>
                                  <a:gd name="connsiteX10" fmla="*/ 21714 w 577239"/>
                                  <a:gd name="connsiteY10" fmla="*/ 1190283 h 1193644"/>
                                  <a:gd name="connsiteX11" fmla="*/ 207751 w 577239"/>
                                  <a:gd name="connsiteY11" fmla="*/ 834761 h 1193644"/>
                                  <a:gd name="connsiteX0" fmla="*/ 207367 w 576855"/>
                                  <a:gd name="connsiteY0" fmla="*/ 820897 h 1179780"/>
                                  <a:gd name="connsiteX1" fmla="*/ 478208 w 576855"/>
                                  <a:gd name="connsiteY1" fmla="*/ 560490 h 1179780"/>
                                  <a:gd name="connsiteX2" fmla="*/ 478913 w 576855"/>
                                  <a:gd name="connsiteY2" fmla="*/ 379629 h 1179780"/>
                                  <a:gd name="connsiteX3" fmla="*/ 383586 w 576855"/>
                                  <a:gd name="connsiteY3" fmla="*/ 184850 h 1179780"/>
                                  <a:gd name="connsiteX4" fmla="*/ 17 w 576855"/>
                                  <a:gd name="connsiteY4" fmla="*/ 6930 h 1179780"/>
                                  <a:gd name="connsiteX5" fmla="*/ 399403 w 576855"/>
                                  <a:gd name="connsiteY5" fmla="*/ 63683 h 1179780"/>
                                  <a:gd name="connsiteX6" fmla="*/ 565166 w 576855"/>
                                  <a:gd name="connsiteY6" fmla="*/ 315910 h 1179780"/>
                                  <a:gd name="connsiteX7" fmla="*/ 542596 w 576855"/>
                                  <a:gd name="connsiteY7" fmla="*/ 593955 h 1179780"/>
                                  <a:gd name="connsiteX8" fmla="*/ 378036 w 576855"/>
                                  <a:gd name="connsiteY8" fmla="*/ 775178 h 1179780"/>
                                  <a:gd name="connsiteX9" fmla="*/ 299145 w 576855"/>
                                  <a:gd name="connsiteY9" fmla="*/ 860340 h 1179780"/>
                                  <a:gd name="connsiteX10" fmla="*/ 237232 w 576855"/>
                                  <a:gd name="connsiteY10" fmla="*/ 936539 h 1179780"/>
                                  <a:gd name="connsiteX11" fmla="*/ 21330 w 576855"/>
                                  <a:gd name="connsiteY11" fmla="*/ 1176419 h 1179780"/>
                                  <a:gd name="connsiteX12" fmla="*/ 207367 w 576855"/>
                                  <a:gd name="connsiteY12" fmla="*/ 820897 h 1179780"/>
                                  <a:gd name="connsiteX0" fmla="*/ 207406 w 580077"/>
                                  <a:gd name="connsiteY0" fmla="*/ 815404 h 1174287"/>
                                  <a:gd name="connsiteX1" fmla="*/ 478247 w 580077"/>
                                  <a:gd name="connsiteY1" fmla="*/ 554997 h 1174287"/>
                                  <a:gd name="connsiteX2" fmla="*/ 478952 w 580077"/>
                                  <a:gd name="connsiteY2" fmla="*/ 374136 h 1174287"/>
                                  <a:gd name="connsiteX3" fmla="*/ 383625 w 580077"/>
                                  <a:gd name="connsiteY3" fmla="*/ 179357 h 1174287"/>
                                  <a:gd name="connsiteX4" fmla="*/ 56 w 580077"/>
                                  <a:gd name="connsiteY4" fmla="*/ 1437 h 1174287"/>
                                  <a:gd name="connsiteX5" fmla="*/ 356459 w 580077"/>
                                  <a:gd name="connsiteY5" fmla="*/ 107086 h 1174287"/>
                                  <a:gd name="connsiteX6" fmla="*/ 565205 w 580077"/>
                                  <a:gd name="connsiteY6" fmla="*/ 310417 h 1174287"/>
                                  <a:gd name="connsiteX7" fmla="*/ 542635 w 580077"/>
                                  <a:gd name="connsiteY7" fmla="*/ 588462 h 1174287"/>
                                  <a:gd name="connsiteX8" fmla="*/ 378075 w 580077"/>
                                  <a:gd name="connsiteY8" fmla="*/ 769685 h 1174287"/>
                                  <a:gd name="connsiteX9" fmla="*/ 299184 w 580077"/>
                                  <a:gd name="connsiteY9" fmla="*/ 854847 h 1174287"/>
                                  <a:gd name="connsiteX10" fmla="*/ 237271 w 580077"/>
                                  <a:gd name="connsiteY10" fmla="*/ 931046 h 1174287"/>
                                  <a:gd name="connsiteX11" fmla="*/ 21369 w 580077"/>
                                  <a:gd name="connsiteY11" fmla="*/ 1170926 h 1174287"/>
                                  <a:gd name="connsiteX12" fmla="*/ 207406 w 580077"/>
                                  <a:gd name="connsiteY12" fmla="*/ 815404 h 1174287"/>
                                  <a:gd name="connsiteX0" fmla="*/ 204150 w 576821"/>
                                  <a:gd name="connsiteY0" fmla="*/ 713707 h 1072590"/>
                                  <a:gd name="connsiteX1" fmla="*/ 474991 w 576821"/>
                                  <a:gd name="connsiteY1" fmla="*/ 453300 h 1072590"/>
                                  <a:gd name="connsiteX2" fmla="*/ 475696 w 576821"/>
                                  <a:gd name="connsiteY2" fmla="*/ 272439 h 1072590"/>
                                  <a:gd name="connsiteX3" fmla="*/ 380369 w 576821"/>
                                  <a:gd name="connsiteY3" fmla="*/ 77660 h 1072590"/>
                                  <a:gd name="connsiteX4" fmla="*/ 412306 w 576821"/>
                                  <a:gd name="connsiteY4" fmla="*/ 60395 h 1072590"/>
                                  <a:gd name="connsiteX5" fmla="*/ 353203 w 576821"/>
                                  <a:gd name="connsiteY5" fmla="*/ 5389 h 1072590"/>
                                  <a:gd name="connsiteX6" fmla="*/ 561949 w 576821"/>
                                  <a:gd name="connsiteY6" fmla="*/ 208720 h 1072590"/>
                                  <a:gd name="connsiteX7" fmla="*/ 539379 w 576821"/>
                                  <a:gd name="connsiteY7" fmla="*/ 486765 h 1072590"/>
                                  <a:gd name="connsiteX8" fmla="*/ 374819 w 576821"/>
                                  <a:gd name="connsiteY8" fmla="*/ 667988 h 1072590"/>
                                  <a:gd name="connsiteX9" fmla="*/ 295928 w 576821"/>
                                  <a:gd name="connsiteY9" fmla="*/ 753150 h 1072590"/>
                                  <a:gd name="connsiteX10" fmla="*/ 234015 w 576821"/>
                                  <a:gd name="connsiteY10" fmla="*/ 829349 h 1072590"/>
                                  <a:gd name="connsiteX11" fmla="*/ 18113 w 576821"/>
                                  <a:gd name="connsiteY11" fmla="*/ 1069229 h 1072590"/>
                                  <a:gd name="connsiteX12" fmla="*/ 204150 w 576821"/>
                                  <a:gd name="connsiteY12" fmla="*/ 713707 h 1072590"/>
                                  <a:gd name="connsiteX0" fmla="*/ 204150 w 572444"/>
                                  <a:gd name="connsiteY0" fmla="*/ 676201 h 1035084"/>
                                  <a:gd name="connsiteX1" fmla="*/ 474991 w 572444"/>
                                  <a:gd name="connsiteY1" fmla="*/ 415794 h 1035084"/>
                                  <a:gd name="connsiteX2" fmla="*/ 475696 w 572444"/>
                                  <a:gd name="connsiteY2" fmla="*/ 234933 h 1035084"/>
                                  <a:gd name="connsiteX3" fmla="*/ 380369 w 572444"/>
                                  <a:gd name="connsiteY3" fmla="*/ 40154 h 1035084"/>
                                  <a:gd name="connsiteX4" fmla="*/ 412306 w 572444"/>
                                  <a:gd name="connsiteY4" fmla="*/ 22889 h 1035084"/>
                                  <a:gd name="connsiteX5" fmla="*/ 561949 w 572444"/>
                                  <a:gd name="connsiteY5" fmla="*/ 171214 h 1035084"/>
                                  <a:gd name="connsiteX6" fmla="*/ 539379 w 572444"/>
                                  <a:gd name="connsiteY6" fmla="*/ 449259 h 1035084"/>
                                  <a:gd name="connsiteX7" fmla="*/ 374819 w 572444"/>
                                  <a:gd name="connsiteY7" fmla="*/ 630482 h 1035084"/>
                                  <a:gd name="connsiteX8" fmla="*/ 295928 w 572444"/>
                                  <a:gd name="connsiteY8" fmla="*/ 715644 h 1035084"/>
                                  <a:gd name="connsiteX9" fmla="*/ 234015 w 572444"/>
                                  <a:gd name="connsiteY9" fmla="*/ 791843 h 1035084"/>
                                  <a:gd name="connsiteX10" fmla="*/ 18113 w 572444"/>
                                  <a:gd name="connsiteY10" fmla="*/ 1031723 h 1035084"/>
                                  <a:gd name="connsiteX11" fmla="*/ 204150 w 572444"/>
                                  <a:gd name="connsiteY11" fmla="*/ 676201 h 1035084"/>
                                  <a:gd name="connsiteX0" fmla="*/ 204150 w 572444"/>
                                  <a:gd name="connsiteY0" fmla="*/ 676201 h 1035084"/>
                                  <a:gd name="connsiteX1" fmla="*/ 474991 w 572444"/>
                                  <a:gd name="connsiteY1" fmla="*/ 415794 h 1035084"/>
                                  <a:gd name="connsiteX2" fmla="*/ 524052 w 572444"/>
                                  <a:gd name="connsiteY2" fmla="*/ 164210 h 1035084"/>
                                  <a:gd name="connsiteX3" fmla="*/ 380369 w 572444"/>
                                  <a:gd name="connsiteY3" fmla="*/ 40154 h 1035084"/>
                                  <a:gd name="connsiteX4" fmla="*/ 412306 w 572444"/>
                                  <a:gd name="connsiteY4" fmla="*/ 22889 h 1035084"/>
                                  <a:gd name="connsiteX5" fmla="*/ 561949 w 572444"/>
                                  <a:gd name="connsiteY5" fmla="*/ 171214 h 1035084"/>
                                  <a:gd name="connsiteX6" fmla="*/ 539379 w 572444"/>
                                  <a:gd name="connsiteY6" fmla="*/ 449259 h 1035084"/>
                                  <a:gd name="connsiteX7" fmla="*/ 374819 w 572444"/>
                                  <a:gd name="connsiteY7" fmla="*/ 630482 h 1035084"/>
                                  <a:gd name="connsiteX8" fmla="*/ 295928 w 572444"/>
                                  <a:gd name="connsiteY8" fmla="*/ 715644 h 1035084"/>
                                  <a:gd name="connsiteX9" fmla="*/ 234015 w 572444"/>
                                  <a:gd name="connsiteY9" fmla="*/ 791843 h 1035084"/>
                                  <a:gd name="connsiteX10" fmla="*/ 18113 w 572444"/>
                                  <a:gd name="connsiteY10" fmla="*/ 1031723 h 1035084"/>
                                  <a:gd name="connsiteX11" fmla="*/ 204150 w 572444"/>
                                  <a:gd name="connsiteY11" fmla="*/ 676201 h 1035084"/>
                                  <a:gd name="connsiteX0" fmla="*/ 204553 w 572847"/>
                                  <a:gd name="connsiteY0" fmla="*/ 676201 h 1035084"/>
                                  <a:gd name="connsiteX1" fmla="*/ 510318 w 572847"/>
                                  <a:gd name="connsiteY1" fmla="*/ 386982 h 1035084"/>
                                  <a:gd name="connsiteX2" fmla="*/ 524455 w 572847"/>
                                  <a:gd name="connsiteY2" fmla="*/ 164210 h 1035084"/>
                                  <a:gd name="connsiteX3" fmla="*/ 380772 w 572847"/>
                                  <a:gd name="connsiteY3" fmla="*/ 40154 h 1035084"/>
                                  <a:gd name="connsiteX4" fmla="*/ 412709 w 572847"/>
                                  <a:gd name="connsiteY4" fmla="*/ 22889 h 1035084"/>
                                  <a:gd name="connsiteX5" fmla="*/ 562352 w 572847"/>
                                  <a:gd name="connsiteY5" fmla="*/ 171214 h 1035084"/>
                                  <a:gd name="connsiteX6" fmla="*/ 539782 w 572847"/>
                                  <a:gd name="connsiteY6" fmla="*/ 449259 h 1035084"/>
                                  <a:gd name="connsiteX7" fmla="*/ 375222 w 572847"/>
                                  <a:gd name="connsiteY7" fmla="*/ 630482 h 1035084"/>
                                  <a:gd name="connsiteX8" fmla="*/ 296331 w 572847"/>
                                  <a:gd name="connsiteY8" fmla="*/ 715644 h 1035084"/>
                                  <a:gd name="connsiteX9" fmla="*/ 234418 w 572847"/>
                                  <a:gd name="connsiteY9" fmla="*/ 791843 h 1035084"/>
                                  <a:gd name="connsiteX10" fmla="*/ 18516 w 572847"/>
                                  <a:gd name="connsiteY10" fmla="*/ 1031723 h 1035084"/>
                                  <a:gd name="connsiteX11" fmla="*/ 204553 w 572847"/>
                                  <a:gd name="connsiteY11" fmla="*/ 676201 h 1035084"/>
                                  <a:gd name="connsiteX0" fmla="*/ 204553 w 572847"/>
                                  <a:gd name="connsiteY0" fmla="*/ 676201 h 1035084"/>
                                  <a:gd name="connsiteX1" fmla="*/ 510318 w 572847"/>
                                  <a:gd name="connsiteY1" fmla="*/ 386982 h 1035084"/>
                                  <a:gd name="connsiteX2" fmla="*/ 524455 w 572847"/>
                                  <a:gd name="connsiteY2" fmla="*/ 164210 h 1035084"/>
                                  <a:gd name="connsiteX3" fmla="*/ 380772 w 572847"/>
                                  <a:gd name="connsiteY3" fmla="*/ 40154 h 1035084"/>
                                  <a:gd name="connsiteX4" fmla="*/ 412709 w 572847"/>
                                  <a:gd name="connsiteY4" fmla="*/ 22889 h 1035084"/>
                                  <a:gd name="connsiteX5" fmla="*/ 562352 w 572847"/>
                                  <a:gd name="connsiteY5" fmla="*/ 171214 h 1035084"/>
                                  <a:gd name="connsiteX6" fmla="*/ 539782 w 572847"/>
                                  <a:gd name="connsiteY6" fmla="*/ 449259 h 1035084"/>
                                  <a:gd name="connsiteX7" fmla="*/ 375222 w 572847"/>
                                  <a:gd name="connsiteY7" fmla="*/ 630482 h 1035084"/>
                                  <a:gd name="connsiteX8" fmla="*/ 296331 w 572847"/>
                                  <a:gd name="connsiteY8" fmla="*/ 715644 h 1035084"/>
                                  <a:gd name="connsiteX9" fmla="*/ 234418 w 572847"/>
                                  <a:gd name="connsiteY9" fmla="*/ 791843 h 1035084"/>
                                  <a:gd name="connsiteX10" fmla="*/ 18516 w 572847"/>
                                  <a:gd name="connsiteY10" fmla="*/ 1031723 h 1035084"/>
                                  <a:gd name="connsiteX11" fmla="*/ 204553 w 572847"/>
                                  <a:gd name="connsiteY11" fmla="*/ 676201 h 1035084"/>
                                  <a:gd name="connsiteX0" fmla="*/ 250659 w 554478"/>
                                  <a:gd name="connsiteY0" fmla="*/ 689298 h 1032723"/>
                                  <a:gd name="connsiteX1" fmla="*/ 491949 w 554478"/>
                                  <a:gd name="connsiteY1" fmla="*/ 386982 h 1032723"/>
                                  <a:gd name="connsiteX2" fmla="*/ 506086 w 554478"/>
                                  <a:gd name="connsiteY2" fmla="*/ 164210 h 1032723"/>
                                  <a:gd name="connsiteX3" fmla="*/ 362403 w 554478"/>
                                  <a:gd name="connsiteY3" fmla="*/ 40154 h 1032723"/>
                                  <a:gd name="connsiteX4" fmla="*/ 394340 w 554478"/>
                                  <a:gd name="connsiteY4" fmla="*/ 22889 h 1032723"/>
                                  <a:gd name="connsiteX5" fmla="*/ 543983 w 554478"/>
                                  <a:gd name="connsiteY5" fmla="*/ 171214 h 1032723"/>
                                  <a:gd name="connsiteX6" fmla="*/ 521413 w 554478"/>
                                  <a:gd name="connsiteY6" fmla="*/ 449259 h 1032723"/>
                                  <a:gd name="connsiteX7" fmla="*/ 356853 w 554478"/>
                                  <a:gd name="connsiteY7" fmla="*/ 630482 h 1032723"/>
                                  <a:gd name="connsiteX8" fmla="*/ 277962 w 554478"/>
                                  <a:gd name="connsiteY8" fmla="*/ 715644 h 1032723"/>
                                  <a:gd name="connsiteX9" fmla="*/ 216049 w 554478"/>
                                  <a:gd name="connsiteY9" fmla="*/ 791843 h 1032723"/>
                                  <a:gd name="connsiteX10" fmla="*/ 147 w 554478"/>
                                  <a:gd name="connsiteY10" fmla="*/ 1031723 h 1032723"/>
                                  <a:gd name="connsiteX11" fmla="*/ 250659 w 554478"/>
                                  <a:gd name="connsiteY11" fmla="*/ 689298 h 1032723"/>
                                  <a:gd name="connsiteX0" fmla="*/ 250659 w 554478"/>
                                  <a:gd name="connsiteY0" fmla="*/ 689298 h 1032723"/>
                                  <a:gd name="connsiteX1" fmla="*/ 491949 w 554478"/>
                                  <a:gd name="connsiteY1" fmla="*/ 386982 h 1032723"/>
                                  <a:gd name="connsiteX2" fmla="*/ 506086 w 554478"/>
                                  <a:gd name="connsiteY2" fmla="*/ 164210 h 1032723"/>
                                  <a:gd name="connsiteX3" fmla="*/ 362403 w 554478"/>
                                  <a:gd name="connsiteY3" fmla="*/ 40154 h 1032723"/>
                                  <a:gd name="connsiteX4" fmla="*/ 394340 w 554478"/>
                                  <a:gd name="connsiteY4" fmla="*/ 22889 h 1032723"/>
                                  <a:gd name="connsiteX5" fmla="*/ 543983 w 554478"/>
                                  <a:gd name="connsiteY5" fmla="*/ 171214 h 1032723"/>
                                  <a:gd name="connsiteX6" fmla="*/ 521413 w 554478"/>
                                  <a:gd name="connsiteY6" fmla="*/ 449259 h 1032723"/>
                                  <a:gd name="connsiteX7" fmla="*/ 356853 w 554478"/>
                                  <a:gd name="connsiteY7" fmla="*/ 630482 h 1032723"/>
                                  <a:gd name="connsiteX8" fmla="*/ 277962 w 554478"/>
                                  <a:gd name="connsiteY8" fmla="*/ 715644 h 1032723"/>
                                  <a:gd name="connsiteX9" fmla="*/ 216049 w 554478"/>
                                  <a:gd name="connsiteY9" fmla="*/ 791843 h 1032723"/>
                                  <a:gd name="connsiteX10" fmla="*/ 147 w 554478"/>
                                  <a:gd name="connsiteY10" fmla="*/ 1031723 h 1032723"/>
                                  <a:gd name="connsiteX11" fmla="*/ 250659 w 554478"/>
                                  <a:gd name="connsiteY11" fmla="*/ 689298 h 1032723"/>
                                  <a:gd name="connsiteX0" fmla="*/ 250659 w 554478"/>
                                  <a:gd name="connsiteY0" fmla="*/ 689298 h 1032723"/>
                                  <a:gd name="connsiteX1" fmla="*/ 491949 w 554478"/>
                                  <a:gd name="connsiteY1" fmla="*/ 386982 h 1032723"/>
                                  <a:gd name="connsiteX2" fmla="*/ 506086 w 554478"/>
                                  <a:gd name="connsiteY2" fmla="*/ 164210 h 1032723"/>
                                  <a:gd name="connsiteX3" fmla="*/ 362403 w 554478"/>
                                  <a:gd name="connsiteY3" fmla="*/ 40154 h 1032723"/>
                                  <a:gd name="connsiteX4" fmla="*/ 394340 w 554478"/>
                                  <a:gd name="connsiteY4" fmla="*/ 22889 h 1032723"/>
                                  <a:gd name="connsiteX5" fmla="*/ 543983 w 554478"/>
                                  <a:gd name="connsiteY5" fmla="*/ 171214 h 1032723"/>
                                  <a:gd name="connsiteX6" fmla="*/ 521413 w 554478"/>
                                  <a:gd name="connsiteY6" fmla="*/ 449259 h 1032723"/>
                                  <a:gd name="connsiteX7" fmla="*/ 356853 w 554478"/>
                                  <a:gd name="connsiteY7" fmla="*/ 630482 h 1032723"/>
                                  <a:gd name="connsiteX8" fmla="*/ 277962 w 554478"/>
                                  <a:gd name="connsiteY8" fmla="*/ 715644 h 1032723"/>
                                  <a:gd name="connsiteX9" fmla="*/ 216049 w 554478"/>
                                  <a:gd name="connsiteY9" fmla="*/ 791843 h 1032723"/>
                                  <a:gd name="connsiteX10" fmla="*/ 147 w 554478"/>
                                  <a:gd name="connsiteY10" fmla="*/ 1031723 h 1032723"/>
                                  <a:gd name="connsiteX11" fmla="*/ 250659 w 554478"/>
                                  <a:gd name="connsiteY11" fmla="*/ 689298 h 1032723"/>
                                  <a:gd name="connsiteX0" fmla="*/ 251886 w 555705"/>
                                  <a:gd name="connsiteY0" fmla="*/ 689298 h 1033363"/>
                                  <a:gd name="connsiteX1" fmla="*/ 493176 w 555705"/>
                                  <a:gd name="connsiteY1" fmla="*/ 386982 h 1033363"/>
                                  <a:gd name="connsiteX2" fmla="*/ 507313 w 555705"/>
                                  <a:gd name="connsiteY2" fmla="*/ 164210 h 1033363"/>
                                  <a:gd name="connsiteX3" fmla="*/ 363630 w 555705"/>
                                  <a:gd name="connsiteY3" fmla="*/ 40154 h 1033363"/>
                                  <a:gd name="connsiteX4" fmla="*/ 395567 w 555705"/>
                                  <a:gd name="connsiteY4" fmla="*/ 22889 h 1033363"/>
                                  <a:gd name="connsiteX5" fmla="*/ 545210 w 555705"/>
                                  <a:gd name="connsiteY5" fmla="*/ 171214 h 1033363"/>
                                  <a:gd name="connsiteX6" fmla="*/ 522640 w 555705"/>
                                  <a:gd name="connsiteY6" fmla="*/ 449259 h 1033363"/>
                                  <a:gd name="connsiteX7" fmla="*/ 358080 w 555705"/>
                                  <a:gd name="connsiteY7" fmla="*/ 630482 h 1033363"/>
                                  <a:gd name="connsiteX8" fmla="*/ 279189 w 555705"/>
                                  <a:gd name="connsiteY8" fmla="*/ 715644 h 1033363"/>
                                  <a:gd name="connsiteX9" fmla="*/ 217276 w 555705"/>
                                  <a:gd name="connsiteY9" fmla="*/ 791843 h 1033363"/>
                                  <a:gd name="connsiteX10" fmla="*/ 1374 w 555705"/>
                                  <a:gd name="connsiteY10" fmla="*/ 1031723 h 1033363"/>
                                  <a:gd name="connsiteX11" fmla="*/ 251886 w 555705"/>
                                  <a:gd name="connsiteY11" fmla="*/ 689298 h 1033363"/>
                                  <a:gd name="connsiteX0" fmla="*/ 251886 w 551387"/>
                                  <a:gd name="connsiteY0" fmla="*/ 689298 h 1033363"/>
                                  <a:gd name="connsiteX1" fmla="*/ 493176 w 551387"/>
                                  <a:gd name="connsiteY1" fmla="*/ 386982 h 1033363"/>
                                  <a:gd name="connsiteX2" fmla="*/ 507313 w 551387"/>
                                  <a:gd name="connsiteY2" fmla="*/ 164210 h 1033363"/>
                                  <a:gd name="connsiteX3" fmla="*/ 363630 w 551387"/>
                                  <a:gd name="connsiteY3" fmla="*/ 40154 h 1033363"/>
                                  <a:gd name="connsiteX4" fmla="*/ 395567 w 551387"/>
                                  <a:gd name="connsiteY4" fmla="*/ 22889 h 1033363"/>
                                  <a:gd name="connsiteX5" fmla="*/ 545210 w 551387"/>
                                  <a:gd name="connsiteY5" fmla="*/ 171214 h 1033363"/>
                                  <a:gd name="connsiteX6" fmla="*/ 506520 w 551387"/>
                                  <a:gd name="connsiteY6" fmla="*/ 446640 h 1033363"/>
                                  <a:gd name="connsiteX7" fmla="*/ 358080 w 551387"/>
                                  <a:gd name="connsiteY7" fmla="*/ 630482 h 1033363"/>
                                  <a:gd name="connsiteX8" fmla="*/ 279189 w 551387"/>
                                  <a:gd name="connsiteY8" fmla="*/ 715644 h 1033363"/>
                                  <a:gd name="connsiteX9" fmla="*/ 217276 w 551387"/>
                                  <a:gd name="connsiteY9" fmla="*/ 791843 h 1033363"/>
                                  <a:gd name="connsiteX10" fmla="*/ 1374 w 551387"/>
                                  <a:gd name="connsiteY10" fmla="*/ 1031723 h 1033363"/>
                                  <a:gd name="connsiteX11" fmla="*/ 251886 w 551387"/>
                                  <a:gd name="connsiteY11" fmla="*/ 689298 h 1033363"/>
                                  <a:gd name="connsiteX0" fmla="*/ 251886 w 544404"/>
                                  <a:gd name="connsiteY0" fmla="*/ 689455 h 1033520"/>
                                  <a:gd name="connsiteX1" fmla="*/ 493176 w 544404"/>
                                  <a:gd name="connsiteY1" fmla="*/ 387139 h 1033520"/>
                                  <a:gd name="connsiteX2" fmla="*/ 507313 w 544404"/>
                                  <a:gd name="connsiteY2" fmla="*/ 164367 h 1033520"/>
                                  <a:gd name="connsiteX3" fmla="*/ 363630 w 544404"/>
                                  <a:gd name="connsiteY3" fmla="*/ 40311 h 1033520"/>
                                  <a:gd name="connsiteX4" fmla="*/ 395567 w 544404"/>
                                  <a:gd name="connsiteY4" fmla="*/ 23046 h 1033520"/>
                                  <a:gd name="connsiteX5" fmla="*/ 537151 w 544404"/>
                                  <a:gd name="connsiteY5" fmla="*/ 173990 h 1033520"/>
                                  <a:gd name="connsiteX6" fmla="*/ 506520 w 544404"/>
                                  <a:gd name="connsiteY6" fmla="*/ 446797 h 1033520"/>
                                  <a:gd name="connsiteX7" fmla="*/ 358080 w 544404"/>
                                  <a:gd name="connsiteY7" fmla="*/ 630639 h 1033520"/>
                                  <a:gd name="connsiteX8" fmla="*/ 279189 w 544404"/>
                                  <a:gd name="connsiteY8" fmla="*/ 715801 h 1033520"/>
                                  <a:gd name="connsiteX9" fmla="*/ 217276 w 544404"/>
                                  <a:gd name="connsiteY9" fmla="*/ 792000 h 1033520"/>
                                  <a:gd name="connsiteX10" fmla="*/ 1374 w 544404"/>
                                  <a:gd name="connsiteY10" fmla="*/ 1031880 h 1033520"/>
                                  <a:gd name="connsiteX11" fmla="*/ 251886 w 544404"/>
                                  <a:gd name="connsiteY11" fmla="*/ 689455 h 1033520"/>
                                  <a:gd name="connsiteX0" fmla="*/ 245140 w 537658"/>
                                  <a:gd name="connsiteY0" fmla="*/ 689455 h 989386"/>
                                  <a:gd name="connsiteX1" fmla="*/ 486430 w 537658"/>
                                  <a:gd name="connsiteY1" fmla="*/ 387139 h 989386"/>
                                  <a:gd name="connsiteX2" fmla="*/ 500567 w 537658"/>
                                  <a:gd name="connsiteY2" fmla="*/ 164367 h 989386"/>
                                  <a:gd name="connsiteX3" fmla="*/ 356884 w 537658"/>
                                  <a:gd name="connsiteY3" fmla="*/ 40311 h 989386"/>
                                  <a:gd name="connsiteX4" fmla="*/ 388821 w 537658"/>
                                  <a:gd name="connsiteY4" fmla="*/ 23046 h 989386"/>
                                  <a:gd name="connsiteX5" fmla="*/ 530405 w 537658"/>
                                  <a:gd name="connsiteY5" fmla="*/ 173990 h 989386"/>
                                  <a:gd name="connsiteX6" fmla="*/ 499774 w 537658"/>
                                  <a:gd name="connsiteY6" fmla="*/ 446797 h 989386"/>
                                  <a:gd name="connsiteX7" fmla="*/ 351334 w 537658"/>
                                  <a:gd name="connsiteY7" fmla="*/ 630639 h 989386"/>
                                  <a:gd name="connsiteX8" fmla="*/ 272443 w 537658"/>
                                  <a:gd name="connsiteY8" fmla="*/ 715801 h 989386"/>
                                  <a:gd name="connsiteX9" fmla="*/ 210530 w 537658"/>
                                  <a:gd name="connsiteY9" fmla="*/ 792000 h 989386"/>
                                  <a:gd name="connsiteX10" fmla="*/ 0 w 537658"/>
                                  <a:gd name="connsiteY10" fmla="*/ 987351 h 989386"/>
                                  <a:gd name="connsiteX11" fmla="*/ 245140 w 537658"/>
                                  <a:gd name="connsiteY11" fmla="*/ 689455 h 989386"/>
                                  <a:gd name="connsiteX0" fmla="*/ 250871 w 543389"/>
                                  <a:gd name="connsiteY0" fmla="*/ 689455 h 988976"/>
                                  <a:gd name="connsiteX1" fmla="*/ 492161 w 543389"/>
                                  <a:gd name="connsiteY1" fmla="*/ 387139 h 988976"/>
                                  <a:gd name="connsiteX2" fmla="*/ 506298 w 543389"/>
                                  <a:gd name="connsiteY2" fmla="*/ 164367 h 988976"/>
                                  <a:gd name="connsiteX3" fmla="*/ 362615 w 543389"/>
                                  <a:gd name="connsiteY3" fmla="*/ 40311 h 988976"/>
                                  <a:gd name="connsiteX4" fmla="*/ 394552 w 543389"/>
                                  <a:gd name="connsiteY4" fmla="*/ 23046 h 988976"/>
                                  <a:gd name="connsiteX5" fmla="*/ 536136 w 543389"/>
                                  <a:gd name="connsiteY5" fmla="*/ 173990 h 988976"/>
                                  <a:gd name="connsiteX6" fmla="*/ 505505 w 543389"/>
                                  <a:gd name="connsiteY6" fmla="*/ 446797 h 988976"/>
                                  <a:gd name="connsiteX7" fmla="*/ 357065 w 543389"/>
                                  <a:gd name="connsiteY7" fmla="*/ 630639 h 988976"/>
                                  <a:gd name="connsiteX8" fmla="*/ 278174 w 543389"/>
                                  <a:gd name="connsiteY8" fmla="*/ 715801 h 988976"/>
                                  <a:gd name="connsiteX9" fmla="*/ 216261 w 543389"/>
                                  <a:gd name="connsiteY9" fmla="*/ 792000 h 988976"/>
                                  <a:gd name="connsiteX10" fmla="*/ 5731 w 543389"/>
                                  <a:gd name="connsiteY10" fmla="*/ 987351 h 988976"/>
                                  <a:gd name="connsiteX11" fmla="*/ 250871 w 543389"/>
                                  <a:gd name="connsiteY11" fmla="*/ 689455 h 988976"/>
                                  <a:gd name="connsiteX0" fmla="*/ 245449 w 537967"/>
                                  <a:gd name="connsiteY0" fmla="*/ 689455 h 988320"/>
                                  <a:gd name="connsiteX1" fmla="*/ 486739 w 537967"/>
                                  <a:gd name="connsiteY1" fmla="*/ 387139 h 988320"/>
                                  <a:gd name="connsiteX2" fmla="*/ 500876 w 537967"/>
                                  <a:gd name="connsiteY2" fmla="*/ 164367 h 988320"/>
                                  <a:gd name="connsiteX3" fmla="*/ 357193 w 537967"/>
                                  <a:gd name="connsiteY3" fmla="*/ 40311 h 988320"/>
                                  <a:gd name="connsiteX4" fmla="*/ 389130 w 537967"/>
                                  <a:gd name="connsiteY4" fmla="*/ 23046 h 988320"/>
                                  <a:gd name="connsiteX5" fmla="*/ 530714 w 537967"/>
                                  <a:gd name="connsiteY5" fmla="*/ 173990 h 988320"/>
                                  <a:gd name="connsiteX6" fmla="*/ 500083 w 537967"/>
                                  <a:gd name="connsiteY6" fmla="*/ 446797 h 988320"/>
                                  <a:gd name="connsiteX7" fmla="*/ 351643 w 537967"/>
                                  <a:gd name="connsiteY7" fmla="*/ 630639 h 988320"/>
                                  <a:gd name="connsiteX8" fmla="*/ 272752 w 537967"/>
                                  <a:gd name="connsiteY8" fmla="*/ 715801 h 988320"/>
                                  <a:gd name="connsiteX9" fmla="*/ 197406 w 537967"/>
                                  <a:gd name="connsiteY9" fmla="*/ 781522 h 988320"/>
                                  <a:gd name="connsiteX10" fmla="*/ 309 w 537967"/>
                                  <a:gd name="connsiteY10" fmla="*/ 987351 h 988320"/>
                                  <a:gd name="connsiteX11" fmla="*/ 245449 w 537967"/>
                                  <a:gd name="connsiteY11" fmla="*/ 689455 h 988320"/>
                                  <a:gd name="connsiteX0" fmla="*/ 226685 w 519203"/>
                                  <a:gd name="connsiteY0" fmla="*/ 689455 h 975297"/>
                                  <a:gd name="connsiteX1" fmla="*/ 467975 w 519203"/>
                                  <a:gd name="connsiteY1" fmla="*/ 387139 h 975297"/>
                                  <a:gd name="connsiteX2" fmla="*/ 482112 w 519203"/>
                                  <a:gd name="connsiteY2" fmla="*/ 164367 h 975297"/>
                                  <a:gd name="connsiteX3" fmla="*/ 338429 w 519203"/>
                                  <a:gd name="connsiteY3" fmla="*/ 40311 h 975297"/>
                                  <a:gd name="connsiteX4" fmla="*/ 370366 w 519203"/>
                                  <a:gd name="connsiteY4" fmla="*/ 23046 h 975297"/>
                                  <a:gd name="connsiteX5" fmla="*/ 511950 w 519203"/>
                                  <a:gd name="connsiteY5" fmla="*/ 173990 h 975297"/>
                                  <a:gd name="connsiteX6" fmla="*/ 481319 w 519203"/>
                                  <a:gd name="connsiteY6" fmla="*/ 446797 h 975297"/>
                                  <a:gd name="connsiteX7" fmla="*/ 332879 w 519203"/>
                                  <a:gd name="connsiteY7" fmla="*/ 630639 h 975297"/>
                                  <a:gd name="connsiteX8" fmla="*/ 253988 w 519203"/>
                                  <a:gd name="connsiteY8" fmla="*/ 715801 h 975297"/>
                                  <a:gd name="connsiteX9" fmla="*/ 178642 w 519203"/>
                                  <a:gd name="connsiteY9" fmla="*/ 781522 h 975297"/>
                                  <a:gd name="connsiteX10" fmla="*/ 351 w 519203"/>
                                  <a:gd name="connsiteY10" fmla="*/ 974253 h 975297"/>
                                  <a:gd name="connsiteX11" fmla="*/ 226685 w 519203"/>
                                  <a:gd name="connsiteY11" fmla="*/ 689455 h 975297"/>
                                  <a:gd name="connsiteX0" fmla="*/ 231922 w 524440"/>
                                  <a:gd name="connsiteY0" fmla="*/ 689455 h 975646"/>
                                  <a:gd name="connsiteX1" fmla="*/ 473212 w 524440"/>
                                  <a:gd name="connsiteY1" fmla="*/ 387139 h 975646"/>
                                  <a:gd name="connsiteX2" fmla="*/ 487349 w 524440"/>
                                  <a:gd name="connsiteY2" fmla="*/ 164367 h 975646"/>
                                  <a:gd name="connsiteX3" fmla="*/ 343666 w 524440"/>
                                  <a:gd name="connsiteY3" fmla="*/ 40311 h 975646"/>
                                  <a:gd name="connsiteX4" fmla="*/ 375603 w 524440"/>
                                  <a:gd name="connsiteY4" fmla="*/ 23046 h 975646"/>
                                  <a:gd name="connsiteX5" fmla="*/ 517187 w 524440"/>
                                  <a:gd name="connsiteY5" fmla="*/ 173990 h 975646"/>
                                  <a:gd name="connsiteX6" fmla="*/ 486556 w 524440"/>
                                  <a:gd name="connsiteY6" fmla="*/ 446797 h 975646"/>
                                  <a:gd name="connsiteX7" fmla="*/ 338116 w 524440"/>
                                  <a:gd name="connsiteY7" fmla="*/ 630639 h 975646"/>
                                  <a:gd name="connsiteX8" fmla="*/ 259225 w 524440"/>
                                  <a:gd name="connsiteY8" fmla="*/ 715801 h 975646"/>
                                  <a:gd name="connsiteX9" fmla="*/ 183879 w 524440"/>
                                  <a:gd name="connsiteY9" fmla="*/ 781522 h 975646"/>
                                  <a:gd name="connsiteX10" fmla="*/ 5588 w 524440"/>
                                  <a:gd name="connsiteY10" fmla="*/ 974253 h 975646"/>
                                  <a:gd name="connsiteX11" fmla="*/ 231922 w 524440"/>
                                  <a:gd name="connsiteY11" fmla="*/ 689455 h 975646"/>
                                  <a:gd name="connsiteX0" fmla="*/ 153769 w 446287"/>
                                  <a:gd name="connsiteY0" fmla="*/ 689455 h 898196"/>
                                  <a:gd name="connsiteX1" fmla="*/ 395059 w 446287"/>
                                  <a:gd name="connsiteY1" fmla="*/ 387139 h 898196"/>
                                  <a:gd name="connsiteX2" fmla="*/ 409196 w 446287"/>
                                  <a:gd name="connsiteY2" fmla="*/ 164367 h 898196"/>
                                  <a:gd name="connsiteX3" fmla="*/ 265513 w 446287"/>
                                  <a:gd name="connsiteY3" fmla="*/ 40311 h 898196"/>
                                  <a:gd name="connsiteX4" fmla="*/ 297450 w 446287"/>
                                  <a:gd name="connsiteY4" fmla="*/ 23046 h 898196"/>
                                  <a:gd name="connsiteX5" fmla="*/ 439034 w 446287"/>
                                  <a:gd name="connsiteY5" fmla="*/ 173990 h 898196"/>
                                  <a:gd name="connsiteX6" fmla="*/ 408403 w 446287"/>
                                  <a:gd name="connsiteY6" fmla="*/ 446797 h 898196"/>
                                  <a:gd name="connsiteX7" fmla="*/ 259963 w 446287"/>
                                  <a:gd name="connsiteY7" fmla="*/ 630639 h 898196"/>
                                  <a:gd name="connsiteX8" fmla="*/ 181072 w 446287"/>
                                  <a:gd name="connsiteY8" fmla="*/ 715801 h 898196"/>
                                  <a:gd name="connsiteX9" fmla="*/ 105726 w 446287"/>
                                  <a:gd name="connsiteY9" fmla="*/ 781522 h 898196"/>
                                  <a:gd name="connsiteX10" fmla="*/ 8029 w 446287"/>
                                  <a:gd name="connsiteY10" fmla="*/ 895673 h 898196"/>
                                  <a:gd name="connsiteX11" fmla="*/ 153769 w 446287"/>
                                  <a:gd name="connsiteY11" fmla="*/ 689455 h 898196"/>
                                  <a:gd name="connsiteX0" fmla="*/ 195853 w 488371"/>
                                  <a:gd name="connsiteY0" fmla="*/ 689455 h 895933"/>
                                  <a:gd name="connsiteX1" fmla="*/ 437143 w 488371"/>
                                  <a:gd name="connsiteY1" fmla="*/ 387139 h 895933"/>
                                  <a:gd name="connsiteX2" fmla="*/ 451280 w 488371"/>
                                  <a:gd name="connsiteY2" fmla="*/ 164367 h 895933"/>
                                  <a:gd name="connsiteX3" fmla="*/ 307597 w 488371"/>
                                  <a:gd name="connsiteY3" fmla="*/ 40311 h 895933"/>
                                  <a:gd name="connsiteX4" fmla="*/ 339534 w 488371"/>
                                  <a:gd name="connsiteY4" fmla="*/ 23046 h 895933"/>
                                  <a:gd name="connsiteX5" fmla="*/ 481118 w 488371"/>
                                  <a:gd name="connsiteY5" fmla="*/ 173990 h 895933"/>
                                  <a:gd name="connsiteX6" fmla="*/ 450487 w 488371"/>
                                  <a:gd name="connsiteY6" fmla="*/ 446797 h 895933"/>
                                  <a:gd name="connsiteX7" fmla="*/ 302047 w 488371"/>
                                  <a:gd name="connsiteY7" fmla="*/ 630639 h 895933"/>
                                  <a:gd name="connsiteX8" fmla="*/ 223156 w 488371"/>
                                  <a:gd name="connsiteY8" fmla="*/ 715801 h 895933"/>
                                  <a:gd name="connsiteX9" fmla="*/ 147810 w 488371"/>
                                  <a:gd name="connsiteY9" fmla="*/ 781522 h 895933"/>
                                  <a:gd name="connsiteX10" fmla="*/ 50113 w 488371"/>
                                  <a:gd name="connsiteY10" fmla="*/ 895673 h 895933"/>
                                  <a:gd name="connsiteX11" fmla="*/ 7111 w 488371"/>
                                  <a:gd name="connsiteY11" fmla="*/ 808993 h 895933"/>
                                  <a:gd name="connsiteX12" fmla="*/ 195853 w 488371"/>
                                  <a:gd name="connsiteY12" fmla="*/ 689455 h 895933"/>
                                  <a:gd name="connsiteX0" fmla="*/ 215780 w 508298"/>
                                  <a:gd name="connsiteY0" fmla="*/ 689455 h 895713"/>
                                  <a:gd name="connsiteX1" fmla="*/ 457070 w 508298"/>
                                  <a:gd name="connsiteY1" fmla="*/ 387139 h 895713"/>
                                  <a:gd name="connsiteX2" fmla="*/ 471207 w 508298"/>
                                  <a:gd name="connsiteY2" fmla="*/ 164367 h 895713"/>
                                  <a:gd name="connsiteX3" fmla="*/ 327524 w 508298"/>
                                  <a:gd name="connsiteY3" fmla="*/ 40311 h 895713"/>
                                  <a:gd name="connsiteX4" fmla="*/ 359461 w 508298"/>
                                  <a:gd name="connsiteY4" fmla="*/ 23046 h 895713"/>
                                  <a:gd name="connsiteX5" fmla="*/ 501045 w 508298"/>
                                  <a:gd name="connsiteY5" fmla="*/ 173990 h 895713"/>
                                  <a:gd name="connsiteX6" fmla="*/ 470414 w 508298"/>
                                  <a:gd name="connsiteY6" fmla="*/ 446797 h 895713"/>
                                  <a:gd name="connsiteX7" fmla="*/ 321974 w 508298"/>
                                  <a:gd name="connsiteY7" fmla="*/ 630639 h 895713"/>
                                  <a:gd name="connsiteX8" fmla="*/ 243083 w 508298"/>
                                  <a:gd name="connsiteY8" fmla="*/ 715801 h 895713"/>
                                  <a:gd name="connsiteX9" fmla="*/ 167737 w 508298"/>
                                  <a:gd name="connsiteY9" fmla="*/ 781522 h 895713"/>
                                  <a:gd name="connsiteX10" fmla="*/ 70040 w 508298"/>
                                  <a:gd name="connsiteY10" fmla="*/ 895673 h 895713"/>
                                  <a:gd name="connsiteX11" fmla="*/ 5546 w 508298"/>
                                  <a:gd name="connsiteY11" fmla="*/ 793278 h 895713"/>
                                  <a:gd name="connsiteX12" fmla="*/ 215780 w 508298"/>
                                  <a:gd name="connsiteY12" fmla="*/ 689455 h 895713"/>
                                  <a:gd name="connsiteX0" fmla="*/ 211770 w 504288"/>
                                  <a:gd name="connsiteY0" fmla="*/ 689455 h 895709"/>
                                  <a:gd name="connsiteX1" fmla="*/ 453060 w 504288"/>
                                  <a:gd name="connsiteY1" fmla="*/ 387139 h 895709"/>
                                  <a:gd name="connsiteX2" fmla="*/ 467197 w 504288"/>
                                  <a:gd name="connsiteY2" fmla="*/ 164367 h 895709"/>
                                  <a:gd name="connsiteX3" fmla="*/ 323514 w 504288"/>
                                  <a:gd name="connsiteY3" fmla="*/ 40311 h 895709"/>
                                  <a:gd name="connsiteX4" fmla="*/ 355451 w 504288"/>
                                  <a:gd name="connsiteY4" fmla="*/ 23046 h 895709"/>
                                  <a:gd name="connsiteX5" fmla="*/ 497035 w 504288"/>
                                  <a:gd name="connsiteY5" fmla="*/ 173990 h 895709"/>
                                  <a:gd name="connsiteX6" fmla="*/ 466404 w 504288"/>
                                  <a:gd name="connsiteY6" fmla="*/ 446797 h 895709"/>
                                  <a:gd name="connsiteX7" fmla="*/ 317964 w 504288"/>
                                  <a:gd name="connsiteY7" fmla="*/ 630639 h 895709"/>
                                  <a:gd name="connsiteX8" fmla="*/ 239073 w 504288"/>
                                  <a:gd name="connsiteY8" fmla="*/ 715801 h 895709"/>
                                  <a:gd name="connsiteX9" fmla="*/ 163727 w 504288"/>
                                  <a:gd name="connsiteY9" fmla="*/ 781522 h 895709"/>
                                  <a:gd name="connsiteX10" fmla="*/ 66030 w 504288"/>
                                  <a:gd name="connsiteY10" fmla="*/ 895673 h 895709"/>
                                  <a:gd name="connsiteX11" fmla="*/ 1536 w 504288"/>
                                  <a:gd name="connsiteY11" fmla="*/ 793278 h 895709"/>
                                  <a:gd name="connsiteX12" fmla="*/ 114369 w 504288"/>
                                  <a:gd name="connsiteY12" fmla="*/ 725172 h 895709"/>
                                  <a:gd name="connsiteX13" fmla="*/ 211770 w 504288"/>
                                  <a:gd name="connsiteY13" fmla="*/ 689455 h 895709"/>
                                  <a:gd name="connsiteX0" fmla="*/ 211770 w 504288"/>
                                  <a:gd name="connsiteY0" fmla="*/ 689455 h 895709"/>
                                  <a:gd name="connsiteX1" fmla="*/ 453060 w 504288"/>
                                  <a:gd name="connsiteY1" fmla="*/ 387139 h 895709"/>
                                  <a:gd name="connsiteX2" fmla="*/ 467197 w 504288"/>
                                  <a:gd name="connsiteY2" fmla="*/ 164367 h 895709"/>
                                  <a:gd name="connsiteX3" fmla="*/ 323514 w 504288"/>
                                  <a:gd name="connsiteY3" fmla="*/ 40311 h 895709"/>
                                  <a:gd name="connsiteX4" fmla="*/ 355451 w 504288"/>
                                  <a:gd name="connsiteY4" fmla="*/ 23046 h 895709"/>
                                  <a:gd name="connsiteX5" fmla="*/ 497035 w 504288"/>
                                  <a:gd name="connsiteY5" fmla="*/ 173990 h 895709"/>
                                  <a:gd name="connsiteX6" fmla="*/ 466404 w 504288"/>
                                  <a:gd name="connsiteY6" fmla="*/ 446797 h 895709"/>
                                  <a:gd name="connsiteX7" fmla="*/ 317964 w 504288"/>
                                  <a:gd name="connsiteY7" fmla="*/ 630639 h 895709"/>
                                  <a:gd name="connsiteX8" fmla="*/ 239073 w 504288"/>
                                  <a:gd name="connsiteY8" fmla="*/ 715801 h 895709"/>
                                  <a:gd name="connsiteX9" fmla="*/ 163727 w 504288"/>
                                  <a:gd name="connsiteY9" fmla="*/ 781522 h 895709"/>
                                  <a:gd name="connsiteX10" fmla="*/ 66030 w 504288"/>
                                  <a:gd name="connsiteY10" fmla="*/ 895673 h 895709"/>
                                  <a:gd name="connsiteX11" fmla="*/ 1536 w 504288"/>
                                  <a:gd name="connsiteY11" fmla="*/ 793278 h 895709"/>
                                  <a:gd name="connsiteX12" fmla="*/ 114369 w 504288"/>
                                  <a:gd name="connsiteY12" fmla="*/ 725172 h 895709"/>
                                  <a:gd name="connsiteX13" fmla="*/ 211770 w 504288"/>
                                  <a:gd name="connsiteY13" fmla="*/ 689455 h 895709"/>
                                  <a:gd name="connsiteX0" fmla="*/ 211770 w 504288"/>
                                  <a:gd name="connsiteY0" fmla="*/ 689455 h 895709"/>
                                  <a:gd name="connsiteX1" fmla="*/ 453060 w 504288"/>
                                  <a:gd name="connsiteY1" fmla="*/ 387139 h 895709"/>
                                  <a:gd name="connsiteX2" fmla="*/ 467197 w 504288"/>
                                  <a:gd name="connsiteY2" fmla="*/ 164367 h 895709"/>
                                  <a:gd name="connsiteX3" fmla="*/ 323514 w 504288"/>
                                  <a:gd name="connsiteY3" fmla="*/ 40311 h 895709"/>
                                  <a:gd name="connsiteX4" fmla="*/ 355451 w 504288"/>
                                  <a:gd name="connsiteY4" fmla="*/ 23046 h 895709"/>
                                  <a:gd name="connsiteX5" fmla="*/ 497035 w 504288"/>
                                  <a:gd name="connsiteY5" fmla="*/ 173990 h 895709"/>
                                  <a:gd name="connsiteX6" fmla="*/ 466404 w 504288"/>
                                  <a:gd name="connsiteY6" fmla="*/ 446797 h 895709"/>
                                  <a:gd name="connsiteX7" fmla="*/ 317964 w 504288"/>
                                  <a:gd name="connsiteY7" fmla="*/ 630639 h 895709"/>
                                  <a:gd name="connsiteX8" fmla="*/ 239073 w 504288"/>
                                  <a:gd name="connsiteY8" fmla="*/ 715801 h 895709"/>
                                  <a:gd name="connsiteX9" fmla="*/ 163727 w 504288"/>
                                  <a:gd name="connsiteY9" fmla="*/ 781522 h 895709"/>
                                  <a:gd name="connsiteX10" fmla="*/ 66030 w 504288"/>
                                  <a:gd name="connsiteY10" fmla="*/ 895673 h 895709"/>
                                  <a:gd name="connsiteX11" fmla="*/ 1536 w 504288"/>
                                  <a:gd name="connsiteY11" fmla="*/ 793278 h 895709"/>
                                  <a:gd name="connsiteX12" fmla="*/ 114369 w 504288"/>
                                  <a:gd name="connsiteY12" fmla="*/ 725172 h 895709"/>
                                  <a:gd name="connsiteX13" fmla="*/ 125115 w 504288"/>
                                  <a:gd name="connsiteY13" fmla="*/ 698979 h 895709"/>
                                  <a:gd name="connsiteX14" fmla="*/ 211770 w 504288"/>
                                  <a:gd name="connsiteY14" fmla="*/ 689455 h 895709"/>
                                  <a:gd name="connsiteX0" fmla="*/ 211770 w 504288"/>
                                  <a:gd name="connsiteY0" fmla="*/ 689455 h 895709"/>
                                  <a:gd name="connsiteX1" fmla="*/ 453060 w 504288"/>
                                  <a:gd name="connsiteY1" fmla="*/ 387139 h 895709"/>
                                  <a:gd name="connsiteX2" fmla="*/ 467197 w 504288"/>
                                  <a:gd name="connsiteY2" fmla="*/ 164367 h 895709"/>
                                  <a:gd name="connsiteX3" fmla="*/ 323514 w 504288"/>
                                  <a:gd name="connsiteY3" fmla="*/ 40311 h 895709"/>
                                  <a:gd name="connsiteX4" fmla="*/ 355451 w 504288"/>
                                  <a:gd name="connsiteY4" fmla="*/ 23046 h 895709"/>
                                  <a:gd name="connsiteX5" fmla="*/ 497035 w 504288"/>
                                  <a:gd name="connsiteY5" fmla="*/ 173990 h 895709"/>
                                  <a:gd name="connsiteX6" fmla="*/ 466404 w 504288"/>
                                  <a:gd name="connsiteY6" fmla="*/ 446797 h 895709"/>
                                  <a:gd name="connsiteX7" fmla="*/ 317964 w 504288"/>
                                  <a:gd name="connsiteY7" fmla="*/ 630639 h 895709"/>
                                  <a:gd name="connsiteX8" fmla="*/ 239073 w 504288"/>
                                  <a:gd name="connsiteY8" fmla="*/ 715801 h 895709"/>
                                  <a:gd name="connsiteX9" fmla="*/ 163727 w 504288"/>
                                  <a:gd name="connsiteY9" fmla="*/ 781522 h 895709"/>
                                  <a:gd name="connsiteX10" fmla="*/ 66030 w 504288"/>
                                  <a:gd name="connsiteY10" fmla="*/ 895673 h 895709"/>
                                  <a:gd name="connsiteX11" fmla="*/ 1536 w 504288"/>
                                  <a:gd name="connsiteY11" fmla="*/ 793278 h 895709"/>
                                  <a:gd name="connsiteX12" fmla="*/ 92878 w 504288"/>
                                  <a:gd name="connsiteY12" fmla="*/ 693740 h 895709"/>
                                  <a:gd name="connsiteX13" fmla="*/ 125115 w 504288"/>
                                  <a:gd name="connsiteY13" fmla="*/ 698979 h 895709"/>
                                  <a:gd name="connsiteX14" fmla="*/ 211770 w 504288"/>
                                  <a:gd name="connsiteY14" fmla="*/ 689455 h 895709"/>
                                  <a:gd name="connsiteX0" fmla="*/ 211770 w 504288"/>
                                  <a:gd name="connsiteY0" fmla="*/ 689455 h 895709"/>
                                  <a:gd name="connsiteX1" fmla="*/ 453060 w 504288"/>
                                  <a:gd name="connsiteY1" fmla="*/ 387139 h 895709"/>
                                  <a:gd name="connsiteX2" fmla="*/ 467197 w 504288"/>
                                  <a:gd name="connsiteY2" fmla="*/ 164367 h 895709"/>
                                  <a:gd name="connsiteX3" fmla="*/ 323514 w 504288"/>
                                  <a:gd name="connsiteY3" fmla="*/ 40311 h 895709"/>
                                  <a:gd name="connsiteX4" fmla="*/ 355451 w 504288"/>
                                  <a:gd name="connsiteY4" fmla="*/ 23046 h 895709"/>
                                  <a:gd name="connsiteX5" fmla="*/ 497035 w 504288"/>
                                  <a:gd name="connsiteY5" fmla="*/ 173990 h 895709"/>
                                  <a:gd name="connsiteX6" fmla="*/ 466404 w 504288"/>
                                  <a:gd name="connsiteY6" fmla="*/ 446797 h 895709"/>
                                  <a:gd name="connsiteX7" fmla="*/ 317964 w 504288"/>
                                  <a:gd name="connsiteY7" fmla="*/ 630639 h 895709"/>
                                  <a:gd name="connsiteX8" fmla="*/ 239073 w 504288"/>
                                  <a:gd name="connsiteY8" fmla="*/ 715801 h 895709"/>
                                  <a:gd name="connsiteX9" fmla="*/ 232573 w 504288"/>
                                  <a:gd name="connsiteY9" fmla="*/ 756605 h 895709"/>
                                  <a:gd name="connsiteX10" fmla="*/ 163727 w 504288"/>
                                  <a:gd name="connsiteY10" fmla="*/ 781522 h 895709"/>
                                  <a:gd name="connsiteX11" fmla="*/ 66030 w 504288"/>
                                  <a:gd name="connsiteY11" fmla="*/ 895673 h 895709"/>
                                  <a:gd name="connsiteX12" fmla="*/ 1536 w 504288"/>
                                  <a:gd name="connsiteY12" fmla="*/ 793278 h 895709"/>
                                  <a:gd name="connsiteX13" fmla="*/ 92878 w 504288"/>
                                  <a:gd name="connsiteY13" fmla="*/ 693740 h 895709"/>
                                  <a:gd name="connsiteX14" fmla="*/ 125115 w 504288"/>
                                  <a:gd name="connsiteY14" fmla="*/ 698979 h 895709"/>
                                  <a:gd name="connsiteX15" fmla="*/ 211770 w 504288"/>
                                  <a:gd name="connsiteY15" fmla="*/ 689455 h 895709"/>
                                  <a:gd name="connsiteX0" fmla="*/ 211601 w 504119"/>
                                  <a:gd name="connsiteY0" fmla="*/ 689455 h 899171"/>
                                  <a:gd name="connsiteX1" fmla="*/ 452891 w 504119"/>
                                  <a:gd name="connsiteY1" fmla="*/ 387139 h 899171"/>
                                  <a:gd name="connsiteX2" fmla="*/ 467028 w 504119"/>
                                  <a:gd name="connsiteY2" fmla="*/ 164367 h 899171"/>
                                  <a:gd name="connsiteX3" fmla="*/ 323345 w 504119"/>
                                  <a:gd name="connsiteY3" fmla="*/ 40311 h 899171"/>
                                  <a:gd name="connsiteX4" fmla="*/ 355282 w 504119"/>
                                  <a:gd name="connsiteY4" fmla="*/ 23046 h 899171"/>
                                  <a:gd name="connsiteX5" fmla="*/ 496866 w 504119"/>
                                  <a:gd name="connsiteY5" fmla="*/ 173990 h 899171"/>
                                  <a:gd name="connsiteX6" fmla="*/ 466235 w 504119"/>
                                  <a:gd name="connsiteY6" fmla="*/ 446797 h 899171"/>
                                  <a:gd name="connsiteX7" fmla="*/ 317795 w 504119"/>
                                  <a:gd name="connsiteY7" fmla="*/ 630639 h 899171"/>
                                  <a:gd name="connsiteX8" fmla="*/ 238904 w 504119"/>
                                  <a:gd name="connsiteY8" fmla="*/ 715801 h 899171"/>
                                  <a:gd name="connsiteX9" fmla="*/ 232404 w 504119"/>
                                  <a:gd name="connsiteY9" fmla="*/ 756605 h 899171"/>
                                  <a:gd name="connsiteX10" fmla="*/ 163558 w 504119"/>
                                  <a:gd name="connsiteY10" fmla="*/ 781522 h 899171"/>
                                  <a:gd name="connsiteX11" fmla="*/ 119573 w 504119"/>
                                  <a:gd name="connsiteY11" fmla="*/ 866619 h 899171"/>
                                  <a:gd name="connsiteX12" fmla="*/ 65861 w 504119"/>
                                  <a:gd name="connsiteY12" fmla="*/ 895673 h 899171"/>
                                  <a:gd name="connsiteX13" fmla="*/ 1367 w 504119"/>
                                  <a:gd name="connsiteY13" fmla="*/ 793278 h 899171"/>
                                  <a:gd name="connsiteX14" fmla="*/ 92709 w 504119"/>
                                  <a:gd name="connsiteY14" fmla="*/ 693740 h 899171"/>
                                  <a:gd name="connsiteX15" fmla="*/ 124946 w 504119"/>
                                  <a:gd name="connsiteY15" fmla="*/ 698979 h 899171"/>
                                  <a:gd name="connsiteX16" fmla="*/ 211601 w 504119"/>
                                  <a:gd name="connsiteY16" fmla="*/ 689455 h 899171"/>
                                  <a:gd name="connsiteX0" fmla="*/ 211601 w 504119"/>
                                  <a:gd name="connsiteY0" fmla="*/ 689455 h 899171"/>
                                  <a:gd name="connsiteX1" fmla="*/ 452891 w 504119"/>
                                  <a:gd name="connsiteY1" fmla="*/ 387139 h 899171"/>
                                  <a:gd name="connsiteX2" fmla="*/ 467028 w 504119"/>
                                  <a:gd name="connsiteY2" fmla="*/ 164367 h 899171"/>
                                  <a:gd name="connsiteX3" fmla="*/ 323345 w 504119"/>
                                  <a:gd name="connsiteY3" fmla="*/ 40311 h 899171"/>
                                  <a:gd name="connsiteX4" fmla="*/ 355282 w 504119"/>
                                  <a:gd name="connsiteY4" fmla="*/ 23046 h 899171"/>
                                  <a:gd name="connsiteX5" fmla="*/ 496866 w 504119"/>
                                  <a:gd name="connsiteY5" fmla="*/ 173990 h 899171"/>
                                  <a:gd name="connsiteX6" fmla="*/ 466235 w 504119"/>
                                  <a:gd name="connsiteY6" fmla="*/ 446797 h 899171"/>
                                  <a:gd name="connsiteX7" fmla="*/ 317795 w 504119"/>
                                  <a:gd name="connsiteY7" fmla="*/ 630639 h 899171"/>
                                  <a:gd name="connsiteX8" fmla="*/ 238904 w 504119"/>
                                  <a:gd name="connsiteY8" fmla="*/ 715801 h 899171"/>
                                  <a:gd name="connsiteX9" fmla="*/ 232404 w 504119"/>
                                  <a:gd name="connsiteY9" fmla="*/ 756605 h 899171"/>
                                  <a:gd name="connsiteX10" fmla="*/ 190423 w 504119"/>
                                  <a:gd name="connsiteY10" fmla="*/ 792000 h 899171"/>
                                  <a:gd name="connsiteX11" fmla="*/ 119573 w 504119"/>
                                  <a:gd name="connsiteY11" fmla="*/ 866619 h 899171"/>
                                  <a:gd name="connsiteX12" fmla="*/ 65861 w 504119"/>
                                  <a:gd name="connsiteY12" fmla="*/ 895673 h 899171"/>
                                  <a:gd name="connsiteX13" fmla="*/ 1367 w 504119"/>
                                  <a:gd name="connsiteY13" fmla="*/ 793278 h 899171"/>
                                  <a:gd name="connsiteX14" fmla="*/ 92709 w 504119"/>
                                  <a:gd name="connsiteY14" fmla="*/ 693740 h 899171"/>
                                  <a:gd name="connsiteX15" fmla="*/ 124946 w 504119"/>
                                  <a:gd name="connsiteY15" fmla="*/ 698979 h 899171"/>
                                  <a:gd name="connsiteX16" fmla="*/ 211601 w 504119"/>
                                  <a:gd name="connsiteY16" fmla="*/ 689455 h 899171"/>
                                  <a:gd name="connsiteX0" fmla="*/ 211601 w 503448"/>
                                  <a:gd name="connsiteY0" fmla="*/ 689455 h 899171"/>
                                  <a:gd name="connsiteX1" fmla="*/ 452891 w 503448"/>
                                  <a:gd name="connsiteY1" fmla="*/ 387139 h 899171"/>
                                  <a:gd name="connsiteX2" fmla="*/ 467028 w 503448"/>
                                  <a:gd name="connsiteY2" fmla="*/ 164367 h 899171"/>
                                  <a:gd name="connsiteX3" fmla="*/ 323345 w 503448"/>
                                  <a:gd name="connsiteY3" fmla="*/ 40311 h 899171"/>
                                  <a:gd name="connsiteX4" fmla="*/ 355282 w 503448"/>
                                  <a:gd name="connsiteY4" fmla="*/ 23046 h 899171"/>
                                  <a:gd name="connsiteX5" fmla="*/ 496866 w 503448"/>
                                  <a:gd name="connsiteY5" fmla="*/ 173990 h 899171"/>
                                  <a:gd name="connsiteX6" fmla="*/ 466235 w 503448"/>
                                  <a:gd name="connsiteY6" fmla="*/ 446797 h 899171"/>
                                  <a:gd name="connsiteX7" fmla="*/ 344659 w 503448"/>
                                  <a:gd name="connsiteY7" fmla="*/ 656832 h 899171"/>
                                  <a:gd name="connsiteX8" fmla="*/ 238904 w 503448"/>
                                  <a:gd name="connsiteY8" fmla="*/ 715801 h 899171"/>
                                  <a:gd name="connsiteX9" fmla="*/ 232404 w 503448"/>
                                  <a:gd name="connsiteY9" fmla="*/ 756605 h 899171"/>
                                  <a:gd name="connsiteX10" fmla="*/ 190423 w 503448"/>
                                  <a:gd name="connsiteY10" fmla="*/ 792000 h 899171"/>
                                  <a:gd name="connsiteX11" fmla="*/ 119573 w 503448"/>
                                  <a:gd name="connsiteY11" fmla="*/ 866619 h 899171"/>
                                  <a:gd name="connsiteX12" fmla="*/ 65861 w 503448"/>
                                  <a:gd name="connsiteY12" fmla="*/ 895673 h 899171"/>
                                  <a:gd name="connsiteX13" fmla="*/ 1367 w 503448"/>
                                  <a:gd name="connsiteY13" fmla="*/ 793278 h 899171"/>
                                  <a:gd name="connsiteX14" fmla="*/ 92709 w 503448"/>
                                  <a:gd name="connsiteY14" fmla="*/ 693740 h 899171"/>
                                  <a:gd name="connsiteX15" fmla="*/ 124946 w 503448"/>
                                  <a:gd name="connsiteY15" fmla="*/ 698979 h 899171"/>
                                  <a:gd name="connsiteX16" fmla="*/ 211601 w 503448"/>
                                  <a:gd name="connsiteY16" fmla="*/ 689455 h 899171"/>
                                  <a:gd name="connsiteX0" fmla="*/ 211601 w 503448"/>
                                  <a:gd name="connsiteY0" fmla="*/ 689455 h 899171"/>
                                  <a:gd name="connsiteX1" fmla="*/ 329116 w 503448"/>
                                  <a:gd name="connsiteY1" fmla="*/ 615159 h 899171"/>
                                  <a:gd name="connsiteX2" fmla="*/ 452891 w 503448"/>
                                  <a:gd name="connsiteY2" fmla="*/ 387139 h 899171"/>
                                  <a:gd name="connsiteX3" fmla="*/ 467028 w 503448"/>
                                  <a:gd name="connsiteY3" fmla="*/ 164367 h 899171"/>
                                  <a:gd name="connsiteX4" fmla="*/ 323345 w 503448"/>
                                  <a:gd name="connsiteY4" fmla="*/ 40311 h 899171"/>
                                  <a:gd name="connsiteX5" fmla="*/ 355282 w 503448"/>
                                  <a:gd name="connsiteY5" fmla="*/ 23046 h 899171"/>
                                  <a:gd name="connsiteX6" fmla="*/ 496866 w 503448"/>
                                  <a:gd name="connsiteY6" fmla="*/ 173990 h 899171"/>
                                  <a:gd name="connsiteX7" fmla="*/ 466235 w 503448"/>
                                  <a:gd name="connsiteY7" fmla="*/ 446797 h 899171"/>
                                  <a:gd name="connsiteX8" fmla="*/ 344659 w 503448"/>
                                  <a:gd name="connsiteY8" fmla="*/ 656832 h 899171"/>
                                  <a:gd name="connsiteX9" fmla="*/ 238904 w 503448"/>
                                  <a:gd name="connsiteY9" fmla="*/ 715801 h 899171"/>
                                  <a:gd name="connsiteX10" fmla="*/ 232404 w 503448"/>
                                  <a:gd name="connsiteY10" fmla="*/ 756605 h 899171"/>
                                  <a:gd name="connsiteX11" fmla="*/ 190423 w 503448"/>
                                  <a:gd name="connsiteY11" fmla="*/ 792000 h 899171"/>
                                  <a:gd name="connsiteX12" fmla="*/ 119573 w 503448"/>
                                  <a:gd name="connsiteY12" fmla="*/ 866619 h 899171"/>
                                  <a:gd name="connsiteX13" fmla="*/ 65861 w 503448"/>
                                  <a:gd name="connsiteY13" fmla="*/ 895673 h 899171"/>
                                  <a:gd name="connsiteX14" fmla="*/ 1367 w 503448"/>
                                  <a:gd name="connsiteY14" fmla="*/ 793278 h 899171"/>
                                  <a:gd name="connsiteX15" fmla="*/ 92709 w 503448"/>
                                  <a:gd name="connsiteY15" fmla="*/ 693740 h 899171"/>
                                  <a:gd name="connsiteX16" fmla="*/ 124946 w 503448"/>
                                  <a:gd name="connsiteY16" fmla="*/ 698979 h 899171"/>
                                  <a:gd name="connsiteX17" fmla="*/ 211601 w 503448"/>
                                  <a:gd name="connsiteY17" fmla="*/ 689455 h 899171"/>
                                  <a:gd name="connsiteX0" fmla="*/ 211601 w 503448"/>
                                  <a:gd name="connsiteY0" fmla="*/ 689455 h 899171"/>
                                  <a:gd name="connsiteX1" fmla="*/ 329116 w 503448"/>
                                  <a:gd name="connsiteY1" fmla="*/ 615159 h 899171"/>
                                  <a:gd name="connsiteX2" fmla="*/ 452891 w 503448"/>
                                  <a:gd name="connsiteY2" fmla="*/ 387139 h 899171"/>
                                  <a:gd name="connsiteX3" fmla="*/ 467028 w 503448"/>
                                  <a:gd name="connsiteY3" fmla="*/ 164367 h 899171"/>
                                  <a:gd name="connsiteX4" fmla="*/ 323345 w 503448"/>
                                  <a:gd name="connsiteY4" fmla="*/ 40311 h 899171"/>
                                  <a:gd name="connsiteX5" fmla="*/ 355282 w 503448"/>
                                  <a:gd name="connsiteY5" fmla="*/ 23046 h 899171"/>
                                  <a:gd name="connsiteX6" fmla="*/ 496866 w 503448"/>
                                  <a:gd name="connsiteY6" fmla="*/ 173990 h 899171"/>
                                  <a:gd name="connsiteX7" fmla="*/ 466235 w 503448"/>
                                  <a:gd name="connsiteY7" fmla="*/ 446797 h 899171"/>
                                  <a:gd name="connsiteX8" fmla="*/ 344659 w 503448"/>
                                  <a:gd name="connsiteY8" fmla="*/ 656832 h 899171"/>
                                  <a:gd name="connsiteX9" fmla="*/ 265767 w 503448"/>
                                  <a:gd name="connsiteY9" fmla="*/ 736756 h 899171"/>
                                  <a:gd name="connsiteX10" fmla="*/ 232404 w 503448"/>
                                  <a:gd name="connsiteY10" fmla="*/ 756605 h 899171"/>
                                  <a:gd name="connsiteX11" fmla="*/ 190423 w 503448"/>
                                  <a:gd name="connsiteY11" fmla="*/ 792000 h 899171"/>
                                  <a:gd name="connsiteX12" fmla="*/ 119573 w 503448"/>
                                  <a:gd name="connsiteY12" fmla="*/ 866619 h 899171"/>
                                  <a:gd name="connsiteX13" fmla="*/ 65861 w 503448"/>
                                  <a:gd name="connsiteY13" fmla="*/ 895673 h 899171"/>
                                  <a:gd name="connsiteX14" fmla="*/ 1367 w 503448"/>
                                  <a:gd name="connsiteY14" fmla="*/ 793278 h 899171"/>
                                  <a:gd name="connsiteX15" fmla="*/ 92709 w 503448"/>
                                  <a:gd name="connsiteY15" fmla="*/ 693740 h 899171"/>
                                  <a:gd name="connsiteX16" fmla="*/ 124946 w 503448"/>
                                  <a:gd name="connsiteY16" fmla="*/ 698979 h 899171"/>
                                  <a:gd name="connsiteX17" fmla="*/ 211601 w 503448"/>
                                  <a:gd name="connsiteY17" fmla="*/ 689455 h 899171"/>
                                  <a:gd name="connsiteX0" fmla="*/ 211601 w 501478"/>
                                  <a:gd name="connsiteY0" fmla="*/ 689455 h 899171"/>
                                  <a:gd name="connsiteX1" fmla="*/ 329116 w 501478"/>
                                  <a:gd name="connsiteY1" fmla="*/ 615159 h 899171"/>
                                  <a:gd name="connsiteX2" fmla="*/ 452891 w 501478"/>
                                  <a:gd name="connsiteY2" fmla="*/ 387139 h 899171"/>
                                  <a:gd name="connsiteX3" fmla="*/ 467028 w 501478"/>
                                  <a:gd name="connsiteY3" fmla="*/ 164367 h 899171"/>
                                  <a:gd name="connsiteX4" fmla="*/ 323345 w 501478"/>
                                  <a:gd name="connsiteY4" fmla="*/ 40311 h 899171"/>
                                  <a:gd name="connsiteX5" fmla="*/ 355282 w 501478"/>
                                  <a:gd name="connsiteY5" fmla="*/ 23046 h 899171"/>
                                  <a:gd name="connsiteX6" fmla="*/ 496866 w 501478"/>
                                  <a:gd name="connsiteY6" fmla="*/ 173990 h 899171"/>
                                  <a:gd name="connsiteX7" fmla="*/ 466235 w 501478"/>
                                  <a:gd name="connsiteY7" fmla="*/ 446797 h 899171"/>
                                  <a:gd name="connsiteX8" fmla="*/ 458066 w 501478"/>
                                  <a:gd name="connsiteY8" fmla="*/ 547055 h 899171"/>
                                  <a:gd name="connsiteX9" fmla="*/ 344659 w 501478"/>
                                  <a:gd name="connsiteY9" fmla="*/ 656832 h 899171"/>
                                  <a:gd name="connsiteX10" fmla="*/ 265767 w 501478"/>
                                  <a:gd name="connsiteY10" fmla="*/ 736756 h 899171"/>
                                  <a:gd name="connsiteX11" fmla="*/ 232404 w 501478"/>
                                  <a:gd name="connsiteY11" fmla="*/ 756605 h 899171"/>
                                  <a:gd name="connsiteX12" fmla="*/ 190423 w 501478"/>
                                  <a:gd name="connsiteY12" fmla="*/ 792000 h 899171"/>
                                  <a:gd name="connsiteX13" fmla="*/ 119573 w 501478"/>
                                  <a:gd name="connsiteY13" fmla="*/ 866619 h 899171"/>
                                  <a:gd name="connsiteX14" fmla="*/ 65861 w 501478"/>
                                  <a:gd name="connsiteY14" fmla="*/ 895673 h 899171"/>
                                  <a:gd name="connsiteX15" fmla="*/ 1367 w 501478"/>
                                  <a:gd name="connsiteY15" fmla="*/ 793278 h 899171"/>
                                  <a:gd name="connsiteX16" fmla="*/ 92709 w 501478"/>
                                  <a:gd name="connsiteY16" fmla="*/ 693740 h 899171"/>
                                  <a:gd name="connsiteX17" fmla="*/ 124946 w 501478"/>
                                  <a:gd name="connsiteY17" fmla="*/ 698979 h 899171"/>
                                  <a:gd name="connsiteX18" fmla="*/ 211601 w 501478"/>
                                  <a:gd name="connsiteY18" fmla="*/ 689455 h 899171"/>
                                  <a:gd name="connsiteX0" fmla="*/ 211601 w 505849"/>
                                  <a:gd name="connsiteY0" fmla="*/ 689455 h 899171"/>
                                  <a:gd name="connsiteX1" fmla="*/ 329116 w 505849"/>
                                  <a:gd name="connsiteY1" fmla="*/ 615159 h 899171"/>
                                  <a:gd name="connsiteX2" fmla="*/ 452891 w 505849"/>
                                  <a:gd name="connsiteY2" fmla="*/ 387139 h 899171"/>
                                  <a:gd name="connsiteX3" fmla="*/ 467028 w 505849"/>
                                  <a:gd name="connsiteY3" fmla="*/ 164367 h 899171"/>
                                  <a:gd name="connsiteX4" fmla="*/ 323345 w 505849"/>
                                  <a:gd name="connsiteY4" fmla="*/ 40311 h 899171"/>
                                  <a:gd name="connsiteX5" fmla="*/ 355282 w 505849"/>
                                  <a:gd name="connsiteY5" fmla="*/ 23046 h 899171"/>
                                  <a:gd name="connsiteX6" fmla="*/ 496866 w 505849"/>
                                  <a:gd name="connsiteY6" fmla="*/ 173990 h 899171"/>
                                  <a:gd name="connsiteX7" fmla="*/ 487727 w 505849"/>
                                  <a:gd name="connsiteY7" fmla="*/ 446798 h 899171"/>
                                  <a:gd name="connsiteX8" fmla="*/ 458066 w 505849"/>
                                  <a:gd name="connsiteY8" fmla="*/ 547055 h 899171"/>
                                  <a:gd name="connsiteX9" fmla="*/ 344659 w 505849"/>
                                  <a:gd name="connsiteY9" fmla="*/ 656832 h 899171"/>
                                  <a:gd name="connsiteX10" fmla="*/ 265767 w 505849"/>
                                  <a:gd name="connsiteY10" fmla="*/ 736756 h 899171"/>
                                  <a:gd name="connsiteX11" fmla="*/ 232404 w 505849"/>
                                  <a:gd name="connsiteY11" fmla="*/ 756605 h 899171"/>
                                  <a:gd name="connsiteX12" fmla="*/ 190423 w 505849"/>
                                  <a:gd name="connsiteY12" fmla="*/ 792000 h 899171"/>
                                  <a:gd name="connsiteX13" fmla="*/ 119573 w 505849"/>
                                  <a:gd name="connsiteY13" fmla="*/ 866619 h 899171"/>
                                  <a:gd name="connsiteX14" fmla="*/ 65861 w 505849"/>
                                  <a:gd name="connsiteY14" fmla="*/ 895673 h 899171"/>
                                  <a:gd name="connsiteX15" fmla="*/ 1367 w 505849"/>
                                  <a:gd name="connsiteY15" fmla="*/ 793278 h 899171"/>
                                  <a:gd name="connsiteX16" fmla="*/ 92709 w 505849"/>
                                  <a:gd name="connsiteY16" fmla="*/ 693740 h 899171"/>
                                  <a:gd name="connsiteX17" fmla="*/ 124946 w 505849"/>
                                  <a:gd name="connsiteY17" fmla="*/ 698979 h 899171"/>
                                  <a:gd name="connsiteX18" fmla="*/ 211601 w 505849"/>
                                  <a:gd name="connsiteY18" fmla="*/ 689455 h 899171"/>
                                  <a:gd name="connsiteX0" fmla="*/ 211601 w 505849"/>
                                  <a:gd name="connsiteY0" fmla="*/ 689455 h 899171"/>
                                  <a:gd name="connsiteX1" fmla="*/ 329116 w 505849"/>
                                  <a:gd name="connsiteY1" fmla="*/ 615159 h 899171"/>
                                  <a:gd name="connsiteX2" fmla="*/ 372100 w 505849"/>
                                  <a:gd name="connsiteY2" fmla="*/ 457997 h 899171"/>
                                  <a:gd name="connsiteX3" fmla="*/ 452891 w 505849"/>
                                  <a:gd name="connsiteY3" fmla="*/ 387139 h 899171"/>
                                  <a:gd name="connsiteX4" fmla="*/ 467028 w 505849"/>
                                  <a:gd name="connsiteY4" fmla="*/ 164367 h 899171"/>
                                  <a:gd name="connsiteX5" fmla="*/ 323345 w 505849"/>
                                  <a:gd name="connsiteY5" fmla="*/ 40311 h 899171"/>
                                  <a:gd name="connsiteX6" fmla="*/ 355282 w 505849"/>
                                  <a:gd name="connsiteY6" fmla="*/ 23046 h 899171"/>
                                  <a:gd name="connsiteX7" fmla="*/ 496866 w 505849"/>
                                  <a:gd name="connsiteY7" fmla="*/ 173990 h 899171"/>
                                  <a:gd name="connsiteX8" fmla="*/ 487727 w 505849"/>
                                  <a:gd name="connsiteY8" fmla="*/ 446798 h 899171"/>
                                  <a:gd name="connsiteX9" fmla="*/ 458066 w 505849"/>
                                  <a:gd name="connsiteY9" fmla="*/ 547055 h 899171"/>
                                  <a:gd name="connsiteX10" fmla="*/ 344659 w 505849"/>
                                  <a:gd name="connsiteY10" fmla="*/ 656832 h 899171"/>
                                  <a:gd name="connsiteX11" fmla="*/ 265767 w 505849"/>
                                  <a:gd name="connsiteY11" fmla="*/ 736756 h 899171"/>
                                  <a:gd name="connsiteX12" fmla="*/ 232404 w 505849"/>
                                  <a:gd name="connsiteY12" fmla="*/ 756605 h 899171"/>
                                  <a:gd name="connsiteX13" fmla="*/ 190423 w 505849"/>
                                  <a:gd name="connsiteY13" fmla="*/ 792000 h 899171"/>
                                  <a:gd name="connsiteX14" fmla="*/ 119573 w 505849"/>
                                  <a:gd name="connsiteY14" fmla="*/ 866619 h 899171"/>
                                  <a:gd name="connsiteX15" fmla="*/ 65861 w 505849"/>
                                  <a:gd name="connsiteY15" fmla="*/ 895673 h 899171"/>
                                  <a:gd name="connsiteX16" fmla="*/ 1367 w 505849"/>
                                  <a:gd name="connsiteY16" fmla="*/ 793278 h 899171"/>
                                  <a:gd name="connsiteX17" fmla="*/ 92709 w 505849"/>
                                  <a:gd name="connsiteY17" fmla="*/ 693740 h 899171"/>
                                  <a:gd name="connsiteX18" fmla="*/ 124946 w 505849"/>
                                  <a:gd name="connsiteY18" fmla="*/ 698979 h 899171"/>
                                  <a:gd name="connsiteX19" fmla="*/ 211601 w 505849"/>
                                  <a:gd name="connsiteY19" fmla="*/ 689455 h 899171"/>
                                  <a:gd name="connsiteX0" fmla="*/ 211601 w 505849"/>
                                  <a:gd name="connsiteY0" fmla="*/ 689455 h 899171"/>
                                  <a:gd name="connsiteX1" fmla="*/ 329116 w 505849"/>
                                  <a:gd name="connsiteY1" fmla="*/ 615159 h 899171"/>
                                  <a:gd name="connsiteX2" fmla="*/ 388218 w 505849"/>
                                  <a:gd name="connsiteY2" fmla="*/ 520862 h 899171"/>
                                  <a:gd name="connsiteX3" fmla="*/ 372100 w 505849"/>
                                  <a:gd name="connsiteY3" fmla="*/ 457997 h 899171"/>
                                  <a:gd name="connsiteX4" fmla="*/ 452891 w 505849"/>
                                  <a:gd name="connsiteY4" fmla="*/ 387139 h 899171"/>
                                  <a:gd name="connsiteX5" fmla="*/ 467028 w 505849"/>
                                  <a:gd name="connsiteY5" fmla="*/ 164367 h 899171"/>
                                  <a:gd name="connsiteX6" fmla="*/ 323345 w 505849"/>
                                  <a:gd name="connsiteY6" fmla="*/ 40311 h 899171"/>
                                  <a:gd name="connsiteX7" fmla="*/ 355282 w 505849"/>
                                  <a:gd name="connsiteY7" fmla="*/ 23046 h 899171"/>
                                  <a:gd name="connsiteX8" fmla="*/ 496866 w 505849"/>
                                  <a:gd name="connsiteY8" fmla="*/ 173990 h 899171"/>
                                  <a:gd name="connsiteX9" fmla="*/ 487727 w 505849"/>
                                  <a:gd name="connsiteY9" fmla="*/ 446798 h 899171"/>
                                  <a:gd name="connsiteX10" fmla="*/ 458066 w 505849"/>
                                  <a:gd name="connsiteY10" fmla="*/ 547055 h 899171"/>
                                  <a:gd name="connsiteX11" fmla="*/ 344659 w 505849"/>
                                  <a:gd name="connsiteY11" fmla="*/ 656832 h 899171"/>
                                  <a:gd name="connsiteX12" fmla="*/ 265767 w 505849"/>
                                  <a:gd name="connsiteY12" fmla="*/ 736756 h 899171"/>
                                  <a:gd name="connsiteX13" fmla="*/ 232404 w 505849"/>
                                  <a:gd name="connsiteY13" fmla="*/ 756605 h 899171"/>
                                  <a:gd name="connsiteX14" fmla="*/ 190423 w 505849"/>
                                  <a:gd name="connsiteY14" fmla="*/ 792000 h 899171"/>
                                  <a:gd name="connsiteX15" fmla="*/ 119573 w 505849"/>
                                  <a:gd name="connsiteY15" fmla="*/ 866619 h 899171"/>
                                  <a:gd name="connsiteX16" fmla="*/ 65861 w 505849"/>
                                  <a:gd name="connsiteY16" fmla="*/ 895673 h 899171"/>
                                  <a:gd name="connsiteX17" fmla="*/ 1367 w 505849"/>
                                  <a:gd name="connsiteY17" fmla="*/ 793278 h 899171"/>
                                  <a:gd name="connsiteX18" fmla="*/ 92709 w 505849"/>
                                  <a:gd name="connsiteY18" fmla="*/ 693740 h 899171"/>
                                  <a:gd name="connsiteX19" fmla="*/ 124946 w 505849"/>
                                  <a:gd name="connsiteY19" fmla="*/ 698979 h 899171"/>
                                  <a:gd name="connsiteX20" fmla="*/ 211601 w 505849"/>
                                  <a:gd name="connsiteY20" fmla="*/ 689455 h 899171"/>
                                  <a:gd name="connsiteX0" fmla="*/ 211601 w 508197"/>
                                  <a:gd name="connsiteY0" fmla="*/ 649170 h 858886"/>
                                  <a:gd name="connsiteX1" fmla="*/ 329116 w 508197"/>
                                  <a:gd name="connsiteY1" fmla="*/ 574874 h 858886"/>
                                  <a:gd name="connsiteX2" fmla="*/ 388218 w 508197"/>
                                  <a:gd name="connsiteY2" fmla="*/ 480577 h 858886"/>
                                  <a:gd name="connsiteX3" fmla="*/ 372100 w 508197"/>
                                  <a:gd name="connsiteY3" fmla="*/ 417712 h 858886"/>
                                  <a:gd name="connsiteX4" fmla="*/ 452891 w 508197"/>
                                  <a:gd name="connsiteY4" fmla="*/ 346854 h 858886"/>
                                  <a:gd name="connsiteX5" fmla="*/ 467028 w 508197"/>
                                  <a:gd name="connsiteY5" fmla="*/ 124082 h 858886"/>
                                  <a:gd name="connsiteX6" fmla="*/ 323345 w 508197"/>
                                  <a:gd name="connsiteY6" fmla="*/ 26 h 858886"/>
                                  <a:gd name="connsiteX7" fmla="*/ 496866 w 508197"/>
                                  <a:gd name="connsiteY7" fmla="*/ 133705 h 858886"/>
                                  <a:gd name="connsiteX8" fmla="*/ 487727 w 508197"/>
                                  <a:gd name="connsiteY8" fmla="*/ 406513 h 858886"/>
                                  <a:gd name="connsiteX9" fmla="*/ 458066 w 508197"/>
                                  <a:gd name="connsiteY9" fmla="*/ 506770 h 858886"/>
                                  <a:gd name="connsiteX10" fmla="*/ 344659 w 508197"/>
                                  <a:gd name="connsiteY10" fmla="*/ 616547 h 858886"/>
                                  <a:gd name="connsiteX11" fmla="*/ 265767 w 508197"/>
                                  <a:gd name="connsiteY11" fmla="*/ 696471 h 858886"/>
                                  <a:gd name="connsiteX12" fmla="*/ 232404 w 508197"/>
                                  <a:gd name="connsiteY12" fmla="*/ 716320 h 858886"/>
                                  <a:gd name="connsiteX13" fmla="*/ 190423 w 508197"/>
                                  <a:gd name="connsiteY13" fmla="*/ 751715 h 858886"/>
                                  <a:gd name="connsiteX14" fmla="*/ 119573 w 508197"/>
                                  <a:gd name="connsiteY14" fmla="*/ 826334 h 858886"/>
                                  <a:gd name="connsiteX15" fmla="*/ 65861 w 508197"/>
                                  <a:gd name="connsiteY15" fmla="*/ 855388 h 858886"/>
                                  <a:gd name="connsiteX16" fmla="*/ 1367 w 508197"/>
                                  <a:gd name="connsiteY16" fmla="*/ 752993 h 858886"/>
                                  <a:gd name="connsiteX17" fmla="*/ 92709 w 508197"/>
                                  <a:gd name="connsiteY17" fmla="*/ 653455 h 858886"/>
                                  <a:gd name="connsiteX18" fmla="*/ 124946 w 508197"/>
                                  <a:gd name="connsiteY18" fmla="*/ 658694 h 858886"/>
                                  <a:gd name="connsiteX19" fmla="*/ 211601 w 508197"/>
                                  <a:gd name="connsiteY19" fmla="*/ 649170 h 858886"/>
                                  <a:gd name="connsiteX0" fmla="*/ 211601 w 497861"/>
                                  <a:gd name="connsiteY0" fmla="*/ 551318 h 761034"/>
                                  <a:gd name="connsiteX1" fmla="*/ 329116 w 497861"/>
                                  <a:gd name="connsiteY1" fmla="*/ 477022 h 761034"/>
                                  <a:gd name="connsiteX2" fmla="*/ 388218 w 497861"/>
                                  <a:gd name="connsiteY2" fmla="*/ 382725 h 761034"/>
                                  <a:gd name="connsiteX3" fmla="*/ 372100 w 497861"/>
                                  <a:gd name="connsiteY3" fmla="*/ 319860 h 761034"/>
                                  <a:gd name="connsiteX4" fmla="*/ 452891 w 497861"/>
                                  <a:gd name="connsiteY4" fmla="*/ 249002 h 761034"/>
                                  <a:gd name="connsiteX5" fmla="*/ 467028 w 497861"/>
                                  <a:gd name="connsiteY5" fmla="*/ 26230 h 761034"/>
                                  <a:gd name="connsiteX6" fmla="*/ 496866 w 497861"/>
                                  <a:gd name="connsiteY6" fmla="*/ 35853 h 761034"/>
                                  <a:gd name="connsiteX7" fmla="*/ 487727 w 497861"/>
                                  <a:gd name="connsiteY7" fmla="*/ 308661 h 761034"/>
                                  <a:gd name="connsiteX8" fmla="*/ 458066 w 497861"/>
                                  <a:gd name="connsiteY8" fmla="*/ 408918 h 761034"/>
                                  <a:gd name="connsiteX9" fmla="*/ 344659 w 497861"/>
                                  <a:gd name="connsiteY9" fmla="*/ 518695 h 761034"/>
                                  <a:gd name="connsiteX10" fmla="*/ 265767 w 497861"/>
                                  <a:gd name="connsiteY10" fmla="*/ 598619 h 761034"/>
                                  <a:gd name="connsiteX11" fmla="*/ 232404 w 497861"/>
                                  <a:gd name="connsiteY11" fmla="*/ 618468 h 761034"/>
                                  <a:gd name="connsiteX12" fmla="*/ 190423 w 497861"/>
                                  <a:gd name="connsiteY12" fmla="*/ 653863 h 761034"/>
                                  <a:gd name="connsiteX13" fmla="*/ 119573 w 497861"/>
                                  <a:gd name="connsiteY13" fmla="*/ 728482 h 761034"/>
                                  <a:gd name="connsiteX14" fmla="*/ 65861 w 497861"/>
                                  <a:gd name="connsiteY14" fmla="*/ 757536 h 761034"/>
                                  <a:gd name="connsiteX15" fmla="*/ 1367 w 497861"/>
                                  <a:gd name="connsiteY15" fmla="*/ 655141 h 761034"/>
                                  <a:gd name="connsiteX16" fmla="*/ 92709 w 497861"/>
                                  <a:gd name="connsiteY16" fmla="*/ 555603 h 761034"/>
                                  <a:gd name="connsiteX17" fmla="*/ 124946 w 497861"/>
                                  <a:gd name="connsiteY17" fmla="*/ 560842 h 761034"/>
                                  <a:gd name="connsiteX18" fmla="*/ 211601 w 497861"/>
                                  <a:gd name="connsiteY18" fmla="*/ 551318 h 761034"/>
                                  <a:gd name="connsiteX0" fmla="*/ 211601 w 499314"/>
                                  <a:gd name="connsiteY0" fmla="*/ 530018 h 739734"/>
                                  <a:gd name="connsiteX1" fmla="*/ 329116 w 499314"/>
                                  <a:gd name="connsiteY1" fmla="*/ 455722 h 739734"/>
                                  <a:gd name="connsiteX2" fmla="*/ 388218 w 499314"/>
                                  <a:gd name="connsiteY2" fmla="*/ 361425 h 739734"/>
                                  <a:gd name="connsiteX3" fmla="*/ 372100 w 499314"/>
                                  <a:gd name="connsiteY3" fmla="*/ 298560 h 739734"/>
                                  <a:gd name="connsiteX4" fmla="*/ 452891 w 499314"/>
                                  <a:gd name="connsiteY4" fmla="*/ 227702 h 739734"/>
                                  <a:gd name="connsiteX5" fmla="*/ 445536 w 499314"/>
                                  <a:gd name="connsiteY5" fmla="*/ 57317 h 739734"/>
                                  <a:gd name="connsiteX6" fmla="*/ 496866 w 499314"/>
                                  <a:gd name="connsiteY6" fmla="*/ 14553 h 739734"/>
                                  <a:gd name="connsiteX7" fmla="*/ 487727 w 499314"/>
                                  <a:gd name="connsiteY7" fmla="*/ 287361 h 739734"/>
                                  <a:gd name="connsiteX8" fmla="*/ 458066 w 499314"/>
                                  <a:gd name="connsiteY8" fmla="*/ 387618 h 739734"/>
                                  <a:gd name="connsiteX9" fmla="*/ 344659 w 499314"/>
                                  <a:gd name="connsiteY9" fmla="*/ 497395 h 739734"/>
                                  <a:gd name="connsiteX10" fmla="*/ 265767 w 499314"/>
                                  <a:gd name="connsiteY10" fmla="*/ 577319 h 739734"/>
                                  <a:gd name="connsiteX11" fmla="*/ 232404 w 499314"/>
                                  <a:gd name="connsiteY11" fmla="*/ 597168 h 739734"/>
                                  <a:gd name="connsiteX12" fmla="*/ 190423 w 499314"/>
                                  <a:gd name="connsiteY12" fmla="*/ 632563 h 739734"/>
                                  <a:gd name="connsiteX13" fmla="*/ 119573 w 499314"/>
                                  <a:gd name="connsiteY13" fmla="*/ 707182 h 739734"/>
                                  <a:gd name="connsiteX14" fmla="*/ 65861 w 499314"/>
                                  <a:gd name="connsiteY14" fmla="*/ 736236 h 739734"/>
                                  <a:gd name="connsiteX15" fmla="*/ 1367 w 499314"/>
                                  <a:gd name="connsiteY15" fmla="*/ 633841 h 739734"/>
                                  <a:gd name="connsiteX16" fmla="*/ 92709 w 499314"/>
                                  <a:gd name="connsiteY16" fmla="*/ 534303 h 739734"/>
                                  <a:gd name="connsiteX17" fmla="*/ 124946 w 499314"/>
                                  <a:gd name="connsiteY17" fmla="*/ 539542 h 739734"/>
                                  <a:gd name="connsiteX18" fmla="*/ 211601 w 499314"/>
                                  <a:gd name="connsiteY18" fmla="*/ 530018 h 739734"/>
                                  <a:gd name="connsiteX0" fmla="*/ 211601 w 504141"/>
                                  <a:gd name="connsiteY0" fmla="*/ 482496 h 692212"/>
                                  <a:gd name="connsiteX1" fmla="*/ 329116 w 504141"/>
                                  <a:gd name="connsiteY1" fmla="*/ 408200 h 692212"/>
                                  <a:gd name="connsiteX2" fmla="*/ 388218 w 504141"/>
                                  <a:gd name="connsiteY2" fmla="*/ 313903 h 692212"/>
                                  <a:gd name="connsiteX3" fmla="*/ 372100 w 504141"/>
                                  <a:gd name="connsiteY3" fmla="*/ 251038 h 692212"/>
                                  <a:gd name="connsiteX4" fmla="*/ 452891 w 504141"/>
                                  <a:gd name="connsiteY4" fmla="*/ 180180 h 692212"/>
                                  <a:gd name="connsiteX5" fmla="*/ 445536 w 504141"/>
                                  <a:gd name="connsiteY5" fmla="*/ 9795 h 692212"/>
                                  <a:gd name="connsiteX6" fmla="*/ 502239 w 504141"/>
                                  <a:gd name="connsiteY6" fmla="*/ 82284 h 692212"/>
                                  <a:gd name="connsiteX7" fmla="*/ 487727 w 504141"/>
                                  <a:gd name="connsiteY7" fmla="*/ 239839 h 692212"/>
                                  <a:gd name="connsiteX8" fmla="*/ 458066 w 504141"/>
                                  <a:gd name="connsiteY8" fmla="*/ 340096 h 692212"/>
                                  <a:gd name="connsiteX9" fmla="*/ 344659 w 504141"/>
                                  <a:gd name="connsiteY9" fmla="*/ 449873 h 692212"/>
                                  <a:gd name="connsiteX10" fmla="*/ 265767 w 504141"/>
                                  <a:gd name="connsiteY10" fmla="*/ 529797 h 692212"/>
                                  <a:gd name="connsiteX11" fmla="*/ 232404 w 504141"/>
                                  <a:gd name="connsiteY11" fmla="*/ 549646 h 692212"/>
                                  <a:gd name="connsiteX12" fmla="*/ 190423 w 504141"/>
                                  <a:gd name="connsiteY12" fmla="*/ 585041 h 692212"/>
                                  <a:gd name="connsiteX13" fmla="*/ 119573 w 504141"/>
                                  <a:gd name="connsiteY13" fmla="*/ 659660 h 692212"/>
                                  <a:gd name="connsiteX14" fmla="*/ 65861 w 504141"/>
                                  <a:gd name="connsiteY14" fmla="*/ 688714 h 692212"/>
                                  <a:gd name="connsiteX15" fmla="*/ 1367 w 504141"/>
                                  <a:gd name="connsiteY15" fmla="*/ 586319 h 692212"/>
                                  <a:gd name="connsiteX16" fmla="*/ 92709 w 504141"/>
                                  <a:gd name="connsiteY16" fmla="*/ 486781 h 692212"/>
                                  <a:gd name="connsiteX17" fmla="*/ 124946 w 504141"/>
                                  <a:gd name="connsiteY17" fmla="*/ 492020 h 692212"/>
                                  <a:gd name="connsiteX18" fmla="*/ 211601 w 504141"/>
                                  <a:gd name="connsiteY18" fmla="*/ 482496 h 692212"/>
                                  <a:gd name="connsiteX0" fmla="*/ 211601 w 502424"/>
                                  <a:gd name="connsiteY0" fmla="*/ 484746 h 694462"/>
                                  <a:gd name="connsiteX1" fmla="*/ 329116 w 502424"/>
                                  <a:gd name="connsiteY1" fmla="*/ 410450 h 694462"/>
                                  <a:gd name="connsiteX2" fmla="*/ 388218 w 502424"/>
                                  <a:gd name="connsiteY2" fmla="*/ 316153 h 694462"/>
                                  <a:gd name="connsiteX3" fmla="*/ 372100 w 502424"/>
                                  <a:gd name="connsiteY3" fmla="*/ 253288 h 694462"/>
                                  <a:gd name="connsiteX4" fmla="*/ 452891 w 502424"/>
                                  <a:gd name="connsiteY4" fmla="*/ 182430 h 694462"/>
                                  <a:gd name="connsiteX5" fmla="*/ 445536 w 502424"/>
                                  <a:gd name="connsiteY5" fmla="*/ 12045 h 694462"/>
                                  <a:gd name="connsiteX6" fmla="*/ 502239 w 502424"/>
                                  <a:gd name="connsiteY6" fmla="*/ 84534 h 694462"/>
                                  <a:gd name="connsiteX7" fmla="*/ 487727 w 502424"/>
                                  <a:gd name="connsiteY7" fmla="*/ 242089 h 694462"/>
                                  <a:gd name="connsiteX8" fmla="*/ 458066 w 502424"/>
                                  <a:gd name="connsiteY8" fmla="*/ 342346 h 694462"/>
                                  <a:gd name="connsiteX9" fmla="*/ 344659 w 502424"/>
                                  <a:gd name="connsiteY9" fmla="*/ 452123 h 694462"/>
                                  <a:gd name="connsiteX10" fmla="*/ 265767 w 502424"/>
                                  <a:gd name="connsiteY10" fmla="*/ 532047 h 694462"/>
                                  <a:gd name="connsiteX11" fmla="*/ 232404 w 502424"/>
                                  <a:gd name="connsiteY11" fmla="*/ 551896 h 694462"/>
                                  <a:gd name="connsiteX12" fmla="*/ 190423 w 502424"/>
                                  <a:gd name="connsiteY12" fmla="*/ 587291 h 694462"/>
                                  <a:gd name="connsiteX13" fmla="*/ 119573 w 502424"/>
                                  <a:gd name="connsiteY13" fmla="*/ 661910 h 694462"/>
                                  <a:gd name="connsiteX14" fmla="*/ 65861 w 502424"/>
                                  <a:gd name="connsiteY14" fmla="*/ 690964 h 694462"/>
                                  <a:gd name="connsiteX15" fmla="*/ 1367 w 502424"/>
                                  <a:gd name="connsiteY15" fmla="*/ 588569 h 694462"/>
                                  <a:gd name="connsiteX16" fmla="*/ 92709 w 502424"/>
                                  <a:gd name="connsiteY16" fmla="*/ 489031 h 694462"/>
                                  <a:gd name="connsiteX17" fmla="*/ 124946 w 502424"/>
                                  <a:gd name="connsiteY17" fmla="*/ 494270 h 694462"/>
                                  <a:gd name="connsiteX18" fmla="*/ 211601 w 502424"/>
                                  <a:gd name="connsiteY18" fmla="*/ 484746 h 694462"/>
                                </a:gdLst>
                                <a:ahLst/>
                                <a:cxnLst>
                                  <a:cxn ang="0">
                                    <a:pos x="connsiteX0" y="connsiteY0"/>
                                  </a:cxn>
                                  <a:cxn ang="0">
                                    <a:pos x="connsiteX1" y="connsiteY1"/>
                                  </a:cxn>
                                  <a:cxn ang="0">
                                    <a:pos x="connsiteX2" y="connsiteY2"/>
                                  </a:cxn>
                                  <a:cxn ang="0">
                                    <a:pos x="connsiteX3" y="connsiteY3"/>
                                  </a:cxn>
                                  <a:cxn ang="0">
                                    <a:pos x="connsiteX4" y="connsiteY4"/>
                                  </a:cxn>
                                  <a:cxn ang="0">
                                    <a:pos x="connsiteX5" y="connsiteY5"/>
                                  </a:cxn>
                                  <a:cxn ang="0">
                                    <a:pos x="connsiteX6" y="connsiteY6"/>
                                  </a:cxn>
                                  <a:cxn ang="0">
                                    <a:pos x="connsiteX7" y="connsiteY7"/>
                                  </a:cxn>
                                  <a:cxn ang="0">
                                    <a:pos x="connsiteX8" y="connsiteY8"/>
                                  </a:cxn>
                                  <a:cxn ang="0">
                                    <a:pos x="connsiteX9" y="connsiteY9"/>
                                  </a:cxn>
                                  <a:cxn ang="0">
                                    <a:pos x="connsiteX10" y="connsiteY10"/>
                                  </a:cxn>
                                  <a:cxn ang="0">
                                    <a:pos x="connsiteX11" y="connsiteY11"/>
                                  </a:cxn>
                                  <a:cxn ang="0">
                                    <a:pos x="connsiteX12" y="connsiteY12"/>
                                  </a:cxn>
                                  <a:cxn ang="0">
                                    <a:pos x="connsiteX13" y="connsiteY13"/>
                                  </a:cxn>
                                  <a:cxn ang="0">
                                    <a:pos x="connsiteX14" y="connsiteY14"/>
                                  </a:cxn>
                                  <a:cxn ang="0">
                                    <a:pos x="connsiteX15" y="connsiteY15"/>
                                  </a:cxn>
                                  <a:cxn ang="0">
                                    <a:pos x="connsiteX16" y="connsiteY16"/>
                                  </a:cxn>
                                  <a:cxn ang="0">
                                    <a:pos x="connsiteX17" y="connsiteY17"/>
                                  </a:cxn>
                                  <a:cxn ang="0">
                                    <a:pos x="connsiteX18" y="connsiteY18"/>
                                  </a:cxn>
                                </a:cxnLst>
                                <a:rect l="l" t="t" r="r" b="b"/>
                                <a:pathLst>
                                  <a:path w="502424" h="694462">
                                    <a:moveTo>
                                      <a:pt x="211601" y="484746"/>
                                    </a:moveTo>
                                    <a:cubicBezTo>
                                      <a:pt x="245629" y="470776"/>
                                      <a:pt x="288901" y="460836"/>
                                      <a:pt x="329116" y="410450"/>
                                    </a:cubicBezTo>
                                    <a:cubicBezTo>
                                      <a:pt x="354075" y="381478"/>
                                      <a:pt x="381054" y="342347"/>
                                      <a:pt x="388218" y="316153"/>
                                    </a:cubicBezTo>
                                    <a:cubicBezTo>
                                      <a:pt x="395382" y="289959"/>
                                      <a:pt x="356844" y="274702"/>
                                      <a:pt x="372100" y="253288"/>
                                    </a:cubicBezTo>
                                    <a:cubicBezTo>
                                      <a:pt x="387356" y="231874"/>
                                      <a:pt x="446025" y="231368"/>
                                      <a:pt x="452891" y="182430"/>
                                    </a:cubicBezTo>
                                    <a:cubicBezTo>
                                      <a:pt x="459941" y="114706"/>
                                      <a:pt x="434492" y="43768"/>
                                      <a:pt x="445536" y="12045"/>
                                    </a:cubicBezTo>
                                    <a:cubicBezTo>
                                      <a:pt x="452865" y="-23480"/>
                                      <a:pt x="505953" y="25238"/>
                                      <a:pt x="502239" y="84534"/>
                                    </a:cubicBezTo>
                                    <a:cubicBezTo>
                                      <a:pt x="498525" y="143830"/>
                                      <a:pt x="495089" y="199120"/>
                                      <a:pt x="487727" y="242089"/>
                                    </a:cubicBezTo>
                                    <a:cubicBezTo>
                                      <a:pt x="480365" y="285058"/>
                                      <a:pt x="478329" y="307340"/>
                                      <a:pt x="458066" y="342346"/>
                                    </a:cubicBezTo>
                                    <a:cubicBezTo>
                                      <a:pt x="437803" y="377352"/>
                                      <a:pt x="376709" y="420506"/>
                                      <a:pt x="344659" y="452123"/>
                                    </a:cubicBezTo>
                                    <a:cubicBezTo>
                                      <a:pt x="312609" y="483740"/>
                                      <a:pt x="284476" y="515418"/>
                                      <a:pt x="265767" y="532047"/>
                                    </a:cubicBezTo>
                                    <a:cubicBezTo>
                                      <a:pt x="247058" y="548676"/>
                                      <a:pt x="244962" y="540943"/>
                                      <a:pt x="232404" y="551896"/>
                                    </a:cubicBezTo>
                                    <a:cubicBezTo>
                                      <a:pt x="219846" y="562850"/>
                                      <a:pt x="211019" y="570702"/>
                                      <a:pt x="190423" y="587291"/>
                                    </a:cubicBezTo>
                                    <a:cubicBezTo>
                                      <a:pt x="169827" y="603880"/>
                                      <a:pt x="135856" y="642885"/>
                                      <a:pt x="119573" y="661910"/>
                                    </a:cubicBezTo>
                                    <a:cubicBezTo>
                                      <a:pt x="103290" y="680935"/>
                                      <a:pt x="85562" y="703188"/>
                                      <a:pt x="65861" y="690964"/>
                                    </a:cubicBezTo>
                                    <a:cubicBezTo>
                                      <a:pt x="46160" y="678740"/>
                                      <a:pt x="-9376" y="615239"/>
                                      <a:pt x="1367" y="588569"/>
                                    </a:cubicBezTo>
                                    <a:cubicBezTo>
                                      <a:pt x="12110" y="561899"/>
                                      <a:pt x="69426" y="502128"/>
                                      <a:pt x="92709" y="489031"/>
                                    </a:cubicBezTo>
                                    <a:cubicBezTo>
                                      <a:pt x="115992" y="475934"/>
                                      <a:pt x="108713" y="500223"/>
                                      <a:pt x="124946" y="494270"/>
                                    </a:cubicBezTo>
                                    <a:cubicBezTo>
                                      <a:pt x="141180" y="488317"/>
                                      <a:pt x="177573" y="498716"/>
                                      <a:pt x="211601" y="484746"/>
                                    </a:cubicBezTo>
                                    <a:close/>
                                  </a:path>
                                </a:pathLst>
                              </a:custGeom>
                              <a:grpFill/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anchor="ctr"/>
                              <a:lstStyle/>
                              <a:p>
                                <a:pPr algn="ctr">
                                  <a:defRPr/>
                                </a:pPr>
                                <a:endParaRPr lang="pt-BR" sz="110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</p:grpSp>
                        <p:sp>
                          <p:nvSpPr>
                            <p:cNvPr id="1019" name="Freeform 222"/>
                            <p:cNvSpPr/>
                            <p:nvPr/>
                          </p:nvSpPr>
                          <p:spPr>
                            <a:xfrm rot="11700000">
                              <a:off x="4206124" y="4401160"/>
                              <a:ext cx="8311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0" name="Freeform 223"/>
                            <p:cNvSpPr/>
                            <p:nvPr/>
                          </p:nvSpPr>
                          <p:spPr>
                            <a:xfrm rot="11700000">
                              <a:off x="4193598" y="4553560"/>
                              <a:ext cx="8311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1" name="DF"/>
                            <p:cNvSpPr/>
                            <p:nvPr/>
                          </p:nvSpPr>
                          <p:spPr bwMode="auto">
                            <a:xfrm>
                              <a:off x="6830834" y="2657738"/>
                              <a:ext cx="128692" cy="63993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8692" h="85175">
                                  <a:moveTo>
                                    <a:pt x="4020" y="76745"/>
                                  </a:moveTo>
                                  <a:cubicBezTo>
                                    <a:pt x="-9920" y="64138"/>
                                    <a:pt x="16247" y="11241"/>
                                    <a:pt x="23990" y="4803"/>
                                  </a:cubicBezTo>
                                  <a:cubicBezTo>
                                    <a:pt x="31733" y="-1635"/>
                                    <a:pt x="71131" y="-1735"/>
                                    <a:pt x="88581" y="5318"/>
                                  </a:cubicBezTo>
                                  <a:cubicBezTo>
                                    <a:pt x="106031" y="12371"/>
                                    <a:pt x="128692" y="25786"/>
                                    <a:pt x="128692" y="47119"/>
                                  </a:cubicBezTo>
                                  <a:cubicBezTo>
                                    <a:pt x="128692" y="68452"/>
                                    <a:pt x="128410" y="75508"/>
                                    <a:pt x="107631" y="80446"/>
                                  </a:cubicBezTo>
                                  <a:cubicBezTo>
                                    <a:pt x="86852" y="85384"/>
                                    <a:pt x="17960" y="89352"/>
                                    <a:pt x="4020" y="76745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2" name="DF"/>
                            <p:cNvSpPr/>
                            <p:nvPr/>
                          </p:nvSpPr>
                          <p:spPr bwMode="auto">
                            <a:xfrm>
                              <a:off x="6587744" y="2942493"/>
                              <a:ext cx="77084" cy="70946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</a:cxnLst>
                              <a:rect l="l" t="t" r="r" b="b"/>
                              <a:pathLst>
                                <a:path w="77084" h="94429">
                                  <a:moveTo>
                                    <a:pt x="42560" y="82618"/>
                                  </a:moveTo>
                                  <a:cubicBezTo>
                                    <a:pt x="32209" y="71081"/>
                                    <a:pt x="6901" y="46329"/>
                                    <a:pt x="1516" y="24491"/>
                                  </a:cubicBezTo>
                                  <a:cubicBezTo>
                                    <a:pt x="-3869" y="2653"/>
                                    <a:pt x="6543" y="26250"/>
                                    <a:pt x="10247" y="14981"/>
                                  </a:cubicBezTo>
                                  <a:cubicBezTo>
                                    <a:pt x="13328" y="-10378"/>
                                    <a:pt x="24534" y="2304"/>
                                    <a:pt x="29297" y="10756"/>
                                  </a:cubicBezTo>
                                  <a:cubicBezTo>
                                    <a:pt x="34060" y="19208"/>
                                    <a:pt x="34871" y="24503"/>
                                    <a:pt x="43585" y="30829"/>
                                  </a:cubicBezTo>
                                  <a:cubicBezTo>
                                    <a:pt x="52299" y="37155"/>
                                    <a:pt x="64217" y="49342"/>
                                    <a:pt x="72054" y="50823"/>
                                  </a:cubicBezTo>
                                  <a:cubicBezTo>
                                    <a:pt x="79891" y="52304"/>
                                    <a:pt x="76200" y="71226"/>
                                    <a:pt x="76320" y="74581"/>
                                  </a:cubicBezTo>
                                  <a:cubicBezTo>
                                    <a:pt x="76440" y="77936"/>
                                    <a:pt x="72775" y="49618"/>
                                    <a:pt x="72775" y="70951"/>
                                  </a:cubicBezTo>
                                  <a:cubicBezTo>
                                    <a:pt x="72775" y="92284"/>
                                    <a:pt x="68656" y="91771"/>
                                    <a:pt x="63620" y="93715"/>
                                  </a:cubicBezTo>
                                  <a:cubicBezTo>
                                    <a:pt x="58584" y="95660"/>
                                    <a:pt x="52911" y="94155"/>
                                    <a:pt x="42560" y="82618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3" name="DF"/>
                            <p:cNvSpPr/>
                            <p:nvPr/>
                          </p:nvSpPr>
                          <p:spPr bwMode="auto">
                            <a:xfrm rot="10800000">
                              <a:off x="6482701" y="2446409"/>
                              <a:ext cx="76322" cy="47481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76322" h="63197">
                                  <a:moveTo>
                                    <a:pt x="42560" y="51797"/>
                                  </a:moveTo>
                                  <a:cubicBezTo>
                                    <a:pt x="32209" y="46599"/>
                                    <a:pt x="6901" y="53541"/>
                                    <a:pt x="1516" y="31703"/>
                                  </a:cubicBezTo>
                                  <a:cubicBezTo>
                                    <a:pt x="-3869" y="9865"/>
                                    <a:pt x="6543" y="27122"/>
                                    <a:pt x="10247" y="15853"/>
                                  </a:cubicBezTo>
                                  <a:cubicBezTo>
                                    <a:pt x="13328" y="-9506"/>
                                    <a:pt x="24534" y="6347"/>
                                    <a:pt x="29297" y="14799"/>
                                  </a:cubicBezTo>
                                  <a:cubicBezTo>
                                    <a:pt x="34060" y="23251"/>
                                    <a:pt x="38306" y="553"/>
                                    <a:pt x="43585" y="8"/>
                                  </a:cubicBezTo>
                                  <a:cubicBezTo>
                                    <a:pt x="48864" y="-537"/>
                                    <a:pt x="39560" y="27210"/>
                                    <a:pt x="44305" y="30542"/>
                                  </a:cubicBezTo>
                                  <a:cubicBezTo>
                                    <a:pt x="49050" y="33874"/>
                                    <a:pt x="69496" y="14630"/>
                                    <a:pt x="72054" y="20002"/>
                                  </a:cubicBezTo>
                                  <a:cubicBezTo>
                                    <a:pt x="74612" y="25374"/>
                                    <a:pt x="76200" y="40405"/>
                                    <a:pt x="76320" y="43760"/>
                                  </a:cubicBezTo>
                                  <a:cubicBezTo>
                                    <a:pt x="76440" y="47115"/>
                                    <a:pt x="72775" y="18797"/>
                                    <a:pt x="72775" y="40130"/>
                                  </a:cubicBezTo>
                                  <a:cubicBezTo>
                                    <a:pt x="72775" y="61463"/>
                                    <a:pt x="68656" y="60950"/>
                                    <a:pt x="63620" y="62894"/>
                                  </a:cubicBezTo>
                                  <a:cubicBezTo>
                                    <a:pt x="58584" y="64839"/>
                                    <a:pt x="52911" y="56995"/>
                                    <a:pt x="42560" y="51797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4" name="Freeform 228"/>
                            <p:cNvSpPr/>
                            <p:nvPr/>
                          </p:nvSpPr>
                          <p:spPr>
                            <a:xfrm rot="11700000">
                              <a:off x="5283410" y="4028716"/>
                              <a:ext cx="6244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5" name="Freeform 229"/>
                            <p:cNvSpPr/>
                            <p:nvPr/>
                          </p:nvSpPr>
                          <p:spPr>
                            <a:xfrm rot="11700000">
                              <a:off x="5149382" y="4259842"/>
                              <a:ext cx="6244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6" name="DF"/>
                            <p:cNvSpPr/>
                            <p:nvPr/>
                          </p:nvSpPr>
                          <p:spPr bwMode="auto">
                            <a:xfrm rot="10800000">
                              <a:off x="4267201" y="3886200"/>
                              <a:ext cx="76322" cy="47481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76322" h="63197">
                                  <a:moveTo>
                                    <a:pt x="42560" y="51797"/>
                                  </a:moveTo>
                                  <a:cubicBezTo>
                                    <a:pt x="32209" y="46599"/>
                                    <a:pt x="6901" y="53541"/>
                                    <a:pt x="1516" y="31703"/>
                                  </a:cubicBezTo>
                                  <a:cubicBezTo>
                                    <a:pt x="-3869" y="9865"/>
                                    <a:pt x="6543" y="27122"/>
                                    <a:pt x="10247" y="15853"/>
                                  </a:cubicBezTo>
                                  <a:cubicBezTo>
                                    <a:pt x="13328" y="-9506"/>
                                    <a:pt x="24534" y="6347"/>
                                    <a:pt x="29297" y="14799"/>
                                  </a:cubicBezTo>
                                  <a:cubicBezTo>
                                    <a:pt x="34060" y="23251"/>
                                    <a:pt x="38306" y="553"/>
                                    <a:pt x="43585" y="8"/>
                                  </a:cubicBezTo>
                                  <a:cubicBezTo>
                                    <a:pt x="48864" y="-537"/>
                                    <a:pt x="39560" y="27210"/>
                                    <a:pt x="44305" y="30542"/>
                                  </a:cubicBezTo>
                                  <a:cubicBezTo>
                                    <a:pt x="49050" y="33874"/>
                                    <a:pt x="69496" y="14630"/>
                                    <a:pt x="72054" y="20002"/>
                                  </a:cubicBezTo>
                                  <a:cubicBezTo>
                                    <a:pt x="74612" y="25374"/>
                                    <a:pt x="76200" y="40405"/>
                                    <a:pt x="76320" y="43760"/>
                                  </a:cubicBezTo>
                                  <a:cubicBezTo>
                                    <a:pt x="76440" y="47115"/>
                                    <a:pt x="72775" y="18797"/>
                                    <a:pt x="72775" y="40130"/>
                                  </a:cubicBezTo>
                                  <a:cubicBezTo>
                                    <a:pt x="72775" y="61463"/>
                                    <a:pt x="68656" y="60950"/>
                                    <a:pt x="63620" y="62894"/>
                                  </a:cubicBezTo>
                                  <a:cubicBezTo>
                                    <a:pt x="58584" y="64839"/>
                                    <a:pt x="52911" y="56995"/>
                                    <a:pt x="42560" y="51797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7" name="DF"/>
                            <p:cNvSpPr/>
                            <p:nvPr/>
                          </p:nvSpPr>
                          <p:spPr bwMode="auto">
                            <a:xfrm rot="10800000">
                              <a:off x="4287590" y="2353052"/>
                              <a:ext cx="111742" cy="218177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76322" h="63197">
                                  <a:moveTo>
                                    <a:pt x="42560" y="51797"/>
                                  </a:moveTo>
                                  <a:cubicBezTo>
                                    <a:pt x="32209" y="46599"/>
                                    <a:pt x="6901" y="53541"/>
                                    <a:pt x="1516" y="31703"/>
                                  </a:cubicBezTo>
                                  <a:cubicBezTo>
                                    <a:pt x="-3869" y="9865"/>
                                    <a:pt x="6543" y="27122"/>
                                    <a:pt x="10247" y="15853"/>
                                  </a:cubicBezTo>
                                  <a:cubicBezTo>
                                    <a:pt x="13328" y="-9506"/>
                                    <a:pt x="24534" y="6347"/>
                                    <a:pt x="29297" y="14799"/>
                                  </a:cubicBezTo>
                                  <a:cubicBezTo>
                                    <a:pt x="34060" y="23251"/>
                                    <a:pt x="38306" y="553"/>
                                    <a:pt x="43585" y="8"/>
                                  </a:cubicBezTo>
                                  <a:cubicBezTo>
                                    <a:pt x="48864" y="-537"/>
                                    <a:pt x="39560" y="27210"/>
                                    <a:pt x="44305" y="30542"/>
                                  </a:cubicBezTo>
                                  <a:cubicBezTo>
                                    <a:pt x="49050" y="33874"/>
                                    <a:pt x="69496" y="14630"/>
                                    <a:pt x="72054" y="20002"/>
                                  </a:cubicBezTo>
                                  <a:cubicBezTo>
                                    <a:pt x="74612" y="25374"/>
                                    <a:pt x="76200" y="40405"/>
                                    <a:pt x="76320" y="43760"/>
                                  </a:cubicBezTo>
                                  <a:cubicBezTo>
                                    <a:pt x="76440" y="47115"/>
                                    <a:pt x="72775" y="18797"/>
                                    <a:pt x="72775" y="40130"/>
                                  </a:cubicBezTo>
                                  <a:cubicBezTo>
                                    <a:pt x="72775" y="61463"/>
                                    <a:pt x="68656" y="60950"/>
                                    <a:pt x="63620" y="62894"/>
                                  </a:cubicBezTo>
                                  <a:cubicBezTo>
                                    <a:pt x="58584" y="64839"/>
                                    <a:pt x="52911" y="56995"/>
                                    <a:pt x="42560" y="51797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8" name="DF"/>
                            <p:cNvSpPr/>
                            <p:nvPr/>
                          </p:nvSpPr>
                          <p:spPr bwMode="auto">
                            <a:xfrm rot="10800000">
                              <a:off x="3721170" y="2276621"/>
                              <a:ext cx="101584" cy="111959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76322" h="63197">
                                  <a:moveTo>
                                    <a:pt x="42560" y="51797"/>
                                  </a:moveTo>
                                  <a:cubicBezTo>
                                    <a:pt x="32209" y="46599"/>
                                    <a:pt x="6901" y="53541"/>
                                    <a:pt x="1516" y="31703"/>
                                  </a:cubicBezTo>
                                  <a:cubicBezTo>
                                    <a:pt x="-3869" y="9865"/>
                                    <a:pt x="6543" y="27122"/>
                                    <a:pt x="10247" y="15853"/>
                                  </a:cubicBezTo>
                                  <a:cubicBezTo>
                                    <a:pt x="13328" y="-9506"/>
                                    <a:pt x="24534" y="6347"/>
                                    <a:pt x="29297" y="14799"/>
                                  </a:cubicBezTo>
                                  <a:cubicBezTo>
                                    <a:pt x="34060" y="23251"/>
                                    <a:pt x="38306" y="553"/>
                                    <a:pt x="43585" y="8"/>
                                  </a:cubicBezTo>
                                  <a:cubicBezTo>
                                    <a:pt x="48864" y="-537"/>
                                    <a:pt x="39560" y="27210"/>
                                    <a:pt x="44305" y="30542"/>
                                  </a:cubicBezTo>
                                  <a:cubicBezTo>
                                    <a:pt x="49050" y="33874"/>
                                    <a:pt x="69496" y="14630"/>
                                    <a:pt x="72054" y="20002"/>
                                  </a:cubicBezTo>
                                  <a:cubicBezTo>
                                    <a:pt x="74612" y="25374"/>
                                    <a:pt x="76200" y="40405"/>
                                    <a:pt x="76320" y="43760"/>
                                  </a:cubicBezTo>
                                  <a:cubicBezTo>
                                    <a:pt x="76440" y="47115"/>
                                    <a:pt x="72775" y="18797"/>
                                    <a:pt x="72775" y="40130"/>
                                  </a:cubicBezTo>
                                  <a:cubicBezTo>
                                    <a:pt x="72775" y="61463"/>
                                    <a:pt x="68656" y="60950"/>
                                    <a:pt x="63620" y="62894"/>
                                  </a:cubicBezTo>
                                  <a:cubicBezTo>
                                    <a:pt x="58584" y="64839"/>
                                    <a:pt x="52911" y="56995"/>
                                    <a:pt x="42560" y="51797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29" name="DF"/>
                            <p:cNvSpPr/>
                            <p:nvPr/>
                          </p:nvSpPr>
                          <p:spPr bwMode="auto">
                            <a:xfrm>
                              <a:off x="5489448" y="2097508"/>
                              <a:ext cx="48220" cy="48175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  <a:gd name="connsiteX0" fmla="*/ 42560 w 76322"/>
                                <a:gd name="connsiteY0" fmla="*/ 51797 h 94666"/>
                                <a:gd name="connsiteX1" fmla="*/ 1516 w 76322"/>
                                <a:gd name="connsiteY1" fmla="*/ 31703 h 94666"/>
                                <a:gd name="connsiteX2" fmla="*/ 10247 w 76322"/>
                                <a:gd name="connsiteY2" fmla="*/ 15853 h 94666"/>
                                <a:gd name="connsiteX3" fmla="*/ 29297 w 76322"/>
                                <a:gd name="connsiteY3" fmla="*/ 14799 h 94666"/>
                                <a:gd name="connsiteX4" fmla="*/ 43585 w 76322"/>
                                <a:gd name="connsiteY4" fmla="*/ 8 h 94666"/>
                                <a:gd name="connsiteX5" fmla="*/ 44305 w 76322"/>
                                <a:gd name="connsiteY5" fmla="*/ 30542 h 94666"/>
                                <a:gd name="connsiteX6" fmla="*/ 72054 w 76322"/>
                                <a:gd name="connsiteY6" fmla="*/ 20002 h 94666"/>
                                <a:gd name="connsiteX7" fmla="*/ 76320 w 76322"/>
                                <a:gd name="connsiteY7" fmla="*/ 43760 h 94666"/>
                                <a:gd name="connsiteX8" fmla="*/ 72775 w 76322"/>
                                <a:gd name="connsiteY8" fmla="*/ 40130 h 94666"/>
                                <a:gd name="connsiteX9" fmla="*/ 51714 w 76322"/>
                                <a:gd name="connsiteY9" fmla="*/ 94587 h 94666"/>
                                <a:gd name="connsiteX10" fmla="*/ 42560 w 76322"/>
                                <a:gd name="connsiteY10" fmla="*/ 51797 h 94666"/>
                                <a:gd name="connsiteX0" fmla="*/ 28272 w 76322"/>
                                <a:gd name="connsiteY0" fmla="*/ 48628 h 94626"/>
                                <a:gd name="connsiteX1" fmla="*/ 1516 w 76322"/>
                                <a:gd name="connsiteY1" fmla="*/ 31703 h 94626"/>
                                <a:gd name="connsiteX2" fmla="*/ 10247 w 76322"/>
                                <a:gd name="connsiteY2" fmla="*/ 15853 h 94626"/>
                                <a:gd name="connsiteX3" fmla="*/ 29297 w 76322"/>
                                <a:gd name="connsiteY3" fmla="*/ 14799 h 94626"/>
                                <a:gd name="connsiteX4" fmla="*/ 43585 w 76322"/>
                                <a:gd name="connsiteY4" fmla="*/ 8 h 94626"/>
                                <a:gd name="connsiteX5" fmla="*/ 44305 w 76322"/>
                                <a:gd name="connsiteY5" fmla="*/ 30542 h 94626"/>
                                <a:gd name="connsiteX6" fmla="*/ 72054 w 76322"/>
                                <a:gd name="connsiteY6" fmla="*/ 20002 h 94626"/>
                                <a:gd name="connsiteX7" fmla="*/ 76320 w 76322"/>
                                <a:gd name="connsiteY7" fmla="*/ 43760 h 94626"/>
                                <a:gd name="connsiteX8" fmla="*/ 72775 w 76322"/>
                                <a:gd name="connsiteY8" fmla="*/ 40130 h 94626"/>
                                <a:gd name="connsiteX9" fmla="*/ 51714 w 76322"/>
                                <a:gd name="connsiteY9" fmla="*/ 94587 h 94626"/>
                                <a:gd name="connsiteX10" fmla="*/ 28272 w 76322"/>
                                <a:gd name="connsiteY10" fmla="*/ 48628 h 94626"/>
                                <a:gd name="connsiteX0" fmla="*/ 28272 w 76322"/>
                                <a:gd name="connsiteY0" fmla="*/ 44915 h 90913"/>
                                <a:gd name="connsiteX1" fmla="*/ 1516 w 76322"/>
                                <a:gd name="connsiteY1" fmla="*/ 27990 h 90913"/>
                                <a:gd name="connsiteX2" fmla="*/ 10247 w 76322"/>
                                <a:gd name="connsiteY2" fmla="*/ 12140 h 90913"/>
                                <a:gd name="connsiteX3" fmla="*/ 29297 w 76322"/>
                                <a:gd name="connsiteY3" fmla="*/ 11086 h 90913"/>
                                <a:gd name="connsiteX4" fmla="*/ 44305 w 76322"/>
                                <a:gd name="connsiteY4" fmla="*/ 26829 h 90913"/>
                                <a:gd name="connsiteX5" fmla="*/ 72054 w 76322"/>
                                <a:gd name="connsiteY5" fmla="*/ 16289 h 90913"/>
                                <a:gd name="connsiteX6" fmla="*/ 76320 w 76322"/>
                                <a:gd name="connsiteY6" fmla="*/ 40047 h 90913"/>
                                <a:gd name="connsiteX7" fmla="*/ 72775 w 76322"/>
                                <a:gd name="connsiteY7" fmla="*/ 36417 h 90913"/>
                                <a:gd name="connsiteX8" fmla="*/ 51714 w 76322"/>
                                <a:gd name="connsiteY8" fmla="*/ 90874 h 90913"/>
                                <a:gd name="connsiteX9" fmla="*/ 28272 w 76322"/>
                                <a:gd name="connsiteY9" fmla="*/ 44915 h 90913"/>
                                <a:gd name="connsiteX0" fmla="*/ 28272 w 76322"/>
                                <a:gd name="connsiteY0" fmla="*/ 32778 h 78776"/>
                                <a:gd name="connsiteX1" fmla="*/ 1516 w 76322"/>
                                <a:gd name="connsiteY1" fmla="*/ 15853 h 78776"/>
                                <a:gd name="connsiteX2" fmla="*/ 10247 w 76322"/>
                                <a:gd name="connsiteY2" fmla="*/ 3 h 78776"/>
                                <a:gd name="connsiteX3" fmla="*/ 44305 w 76322"/>
                                <a:gd name="connsiteY3" fmla="*/ 14692 h 78776"/>
                                <a:gd name="connsiteX4" fmla="*/ 72054 w 76322"/>
                                <a:gd name="connsiteY4" fmla="*/ 4152 h 78776"/>
                                <a:gd name="connsiteX5" fmla="*/ 76320 w 76322"/>
                                <a:gd name="connsiteY5" fmla="*/ 27910 h 78776"/>
                                <a:gd name="connsiteX6" fmla="*/ 72775 w 76322"/>
                                <a:gd name="connsiteY6" fmla="*/ 24280 h 78776"/>
                                <a:gd name="connsiteX7" fmla="*/ 51714 w 76322"/>
                                <a:gd name="connsiteY7" fmla="*/ 78737 h 78776"/>
                                <a:gd name="connsiteX8" fmla="*/ 28272 w 76322"/>
                                <a:gd name="connsiteY8" fmla="*/ 32778 h 78776"/>
                                <a:gd name="connsiteX0" fmla="*/ 26989 w 75039"/>
                                <a:gd name="connsiteY0" fmla="*/ 29848 h 75846"/>
                                <a:gd name="connsiteX1" fmla="*/ 233 w 75039"/>
                                <a:gd name="connsiteY1" fmla="*/ 12923 h 75846"/>
                                <a:gd name="connsiteX2" fmla="*/ 43022 w 75039"/>
                                <a:gd name="connsiteY2" fmla="*/ 11762 h 75846"/>
                                <a:gd name="connsiteX3" fmla="*/ 70771 w 75039"/>
                                <a:gd name="connsiteY3" fmla="*/ 1222 h 75846"/>
                                <a:gd name="connsiteX4" fmla="*/ 75037 w 75039"/>
                                <a:gd name="connsiteY4" fmla="*/ 24980 h 75846"/>
                                <a:gd name="connsiteX5" fmla="*/ 71492 w 75039"/>
                                <a:gd name="connsiteY5" fmla="*/ 21350 h 75846"/>
                                <a:gd name="connsiteX6" fmla="*/ 50431 w 75039"/>
                                <a:gd name="connsiteY6" fmla="*/ 75807 h 75846"/>
                                <a:gd name="connsiteX7" fmla="*/ 26989 w 75039"/>
                                <a:gd name="connsiteY7" fmla="*/ 29848 h 75846"/>
                                <a:gd name="connsiteX0" fmla="*/ 105 w 48155"/>
                                <a:gd name="connsiteY0" fmla="*/ 30057 h 76055"/>
                                <a:gd name="connsiteX1" fmla="*/ 16138 w 48155"/>
                                <a:gd name="connsiteY1" fmla="*/ 11971 h 76055"/>
                                <a:gd name="connsiteX2" fmla="*/ 43887 w 48155"/>
                                <a:gd name="connsiteY2" fmla="*/ 1431 h 76055"/>
                                <a:gd name="connsiteX3" fmla="*/ 48153 w 48155"/>
                                <a:gd name="connsiteY3" fmla="*/ 25189 h 76055"/>
                                <a:gd name="connsiteX4" fmla="*/ 44608 w 48155"/>
                                <a:gd name="connsiteY4" fmla="*/ 21559 h 76055"/>
                                <a:gd name="connsiteX5" fmla="*/ 23547 w 48155"/>
                                <a:gd name="connsiteY5" fmla="*/ 76016 h 76055"/>
                                <a:gd name="connsiteX6" fmla="*/ 105 w 48155"/>
                                <a:gd name="connsiteY6" fmla="*/ 30057 h 76055"/>
                                <a:gd name="connsiteX0" fmla="*/ 111 w 48161"/>
                                <a:gd name="connsiteY0" fmla="*/ 18125 h 64123"/>
                                <a:gd name="connsiteX1" fmla="*/ 16144 w 48161"/>
                                <a:gd name="connsiteY1" fmla="*/ 39 h 64123"/>
                                <a:gd name="connsiteX2" fmla="*/ 48159 w 48161"/>
                                <a:gd name="connsiteY2" fmla="*/ 13257 h 64123"/>
                                <a:gd name="connsiteX3" fmla="*/ 44614 w 48161"/>
                                <a:gd name="connsiteY3" fmla="*/ 9627 h 64123"/>
                                <a:gd name="connsiteX4" fmla="*/ 23553 w 48161"/>
                                <a:gd name="connsiteY4" fmla="*/ 64084 h 64123"/>
                                <a:gd name="connsiteX5" fmla="*/ 111 w 48161"/>
                                <a:gd name="connsiteY5" fmla="*/ 18125 h 64123"/>
                                <a:gd name="connsiteX0" fmla="*/ 111 w 48220"/>
                                <a:gd name="connsiteY0" fmla="*/ 18124 h 64122"/>
                                <a:gd name="connsiteX1" fmla="*/ 16144 w 48220"/>
                                <a:gd name="connsiteY1" fmla="*/ 38 h 64122"/>
                                <a:gd name="connsiteX2" fmla="*/ 48159 w 48220"/>
                                <a:gd name="connsiteY2" fmla="*/ 13256 h 64122"/>
                                <a:gd name="connsiteX3" fmla="*/ 23553 w 48220"/>
                                <a:gd name="connsiteY3" fmla="*/ 64083 h 64122"/>
                                <a:gd name="connsiteX4" fmla="*/ 111 w 48220"/>
                                <a:gd name="connsiteY4" fmla="*/ 18124 h 64122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48220" h="64122">
                                  <a:moveTo>
                                    <a:pt x="111" y="18124"/>
                                  </a:moveTo>
                                  <a:cubicBezTo>
                                    <a:pt x="-1124" y="7450"/>
                                    <a:pt x="8136" y="849"/>
                                    <a:pt x="16144" y="38"/>
                                  </a:cubicBezTo>
                                  <a:cubicBezTo>
                                    <a:pt x="24152" y="-773"/>
                                    <a:pt x="43414" y="11658"/>
                                    <a:pt x="48159" y="13256"/>
                                  </a:cubicBezTo>
                                  <a:cubicBezTo>
                                    <a:pt x="49394" y="23930"/>
                                    <a:pt x="31561" y="63272"/>
                                    <a:pt x="23553" y="64083"/>
                                  </a:cubicBezTo>
                                  <a:cubicBezTo>
                                    <a:pt x="16136" y="65499"/>
                                    <a:pt x="8477" y="28605"/>
                                    <a:pt x="111" y="18124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30" name="DF"/>
                            <p:cNvSpPr/>
                            <p:nvPr/>
                          </p:nvSpPr>
                          <p:spPr bwMode="auto">
                            <a:xfrm rot="10800000">
                              <a:off x="2935431" y="3212877"/>
                              <a:ext cx="271663" cy="165756"/>
                            </a:xfrm>
                            <a:custGeom>
                              <a:avLst/>
                              <a:gdLst>
                                <a:gd name="connsiteX0" fmla="*/ 0 w 92922"/>
                                <a:gd name="connsiteY0" fmla="*/ 38626 h 77251"/>
                                <a:gd name="connsiteX1" fmla="*/ 46461 w 92922"/>
                                <a:gd name="connsiteY1" fmla="*/ 0 h 77251"/>
                                <a:gd name="connsiteX2" fmla="*/ 92922 w 92922"/>
                                <a:gd name="connsiteY2" fmla="*/ 38626 h 77251"/>
                                <a:gd name="connsiteX3" fmla="*/ 46461 w 92922"/>
                                <a:gd name="connsiteY3" fmla="*/ 77252 h 77251"/>
                                <a:gd name="connsiteX4" fmla="*/ 0 w 92922"/>
                                <a:gd name="connsiteY4" fmla="*/ 38626 h 77251"/>
                                <a:gd name="connsiteX0" fmla="*/ 2773 w 95695"/>
                                <a:gd name="connsiteY0" fmla="*/ 46630 h 85256"/>
                                <a:gd name="connsiteX1" fmla="*/ 10043 w 95695"/>
                                <a:gd name="connsiteY1" fmla="*/ 3241 h 85256"/>
                                <a:gd name="connsiteX2" fmla="*/ 49234 w 95695"/>
                                <a:gd name="connsiteY2" fmla="*/ 8004 h 85256"/>
                                <a:gd name="connsiteX3" fmla="*/ 95695 w 95695"/>
                                <a:gd name="connsiteY3" fmla="*/ 46630 h 85256"/>
                                <a:gd name="connsiteX4" fmla="*/ 49234 w 95695"/>
                                <a:gd name="connsiteY4" fmla="*/ 85256 h 85256"/>
                                <a:gd name="connsiteX5" fmla="*/ 2773 w 95695"/>
                                <a:gd name="connsiteY5" fmla="*/ 46630 h 85256"/>
                                <a:gd name="connsiteX0" fmla="*/ 2217 w 98314"/>
                                <a:gd name="connsiteY0" fmla="*/ 62505 h 85631"/>
                                <a:gd name="connsiteX1" fmla="*/ 12662 w 98314"/>
                                <a:gd name="connsiteY1" fmla="*/ 3241 h 85631"/>
                                <a:gd name="connsiteX2" fmla="*/ 51853 w 98314"/>
                                <a:gd name="connsiteY2" fmla="*/ 8004 h 85631"/>
                                <a:gd name="connsiteX3" fmla="*/ 98314 w 98314"/>
                                <a:gd name="connsiteY3" fmla="*/ 46630 h 85631"/>
                                <a:gd name="connsiteX4" fmla="*/ 51853 w 98314"/>
                                <a:gd name="connsiteY4" fmla="*/ 85256 h 85631"/>
                                <a:gd name="connsiteX5" fmla="*/ 2217 w 98314"/>
                                <a:gd name="connsiteY5" fmla="*/ 62505 h 85631"/>
                                <a:gd name="connsiteX0" fmla="*/ 2659 w 98756"/>
                                <a:gd name="connsiteY0" fmla="*/ 62505 h 69284"/>
                                <a:gd name="connsiteX1" fmla="*/ 13104 w 98756"/>
                                <a:gd name="connsiteY1" fmla="*/ 3241 h 69284"/>
                                <a:gd name="connsiteX2" fmla="*/ 52295 w 98756"/>
                                <a:gd name="connsiteY2" fmla="*/ 8004 h 69284"/>
                                <a:gd name="connsiteX3" fmla="*/ 98756 w 98756"/>
                                <a:gd name="connsiteY3" fmla="*/ 46630 h 69284"/>
                                <a:gd name="connsiteX4" fmla="*/ 58645 w 98756"/>
                                <a:gd name="connsiteY4" fmla="*/ 66206 h 69284"/>
                                <a:gd name="connsiteX5" fmla="*/ 2659 w 98756"/>
                                <a:gd name="connsiteY5" fmla="*/ 62505 h 69284"/>
                                <a:gd name="connsiteX0" fmla="*/ 2659 w 98756"/>
                                <a:gd name="connsiteY0" fmla="*/ 62150 h 69531"/>
                                <a:gd name="connsiteX1" fmla="*/ 13104 w 98756"/>
                                <a:gd name="connsiteY1" fmla="*/ 2886 h 69531"/>
                                <a:gd name="connsiteX2" fmla="*/ 52295 w 98756"/>
                                <a:gd name="connsiteY2" fmla="*/ 7649 h 69531"/>
                                <a:gd name="connsiteX3" fmla="*/ 98756 w 98756"/>
                                <a:gd name="connsiteY3" fmla="*/ 36750 h 69531"/>
                                <a:gd name="connsiteX4" fmla="*/ 58645 w 98756"/>
                                <a:gd name="connsiteY4" fmla="*/ 65851 h 69531"/>
                                <a:gd name="connsiteX5" fmla="*/ 2659 w 98756"/>
                                <a:gd name="connsiteY5" fmla="*/ 62150 h 69531"/>
                                <a:gd name="connsiteX0" fmla="*/ 2659 w 98756"/>
                                <a:gd name="connsiteY0" fmla="*/ 69247 h 76628"/>
                                <a:gd name="connsiteX1" fmla="*/ 13104 w 98756"/>
                                <a:gd name="connsiteY1" fmla="*/ 9983 h 76628"/>
                                <a:gd name="connsiteX2" fmla="*/ 58645 w 98756"/>
                                <a:gd name="connsiteY2" fmla="*/ 2046 h 76628"/>
                                <a:gd name="connsiteX3" fmla="*/ 98756 w 98756"/>
                                <a:gd name="connsiteY3" fmla="*/ 43847 h 76628"/>
                                <a:gd name="connsiteX4" fmla="*/ 58645 w 98756"/>
                                <a:gd name="connsiteY4" fmla="*/ 72948 h 76628"/>
                                <a:gd name="connsiteX5" fmla="*/ 2659 w 98756"/>
                                <a:gd name="connsiteY5" fmla="*/ 69247 h 76628"/>
                                <a:gd name="connsiteX0" fmla="*/ 12211 w 108308"/>
                                <a:gd name="connsiteY0" fmla="*/ 72519 h 80420"/>
                                <a:gd name="connsiteX1" fmla="*/ 3606 w 108308"/>
                                <a:gd name="connsiteY1" fmla="*/ 4803 h 80420"/>
                                <a:gd name="connsiteX2" fmla="*/ 68197 w 108308"/>
                                <a:gd name="connsiteY2" fmla="*/ 5318 h 80420"/>
                                <a:gd name="connsiteX3" fmla="*/ 108308 w 108308"/>
                                <a:gd name="connsiteY3" fmla="*/ 47119 h 80420"/>
                                <a:gd name="connsiteX4" fmla="*/ 68197 w 108308"/>
                                <a:gd name="connsiteY4" fmla="*/ 76220 h 80420"/>
                                <a:gd name="connsiteX5" fmla="*/ 12211 w 108308"/>
                                <a:gd name="connsiteY5" fmla="*/ 72519 h 80420"/>
                                <a:gd name="connsiteX0" fmla="*/ 2818 w 127490"/>
                                <a:gd name="connsiteY0" fmla="*/ 76745 h 83125"/>
                                <a:gd name="connsiteX1" fmla="*/ 22788 w 127490"/>
                                <a:gd name="connsiteY1" fmla="*/ 4803 h 83125"/>
                                <a:gd name="connsiteX2" fmla="*/ 87379 w 127490"/>
                                <a:gd name="connsiteY2" fmla="*/ 5318 h 83125"/>
                                <a:gd name="connsiteX3" fmla="*/ 127490 w 127490"/>
                                <a:gd name="connsiteY3" fmla="*/ 47119 h 83125"/>
                                <a:gd name="connsiteX4" fmla="*/ 87379 w 127490"/>
                                <a:gd name="connsiteY4" fmla="*/ 76220 h 83125"/>
                                <a:gd name="connsiteX5" fmla="*/ 2818 w 127490"/>
                                <a:gd name="connsiteY5" fmla="*/ 76745 h 83125"/>
                                <a:gd name="connsiteX0" fmla="*/ 4020 w 128692"/>
                                <a:gd name="connsiteY0" fmla="*/ 76745 h 85175"/>
                                <a:gd name="connsiteX1" fmla="*/ 23990 w 128692"/>
                                <a:gd name="connsiteY1" fmla="*/ 4803 h 85175"/>
                                <a:gd name="connsiteX2" fmla="*/ 88581 w 128692"/>
                                <a:gd name="connsiteY2" fmla="*/ 5318 h 85175"/>
                                <a:gd name="connsiteX3" fmla="*/ 128692 w 128692"/>
                                <a:gd name="connsiteY3" fmla="*/ 47119 h 85175"/>
                                <a:gd name="connsiteX4" fmla="*/ 107631 w 128692"/>
                                <a:gd name="connsiteY4" fmla="*/ 80446 h 85175"/>
                                <a:gd name="connsiteX5" fmla="*/ 4020 w 128692"/>
                                <a:gd name="connsiteY5" fmla="*/ 76745 h 85175"/>
                                <a:gd name="connsiteX0" fmla="*/ 311 w 124983"/>
                                <a:gd name="connsiteY0" fmla="*/ 114981 h 126242"/>
                                <a:gd name="connsiteX1" fmla="*/ 71081 w 124983"/>
                                <a:gd name="connsiteY1" fmla="*/ 780 h 126242"/>
                                <a:gd name="connsiteX2" fmla="*/ 84872 w 124983"/>
                                <a:gd name="connsiteY2" fmla="*/ 43554 h 126242"/>
                                <a:gd name="connsiteX3" fmla="*/ 124983 w 124983"/>
                                <a:gd name="connsiteY3" fmla="*/ 85355 h 126242"/>
                                <a:gd name="connsiteX4" fmla="*/ 103922 w 124983"/>
                                <a:gd name="connsiteY4" fmla="*/ 118682 h 126242"/>
                                <a:gd name="connsiteX5" fmla="*/ 311 w 124983"/>
                                <a:gd name="connsiteY5" fmla="*/ 114981 h 126242"/>
                                <a:gd name="connsiteX0" fmla="*/ 3123 w 127795"/>
                                <a:gd name="connsiteY0" fmla="*/ 136754 h 149197"/>
                                <a:gd name="connsiteX1" fmla="*/ 31136 w 127795"/>
                                <a:gd name="connsiteY1" fmla="*/ 5728 h 149197"/>
                                <a:gd name="connsiteX2" fmla="*/ 73893 w 127795"/>
                                <a:gd name="connsiteY2" fmla="*/ 22553 h 149197"/>
                                <a:gd name="connsiteX3" fmla="*/ 87684 w 127795"/>
                                <a:gd name="connsiteY3" fmla="*/ 65327 h 149197"/>
                                <a:gd name="connsiteX4" fmla="*/ 127795 w 127795"/>
                                <a:gd name="connsiteY4" fmla="*/ 107128 h 149197"/>
                                <a:gd name="connsiteX5" fmla="*/ 106734 w 127795"/>
                                <a:gd name="connsiteY5" fmla="*/ 140455 h 149197"/>
                                <a:gd name="connsiteX6" fmla="*/ 3123 w 127795"/>
                                <a:gd name="connsiteY6" fmla="*/ 136754 h 149197"/>
                                <a:gd name="connsiteX0" fmla="*/ 9048 w 133720"/>
                                <a:gd name="connsiteY0" fmla="*/ 185654 h 201733"/>
                                <a:gd name="connsiteX1" fmla="*/ 8486 w 133720"/>
                                <a:gd name="connsiteY1" fmla="*/ 3916 h 201733"/>
                                <a:gd name="connsiteX2" fmla="*/ 37061 w 133720"/>
                                <a:gd name="connsiteY2" fmla="*/ 54628 h 201733"/>
                                <a:gd name="connsiteX3" fmla="*/ 79818 w 133720"/>
                                <a:gd name="connsiteY3" fmla="*/ 71453 h 201733"/>
                                <a:gd name="connsiteX4" fmla="*/ 93609 w 133720"/>
                                <a:gd name="connsiteY4" fmla="*/ 114227 h 201733"/>
                                <a:gd name="connsiteX5" fmla="*/ 133720 w 133720"/>
                                <a:gd name="connsiteY5" fmla="*/ 156028 h 201733"/>
                                <a:gd name="connsiteX6" fmla="*/ 112659 w 133720"/>
                                <a:gd name="connsiteY6" fmla="*/ 189355 h 201733"/>
                                <a:gd name="connsiteX7" fmla="*/ 9048 w 133720"/>
                                <a:gd name="connsiteY7" fmla="*/ 185654 h 201733"/>
                                <a:gd name="connsiteX0" fmla="*/ 9048 w 133720"/>
                                <a:gd name="connsiteY0" fmla="*/ 192718 h 208797"/>
                                <a:gd name="connsiteX1" fmla="*/ 8486 w 133720"/>
                                <a:gd name="connsiteY1" fmla="*/ 10980 h 208797"/>
                                <a:gd name="connsiteX2" fmla="*/ 37061 w 133720"/>
                                <a:gd name="connsiteY2" fmla="*/ 19432 h 208797"/>
                                <a:gd name="connsiteX3" fmla="*/ 37061 w 133720"/>
                                <a:gd name="connsiteY3" fmla="*/ 61692 h 208797"/>
                                <a:gd name="connsiteX4" fmla="*/ 79818 w 133720"/>
                                <a:gd name="connsiteY4" fmla="*/ 78517 h 208797"/>
                                <a:gd name="connsiteX5" fmla="*/ 93609 w 133720"/>
                                <a:gd name="connsiteY5" fmla="*/ 121291 h 208797"/>
                                <a:gd name="connsiteX6" fmla="*/ 133720 w 133720"/>
                                <a:gd name="connsiteY6" fmla="*/ 163092 h 208797"/>
                                <a:gd name="connsiteX7" fmla="*/ 112659 w 133720"/>
                                <a:gd name="connsiteY7" fmla="*/ 196419 h 208797"/>
                                <a:gd name="connsiteX8" fmla="*/ 9048 w 133720"/>
                                <a:gd name="connsiteY8" fmla="*/ 192718 h 208797"/>
                                <a:gd name="connsiteX0" fmla="*/ 33011 w 125933"/>
                                <a:gd name="connsiteY0" fmla="*/ 142007 h 196916"/>
                                <a:gd name="connsiteX1" fmla="*/ 699 w 125933"/>
                                <a:gd name="connsiteY1" fmla="*/ 10980 h 196916"/>
                                <a:gd name="connsiteX2" fmla="*/ 29274 w 125933"/>
                                <a:gd name="connsiteY2" fmla="*/ 19432 h 196916"/>
                                <a:gd name="connsiteX3" fmla="*/ 29274 w 125933"/>
                                <a:gd name="connsiteY3" fmla="*/ 61692 h 196916"/>
                                <a:gd name="connsiteX4" fmla="*/ 72031 w 125933"/>
                                <a:gd name="connsiteY4" fmla="*/ 78517 h 196916"/>
                                <a:gd name="connsiteX5" fmla="*/ 85822 w 125933"/>
                                <a:gd name="connsiteY5" fmla="*/ 121291 h 196916"/>
                                <a:gd name="connsiteX6" fmla="*/ 125933 w 125933"/>
                                <a:gd name="connsiteY6" fmla="*/ 163092 h 196916"/>
                                <a:gd name="connsiteX7" fmla="*/ 104872 w 125933"/>
                                <a:gd name="connsiteY7" fmla="*/ 196419 h 196916"/>
                                <a:gd name="connsiteX8" fmla="*/ 33011 w 125933"/>
                                <a:gd name="connsiteY8" fmla="*/ 142007 h 196916"/>
                                <a:gd name="connsiteX0" fmla="*/ 49204 w 142126"/>
                                <a:gd name="connsiteY0" fmla="*/ 142007 h 196916"/>
                                <a:gd name="connsiteX1" fmla="*/ 1017 w 142126"/>
                                <a:gd name="connsiteY1" fmla="*/ 61692 h 196916"/>
                                <a:gd name="connsiteX2" fmla="*/ 16892 w 142126"/>
                                <a:gd name="connsiteY2" fmla="*/ 10980 h 196916"/>
                                <a:gd name="connsiteX3" fmla="*/ 45467 w 142126"/>
                                <a:gd name="connsiteY3" fmla="*/ 19432 h 196916"/>
                                <a:gd name="connsiteX4" fmla="*/ 45467 w 142126"/>
                                <a:gd name="connsiteY4" fmla="*/ 61692 h 196916"/>
                                <a:gd name="connsiteX5" fmla="*/ 88224 w 142126"/>
                                <a:gd name="connsiteY5" fmla="*/ 78517 h 196916"/>
                                <a:gd name="connsiteX6" fmla="*/ 102015 w 142126"/>
                                <a:gd name="connsiteY6" fmla="*/ 121291 h 196916"/>
                                <a:gd name="connsiteX7" fmla="*/ 142126 w 142126"/>
                                <a:gd name="connsiteY7" fmla="*/ 163092 h 196916"/>
                                <a:gd name="connsiteX8" fmla="*/ 121065 w 142126"/>
                                <a:gd name="connsiteY8" fmla="*/ 196419 h 196916"/>
                                <a:gd name="connsiteX9" fmla="*/ 49204 w 142126"/>
                                <a:gd name="connsiteY9" fmla="*/ 142007 h 196916"/>
                                <a:gd name="connsiteX0" fmla="*/ 49204 w 142126"/>
                                <a:gd name="connsiteY0" fmla="*/ 142007 h 173263"/>
                                <a:gd name="connsiteX1" fmla="*/ 1017 w 142126"/>
                                <a:gd name="connsiteY1" fmla="*/ 61692 h 173263"/>
                                <a:gd name="connsiteX2" fmla="*/ 16892 w 142126"/>
                                <a:gd name="connsiteY2" fmla="*/ 10980 h 173263"/>
                                <a:gd name="connsiteX3" fmla="*/ 45467 w 142126"/>
                                <a:gd name="connsiteY3" fmla="*/ 19432 h 173263"/>
                                <a:gd name="connsiteX4" fmla="*/ 45467 w 142126"/>
                                <a:gd name="connsiteY4" fmla="*/ 61692 h 173263"/>
                                <a:gd name="connsiteX5" fmla="*/ 88224 w 142126"/>
                                <a:gd name="connsiteY5" fmla="*/ 78517 h 173263"/>
                                <a:gd name="connsiteX6" fmla="*/ 102015 w 142126"/>
                                <a:gd name="connsiteY6" fmla="*/ 121291 h 173263"/>
                                <a:gd name="connsiteX7" fmla="*/ 142126 w 142126"/>
                                <a:gd name="connsiteY7" fmla="*/ 163092 h 173263"/>
                                <a:gd name="connsiteX8" fmla="*/ 79790 w 142126"/>
                                <a:gd name="connsiteY8" fmla="*/ 162612 h 173263"/>
                                <a:gd name="connsiteX9" fmla="*/ 49204 w 142126"/>
                                <a:gd name="connsiteY9" fmla="*/ 142007 h 17326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45467 w 110376"/>
                                <a:gd name="connsiteY4" fmla="*/ 61692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10376"/>
                                <a:gd name="connsiteY0" fmla="*/ 142007 h 162833"/>
                                <a:gd name="connsiteX1" fmla="*/ 1017 w 110376"/>
                                <a:gd name="connsiteY1" fmla="*/ 61692 h 162833"/>
                                <a:gd name="connsiteX2" fmla="*/ 16892 w 110376"/>
                                <a:gd name="connsiteY2" fmla="*/ 10980 h 162833"/>
                                <a:gd name="connsiteX3" fmla="*/ 45467 w 110376"/>
                                <a:gd name="connsiteY3" fmla="*/ 19432 h 162833"/>
                                <a:gd name="connsiteX4" fmla="*/ 62136 w 110376"/>
                                <a:gd name="connsiteY4" fmla="*/ 49014 h 162833"/>
                                <a:gd name="connsiteX5" fmla="*/ 88224 w 110376"/>
                                <a:gd name="connsiteY5" fmla="*/ 78517 h 162833"/>
                                <a:gd name="connsiteX6" fmla="*/ 102015 w 110376"/>
                                <a:gd name="connsiteY6" fmla="*/ 121291 h 162833"/>
                                <a:gd name="connsiteX7" fmla="*/ 110376 w 110376"/>
                                <a:gd name="connsiteY7" fmla="*/ 133510 h 162833"/>
                                <a:gd name="connsiteX8" fmla="*/ 79790 w 110376"/>
                                <a:gd name="connsiteY8" fmla="*/ 162612 h 162833"/>
                                <a:gd name="connsiteX9" fmla="*/ 49204 w 110376"/>
                                <a:gd name="connsiteY9" fmla="*/ 142007 h 162833"/>
                                <a:gd name="connsiteX0" fmla="*/ 49204 w 105613"/>
                                <a:gd name="connsiteY0" fmla="*/ 142007 h 164051"/>
                                <a:gd name="connsiteX1" fmla="*/ 1017 w 105613"/>
                                <a:gd name="connsiteY1" fmla="*/ 61692 h 164051"/>
                                <a:gd name="connsiteX2" fmla="*/ 16892 w 105613"/>
                                <a:gd name="connsiteY2" fmla="*/ 10980 h 164051"/>
                                <a:gd name="connsiteX3" fmla="*/ 45467 w 105613"/>
                                <a:gd name="connsiteY3" fmla="*/ 19432 h 164051"/>
                                <a:gd name="connsiteX4" fmla="*/ 62136 w 105613"/>
                                <a:gd name="connsiteY4" fmla="*/ 49014 h 164051"/>
                                <a:gd name="connsiteX5" fmla="*/ 88224 w 105613"/>
                                <a:gd name="connsiteY5" fmla="*/ 78517 h 164051"/>
                                <a:gd name="connsiteX6" fmla="*/ 102015 w 105613"/>
                                <a:gd name="connsiteY6" fmla="*/ 121291 h 164051"/>
                                <a:gd name="connsiteX7" fmla="*/ 105613 w 105613"/>
                                <a:gd name="connsiteY7" fmla="*/ 111323 h 164051"/>
                                <a:gd name="connsiteX8" fmla="*/ 79790 w 105613"/>
                                <a:gd name="connsiteY8" fmla="*/ 162612 h 164051"/>
                                <a:gd name="connsiteX9" fmla="*/ 49204 w 105613"/>
                                <a:gd name="connsiteY9" fmla="*/ 142007 h 164051"/>
                                <a:gd name="connsiteX0" fmla="*/ 49204 w 105613"/>
                                <a:gd name="connsiteY0" fmla="*/ 142007 h 149974"/>
                                <a:gd name="connsiteX1" fmla="*/ 1017 w 105613"/>
                                <a:gd name="connsiteY1" fmla="*/ 61692 h 149974"/>
                                <a:gd name="connsiteX2" fmla="*/ 16892 w 105613"/>
                                <a:gd name="connsiteY2" fmla="*/ 10980 h 149974"/>
                                <a:gd name="connsiteX3" fmla="*/ 45467 w 105613"/>
                                <a:gd name="connsiteY3" fmla="*/ 19432 h 149974"/>
                                <a:gd name="connsiteX4" fmla="*/ 62136 w 105613"/>
                                <a:gd name="connsiteY4" fmla="*/ 49014 h 149974"/>
                                <a:gd name="connsiteX5" fmla="*/ 88224 w 105613"/>
                                <a:gd name="connsiteY5" fmla="*/ 78517 h 149974"/>
                                <a:gd name="connsiteX6" fmla="*/ 102015 w 105613"/>
                                <a:gd name="connsiteY6" fmla="*/ 121291 h 149974"/>
                                <a:gd name="connsiteX7" fmla="*/ 105613 w 105613"/>
                                <a:gd name="connsiteY7" fmla="*/ 111323 h 149974"/>
                                <a:gd name="connsiteX8" fmla="*/ 89315 w 105613"/>
                                <a:gd name="connsiteY8" fmla="*/ 143596 h 149974"/>
                                <a:gd name="connsiteX9" fmla="*/ 49204 w 105613"/>
                                <a:gd name="connsiteY9" fmla="*/ 142007 h 149974"/>
                                <a:gd name="connsiteX0" fmla="*/ 53967 w 105613"/>
                                <a:gd name="connsiteY0" fmla="*/ 122990 h 143862"/>
                                <a:gd name="connsiteX1" fmla="*/ 1017 w 105613"/>
                                <a:gd name="connsiteY1" fmla="*/ 61692 h 143862"/>
                                <a:gd name="connsiteX2" fmla="*/ 16892 w 105613"/>
                                <a:gd name="connsiteY2" fmla="*/ 10980 h 143862"/>
                                <a:gd name="connsiteX3" fmla="*/ 45467 w 105613"/>
                                <a:gd name="connsiteY3" fmla="*/ 19432 h 143862"/>
                                <a:gd name="connsiteX4" fmla="*/ 62136 w 105613"/>
                                <a:gd name="connsiteY4" fmla="*/ 49014 h 143862"/>
                                <a:gd name="connsiteX5" fmla="*/ 88224 w 105613"/>
                                <a:gd name="connsiteY5" fmla="*/ 78517 h 143862"/>
                                <a:gd name="connsiteX6" fmla="*/ 102015 w 105613"/>
                                <a:gd name="connsiteY6" fmla="*/ 121291 h 143862"/>
                                <a:gd name="connsiteX7" fmla="*/ 105613 w 105613"/>
                                <a:gd name="connsiteY7" fmla="*/ 111323 h 143862"/>
                                <a:gd name="connsiteX8" fmla="*/ 89315 w 105613"/>
                                <a:gd name="connsiteY8" fmla="*/ 143596 h 143862"/>
                                <a:gd name="connsiteX9" fmla="*/ 53967 w 105613"/>
                                <a:gd name="connsiteY9" fmla="*/ 122990 h 143862"/>
                                <a:gd name="connsiteX0" fmla="*/ 40087 w 91733"/>
                                <a:gd name="connsiteY0" fmla="*/ 122990 h 143903"/>
                                <a:gd name="connsiteX1" fmla="*/ 3806 w 91733"/>
                                <a:gd name="connsiteY1" fmla="*/ 52185 h 143903"/>
                                <a:gd name="connsiteX2" fmla="*/ 3012 w 91733"/>
                                <a:gd name="connsiteY2" fmla="*/ 10980 h 143903"/>
                                <a:gd name="connsiteX3" fmla="*/ 31587 w 91733"/>
                                <a:gd name="connsiteY3" fmla="*/ 19432 h 143903"/>
                                <a:gd name="connsiteX4" fmla="*/ 48256 w 91733"/>
                                <a:gd name="connsiteY4" fmla="*/ 49014 h 143903"/>
                                <a:gd name="connsiteX5" fmla="*/ 74344 w 91733"/>
                                <a:gd name="connsiteY5" fmla="*/ 78517 h 143903"/>
                                <a:gd name="connsiteX6" fmla="*/ 88135 w 91733"/>
                                <a:gd name="connsiteY6" fmla="*/ 121291 h 143903"/>
                                <a:gd name="connsiteX7" fmla="*/ 91733 w 91733"/>
                                <a:gd name="connsiteY7" fmla="*/ 111323 h 143903"/>
                                <a:gd name="connsiteX8" fmla="*/ 75435 w 91733"/>
                                <a:gd name="connsiteY8" fmla="*/ 143596 h 143903"/>
                                <a:gd name="connsiteX9" fmla="*/ 40087 w 91733"/>
                                <a:gd name="connsiteY9" fmla="*/ 122990 h 143903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88135 w 91733"/>
                                <a:gd name="connsiteY6" fmla="*/ 121291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43597"/>
                                <a:gd name="connsiteX1" fmla="*/ 3806 w 91733"/>
                                <a:gd name="connsiteY1" fmla="*/ 52185 h 143597"/>
                                <a:gd name="connsiteX2" fmla="*/ 3012 w 91733"/>
                                <a:gd name="connsiteY2" fmla="*/ 10980 h 143597"/>
                                <a:gd name="connsiteX3" fmla="*/ 31587 w 91733"/>
                                <a:gd name="connsiteY3" fmla="*/ 19432 h 143597"/>
                                <a:gd name="connsiteX4" fmla="*/ 48256 w 91733"/>
                                <a:gd name="connsiteY4" fmla="*/ 49014 h 143597"/>
                                <a:gd name="connsiteX5" fmla="*/ 74344 w 91733"/>
                                <a:gd name="connsiteY5" fmla="*/ 78517 h 143597"/>
                                <a:gd name="connsiteX6" fmla="*/ 78610 w 91733"/>
                                <a:gd name="connsiteY6" fmla="*/ 102275 h 143597"/>
                                <a:gd name="connsiteX7" fmla="*/ 91733 w 91733"/>
                                <a:gd name="connsiteY7" fmla="*/ 111323 h 143597"/>
                                <a:gd name="connsiteX8" fmla="*/ 75435 w 91733"/>
                                <a:gd name="connsiteY8" fmla="*/ 143596 h 143597"/>
                                <a:gd name="connsiteX9" fmla="*/ 44850 w 91733"/>
                                <a:gd name="connsiteY9" fmla="*/ 110312 h 143597"/>
                                <a:gd name="connsiteX0" fmla="*/ 44850 w 91733"/>
                                <a:gd name="connsiteY0" fmla="*/ 110312 h 124433"/>
                                <a:gd name="connsiteX1" fmla="*/ 3806 w 91733"/>
                                <a:gd name="connsiteY1" fmla="*/ 52185 h 124433"/>
                                <a:gd name="connsiteX2" fmla="*/ 3012 w 91733"/>
                                <a:gd name="connsiteY2" fmla="*/ 10980 h 124433"/>
                                <a:gd name="connsiteX3" fmla="*/ 31587 w 91733"/>
                                <a:gd name="connsiteY3" fmla="*/ 19432 h 124433"/>
                                <a:gd name="connsiteX4" fmla="*/ 48256 w 91733"/>
                                <a:gd name="connsiteY4" fmla="*/ 49014 h 124433"/>
                                <a:gd name="connsiteX5" fmla="*/ 74344 w 91733"/>
                                <a:gd name="connsiteY5" fmla="*/ 78517 h 124433"/>
                                <a:gd name="connsiteX6" fmla="*/ 78610 w 91733"/>
                                <a:gd name="connsiteY6" fmla="*/ 102275 h 124433"/>
                                <a:gd name="connsiteX7" fmla="*/ 91733 w 91733"/>
                                <a:gd name="connsiteY7" fmla="*/ 111323 h 124433"/>
                                <a:gd name="connsiteX8" fmla="*/ 65910 w 91733"/>
                                <a:gd name="connsiteY8" fmla="*/ 121409 h 124433"/>
                                <a:gd name="connsiteX9" fmla="*/ 44850 w 91733"/>
                                <a:gd name="connsiteY9" fmla="*/ 110312 h 124433"/>
                                <a:gd name="connsiteX0" fmla="*/ 44850 w 79374"/>
                                <a:gd name="connsiteY0" fmla="*/ 110312 h 122122"/>
                                <a:gd name="connsiteX1" fmla="*/ 3806 w 79374"/>
                                <a:gd name="connsiteY1" fmla="*/ 52185 h 122122"/>
                                <a:gd name="connsiteX2" fmla="*/ 3012 w 79374"/>
                                <a:gd name="connsiteY2" fmla="*/ 10980 h 122122"/>
                                <a:gd name="connsiteX3" fmla="*/ 31587 w 79374"/>
                                <a:gd name="connsiteY3" fmla="*/ 19432 h 122122"/>
                                <a:gd name="connsiteX4" fmla="*/ 48256 w 79374"/>
                                <a:gd name="connsiteY4" fmla="*/ 49014 h 122122"/>
                                <a:gd name="connsiteX5" fmla="*/ 74344 w 79374"/>
                                <a:gd name="connsiteY5" fmla="*/ 78517 h 122122"/>
                                <a:gd name="connsiteX6" fmla="*/ 78610 w 79374"/>
                                <a:gd name="connsiteY6" fmla="*/ 102275 h 122122"/>
                                <a:gd name="connsiteX7" fmla="*/ 75065 w 79374"/>
                                <a:gd name="connsiteY7" fmla="*/ 98645 h 122122"/>
                                <a:gd name="connsiteX8" fmla="*/ 65910 w 79374"/>
                                <a:gd name="connsiteY8" fmla="*/ 121409 h 122122"/>
                                <a:gd name="connsiteX9" fmla="*/ 44850 w 79374"/>
                                <a:gd name="connsiteY9" fmla="*/ 110312 h 122122"/>
                                <a:gd name="connsiteX0" fmla="*/ 42560 w 77084"/>
                                <a:gd name="connsiteY0" fmla="*/ 94411 h 106222"/>
                                <a:gd name="connsiteX1" fmla="*/ 1516 w 77084"/>
                                <a:gd name="connsiteY1" fmla="*/ 36284 h 106222"/>
                                <a:gd name="connsiteX2" fmla="*/ 10247 w 77084"/>
                                <a:gd name="connsiteY2" fmla="*/ 26774 h 106222"/>
                                <a:gd name="connsiteX3" fmla="*/ 29297 w 77084"/>
                                <a:gd name="connsiteY3" fmla="*/ 3531 h 106222"/>
                                <a:gd name="connsiteX4" fmla="*/ 45966 w 77084"/>
                                <a:gd name="connsiteY4" fmla="*/ 33113 h 106222"/>
                                <a:gd name="connsiteX5" fmla="*/ 72054 w 77084"/>
                                <a:gd name="connsiteY5" fmla="*/ 62616 h 106222"/>
                                <a:gd name="connsiteX6" fmla="*/ 76320 w 77084"/>
                                <a:gd name="connsiteY6" fmla="*/ 86374 h 106222"/>
                                <a:gd name="connsiteX7" fmla="*/ 72775 w 77084"/>
                                <a:gd name="connsiteY7" fmla="*/ 82744 h 106222"/>
                                <a:gd name="connsiteX8" fmla="*/ 63620 w 77084"/>
                                <a:gd name="connsiteY8" fmla="*/ 105508 h 106222"/>
                                <a:gd name="connsiteX9" fmla="*/ 42560 w 77084"/>
                                <a:gd name="connsiteY9" fmla="*/ 94411 h 106222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5966 w 77084"/>
                                <a:gd name="connsiteY4" fmla="*/ 21320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429"/>
                                <a:gd name="connsiteX1" fmla="*/ 1516 w 77084"/>
                                <a:gd name="connsiteY1" fmla="*/ 24491 h 94429"/>
                                <a:gd name="connsiteX2" fmla="*/ 10247 w 77084"/>
                                <a:gd name="connsiteY2" fmla="*/ 14981 h 94429"/>
                                <a:gd name="connsiteX3" fmla="*/ 29297 w 77084"/>
                                <a:gd name="connsiteY3" fmla="*/ 10756 h 94429"/>
                                <a:gd name="connsiteX4" fmla="*/ 43585 w 77084"/>
                                <a:gd name="connsiteY4" fmla="*/ 30829 h 94429"/>
                                <a:gd name="connsiteX5" fmla="*/ 72054 w 77084"/>
                                <a:gd name="connsiteY5" fmla="*/ 50823 h 94429"/>
                                <a:gd name="connsiteX6" fmla="*/ 76320 w 77084"/>
                                <a:gd name="connsiteY6" fmla="*/ 74581 h 94429"/>
                                <a:gd name="connsiteX7" fmla="*/ 72775 w 77084"/>
                                <a:gd name="connsiteY7" fmla="*/ 70951 h 94429"/>
                                <a:gd name="connsiteX8" fmla="*/ 63620 w 77084"/>
                                <a:gd name="connsiteY8" fmla="*/ 93715 h 94429"/>
                                <a:gd name="connsiteX9" fmla="*/ 42560 w 77084"/>
                                <a:gd name="connsiteY9" fmla="*/ 82618 h 94429"/>
                                <a:gd name="connsiteX0" fmla="*/ 42560 w 77084"/>
                                <a:gd name="connsiteY0" fmla="*/ 82618 h 94018"/>
                                <a:gd name="connsiteX1" fmla="*/ 1516 w 77084"/>
                                <a:gd name="connsiteY1" fmla="*/ 62524 h 94018"/>
                                <a:gd name="connsiteX2" fmla="*/ 10247 w 77084"/>
                                <a:gd name="connsiteY2" fmla="*/ 14981 h 94018"/>
                                <a:gd name="connsiteX3" fmla="*/ 29297 w 77084"/>
                                <a:gd name="connsiteY3" fmla="*/ 10756 h 94018"/>
                                <a:gd name="connsiteX4" fmla="*/ 43585 w 77084"/>
                                <a:gd name="connsiteY4" fmla="*/ 30829 h 94018"/>
                                <a:gd name="connsiteX5" fmla="*/ 72054 w 77084"/>
                                <a:gd name="connsiteY5" fmla="*/ 50823 h 94018"/>
                                <a:gd name="connsiteX6" fmla="*/ 76320 w 77084"/>
                                <a:gd name="connsiteY6" fmla="*/ 74581 h 94018"/>
                                <a:gd name="connsiteX7" fmla="*/ 72775 w 77084"/>
                                <a:gd name="connsiteY7" fmla="*/ 70951 h 94018"/>
                                <a:gd name="connsiteX8" fmla="*/ 63620 w 77084"/>
                                <a:gd name="connsiteY8" fmla="*/ 93715 h 94018"/>
                                <a:gd name="connsiteX9" fmla="*/ 42560 w 77084"/>
                                <a:gd name="connsiteY9" fmla="*/ 82618 h 94018"/>
                                <a:gd name="connsiteX0" fmla="*/ 42560 w 77084"/>
                                <a:gd name="connsiteY0" fmla="*/ 73899 h 85299"/>
                                <a:gd name="connsiteX1" fmla="*/ 1516 w 77084"/>
                                <a:gd name="connsiteY1" fmla="*/ 53805 h 85299"/>
                                <a:gd name="connsiteX2" fmla="*/ 10247 w 77084"/>
                                <a:gd name="connsiteY2" fmla="*/ 37955 h 85299"/>
                                <a:gd name="connsiteX3" fmla="*/ 29297 w 77084"/>
                                <a:gd name="connsiteY3" fmla="*/ 2037 h 85299"/>
                                <a:gd name="connsiteX4" fmla="*/ 43585 w 77084"/>
                                <a:gd name="connsiteY4" fmla="*/ 22110 h 85299"/>
                                <a:gd name="connsiteX5" fmla="*/ 72054 w 77084"/>
                                <a:gd name="connsiteY5" fmla="*/ 42104 h 85299"/>
                                <a:gd name="connsiteX6" fmla="*/ 76320 w 77084"/>
                                <a:gd name="connsiteY6" fmla="*/ 65862 h 85299"/>
                                <a:gd name="connsiteX7" fmla="*/ 72775 w 77084"/>
                                <a:gd name="connsiteY7" fmla="*/ 62232 h 85299"/>
                                <a:gd name="connsiteX8" fmla="*/ 63620 w 77084"/>
                                <a:gd name="connsiteY8" fmla="*/ 84996 h 85299"/>
                                <a:gd name="connsiteX9" fmla="*/ 42560 w 77084"/>
                                <a:gd name="connsiteY9" fmla="*/ 73899 h 85299"/>
                                <a:gd name="connsiteX0" fmla="*/ 42560 w 77084"/>
                                <a:gd name="connsiteY0" fmla="*/ 52685 h 64085"/>
                                <a:gd name="connsiteX1" fmla="*/ 1516 w 77084"/>
                                <a:gd name="connsiteY1" fmla="*/ 32591 h 64085"/>
                                <a:gd name="connsiteX2" fmla="*/ 10247 w 77084"/>
                                <a:gd name="connsiteY2" fmla="*/ 16741 h 64085"/>
                                <a:gd name="connsiteX3" fmla="*/ 29297 w 77084"/>
                                <a:gd name="connsiteY3" fmla="*/ 15687 h 64085"/>
                                <a:gd name="connsiteX4" fmla="*/ 43585 w 77084"/>
                                <a:gd name="connsiteY4" fmla="*/ 896 h 64085"/>
                                <a:gd name="connsiteX5" fmla="*/ 72054 w 77084"/>
                                <a:gd name="connsiteY5" fmla="*/ 20890 h 64085"/>
                                <a:gd name="connsiteX6" fmla="*/ 76320 w 77084"/>
                                <a:gd name="connsiteY6" fmla="*/ 44648 h 64085"/>
                                <a:gd name="connsiteX7" fmla="*/ 72775 w 77084"/>
                                <a:gd name="connsiteY7" fmla="*/ 41018 h 64085"/>
                                <a:gd name="connsiteX8" fmla="*/ 63620 w 77084"/>
                                <a:gd name="connsiteY8" fmla="*/ 63782 h 64085"/>
                                <a:gd name="connsiteX9" fmla="*/ 42560 w 77084"/>
                                <a:gd name="connsiteY9" fmla="*/ 52685 h 64085"/>
                                <a:gd name="connsiteX0" fmla="*/ 42560 w 76322"/>
                                <a:gd name="connsiteY0" fmla="*/ 51797 h 63197"/>
                                <a:gd name="connsiteX1" fmla="*/ 1516 w 76322"/>
                                <a:gd name="connsiteY1" fmla="*/ 31703 h 63197"/>
                                <a:gd name="connsiteX2" fmla="*/ 10247 w 76322"/>
                                <a:gd name="connsiteY2" fmla="*/ 15853 h 63197"/>
                                <a:gd name="connsiteX3" fmla="*/ 29297 w 76322"/>
                                <a:gd name="connsiteY3" fmla="*/ 14799 h 63197"/>
                                <a:gd name="connsiteX4" fmla="*/ 43585 w 76322"/>
                                <a:gd name="connsiteY4" fmla="*/ 8 h 63197"/>
                                <a:gd name="connsiteX5" fmla="*/ 44305 w 76322"/>
                                <a:gd name="connsiteY5" fmla="*/ 30542 h 63197"/>
                                <a:gd name="connsiteX6" fmla="*/ 72054 w 76322"/>
                                <a:gd name="connsiteY6" fmla="*/ 20002 h 63197"/>
                                <a:gd name="connsiteX7" fmla="*/ 76320 w 76322"/>
                                <a:gd name="connsiteY7" fmla="*/ 43760 h 63197"/>
                                <a:gd name="connsiteX8" fmla="*/ 72775 w 76322"/>
                                <a:gd name="connsiteY8" fmla="*/ 40130 h 63197"/>
                                <a:gd name="connsiteX9" fmla="*/ 63620 w 76322"/>
                                <a:gd name="connsiteY9" fmla="*/ 62894 h 63197"/>
                                <a:gd name="connsiteX10" fmla="*/ 42560 w 76322"/>
                                <a:gd name="connsiteY10" fmla="*/ 51797 h 63197"/>
                                <a:gd name="connsiteX0" fmla="*/ 42560 w 76376"/>
                                <a:gd name="connsiteY0" fmla="*/ 51797 h 63197"/>
                                <a:gd name="connsiteX1" fmla="*/ 1516 w 76376"/>
                                <a:gd name="connsiteY1" fmla="*/ 31703 h 63197"/>
                                <a:gd name="connsiteX2" fmla="*/ 10247 w 76376"/>
                                <a:gd name="connsiteY2" fmla="*/ 15853 h 63197"/>
                                <a:gd name="connsiteX3" fmla="*/ 29297 w 76376"/>
                                <a:gd name="connsiteY3" fmla="*/ 14799 h 63197"/>
                                <a:gd name="connsiteX4" fmla="*/ 43585 w 76376"/>
                                <a:gd name="connsiteY4" fmla="*/ 8 h 63197"/>
                                <a:gd name="connsiteX5" fmla="*/ 44305 w 76376"/>
                                <a:gd name="connsiteY5" fmla="*/ 30542 h 63197"/>
                                <a:gd name="connsiteX6" fmla="*/ 73843 w 76376"/>
                                <a:gd name="connsiteY6" fmla="*/ 38820 h 63197"/>
                                <a:gd name="connsiteX7" fmla="*/ 76320 w 76376"/>
                                <a:gd name="connsiteY7" fmla="*/ 43760 h 63197"/>
                                <a:gd name="connsiteX8" fmla="*/ 72775 w 76376"/>
                                <a:gd name="connsiteY8" fmla="*/ 40130 h 63197"/>
                                <a:gd name="connsiteX9" fmla="*/ 63620 w 76376"/>
                                <a:gd name="connsiteY9" fmla="*/ 62894 h 63197"/>
                                <a:gd name="connsiteX10" fmla="*/ 42560 w 76376"/>
                                <a:gd name="connsiteY10" fmla="*/ 51797 h 63197"/>
                                <a:gd name="connsiteX0" fmla="*/ 3918 w 77094"/>
                                <a:gd name="connsiteY0" fmla="*/ 57174 h 63929"/>
                                <a:gd name="connsiteX1" fmla="*/ 2234 w 77094"/>
                                <a:gd name="connsiteY1" fmla="*/ 31703 h 63929"/>
                                <a:gd name="connsiteX2" fmla="*/ 10965 w 77094"/>
                                <a:gd name="connsiteY2" fmla="*/ 15853 h 63929"/>
                                <a:gd name="connsiteX3" fmla="*/ 30015 w 77094"/>
                                <a:gd name="connsiteY3" fmla="*/ 14799 h 63929"/>
                                <a:gd name="connsiteX4" fmla="*/ 44303 w 77094"/>
                                <a:gd name="connsiteY4" fmla="*/ 8 h 63929"/>
                                <a:gd name="connsiteX5" fmla="*/ 45023 w 77094"/>
                                <a:gd name="connsiteY5" fmla="*/ 30542 h 63929"/>
                                <a:gd name="connsiteX6" fmla="*/ 74561 w 77094"/>
                                <a:gd name="connsiteY6" fmla="*/ 38820 h 63929"/>
                                <a:gd name="connsiteX7" fmla="*/ 77038 w 77094"/>
                                <a:gd name="connsiteY7" fmla="*/ 43760 h 63929"/>
                                <a:gd name="connsiteX8" fmla="*/ 73493 w 77094"/>
                                <a:gd name="connsiteY8" fmla="*/ 40130 h 63929"/>
                                <a:gd name="connsiteX9" fmla="*/ 64338 w 77094"/>
                                <a:gd name="connsiteY9" fmla="*/ 62894 h 63929"/>
                                <a:gd name="connsiteX10" fmla="*/ 3918 w 77094"/>
                                <a:gd name="connsiteY10" fmla="*/ 57174 h 63929"/>
                                <a:gd name="connsiteX0" fmla="*/ 3918 w 77094"/>
                                <a:gd name="connsiteY0" fmla="*/ 57173 h 63928"/>
                                <a:gd name="connsiteX1" fmla="*/ 2234 w 77094"/>
                                <a:gd name="connsiteY1" fmla="*/ 31702 h 63928"/>
                                <a:gd name="connsiteX2" fmla="*/ 10965 w 77094"/>
                                <a:gd name="connsiteY2" fmla="*/ 15852 h 63928"/>
                                <a:gd name="connsiteX3" fmla="*/ 30015 w 77094"/>
                                <a:gd name="connsiteY3" fmla="*/ 14798 h 63928"/>
                                <a:gd name="connsiteX4" fmla="*/ 44303 w 77094"/>
                                <a:gd name="connsiteY4" fmla="*/ 7 h 63928"/>
                                <a:gd name="connsiteX5" fmla="*/ 32500 w 77094"/>
                                <a:gd name="connsiteY5" fmla="*/ 38606 h 63928"/>
                                <a:gd name="connsiteX6" fmla="*/ 74561 w 77094"/>
                                <a:gd name="connsiteY6" fmla="*/ 38819 h 63928"/>
                                <a:gd name="connsiteX7" fmla="*/ 77038 w 77094"/>
                                <a:gd name="connsiteY7" fmla="*/ 43759 h 63928"/>
                                <a:gd name="connsiteX8" fmla="*/ 73493 w 77094"/>
                                <a:gd name="connsiteY8" fmla="*/ 40129 h 63928"/>
                                <a:gd name="connsiteX9" fmla="*/ 64338 w 77094"/>
                                <a:gd name="connsiteY9" fmla="*/ 62893 h 63928"/>
                                <a:gd name="connsiteX10" fmla="*/ 3918 w 77094"/>
                                <a:gd name="connsiteY10" fmla="*/ 57173 h 63928"/>
                                <a:gd name="connsiteX0" fmla="*/ 3918 w 77094"/>
                                <a:gd name="connsiteY0" fmla="*/ 53801 h 60556"/>
                                <a:gd name="connsiteX1" fmla="*/ 2234 w 77094"/>
                                <a:gd name="connsiteY1" fmla="*/ 28330 h 60556"/>
                                <a:gd name="connsiteX2" fmla="*/ 10965 w 77094"/>
                                <a:gd name="connsiteY2" fmla="*/ 12480 h 60556"/>
                                <a:gd name="connsiteX3" fmla="*/ 30015 w 77094"/>
                                <a:gd name="connsiteY3" fmla="*/ 11426 h 60556"/>
                                <a:gd name="connsiteX4" fmla="*/ 32500 w 77094"/>
                                <a:gd name="connsiteY4" fmla="*/ 35234 h 60556"/>
                                <a:gd name="connsiteX5" fmla="*/ 74561 w 77094"/>
                                <a:gd name="connsiteY5" fmla="*/ 35447 h 60556"/>
                                <a:gd name="connsiteX6" fmla="*/ 77038 w 77094"/>
                                <a:gd name="connsiteY6" fmla="*/ 40387 h 60556"/>
                                <a:gd name="connsiteX7" fmla="*/ 73493 w 77094"/>
                                <a:gd name="connsiteY7" fmla="*/ 36757 h 60556"/>
                                <a:gd name="connsiteX8" fmla="*/ 64338 w 77094"/>
                                <a:gd name="connsiteY8" fmla="*/ 59521 h 60556"/>
                                <a:gd name="connsiteX9" fmla="*/ 3918 w 77094"/>
                                <a:gd name="connsiteY9" fmla="*/ 53801 h 60556"/>
                                <a:gd name="connsiteX0" fmla="*/ 3918 w 77094"/>
                                <a:gd name="connsiteY0" fmla="*/ 41321 h 48076"/>
                                <a:gd name="connsiteX1" fmla="*/ 2234 w 77094"/>
                                <a:gd name="connsiteY1" fmla="*/ 15850 h 48076"/>
                                <a:gd name="connsiteX2" fmla="*/ 10965 w 77094"/>
                                <a:gd name="connsiteY2" fmla="*/ 0 h 48076"/>
                                <a:gd name="connsiteX3" fmla="*/ 32500 w 77094"/>
                                <a:gd name="connsiteY3" fmla="*/ 22754 h 48076"/>
                                <a:gd name="connsiteX4" fmla="*/ 74561 w 77094"/>
                                <a:gd name="connsiteY4" fmla="*/ 22967 h 48076"/>
                                <a:gd name="connsiteX5" fmla="*/ 77038 w 77094"/>
                                <a:gd name="connsiteY5" fmla="*/ 27907 h 48076"/>
                                <a:gd name="connsiteX6" fmla="*/ 73493 w 77094"/>
                                <a:gd name="connsiteY6" fmla="*/ 24277 h 48076"/>
                                <a:gd name="connsiteX7" fmla="*/ 64338 w 77094"/>
                                <a:gd name="connsiteY7" fmla="*/ 47041 h 48076"/>
                                <a:gd name="connsiteX8" fmla="*/ 3918 w 77094"/>
                                <a:gd name="connsiteY8" fmla="*/ 41321 h 48076"/>
                                <a:gd name="connsiteX0" fmla="*/ 6540 w 79716"/>
                                <a:gd name="connsiteY0" fmla="*/ 26126 h 32881"/>
                                <a:gd name="connsiteX1" fmla="*/ 4856 w 79716"/>
                                <a:gd name="connsiteY1" fmla="*/ 655 h 32881"/>
                                <a:gd name="connsiteX2" fmla="*/ 35122 w 79716"/>
                                <a:gd name="connsiteY2" fmla="*/ 7559 h 32881"/>
                                <a:gd name="connsiteX3" fmla="*/ 77183 w 79716"/>
                                <a:gd name="connsiteY3" fmla="*/ 7772 h 32881"/>
                                <a:gd name="connsiteX4" fmla="*/ 79660 w 79716"/>
                                <a:gd name="connsiteY4" fmla="*/ 12712 h 32881"/>
                                <a:gd name="connsiteX5" fmla="*/ 76115 w 79716"/>
                                <a:gd name="connsiteY5" fmla="*/ 9082 h 32881"/>
                                <a:gd name="connsiteX6" fmla="*/ 66960 w 79716"/>
                                <a:gd name="connsiteY6" fmla="*/ 31846 h 32881"/>
                                <a:gd name="connsiteX7" fmla="*/ 6540 w 79716"/>
                                <a:gd name="connsiteY7" fmla="*/ 26126 h 32881"/>
                                <a:gd name="connsiteX0" fmla="*/ 6540 w 79716"/>
                                <a:gd name="connsiteY0" fmla="*/ 25627 h 32089"/>
                                <a:gd name="connsiteX1" fmla="*/ 4856 w 79716"/>
                                <a:gd name="connsiteY1" fmla="*/ 16285 h 32089"/>
                                <a:gd name="connsiteX2" fmla="*/ 35122 w 79716"/>
                                <a:gd name="connsiteY2" fmla="*/ 7060 h 32089"/>
                                <a:gd name="connsiteX3" fmla="*/ 77183 w 79716"/>
                                <a:gd name="connsiteY3" fmla="*/ 7273 h 32089"/>
                                <a:gd name="connsiteX4" fmla="*/ 79660 w 79716"/>
                                <a:gd name="connsiteY4" fmla="*/ 12213 h 32089"/>
                                <a:gd name="connsiteX5" fmla="*/ 76115 w 79716"/>
                                <a:gd name="connsiteY5" fmla="*/ 8583 h 32089"/>
                                <a:gd name="connsiteX6" fmla="*/ 66960 w 79716"/>
                                <a:gd name="connsiteY6" fmla="*/ 31347 h 32089"/>
                                <a:gd name="connsiteX7" fmla="*/ 6540 w 79716"/>
                                <a:gd name="connsiteY7" fmla="*/ 25627 h 32089"/>
                                <a:gd name="connsiteX0" fmla="*/ 4704 w 83247"/>
                                <a:gd name="connsiteY0" fmla="*/ 26971 h 32320"/>
                                <a:gd name="connsiteX1" fmla="*/ 8387 w 83247"/>
                                <a:gd name="connsiteY1" fmla="*/ 16285 h 32320"/>
                                <a:gd name="connsiteX2" fmla="*/ 38653 w 83247"/>
                                <a:gd name="connsiteY2" fmla="*/ 7060 h 32320"/>
                                <a:gd name="connsiteX3" fmla="*/ 80714 w 83247"/>
                                <a:gd name="connsiteY3" fmla="*/ 7273 h 32320"/>
                                <a:gd name="connsiteX4" fmla="*/ 83191 w 83247"/>
                                <a:gd name="connsiteY4" fmla="*/ 12213 h 32320"/>
                                <a:gd name="connsiteX5" fmla="*/ 79646 w 83247"/>
                                <a:gd name="connsiteY5" fmla="*/ 8583 h 32320"/>
                                <a:gd name="connsiteX6" fmla="*/ 70491 w 83247"/>
                                <a:gd name="connsiteY6" fmla="*/ 31347 h 32320"/>
                                <a:gd name="connsiteX7" fmla="*/ 4704 w 83247"/>
                                <a:gd name="connsiteY7" fmla="*/ 26971 h 32320"/>
                                <a:gd name="connsiteX0" fmla="*/ 17474 w 96017"/>
                                <a:gd name="connsiteY0" fmla="*/ 26971 h 32320"/>
                                <a:gd name="connsiteX1" fmla="*/ 1477 w 96017"/>
                                <a:gd name="connsiteY1" fmla="*/ 16285 h 32320"/>
                                <a:gd name="connsiteX2" fmla="*/ 51423 w 96017"/>
                                <a:gd name="connsiteY2" fmla="*/ 7060 h 32320"/>
                                <a:gd name="connsiteX3" fmla="*/ 93484 w 96017"/>
                                <a:gd name="connsiteY3" fmla="*/ 7273 h 32320"/>
                                <a:gd name="connsiteX4" fmla="*/ 95961 w 96017"/>
                                <a:gd name="connsiteY4" fmla="*/ 12213 h 32320"/>
                                <a:gd name="connsiteX5" fmla="*/ 92416 w 96017"/>
                                <a:gd name="connsiteY5" fmla="*/ 8583 h 32320"/>
                                <a:gd name="connsiteX6" fmla="*/ 83261 w 96017"/>
                                <a:gd name="connsiteY6" fmla="*/ 31347 h 32320"/>
                                <a:gd name="connsiteX7" fmla="*/ 17474 w 96017"/>
                                <a:gd name="connsiteY7" fmla="*/ 26971 h 32320"/>
                                <a:gd name="connsiteX0" fmla="*/ 33795 w 112338"/>
                                <a:gd name="connsiteY0" fmla="*/ 26971 h 32320"/>
                                <a:gd name="connsiteX1" fmla="*/ 17798 w 112338"/>
                                <a:gd name="connsiteY1" fmla="*/ 16285 h 32320"/>
                                <a:gd name="connsiteX2" fmla="*/ 67744 w 112338"/>
                                <a:gd name="connsiteY2" fmla="*/ 7060 h 32320"/>
                                <a:gd name="connsiteX3" fmla="*/ 109805 w 112338"/>
                                <a:gd name="connsiteY3" fmla="*/ 7273 h 32320"/>
                                <a:gd name="connsiteX4" fmla="*/ 112282 w 112338"/>
                                <a:gd name="connsiteY4" fmla="*/ 12213 h 32320"/>
                                <a:gd name="connsiteX5" fmla="*/ 108737 w 112338"/>
                                <a:gd name="connsiteY5" fmla="*/ 8583 h 32320"/>
                                <a:gd name="connsiteX6" fmla="*/ 99582 w 112338"/>
                                <a:gd name="connsiteY6" fmla="*/ 31347 h 32320"/>
                                <a:gd name="connsiteX7" fmla="*/ 33795 w 112338"/>
                                <a:gd name="connsiteY7" fmla="*/ 26971 h 32320"/>
                                <a:gd name="connsiteX0" fmla="*/ 95126 w 173669"/>
                                <a:gd name="connsiteY0" fmla="*/ 26971 h 32674"/>
                                <a:gd name="connsiteX1" fmla="*/ 73 w 173669"/>
                                <a:gd name="connsiteY1" fmla="*/ 2116 h 32674"/>
                                <a:gd name="connsiteX2" fmla="*/ 79129 w 173669"/>
                                <a:gd name="connsiteY2" fmla="*/ 16285 h 32674"/>
                                <a:gd name="connsiteX3" fmla="*/ 129075 w 173669"/>
                                <a:gd name="connsiteY3" fmla="*/ 7060 h 32674"/>
                                <a:gd name="connsiteX4" fmla="*/ 171136 w 173669"/>
                                <a:gd name="connsiteY4" fmla="*/ 7273 h 32674"/>
                                <a:gd name="connsiteX5" fmla="*/ 173613 w 173669"/>
                                <a:gd name="connsiteY5" fmla="*/ 12213 h 32674"/>
                                <a:gd name="connsiteX6" fmla="*/ 170068 w 173669"/>
                                <a:gd name="connsiteY6" fmla="*/ 8583 h 32674"/>
                                <a:gd name="connsiteX7" fmla="*/ 160913 w 173669"/>
                                <a:gd name="connsiteY7" fmla="*/ 31347 h 32674"/>
                                <a:gd name="connsiteX8" fmla="*/ 95126 w 173669"/>
                                <a:gd name="connsiteY8" fmla="*/ 26971 h 32674"/>
                                <a:gd name="connsiteX0" fmla="*/ 95471 w 174014"/>
                                <a:gd name="connsiteY0" fmla="*/ 26971 h 32153"/>
                                <a:gd name="connsiteX1" fmla="*/ 45145 w 174014"/>
                                <a:gd name="connsiteY1" fmla="*/ 26310 h 32153"/>
                                <a:gd name="connsiteX2" fmla="*/ 418 w 174014"/>
                                <a:gd name="connsiteY2" fmla="*/ 2116 h 32153"/>
                                <a:gd name="connsiteX3" fmla="*/ 79474 w 174014"/>
                                <a:gd name="connsiteY3" fmla="*/ 16285 h 32153"/>
                                <a:gd name="connsiteX4" fmla="*/ 129420 w 174014"/>
                                <a:gd name="connsiteY4" fmla="*/ 7060 h 32153"/>
                                <a:gd name="connsiteX5" fmla="*/ 171481 w 174014"/>
                                <a:gd name="connsiteY5" fmla="*/ 7273 h 32153"/>
                                <a:gd name="connsiteX6" fmla="*/ 173958 w 174014"/>
                                <a:gd name="connsiteY6" fmla="*/ 12213 h 32153"/>
                                <a:gd name="connsiteX7" fmla="*/ 170413 w 174014"/>
                                <a:gd name="connsiteY7" fmla="*/ 8583 h 32153"/>
                                <a:gd name="connsiteX8" fmla="*/ 161258 w 174014"/>
                                <a:gd name="connsiteY8" fmla="*/ 31347 h 32153"/>
                                <a:gd name="connsiteX9" fmla="*/ 95471 w 174014"/>
                                <a:gd name="connsiteY9" fmla="*/ 26971 h 32153"/>
                                <a:gd name="connsiteX0" fmla="*/ 95106 w 173649"/>
                                <a:gd name="connsiteY0" fmla="*/ 26971 h 32153"/>
                                <a:gd name="connsiteX1" fmla="*/ 44780 w 173649"/>
                                <a:gd name="connsiteY1" fmla="*/ 26310 h 32153"/>
                                <a:gd name="connsiteX2" fmla="*/ 53 w 173649"/>
                                <a:gd name="connsiteY2" fmla="*/ 2116 h 32153"/>
                                <a:gd name="connsiteX3" fmla="*/ 50147 w 173649"/>
                                <a:gd name="connsiteY3" fmla="*/ 6148 h 32153"/>
                                <a:gd name="connsiteX4" fmla="*/ 79109 w 173649"/>
                                <a:gd name="connsiteY4" fmla="*/ 16285 h 32153"/>
                                <a:gd name="connsiteX5" fmla="*/ 129055 w 173649"/>
                                <a:gd name="connsiteY5" fmla="*/ 7060 h 32153"/>
                                <a:gd name="connsiteX6" fmla="*/ 171116 w 173649"/>
                                <a:gd name="connsiteY6" fmla="*/ 7273 h 32153"/>
                                <a:gd name="connsiteX7" fmla="*/ 173593 w 173649"/>
                                <a:gd name="connsiteY7" fmla="*/ 12213 h 32153"/>
                                <a:gd name="connsiteX8" fmla="*/ 170048 w 173649"/>
                                <a:gd name="connsiteY8" fmla="*/ 8583 h 32153"/>
                                <a:gd name="connsiteX9" fmla="*/ 160893 w 173649"/>
                                <a:gd name="connsiteY9" fmla="*/ 31347 h 32153"/>
                                <a:gd name="connsiteX10" fmla="*/ 95106 w 173649"/>
                                <a:gd name="connsiteY10" fmla="*/ 26971 h 32153"/>
                                <a:gd name="connsiteX0" fmla="*/ 95106 w 173649"/>
                                <a:gd name="connsiteY0" fmla="*/ 31843 h 37025"/>
                                <a:gd name="connsiteX1" fmla="*/ 44780 w 173649"/>
                                <a:gd name="connsiteY1" fmla="*/ 31182 h 37025"/>
                                <a:gd name="connsiteX2" fmla="*/ 53 w 173649"/>
                                <a:gd name="connsiteY2" fmla="*/ 6988 h 37025"/>
                                <a:gd name="connsiteX3" fmla="*/ 50147 w 173649"/>
                                <a:gd name="connsiteY3" fmla="*/ 11020 h 37025"/>
                                <a:gd name="connsiteX4" fmla="*/ 79109 w 173649"/>
                                <a:gd name="connsiteY4" fmla="*/ 21157 h 37025"/>
                                <a:gd name="connsiteX5" fmla="*/ 129055 w 173649"/>
                                <a:gd name="connsiteY5" fmla="*/ 11932 h 37025"/>
                                <a:gd name="connsiteX6" fmla="*/ 171116 w 173649"/>
                                <a:gd name="connsiteY6" fmla="*/ 12145 h 37025"/>
                                <a:gd name="connsiteX7" fmla="*/ 173593 w 173649"/>
                                <a:gd name="connsiteY7" fmla="*/ 17085 h 37025"/>
                                <a:gd name="connsiteX8" fmla="*/ 170048 w 173649"/>
                                <a:gd name="connsiteY8" fmla="*/ 13455 h 37025"/>
                                <a:gd name="connsiteX9" fmla="*/ 160893 w 173649"/>
                                <a:gd name="connsiteY9" fmla="*/ 36219 h 37025"/>
                                <a:gd name="connsiteX10" fmla="*/ 95106 w 173649"/>
                                <a:gd name="connsiteY10" fmla="*/ 31843 h 37025"/>
                                <a:gd name="connsiteX0" fmla="*/ 95079 w 173622"/>
                                <a:gd name="connsiteY0" fmla="*/ 45038 h 50220"/>
                                <a:gd name="connsiteX1" fmla="*/ 44753 w 173622"/>
                                <a:gd name="connsiteY1" fmla="*/ 44377 h 50220"/>
                                <a:gd name="connsiteX2" fmla="*/ 26 w 173622"/>
                                <a:gd name="connsiteY2" fmla="*/ 20183 h 50220"/>
                                <a:gd name="connsiteX3" fmla="*/ 48331 w 173622"/>
                                <a:gd name="connsiteY3" fmla="*/ 20 h 50220"/>
                                <a:gd name="connsiteX4" fmla="*/ 50120 w 173622"/>
                                <a:gd name="connsiteY4" fmla="*/ 24215 h 50220"/>
                                <a:gd name="connsiteX5" fmla="*/ 79082 w 173622"/>
                                <a:gd name="connsiteY5" fmla="*/ 34352 h 50220"/>
                                <a:gd name="connsiteX6" fmla="*/ 129028 w 173622"/>
                                <a:gd name="connsiteY6" fmla="*/ 25127 h 50220"/>
                                <a:gd name="connsiteX7" fmla="*/ 171089 w 173622"/>
                                <a:gd name="connsiteY7" fmla="*/ 25340 h 50220"/>
                                <a:gd name="connsiteX8" fmla="*/ 173566 w 173622"/>
                                <a:gd name="connsiteY8" fmla="*/ 30280 h 50220"/>
                                <a:gd name="connsiteX9" fmla="*/ 170021 w 173622"/>
                                <a:gd name="connsiteY9" fmla="*/ 26650 h 50220"/>
                                <a:gd name="connsiteX10" fmla="*/ 160866 w 173622"/>
                                <a:gd name="connsiteY10" fmla="*/ 49414 h 50220"/>
                                <a:gd name="connsiteX11" fmla="*/ 95079 w 173622"/>
                                <a:gd name="connsiteY11" fmla="*/ 45038 h 50220"/>
                                <a:gd name="connsiteX0" fmla="*/ 149485 w 228028"/>
                                <a:gd name="connsiteY0" fmla="*/ 46676 h 51858"/>
                                <a:gd name="connsiteX1" fmla="*/ 99159 w 228028"/>
                                <a:gd name="connsiteY1" fmla="*/ 46015 h 51858"/>
                                <a:gd name="connsiteX2" fmla="*/ 54432 w 228028"/>
                                <a:gd name="connsiteY2" fmla="*/ 21821 h 51858"/>
                                <a:gd name="connsiteX3" fmla="*/ 760 w 228028"/>
                                <a:gd name="connsiteY3" fmla="*/ 3003 h 51858"/>
                                <a:gd name="connsiteX4" fmla="*/ 102737 w 228028"/>
                                <a:gd name="connsiteY4" fmla="*/ 1658 h 51858"/>
                                <a:gd name="connsiteX5" fmla="*/ 104526 w 228028"/>
                                <a:gd name="connsiteY5" fmla="*/ 25853 h 51858"/>
                                <a:gd name="connsiteX6" fmla="*/ 133488 w 228028"/>
                                <a:gd name="connsiteY6" fmla="*/ 35990 h 51858"/>
                                <a:gd name="connsiteX7" fmla="*/ 183434 w 228028"/>
                                <a:gd name="connsiteY7" fmla="*/ 26765 h 51858"/>
                                <a:gd name="connsiteX8" fmla="*/ 225495 w 228028"/>
                                <a:gd name="connsiteY8" fmla="*/ 26978 h 51858"/>
                                <a:gd name="connsiteX9" fmla="*/ 227972 w 228028"/>
                                <a:gd name="connsiteY9" fmla="*/ 31918 h 51858"/>
                                <a:gd name="connsiteX10" fmla="*/ 224427 w 228028"/>
                                <a:gd name="connsiteY10" fmla="*/ 28288 h 51858"/>
                                <a:gd name="connsiteX11" fmla="*/ 215272 w 228028"/>
                                <a:gd name="connsiteY11" fmla="*/ 51052 h 51858"/>
                                <a:gd name="connsiteX12" fmla="*/ 149485 w 228028"/>
                                <a:gd name="connsiteY12" fmla="*/ 46676 h 51858"/>
                                <a:gd name="connsiteX0" fmla="*/ 150228 w 228771"/>
                                <a:gd name="connsiteY0" fmla="*/ 46483 h 51665"/>
                                <a:gd name="connsiteX1" fmla="*/ 99902 w 228771"/>
                                <a:gd name="connsiteY1" fmla="*/ 45822 h 51665"/>
                                <a:gd name="connsiteX2" fmla="*/ 55175 w 228771"/>
                                <a:gd name="connsiteY2" fmla="*/ 21628 h 51665"/>
                                <a:gd name="connsiteX3" fmla="*/ 44440 w 228771"/>
                                <a:gd name="connsiteY3" fmla="*/ 13563 h 51665"/>
                                <a:gd name="connsiteX4" fmla="*/ 1503 w 228771"/>
                                <a:gd name="connsiteY4" fmla="*/ 2810 h 51665"/>
                                <a:gd name="connsiteX5" fmla="*/ 103480 w 228771"/>
                                <a:gd name="connsiteY5" fmla="*/ 1465 h 51665"/>
                                <a:gd name="connsiteX6" fmla="*/ 105269 w 228771"/>
                                <a:gd name="connsiteY6" fmla="*/ 25660 h 51665"/>
                                <a:gd name="connsiteX7" fmla="*/ 134231 w 228771"/>
                                <a:gd name="connsiteY7" fmla="*/ 35797 h 51665"/>
                                <a:gd name="connsiteX8" fmla="*/ 184177 w 228771"/>
                                <a:gd name="connsiteY8" fmla="*/ 26572 h 51665"/>
                                <a:gd name="connsiteX9" fmla="*/ 226238 w 228771"/>
                                <a:gd name="connsiteY9" fmla="*/ 26785 h 51665"/>
                                <a:gd name="connsiteX10" fmla="*/ 228715 w 228771"/>
                                <a:gd name="connsiteY10" fmla="*/ 31725 h 51665"/>
                                <a:gd name="connsiteX11" fmla="*/ 225170 w 228771"/>
                                <a:gd name="connsiteY11" fmla="*/ 28095 h 51665"/>
                                <a:gd name="connsiteX12" fmla="*/ 216015 w 228771"/>
                                <a:gd name="connsiteY12" fmla="*/ 50859 h 51665"/>
                                <a:gd name="connsiteX13" fmla="*/ 150228 w 228771"/>
                                <a:gd name="connsiteY13" fmla="*/ 46483 h 51665"/>
                                <a:gd name="connsiteX0" fmla="*/ 150228 w 228771"/>
                                <a:gd name="connsiteY0" fmla="*/ 46483 h 53319"/>
                                <a:gd name="connsiteX1" fmla="*/ 99902 w 228771"/>
                                <a:gd name="connsiteY1" fmla="*/ 45822 h 53319"/>
                                <a:gd name="connsiteX2" fmla="*/ 60542 w 228771"/>
                                <a:gd name="connsiteY2" fmla="*/ 52543 h 53319"/>
                                <a:gd name="connsiteX3" fmla="*/ 55175 w 228771"/>
                                <a:gd name="connsiteY3" fmla="*/ 21628 h 53319"/>
                                <a:gd name="connsiteX4" fmla="*/ 44440 w 228771"/>
                                <a:gd name="connsiteY4" fmla="*/ 13563 h 53319"/>
                                <a:gd name="connsiteX5" fmla="*/ 1503 w 228771"/>
                                <a:gd name="connsiteY5" fmla="*/ 2810 h 53319"/>
                                <a:gd name="connsiteX6" fmla="*/ 103480 w 228771"/>
                                <a:gd name="connsiteY6" fmla="*/ 1465 h 53319"/>
                                <a:gd name="connsiteX7" fmla="*/ 105269 w 228771"/>
                                <a:gd name="connsiteY7" fmla="*/ 25660 h 53319"/>
                                <a:gd name="connsiteX8" fmla="*/ 134231 w 228771"/>
                                <a:gd name="connsiteY8" fmla="*/ 35797 h 53319"/>
                                <a:gd name="connsiteX9" fmla="*/ 184177 w 228771"/>
                                <a:gd name="connsiteY9" fmla="*/ 26572 h 53319"/>
                                <a:gd name="connsiteX10" fmla="*/ 226238 w 228771"/>
                                <a:gd name="connsiteY10" fmla="*/ 26785 h 53319"/>
                                <a:gd name="connsiteX11" fmla="*/ 228715 w 228771"/>
                                <a:gd name="connsiteY11" fmla="*/ 31725 h 53319"/>
                                <a:gd name="connsiteX12" fmla="*/ 225170 w 228771"/>
                                <a:gd name="connsiteY12" fmla="*/ 28095 h 53319"/>
                                <a:gd name="connsiteX13" fmla="*/ 216015 w 228771"/>
                                <a:gd name="connsiteY13" fmla="*/ 50859 h 53319"/>
                                <a:gd name="connsiteX14" fmla="*/ 150228 w 228771"/>
                                <a:gd name="connsiteY14" fmla="*/ 46483 h 53319"/>
                                <a:gd name="connsiteX0" fmla="*/ 150228 w 228771"/>
                                <a:gd name="connsiteY0" fmla="*/ 46483 h 75624"/>
                                <a:gd name="connsiteX1" fmla="*/ 99902 w 228771"/>
                                <a:gd name="connsiteY1" fmla="*/ 45822 h 75624"/>
                                <a:gd name="connsiteX2" fmla="*/ 60542 w 228771"/>
                                <a:gd name="connsiteY2" fmla="*/ 52543 h 75624"/>
                                <a:gd name="connsiteX3" fmla="*/ 40863 w 228771"/>
                                <a:gd name="connsiteY3" fmla="*/ 75394 h 75624"/>
                                <a:gd name="connsiteX4" fmla="*/ 44440 w 228771"/>
                                <a:gd name="connsiteY4" fmla="*/ 13563 h 75624"/>
                                <a:gd name="connsiteX5" fmla="*/ 1503 w 228771"/>
                                <a:gd name="connsiteY5" fmla="*/ 2810 h 75624"/>
                                <a:gd name="connsiteX6" fmla="*/ 103480 w 228771"/>
                                <a:gd name="connsiteY6" fmla="*/ 1465 h 75624"/>
                                <a:gd name="connsiteX7" fmla="*/ 105269 w 228771"/>
                                <a:gd name="connsiteY7" fmla="*/ 25660 h 75624"/>
                                <a:gd name="connsiteX8" fmla="*/ 134231 w 228771"/>
                                <a:gd name="connsiteY8" fmla="*/ 35797 h 75624"/>
                                <a:gd name="connsiteX9" fmla="*/ 184177 w 228771"/>
                                <a:gd name="connsiteY9" fmla="*/ 26572 h 75624"/>
                                <a:gd name="connsiteX10" fmla="*/ 226238 w 228771"/>
                                <a:gd name="connsiteY10" fmla="*/ 26785 h 75624"/>
                                <a:gd name="connsiteX11" fmla="*/ 228715 w 228771"/>
                                <a:gd name="connsiteY11" fmla="*/ 31725 h 75624"/>
                                <a:gd name="connsiteX12" fmla="*/ 225170 w 228771"/>
                                <a:gd name="connsiteY12" fmla="*/ 28095 h 75624"/>
                                <a:gd name="connsiteX13" fmla="*/ 216015 w 228771"/>
                                <a:gd name="connsiteY13" fmla="*/ 50859 h 75624"/>
                                <a:gd name="connsiteX14" fmla="*/ 150228 w 228771"/>
                                <a:gd name="connsiteY14" fmla="*/ 46483 h 75624"/>
                                <a:gd name="connsiteX0" fmla="*/ 150228 w 228771"/>
                                <a:gd name="connsiteY0" fmla="*/ 46483 h 78602"/>
                                <a:gd name="connsiteX1" fmla="*/ 99902 w 228771"/>
                                <a:gd name="connsiteY1" fmla="*/ 45822 h 78602"/>
                                <a:gd name="connsiteX2" fmla="*/ 60542 w 228771"/>
                                <a:gd name="connsiteY2" fmla="*/ 52543 h 78602"/>
                                <a:gd name="connsiteX3" fmla="*/ 55175 w 228771"/>
                                <a:gd name="connsiteY3" fmla="*/ 71361 h 78602"/>
                                <a:gd name="connsiteX4" fmla="*/ 40863 w 228771"/>
                                <a:gd name="connsiteY4" fmla="*/ 75394 h 78602"/>
                                <a:gd name="connsiteX5" fmla="*/ 44440 w 228771"/>
                                <a:gd name="connsiteY5" fmla="*/ 13563 h 78602"/>
                                <a:gd name="connsiteX6" fmla="*/ 1503 w 228771"/>
                                <a:gd name="connsiteY6" fmla="*/ 2810 h 78602"/>
                                <a:gd name="connsiteX7" fmla="*/ 103480 w 228771"/>
                                <a:gd name="connsiteY7" fmla="*/ 1465 h 78602"/>
                                <a:gd name="connsiteX8" fmla="*/ 105269 w 228771"/>
                                <a:gd name="connsiteY8" fmla="*/ 25660 h 78602"/>
                                <a:gd name="connsiteX9" fmla="*/ 134231 w 228771"/>
                                <a:gd name="connsiteY9" fmla="*/ 35797 h 78602"/>
                                <a:gd name="connsiteX10" fmla="*/ 184177 w 228771"/>
                                <a:gd name="connsiteY10" fmla="*/ 26572 h 78602"/>
                                <a:gd name="connsiteX11" fmla="*/ 226238 w 228771"/>
                                <a:gd name="connsiteY11" fmla="*/ 26785 h 78602"/>
                                <a:gd name="connsiteX12" fmla="*/ 228715 w 228771"/>
                                <a:gd name="connsiteY12" fmla="*/ 31725 h 78602"/>
                                <a:gd name="connsiteX13" fmla="*/ 225170 w 228771"/>
                                <a:gd name="connsiteY13" fmla="*/ 28095 h 78602"/>
                                <a:gd name="connsiteX14" fmla="*/ 216015 w 228771"/>
                                <a:gd name="connsiteY14" fmla="*/ 50859 h 78602"/>
                                <a:gd name="connsiteX15" fmla="*/ 150228 w 228771"/>
                                <a:gd name="connsiteY15" fmla="*/ 46483 h 78602"/>
                                <a:gd name="connsiteX0" fmla="*/ 150228 w 228771"/>
                                <a:gd name="connsiteY0" fmla="*/ 46483 h 78602"/>
                                <a:gd name="connsiteX1" fmla="*/ 99902 w 228771"/>
                                <a:gd name="connsiteY1" fmla="*/ 45822 h 78602"/>
                                <a:gd name="connsiteX2" fmla="*/ 62331 w 228771"/>
                                <a:gd name="connsiteY2" fmla="*/ 59264 h 78602"/>
                                <a:gd name="connsiteX3" fmla="*/ 55175 w 228771"/>
                                <a:gd name="connsiteY3" fmla="*/ 71361 h 78602"/>
                                <a:gd name="connsiteX4" fmla="*/ 40863 w 228771"/>
                                <a:gd name="connsiteY4" fmla="*/ 75394 h 78602"/>
                                <a:gd name="connsiteX5" fmla="*/ 44440 w 228771"/>
                                <a:gd name="connsiteY5" fmla="*/ 13563 h 78602"/>
                                <a:gd name="connsiteX6" fmla="*/ 1503 w 228771"/>
                                <a:gd name="connsiteY6" fmla="*/ 2810 h 78602"/>
                                <a:gd name="connsiteX7" fmla="*/ 103480 w 228771"/>
                                <a:gd name="connsiteY7" fmla="*/ 1465 h 78602"/>
                                <a:gd name="connsiteX8" fmla="*/ 105269 w 228771"/>
                                <a:gd name="connsiteY8" fmla="*/ 25660 h 78602"/>
                                <a:gd name="connsiteX9" fmla="*/ 134231 w 228771"/>
                                <a:gd name="connsiteY9" fmla="*/ 35797 h 78602"/>
                                <a:gd name="connsiteX10" fmla="*/ 184177 w 228771"/>
                                <a:gd name="connsiteY10" fmla="*/ 26572 h 78602"/>
                                <a:gd name="connsiteX11" fmla="*/ 226238 w 228771"/>
                                <a:gd name="connsiteY11" fmla="*/ 26785 h 78602"/>
                                <a:gd name="connsiteX12" fmla="*/ 228715 w 228771"/>
                                <a:gd name="connsiteY12" fmla="*/ 31725 h 78602"/>
                                <a:gd name="connsiteX13" fmla="*/ 225170 w 228771"/>
                                <a:gd name="connsiteY13" fmla="*/ 28095 h 78602"/>
                                <a:gd name="connsiteX14" fmla="*/ 216015 w 228771"/>
                                <a:gd name="connsiteY14" fmla="*/ 50859 h 78602"/>
                                <a:gd name="connsiteX15" fmla="*/ 150228 w 228771"/>
                                <a:gd name="connsiteY15" fmla="*/ 46483 h 78602"/>
                                <a:gd name="connsiteX0" fmla="*/ 115063 w 193606"/>
                                <a:gd name="connsiteY0" fmla="*/ 45406 h 77525"/>
                                <a:gd name="connsiteX1" fmla="*/ 64737 w 193606"/>
                                <a:gd name="connsiteY1" fmla="*/ 44745 h 77525"/>
                                <a:gd name="connsiteX2" fmla="*/ 27166 w 193606"/>
                                <a:gd name="connsiteY2" fmla="*/ 58187 h 77525"/>
                                <a:gd name="connsiteX3" fmla="*/ 20010 w 193606"/>
                                <a:gd name="connsiteY3" fmla="*/ 70284 h 77525"/>
                                <a:gd name="connsiteX4" fmla="*/ 5698 w 193606"/>
                                <a:gd name="connsiteY4" fmla="*/ 74317 h 77525"/>
                                <a:gd name="connsiteX5" fmla="*/ 9275 w 193606"/>
                                <a:gd name="connsiteY5" fmla="*/ 12486 h 77525"/>
                                <a:gd name="connsiteX6" fmla="*/ 5698 w 193606"/>
                                <a:gd name="connsiteY6" fmla="*/ 12486 h 77525"/>
                                <a:gd name="connsiteX7" fmla="*/ 68315 w 193606"/>
                                <a:gd name="connsiteY7" fmla="*/ 388 h 77525"/>
                                <a:gd name="connsiteX8" fmla="*/ 70104 w 193606"/>
                                <a:gd name="connsiteY8" fmla="*/ 24583 h 77525"/>
                                <a:gd name="connsiteX9" fmla="*/ 99066 w 193606"/>
                                <a:gd name="connsiteY9" fmla="*/ 34720 h 77525"/>
                                <a:gd name="connsiteX10" fmla="*/ 149012 w 193606"/>
                                <a:gd name="connsiteY10" fmla="*/ 25495 h 77525"/>
                                <a:gd name="connsiteX11" fmla="*/ 191073 w 193606"/>
                                <a:gd name="connsiteY11" fmla="*/ 25708 h 77525"/>
                                <a:gd name="connsiteX12" fmla="*/ 193550 w 193606"/>
                                <a:gd name="connsiteY12" fmla="*/ 30648 h 77525"/>
                                <a:gd name="connsiteX13" fmla="*/ 190005 w 193606"/>
                                <a:gd name="connsiteY13" fmla="*/ 27018 h 77525"/>
                                <a:gd name="connsiteX14" fmla="*/ 180850 w 193606"/>
                                <a:gd name="connsiteY14" fmla="*/ 49782 h 77525"/>
                                <a:gd name="connsiteX15" fmla="*/ 115063 w 193606"/>
                                <a:gd name="connsiteY15" fmla="*/ 45406 h 77525"/>
                                <a:gd name="connsiteX0" fmla="*/ 125485 w 204028"/>
                                <a:gd name="connsiteY0" fmla="*/ 45406 h 85220"/>
                                <a:gd name="connsiteX1" fmla="*/ 75159 w 204028"/>
                                <a:gd name="connsiteY1" fmla="*/ 44745 h 85220"/>
                                <a:gd name="connsiteX2" fmla="*/ 37588 w 204028"/>
                                <a:gd name="connsiteY2" fmla="*/ 58187 h 85220"/>
                                <a:gd name="connsiteX3" fmla="*/ 30432 w 204028"/>
                                <a:gd name="connsiteY3" fmla="*/ 70284 h 85220"/>
                                <a:gd name="connsiteX4" fmla="*/ 16120 w 204028"/>
                                <a:gd name="connsiteY4" fmla="*/ 74317 h 85220"/>
                                <a:gd name="connsiteX5" fmla="*/ 17 w 204028"/>
                                <a:gd name="connsiteY5" fmla="*/ 82381 h 85220"/>
                                <a:gd name="connsiteX6" fmla="*/ 19697 w 204028"/>
                                <a:gd name="connsiteY6" fmla="*/ 12486 h 85220"/>
                                <a:gd name="connsiteX7" fmla="*/ 16120 w 204028"/>
                                <a:gd name="connsiteY7" fmla="*/ 12486 h 85220"/>
                                <a:gd name="connsiteX8" fmla="*/ 78737 w 204028"/>
                                <a:gd name="connsiteY8" fmla="*/ 388 h 85220"/>
                                <a:gd name="connsiteX9" fmla="*/ 80526 w 204028"/>
                                <a:gd name="connsiteY9" fmla="*/ 24583 h 85220"/>
                                <a:gd name="connsiteX10" fmla="*/ 109488 w 204028"/>
                                <a:gd name="connsiteY10" fmla="*/ 34720 h 85220"/>
                                <a:gd name="connsiteX11" fmla="*/ 159434 w 204028"/>
                                <a:gd name="connsiteY11" fmla="*/ 25495 h 85220"/>
                                <a:gd name="connsiteX12" fmla="*/ 201495 w 204028"/>
                                <a:gd name="connsiteY12" fmla="*/ 25708 h 85220"/>
                                <a:gd name="connsiteX13" fmla="*/ 203972 w 204028"/>
                                <a:gd name="connsiteY13" fmla="*/ 30648 h 85220"/>
                                <a:gd name="connsiteX14" fmla="*/ 200427 w 204028"/>
                                <a:gd name="connsiteY14" fmla="*/ 27018 h 85220"/>
                                <a:gd name="connsiteX15" fmla="*/ 191272 w 204028"/>
                                <a:gd name="connsiteY15" fmla="*/ 49782 h 85220"/>
                                <a:gd name="connsiteX16" fmla="*/ 125485 w 204028"/>
                                <a:gd name="connsiteY16" fmla="*/ 45406 h 85220"/>
                                <a:gd name="connsiteX0" fmla="*/ 125562 w 204105"/>
                                <a:gd name="connsiteY0" fmla="*/ 45406 h 93564"/>
                                <a:gd name="connsiteX1" fmla="*/ 75236 w 204105"/>
                                <a:gd name="connsiteY1" fmla="*/ 44745 h 93564"/>
                                <a:gd name="connsiteX2" fmla="*/ 37665 w 204105"/>
                                <a:gd name="connsiteY2" fmla="*/ 58187 h 93564"/>
                                <a:gd name="connsiteX3" fmla="*/ 30509 w 204105"/>
                                <a:gd name="connsiteY3" fmla="*/ 70284 h 93564"/>
                                <a:gd name="connsiteX4" fmla="*/ 16197 w 204105"/>
                                <a:gd name="connsiteY4" fmla="*/ 74317 h 93564"/>
                                <a:gd name="connsiteX5" fmla="*/ 17985 w 204105"/>
                                <a:gd name="connsiteY5" fmla="*/ 93134 h 93564"/>
                                <a:gd name="connsiteX6" fmla="*/ 94 w 204105"/>
                                <a:gd name="connsiteY6" fmla="*/ 82381 h 93564"/>
                                <a:gd name="connsiteX7" fmla="*/ 19774 w 204105"/>
                                <a:gd name="connsiteY7" fmla="*/ 12486 h 93564"/>
                                <a:gd name="connsiteX8" fmla="*/ 16197 w 204105"/>
                                <a:gd name="connsiteY8" fmla="*/ 12486 h 93564"/>
                                <a:gd name="connsiteX9" fmla="*/ 78814 w 204105"/>
                                <a:gd name="connsiteY9" fmla="*/ 388 h 93564"/>
                                <a:gd name="connsiteX10" fmla="*/ 80603 w 204105"/>
                                <a:gd name="connsiteY10" fmla="*/ 24583 h 93564"/>
                                <a:gd name="connsiteX11" fmla="*/ 109565 w 204105"/>
                                <a:gd name="connsiteY11" fmla="*/ 34720 h 93564"/>
                                <a:gd name="connsiteX12" fmla="*/ 159511 w 204105"/>
                                <a:gd name="connsiteY12" fmla="*/ 25495 h 93564"/>
                                <a:gd name="connsiteX13" fmla="*/ 201572 w 204105"/>
                                <a:gd name="connsiteY13" fmla="*/ 25708 h 93564"/>
                                <a:gd name="connsiteX14" fmla="*/ 204049 w 204105"/>
                                <a:gd name="connsiteY14" fmla="*/ 30648 h 93564"/>
                                <a:gd name="connsiteX15" fmla="*/ 200504 w 204105"/>
                                <a:gd name="connsiteY15" fmla="*/ 27018 h 93564"/>
                                <a:gd name="connsiteX16" fmla="*/ 191349 w 204105"/>
                                <a:gd name="connsiteY16" fmla="*/ 49782 h 93564"/>
                                <a:gd name="connsiteX17" fmla="*/ 125562 w 204105"/>
                                <a:gd name="connsiteY17" fmla="*/ 45406 h 93564"/>
                                <a:gd name="connsiteX0" fmla="*/ 125562 w 204105"/>
                                <a:gd name="connsiteY0" fmla="*/ 45406 h 93564"/>
                                <a:gd name="connsiteX1" fmla="*/ 75236 w 204105"/>
                                <a:gd name="connsiteY1" fmla="*/ 44745 h 93564"/>
                                <a:gd name="connsiteX2" fmla="*/ 37665 w 204105"/>
                                <a:gd name="connsiteY2" fmla="*/ 58187 h 93564"/>
                                <a:gd name="connsiteX3" fmla="*/ 30509 w 204105"/>
                                <a:gd name="connsiteY3" fmla="*/ 70284 h 93564"/>
                                <a:gd name="connsiteX4" fmla="*/ 21564 w 204105"/>
                                <a:gd name="connsiteY4" fmla="*/ 79693 h 93564"/>
                                <a:gd name="connsiteX5" fmla="*/ 17985 w 204105"/>
                                <a:gd name="connsiteY5" fmla="*/ 93134 h 93564"/>
                                <a:gd name="connsiteX6" fmla="*/ 94 w 204105"/>
                                <a:gd name="connsiteY6" fmla="*/ 82381 h 93564"/>
                                <a:gd name="connsiteX7" fmla="*/ 19774 w 204105"/>
                                <a:gd name="connsiteY7" fmla="*/ 12486 h 93564"/>
                                <a:gd name="connsiteX8" fmla="*/ 16197 w 204105"/>
                                <a:gd name="connsiteY8" fmla="*/ 12486 h 93564"/>
                                <a:gd name="connsiteX9" fmla="*/ 78814 w 204105"/>
                                <a:gd name="connsiteY9" fmla="*/ 388 h 93564"/>
                                <a:gd name="connsiteX10" fmla="*/ 80603 w 204105"/>
                                <a:gd name="connsiteY10" fmla="*/ 24583 h 93564"/>
                                <a:gd name="connsiteX11" fmla="*/ 109565 w 204105"/>
                                <a:gd name="connsiteY11" fmla="*/ 34720 h 93564"/>
                                <a:gd name="connsiteX12" fmla="*/ 159511 w 204105"/>
                                <a:gd name="connsiteY12" fmla="*/ 25495 h 93564"/>
                                <a:gd name="connsiteX13" fmla="*/ 201572 w 204105"/>
                                <a:gd name="connsiteY13" fmla="*/ 25708 h 93564"/>
                                <a:gd name="connsiteX14" fmla="*/ 204049 w 204105"/>
                                <a:gd name="connsiteY14" fmla="*/ 30648 h 93564"/>
                                <a:gd name="connsiteX15" fmla="*/ 200504 w 204105"/>
                                <a:gd name="connsiteY15" fmla="*/ 27018 h 93564"/>
                                <a:gd name="connsiteX16" fmla="*/ 191349 w 204105"/>
                                <a:gd name="connsiteY16" fmla="*/ 49782 h 93564"/>
                                <a:gd name="connsiteX17" fmla="*/ 125562 w 204105"/>
                                <a:gd name="connsiteY17" fmla="*/ 45406 h 9356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  <a:cxn ang="0">
                                  <a:pos x="connsiteX11" y="connsiteY11"/>
                                </a:cxn>
                                <a:cxn ang="0">
                                  <a:pos x="connsiteX12" y="connsiteY12"/>
                                </a:cxn>
                                <a:cxn ang="0">
                                  <a:pos x="connsiteX13" y="connsiteY13"/>
                                </a:cxn>
                                <a:cxn ang="0">
                                  <a:pos x="connsiteX14" y="connsiteY14"/>
                                </a:cxn>
                                <a:cxn ang="0">
                                  <a:pos x="connsiteX15" y="connsiteY15"/>
                                </a:cxn>
                                <a:cxn ang="0">
                                  <a:pos x="connsiteX16" y="connsiteY16"/>
                                </a:cxn>
                                <a:cxn ang="0">
                                  <a:pos x="connsiteX17" y="connsiteY17"/>
                                </a:cxn>
                              </a:cxnLst>
                              <a:rect l="l" t="t" r="r" b="b"/>
                              <a:pathLst>
                                <a:path w="204105" h="93564">
                                  <a:moveTo>
                                    <a:pt x="125562" y="45406"/>
                                  </a:moveTo>
                                  <a:cubicBezTo>
                                    <a:pt x="106210" y="44567"/>
                                    <a:pt x="91078" y="48887"/>
                                    <a:pt x="75236" y="44745"/>
                                  </a:cubicBezTo>
                                  <a:cubicBezTo>
                                    <a:pt x="61481" y="42395"/>
                                    <a:pt x="45119" y="62219"/>
                                    <a:pt x="37665" y="58187"/>
                                  </a:cubicBezTo>
                                  <a:cubicBezTo>
                                    <a:pt x="29316" y="60427"/>
                                    <a:pt x="33789" y="66476"/>
                                    <a:pt x="30509" y="70284"/>
                                  </a:cubicBezTo>
                                  <a:cubicBezTo>
                                    <a:pt x="27229" y="74093"/>
                                    <a:pt x="24844" y="78573"/>
                                    <a:pt x="21564" y="79693"/>
                                  </a:cubicBezTo>
                                  <a:cubicBezTo>
                                    <a:pt x="18284" y="80813"/>
                                    <a:pt x="20669" y="91790"/>
                                    <a:pt x="17985" y="93134"/>
                                  </a:cubicBezTo>
                                  <a:cubicBezTo>
                                    <a:pt x="15301" y="94478"/>
                                    <a:pt x="-1397" y="93134"/>
                                    <a:pt x="94" y="82381"/>
                                  </a:cubicBezTo>
                                  <a:cubicBezTo>
                                    <a:pt x="1585" y="71628"/>
                                    <a:pt x="20072" y="19207"/>
                                    <a:pt x="19774" y="12486"/>
                                  </a:cubicBezTo>
                                  <a:cubicBezTo>
                                    <a:pt x="19476" y="5765"/>
                                    <a:pt x="6059" y="15174"/>
                                    <a:pt x="16197" y="12486"/>
                                  </a:cubicBezTo>
                                  <a:cubicBezTo>
                                    <a:pt x="26335" y="9798"/>
                                    <a:pt x="74639" y="-2300"/>
                                    <a:pt x="78814" y="388"/>
                                  </a:cubicBezTo>
                                  <a:cubicBezTo>
                                    <a:pt x="82989" y="3076"/>
                                    <a:pt x="73689" y="21101"/>
                                    <a:pt x="80603" y="24583"/>
                                  </a:cubicBezTo>
                                  <a:cubicBezTo>
                                    <a:pt x="93779" y="26944"/>
                                    <a:pt x="97010" y="36360"/>
                                    <a:pt x="109565" y="34720"/>
                                  </a:cubicBezTo>
                                  <a:cubicBezTo>
                                    <a:pt x="114329" y="31626"/>
                                    <a:pt x="147457" y="24309"/>
                                    <a:pt x="159511" y="25495"/>
                                  </a:cubicBezTo>
                                  <a:cubicBezTo>
                                    <a:pt x="171566" y="26681"/>
                                    <a:pt x="199014" y="20336"/>
                                    <a:pt x="201572" y="25708"/>
                                  </a:cubicBezTo>
                                  <a:cubicBezTo>
                                    <a:pt x="204130" y="31080"/>
                                    <a:pt x="204227" y="30430"/>
                                    <a:pt x="204049" y="30648"/>
                                  </a:cubicBezTo>
                                  <a:cubicBezTo>
                                    <a:pt x="203871" y="30866"/>
                                    <a:pt x="200504" y="5685"/>
                                    <a:pt x="200504" y="27018"/>
                                  </a:cubicBezTo>
                                  <a:cubicBezTo>
                                    <a:pt x="200504" y="48351"/>
                                    <a:pt x="203839" y="46717"/>
                                    <a:pt x="191349" y="49782"/>
                                  </a:cubicBezTo>
                                  <a:cubicBezTo>
                                    <a:pt x="178859" y="52847"/>
                                    <a:pt x="144914" y="46245"/>
                                    <a:pt x="125562" y="45406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en-US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31" name="Freeform 235"/>
                            <p:cNvSpPr/>
                            <p:nvPr/>
                          </p:nvSpPr>
                          <p:spPr>
                            <a:xfrm rot="11700000">
                              <a:off x="4655061" y="6012395"/>
                              <a:ext cx="121693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32" name="Freeform 236"/>
                            <p:cNvSpPr/>
                            <p:nvPr/>
                          </p:nvSpPr>
                          <p:spPr>
                            <a:xfrm rot="11700000">
                              <a:off x="6330482" y="3324487"/>
                              <a:ext cx="6244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33" name="Freeform 237"/>
                            <p:cNvSpPr/>
                            <p:nvPr/>
                          </p:nvSpPr>
                          <p:spPr>
                            <a:xfrm rot="11700000">
                              <a:off x="6196454" y="3781332"/>
                              <a:ext cx="6244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sp>
                          <p:nvSpPr>
                            <p:cNvPr id="1034" name="Freeform 238"/>
                            <p:cNvSpPr/>
                            <p:nvPr/>
                          </p:nvSpPr>
                          <p:spPr>
                            <a:xfrm rot="11700000">
                              <a:off x="6730532" y="3610237"/>
                              <a:ext cx="62448" cy="69032"/>
                            </a:xfrm>
                            <a:custGeom>
                              <a:avLst/>
                              <a:gdLst>
                                <a:gd name="connsiteX0" fmla="*/ 175260 w 541020"/>
                                <a:gd name="connsiteY0" fmla="*/ 45720 h 281940"/>
                                <a:gd name="connsiteX1" fmla="*/ 0 w 541020"/>
                                <a:gd name="connsiteY1" fmla="*/ 121920 h 281940"/>
                                <a:gd name="connsiteX2" fmla="*/ 7620 w 541020"/>
                                <a:gd name="connsiteY2" fmla="*/ 251460 h 281940"/>
                                <a:gd name="connsiteX3" fmla="*/ 160020 w 541020"/>
                                <a:gd name="connsiteY3" fmla="*/ 281940 h 281940"/>
                                <a:gd name="connsiteX4" fmla="*/ 327660 w 541020"/>
                                <a:gd name="connsiteY4" fmla="*/ 236220 h 281940"/>
                                <a:gd name="connsiteX5" fmla="*/ 495300 w 541020"/>
                                <a:gd name="connsiteY5" fmla="*/ 114300 h 281940"/>
                                <a:gd name="connsiteX6" fmla="*/ 541020 w 541020"/>
                                <a:gd name="connsiteY6" fmla="*/ 30480 h 281940"/>
                                <a:gd name="connsiteX7" fmla="*/ 518160 w 541020"/>
                                <a:gd name="connsiteY7" fmla="*/ 0 h 281940"/>
                                <a:gd name="connsiteX8" fmla="*/ 449580 w 541020"/>
                                <a:gd name="connsiteY8" fmla="*/ 0 h 281940"/>
                                <a:gd name="connsiteX9" fmla="*/ 175260 w 541020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1940"/>
                                <a:gd name="connsiteX1" fmla="*/ 17128 w 558148"/>
                                <a:gd name="connsiteY1" fmla="*/ 121920 h 281940"/>
                                <a:gd name="connsiteX2" fmla="*/ 24748 w 558148"/>
                                <a:gd name="connsiteY2" fmla="*/ 251460 h 281940"/>
                                <a:gd name="connsiteX3" fmla="*/ 177148 w 558148"/>
                                <a:gd name="connsiteY3" fmla="*/ 281940 h 281940"/>
                                <a:gd name="connsiteX4" fmla="*/ 344788 w 558148"/>
                                <a:gd name="connsiteY4" fmla="*/ 236220 h 281940"/>
                                <a:gd name="connsiteX5" fmla="*/ 512428 w 558148"/>
                                <a:gd name="connsiteY5" fmla="*/ 114300 h 281940"/>
                                <a:gd name="connsiteX6" fmla="*/ 558148 w 558148"/>
                                <a:gd name="connsiteY6" fmla="*/ 30480 h 281940"/>
                                <a:gd name="connsiteX7" fmla="*/ 535288 w 558148"/>
                                <a:gd name="connsiteY7" fmla="*/ 0 h 281940"/>
                                <a:gd name="connsiteX8" fmla="*/ 466708 w 558148"/>
                                <a:gd name="connsiteY8" fmla="*/ 0 h 281940"/>
                                <a:gd name="connsiteX9" fmla="*/ 192388 w 558148"/>
                                <a:gd name="connsiteY9" fmla="*/ 45720 h 281940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45720 h 282454"/>
                                <a:gd name="connsiteX1" fmla="*/ 17128 w 558148"/>
                                <a:gd name="connsiteY1" fmla="*/ 121920 h 282454"/>
                                <a:gd name="connsiteX2" fmla="*/ 24748 w 558148"/>
                                <a:gd name="connsiteY2" fmla="*/ 251460 h 282454"/>
                                <a:gd name="connsiteX3" fmla="*/ 177148 w 558148"/>
                                <a:gd name="connsiteY3" fmla="*/ 281940 h 282454"/>
                                <a:gd name="connsiteX4" fmla="*/ 344788 w 558148"/>
                                <a:gd name="connsiteY4" fmla="*/ 236220 h 282454"/>
                                <a:gd name="connsiteX5" fmla="*/ 512428 w 558148"/>
                                <a:gd name="connsiteY5" fmla="*/ 114300 h 282454"/>
                                <a:gd name="connsiteX6" fmla="*/ 558148 w 558148"/>
                                <a:gd name="connsiteY6" fmla="*/ 30480 h 282454"/>
                                <a:gd name="connsiteX7" fmla="*/ 535288 w 558148"/>
                                <a:gd name="connsiteY7" fmla="*/ 0 h 282454"/>
                                <a:gd name="connsiteX8" fmla="*/ 466708 w 558148"/>
                                <a:gd name="connsiteY8" fmla="*/ 0 h 282454"/>
                                <a:gd name="connsiteX9" fmla="*/ 192388 w 558148"/>
                                <a:gd name="connsiteY9" fmla="*/ 45720 h 282454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58148"/>
                                <a:gd name="connsiteY0" fmla="*/ 50529 h 287263"/>
                                <a:gd name="connsiteX1" fmla="*/ 17128 w 558148"/>
                                <a:gd name="connsiteY1" fmla="*/ 126729 h 287263"/>
                                <a:gd name="connsiteX2" fmla="*/ 24748 w 558148"/>
                                <a:gd name="connsiteY2" fmla="*/ 256269 h 287263"/>
                                <a:gd name="connsiteX3" fmla="*/ 177148 w 558148"/>
                                <a:gd name="connsiteY3" fmla="*/ 286749 h 287263"/>
                                <a:gd name="connsiteX4" fmla="*/ 344788 w 558148"/>
                                <a:gd name="connsiteY4" fmla="*/ 241029 h 287263"/>
                                <a:gd name="connsiteX5" fmla="*/ 512428 w 558148"/>
                                <a:gd name="connsiteY5" fmla="*/ 119109 h 287263"/>
                                <a:gd name="connsiteX6" fmla="*/ 558148 w 558148"/>
                                <a:gd name="connsiteY6" fmla="*/ 35289 h 287263"/>
                                <a:gd name="connsiteX7" fmla="*/ 535288 w 558148"/>
                                <a:gd name="connsiteY7" fmla="*/ 4809 h 287263"/>
                                <a:gd name="connsiteX8" fmla="*/ 466708 w 558148"/>
                                <a:gd name="connsiteY8" fmla="*/ 4809 h 287263"/>
                                <a:gd name="connsiteX9" fmla="*/ 192388 w 558148"/>
                                <a:gd name="connsiteY9" fmla="*/ 50529 h 287263"/>
                                <a:gd name="connsiteX0" fmla="*/ 192388 w 564165"/>
                                <a:gd name="connsiteY0" fmla="*/ 50529 h 287263"/>
                                <a:gd name="connsiteX1" fmla="*/ 17128 w 564165"/>
                                <a:gd name="connsiteY1" fmla="*/ 126729 h 287263"/>
                                <a:gd name="connsiteX2" fmla="*/ 24748 w 564165"/>
                                <a:gd name="connsiteY2" fmla="*/ 256269 h 287263"/>
                                <a:gd name="connsiteX3" fmla="*/ 177148 w 564165"/>
                                <a:gd name="connsiteY3" fmla="*/ 286749 h 287263"/>
                                <a:gd name="connsiteX4" fmla="*/ 344788 w 564165"/>
                                <a:gd name="connsiteY4" fmla="*/ 241029 h 287263"/>
                                <a:gd name="connsiteX5" fmla="*/ 545402 w 564165"/>
                                <a:gd name="connsiteY5" fmla="*/ 181894 h 287263"/>
                                <a:gd name="connsiteX6" fmla="*/ 558148 w 564165"/>
                                <a:gd name="connsiteY6" fmla="*/ 35289 h 287263"/>
                                <a:gd name="connsiteX7" fmla="*/ 535288 w 564165"/>
                                <a:gd name="connsiteY7" fmla="*/ 4809 h 287263"/>
                                <a:gd name="connsiteX8" fmla="*/ 466708 w 564165"/>
                                <a:gd name="connsiteY8" fmla="*/ 4809 h 287263"/>
                                <a:gd name="connsiteX9" fmla="*/ 192388 w 564165"/>
                                <a:gd name="connsiteY9" fmla="*/ 50529 h 287263"/>
                                <a:gd name="connsiteX0" fmla="*/ 192388 w 564165"/>
                                <a:gd name="connsiteY0" fmla="*/ 50529 h 310225"/>
                                <a:gd name="connsiteX1" fmla="*/ 17128 w 564165"/>
                                <a:gd name="connsiteY1" fmla="*/ 126729 h 310225"/>
                                <a:gd name="connsiteX2" fmla="*/ 24748 w 564165"/>
                                <a:gd name="connsiteY2" fmla="*/ 256269 h 310225"/>
                                <a:gd name="connsiteX3" fmla="*/ 177148 w 564165"/>
                                <a:gd name="connsiteY3" fmla="*/ 286749 h 310225"/>
                                <a:gd name="connsiteX4" fmla="*/ 338214 w 564165"/>
                                <a:gd name="connsiteY4" fmla="*/ 301010 h 310225"/>
                                <a:gd name="connsiteX5" fmla="*/ 545402 w 564165"/>
                                <a:gd name="connsiteY5" fmla="*/ 181894 h 310225"/>
                                <a:gd name="connsiteX6" fmla="*/ 558148 w 564165"/>
                                <a:gd name="connsiteY6" fmla="*/ 35289 h 310225"/>
                                <a:gd name="connsiteX7" fmla="*/ 535288 w 564165"/>
                                <a:gd name="connsiteY7" fmla="*/ 4809 h 310225"/>
                                <a:gd name="connsiteX8" fmla="*/ 466708 w 564165"/>
                                <a:gd name="connsiteY8" fmla="*/ 4809 h 310225"/>
                                <a:gd name="connsiteX9" fmla="*/ 192388 w 564165"/>
                                <a:gd name="connsiteY9" fmla="*/ 50529 h 310225"/>
                                <a:gd name="connsiteX0" fmla="*/ 192388 w 564165"/>
                                <a:gd name="connsiteY0" fmla="*/ 50529 h 353427"/>
                                <a:gd name="connsiteX1" fmla="*/ 17128 w 564165"/>
                                <a:gd name="connsiteY1" fmla="*/ 126729 h 353427"/>
                                <a:gd name="connsiteX2" fmla="*/ 24748 w 564165"/>
                                <a:gd name="connsiteY2" fmla="*/ 256269 h 353427"/>
                                <a:gd name="connsiteX3" fmla="*/ 193096 w 564165"/>
                                <a:gd name="connsiteY3" fmla="*/ 353363 h 353427"/>
                                <a:gd name="connsiteX4" fmla="*/ 338214 w 564165"/>
                                <a:gd name="connsiteY4" fmla="*/ 301010 h 353427"/>
                                <a:gd name="connsiteX5" fmla="*/ 545402 w 564165"/>
                                <a:gd name="connsiteY5" fmla="*/ 181894 h 353427"/>
                                <a:gd name="connsiteX6" fmla="*/ 558148 w 564165"/>
                                <a:gd name="connsiteY6" fmla="*/ 35289 h 353427"/>
                                <a:gd name="connsiteX7" fmla="*/ 535288 w 564165"/>
                                <a:gd name="connsiteY7" fmla="*/ 4809 h 353427"/>
                                <a:gd name="connsiteX8" fmla="*/ 466708 w 564165"/>
                                <a:gd name="connsiteY8" fmla="*/ 4809 h 353427"/>
                                <a:gd name="connsiteX9" fmla="*/ 192388 w 564165"/>
                                <a:gd name="connsiteY9" fmla="*/ 50529 h 353427"/>
                                <a:gd name="connsiteX0" fmla="*/ 183456 w 555233"/>
                                <a:gd name="connsiteY0" fmla="*/ 50529 h 359674"/>
                                <a:gd name="connsiteX1" fmla="*/ 8196 w 555233"/>
                                <a:gd name="connsiteY1" fmla="*/ 126729 h 359674"/>
                                <a:gd name="connsiteX2" fmla="*/ 57235 w 555233"/>
                                <a:gd name="connsiteY2" fmla="*/ 343912 h 359674"/>
                                <a:gd name="connsiteX3" fmla="*/ 184164 w 555233"/>
                                <a:gd name="connsiteY3" fmla="*/ 353363 h 359674"/>
                                <a:gd name="connsiteX4" fmla="*/ 329282 w 555233"/>
                                <a:gd name="connsiteY4" fmla="*/ 301010 h 359674"/>
                                <a:gd name="connsiteX5" fmla="*/ 536470 w 555233"/>
                                <a:gd name="connsiteY5" fmla="*/ 181894 h 359674"/>
                                <a:gd name="connsiteX6" fmla="*/ 549216 w 555233"/>
                                <a:gd name="connsiteY6" fmla="*/ 35289 h 359674"/>
                                <a:gd name="connsiteX7" fmla="*/ 526356 w 555233"/>
                                <a:gd name="connsiteY7" fmla="*/ 4809 h 359674"/>
                                <a:gd name="connsiteX8" fmla="*/ 457776 w 555233"/>
                                <a:gd name="connsiteY8" fmla="*/ 4809 h 359674"/>
                                <a:gd name="connsiteX9" fmla="*/ 183456 w 555233"/>
                                <a:gd name="connsiteY9" fmla="*/ 50529 h 359674"/>
                                <a:gd name="connsiteX0" fmla="*/ 141822 w 513599"/>
                                <a:gd name="connsiteY0" fmla="*/ 50529 h 359674"/>
                                <a:gd name="connsiteX1" fmla="*/ 26880 w 513599"/>
                                <a:gd name="connsiteY1" fmla="*/ 162601 h 359674"/>
                                <a:gd name="connsiteX2" fmla="*/ 15601 w 513599"/>
                                <a:gd name="connsiteY2" fmla="*/ 343912 h 359674"/>
                                <a:gd name="connsiteX3" fmla="*/ 142530 w 513599"/>
                                <a:gd name="connsiteY3" fmla="*/ 353363 h 359674"/>
                                <a:gd name="connsiteX4" fmla="*/ 287648 w 513599"/>
                                <a:gd name="connsiteY4" fmla="*/ 301010 h 359674"/>
                                <a:gd name="connsiteX5" fmla="*/ 494836 w 513599"/>
                                <a:gd name="connsiteY5" fmla="*/ 181894 h 359674"/>
                                <a:gd name="connsiteX6" fmla="*/ 507582 w 513599"/>
                                <a:gd name="connsiteY6" fmla="*/ 35289 h 359674"/>
                                <a:gd name="connsiteX7" fmla="*/ 484722 w 513599"/>
                                <a:gd name="connsiteY7" fmla="*/ 4809 h 359674"/>
                                <a:gd name="connsiteX8" fmla="*/ 416142 w 513599"/>
                                <a:gd name="connsiteY8" fmla="*/ 4809 h 359674"/>
                                <a:gd name="connsiteX9" fmla="*/ 141822 w 513599"/>
                                <a:gd name="connsiteY9" fmla="*/ 50529 h 359674"/>
                                <a:gd name="connsiteX0" fmla="*/ 141822 w 530249"/>
                                <a:gd name="connsiteY0" fmla="*/ 50529 h 359674"/>
                                <a:gd name="connsiteX1" fmla="*/ 26880 w 530249"/>
                                <a:gd name="connsiteY1" fmla="*/ 162601 h 359674"/>
                                <a:gd name="connsiteX2" fmla="*/ 15601 w 530249"/>
                                <a:gd name="connsiteY2" fmla="*/ 343912 h 359674"/>
                                <a:gd name="connsiteX3" fmla="*/ 142530 w 530249"/>
                                <a:gd name="connsiteY3" fmla="*/ 353363 h 359674"/>
                                <a:gd name="connsiteX4" fmla="*/ 287648 w 530249"/>
                                <a:gd name="connsiteY4" fmla="*/ 301010 h 359674"/>
                                <a:gd name="connsiteX5" fmla="*/ 517239 w 530249"/>
                                <a:gd name="connsiteY5" fmla="*/ 238247 h 359674"/>
                                <a:gd name="connsiteX6" fmla="*/ 507582 w 530249"/>
                                <a:gd name="connsiteY6" fmla="*/ 35289 h 359674"/>
                                <a:gd name="connsiteX7" fmla="*/ 484722 w 530249"/>
                                <a:gd name="connsiteY7" fmla="*/ 4809 h 359674"/>
                                <a:gd name="connsiteX8" fmla="*/ 416142 w 530249"/>
                                <a:gd name="connsiteY8" fmla="*/ 4809 h 359674"/>
                                <a:gd name="connsiteX9" fmla="*/ 141822 w 530249"/>
                                <a:gd name="connsiteY9" fmla="*/ 50529 h 35967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50529 h 372204"/>
                                <a:gd name="connsiteX1" fmla="*/ 26880 w 530248"/>
                                <a:gd name="connsiteY1" fmla="*/ 162601 h 372204"/>
                                <a:gd name="connsiteX2" fmla="*/ 15601 w 530248"/>
                                <a:gd name="connsiteY2" fmla="*/ 343912 h 372204"/>
                                <a:gd name="connsiteX3" fmla="*/ 142530 w 530248"/>
                                <a:gd name="connsiteY3" fmla="*/ 353363 h 372204"/>
                                <a:gd name="connsiteX4" fmla="*/ 292200 w 530248"/>
                                <a:gd name="connsiteY4" fmla="*/ 362116 h 372204"/>
                                <a:gd name="connsiteX5" fmla="*/ 517239 w 530248"/>
                                <a:gd name="connsiteY5" fmla="*/ 238247 h 372204"/>
                                <a:gd name="connsiteX6" fmla="*/ 507582 w 530248"/>
                                <a:gd name="connsiteY6" fmla="*/ 35289 h 372204"/>
                                <a:gd name="connsiteX7" fmla="*/ 484722 w 530248"/>
                                <a:gd name="connsiteY7" fmla="*/ 4809 h 372204"/>
                                <a:gd name="connsiteX8" fmla="*/ 416142 w 530248"/>
                                <a:gd name="connsiteY8" fmla="*/ 4809 h 372204"/>
                                <a:gd name="connsiteX9" fmla="*/ 141822 w 530248"/>
                                <a:gd name="connsiteY9" fmla="*/ 50529 h 372204"/>
                                <a:gd name="connsiteX0" fmla="*/ 141822 w 530248"/>
                                <a:gd name="connsiteY0" fmla="*/ 47613 h 369288"/>
                                <a:gd name="connsiteX1" fmla="*/ 26880 w 530248"/>
                                <a:gd name="connsiteY1" fmla="*/ 159685 h 369288"/>
                                <a:gd name="connsiteX2" fmla="*/ 15601 w 530248"/>
                                <a:gd name="connsiteY2" fmla="*/ 340996 h 369288"/>
                                <a:gd name="connsiteX3" fmla="*/ 142530 w 530248"/>
                                <a:gd name="connsiteY3" fmla="*/ 350447 h 369288"/>
                                <a:gd name="connsiteX4" fmla="*/ 292200 w 530248"/>
                                <a:gd name="connsiteY4" fmla="*/ 359200 h 369288"/>
                                <a:gd name="connsiteX5" fmla="*/ 517239 w 530248"/>
                                <a:gd name="connsiteY5" fmla="*/ 235331 h 369288"/>
                                <a:gd name="connsiteX6" fmla="*/ 507582 w 530248"/>
                                <a:gd name="connsiteY6" fmla="*/ 32373 h 369288"/>
                                <a:gd name="connsiteX7" fmla="*/ 416142 w 530248"/>
                                <a:gd name="connsiteY7" fmla="*/ 1893 h 369288"/>
                                <a:gd name="connsiteX8" fmla="*/ 141822 w 530248"/>
                                <a:gd name="connsiteY8" fmla="*/ 47613 h 369288"/>
                                <a:gd name="connsiteX0" fmla="*/ 138197 w 526623"/>
                                <a:gd name="connsiteY0" fmla="*/ 47613 h 376324"/>
                                <a:gd name="connsiteX1" fmla="*/ 23255 w 526623"/>
                                <a:gd name="connsiteY1" fmla="*/ 159685 h 376324"/>
                                <a:gd name="connsiteX2" fmla="*/ 11976 w 526623"/>
                                <a:gd name="connsiteY2" fmla="*/ 340996 h 376324"/>
                                <a:gd name="connsiteX3" fmla="*/ 132119 w 526623"/>
                                <a:gd name="connsiteY3" fmla="*/ 374396 h 376324"/>
                                <a:gd name="connsiteX4" fmla="*/ 288575 w 526623"/>
                                <a:gd name="connsiteY4" fmla="*/ 359200 h 376324"/>
                                <a:gd name="connsiteX5" fmla="*/ 513614 w 526623"/>
                                <a:gd name="connsiteY5" fmla="*/ 235331 h 376324"/>
                                <a:gd name="connsiteX6" fmla="*/ 503957 w 526623"/>
                                <a:gd name="connsiteY6" fmla="*/ 32373 h 376324"/>
                                <a:gd name="connsiteX7" fmla="*/ 412517 w 526623"/>
                                <a:gd name="connsiteY7" fmla="*/ 1893 h 376324"/>
                                <a:gd name="connsiteX8" fmla="*/ 138197 w 526623"/>
                                <a:gd name="connsiteY8" fmla="*/ 47613 h 376324"/>
                                <a:gd name="connsiteX0" fmla="*/ 427441 w 541547"/>
                                <a:gd name="connsiteY0" fmla="*/ 10181 h 384611"/>
                                <a:gd name="connsiteX1" fmla="*/ 38179 w 541547"/>
                                <a:gd name="connsiteY1" fmla="*/ 167973 h 384611"/>
                                <a:gd name="connsiteX2" fmla="*/ 26900 w 541547"/>
                                <a:gd name="connsiteY2" fmla="*/ 349284 h 384611"/>
                                <a:gd name="connsiteX3" fmla="*/ 147043 w 541547"/>
                                <a:gd name="connsiteY3" fmla="*/ 382684 h 384611"/>
                                <a:gd name="connsiteX4" fmla="*/ 303499 w 541547"/>
                                <a:gd name="connsiteY4" fmla="*/ 367488 h 384611"/>
                                <a:gd name="connsiteX5" fmla="*/ 528538 w 541547"/>
                                <a:gd name="connsiteY5" fmla="*/ 243619 h 384611"/>
                                <a:gd name="connsiteX6" fmla="*/ 518881 w 541547"/>
                                <a:gd name="connsiteY6" fmla="*/ 40661 h 384611"/>
                                <a:gd name="connsiteX7" fmla="*/ 427441 w 541547"/>
                                <a:gd name="connsiteY7" fmla="*/ 10181 h 384611"/>
                                <a:gd name="connsiteX0" fmla="*/ 400497 w 514603"/>
                                <a:gd name="connsiteY0" fmla="*/ 10183 h 384613"/>
                                <a:gd name="connsiteX1" fmla="*/ 11235 w 514603"/>
                                <a:gd name="connsiteY1" fmla="*/ 167975 h 384613"/>
                                <a:gd name="connsiteX2" fmla="*/ 120099 w 514603"/>
                                <a:gd name="connsiteY2" fmla="*/ 382686 h 384613"/>
                                <a:gd name="connsiteX3" fmla="*/ 276555 w 514603"/>
                                <a:gd name="connsiteY3" fmla="*/ 367490 h 384613"/>
                                <a:gd name="connsiteX4" fmla="*/ 501594 w 514603"/>
                                <a:gd name="connsiteY4" fmla="*/ 243621 h 384613"/>
                                <a:gd name="connsiteX5" fmla="*/ 491937 w 514603"/>
                                <a:gd name="connsiteY5" fmla="*/ 40663 h 384613"/>
                                <a:gd name="connsiteX6" fmla="*/ 400497 w 514603"/>
                                <a:gd name="connsiteY6" fmla="*/ 10183 h 384613"/>
                                <a:gd name="connsiteX0" fmla="*/ 400497 w 514603"/>
                                <a:gd name="connsiteY0" fmla="*/ 10183 h 383828"/>
                                <a:gd name="connsiteX1" fmla="*/ 11235 w 514603"/>
                                <a:gd name="connsiteY1" fmla="*/ 167975 h 383828"/>
                                <a:gd name="connsiteX2" fmla="*/ 120099 w 514603"/>
                                <a:gd name="connsiteY2" fmla="*/ 382686 h 383828"/>
                                <a:gd name="connsiteX3" fmla="*/ 501594 w 514603"/>
                                <a:gd name="connsiteY3" fmla="*/ 243621 h 383828"/>
                                <a:gd name="connsiteX4" fmla="*/ 491937 w 514603"/>
                                <a:gd name="connsiteY4" fmla="*/ 40663 h 383828"/>
                                <a:gd name="connsiteX5" fmla="*/ 400497 w 514603"/>
                                <a:gd name="connsiteY5" fmla="*/ 10183 h 383828"/>
                                <a:gd name="connsiteX0" fmla="*/ 400497 w 517116"/>
                                <a:gd name="connsiteY0" fmla="*/ 1010 h 374655"/>
                                <a:gd name="connsiteX1" fmla="*/ 11235 w 517116"/>
                                <a:gd name="connsiteY1" fmla="*/ 158802 h 374655"/>
                                <a:gd name="connsiteX2" fmla="*/ 120099 w 517116"/>
                                <a:gd name="connsiteY2" fmla="*/ 373513 h 374655"/>
                                <a:gd name="connsiteX3" fmla="*/ 501594 w 517116"/>
                                <a:gd name="connsiteY3" fmla="*/ 234448 h 374655"/>
                                <a:gd name="connsiteX4" fmla="*/ 400497 w 517116"/>
                                <a:gd name="connsiteY4" fmla="*/ 1010 h 374655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517116" h="374655">
                                  <a:moveTo>
                                    <a:pt x="400497" y="1010"/>
                                  </a:moveTo>
                                  <a:cubicBezTo>
                                    <a:pt x="318771" y="-11598"/>
                                    <a:pt x="57968" y="96718"/>
                                    <a:pt x="11235" y="158802"/>
                                  </a:cubicBezTo>
                                  <a:cubicBezTo>
                                    <a:pt x="-35498" y="220886"/>
                                    <a:pt x="75879" y="340261"/>
                                    <a:pt x="120099" y="373513"/>
                                  </a:cubicBezTo>
                                  <a:cubicBezTo>
                                    <a:pt x="201826" y="386121"/>
                                    <a:pt x="439621" y="291452"/>
                                    <a:pt x="501594" y="234448"/>
                                  </a:cubicBezTo>
                                  <a:cubicBezTo>
                                    <a:pt x="548327" y="172364"/>
                                    <a:pt x="482224" y="13618"/>
                                    <a:pt x="400497" y="1010"/>
                                  </a:cubicBezTo>
                                  <a:close/>
                                </a:path>
                              </a:pathLst>
                            </a:custGeom>
                            <a:grpFill/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anchor="ctr"/>
                            <a:lstStyle/>
                            <a:p>
                              <a:pPr algn="ctr">
                                <a:defRPr/>
                              </a:pPr>
                              <a:endParaRPr lang="pt-BR" sz="110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</p:grpSp>
                    </p:grpSp>
                  </p:grpSp>
                  <p:sp>
                    <p:nvSpPr>
                      <p:cNvPr id="1013" name="DF"/>
                      <p:cNvSpPr/>
                      <p:nvPr/>
                    </p:nvSpPr>
                    <p:spPr bwMode="auto">
                      <a:xfrm rot="10800000">
                        <a:off x="5385146" y="2771919"/>
                        <a:ext cx="95080" cy="72352"/>
                      </a:xfrm>
                      <a:custGeom>
                        <a:avLst/>
                        <a:gdLst>
                          <a:gd name="connsiteX0" fmla="*/ 0 w 92922"/>
                          <a:gd name="connsiteY0" fmla="*/ 38626 h 77251"/>
                          <a:gd name="connsiteX1" fmla="*/ 46461 w 92922"/>
                          <a:gd name="connsiteY1" fmla="*/ 0 h 77251"/>
                          <a:gd name="connsiteX2" fmla="*/ 92922 w 92922"/>
                          <a:gd name="connsiteY2" fmla="*/ 38626 h 77251"/>
                          <a:gd name="connsiteX3" fmla="*/ 46461 w 92922"/>
                          <a:gd name="connsiteY3" fmla="*/ 77252 h 77251"/>
                          <a:gd name="connsiteX4" fmla="*/ 0 w 92922"/>
                          <a:gd name="connsiteY4" fmla="*/ 38626 h 77251"/>
                          <a:gd name="connsiteX0" fmla="*/ 2773 w 95695"/>
                          <a:gd name="connsiteY0" fmla="*/ 46630 h 85256"/>
                          <a:gd name="connsiteX1" fmla="*/ 10043 w 95695"/>
                          <a:gd name="connsiteY1" fmla="*/ 3241 h 85256"/>
                          <a:gd name="connsiteX2" fmla="*/ 49234 w 95695"/>
                          <a:gd name="connsiteY2" fmla="*/ 8004 h 85256"/>
                          <a:gd name="connsiteX3" fmla="*/ 95695 w 95695"/>
                          <a:gd name="connsiteY3" fmla="*/ 46630 h 85256"/>
                          <a:gd name="connsiteX4" fmla="*/ 49234 w 95695"/>
                          <a:gd name="connsiteY4" fmla="*/ 85256 h 85256"/>
                          <a:gd name="connsiteX5" fmla="*/ 2773 w 95695"/>
                          <a:gd name="connsiteY5" fmla="*/ 46630 h 85256"/>
                          <a:gd name="connsiteX0" fmla="*/ 2217 w 98314"/>
                          <a:gd name="connsiteY0" fmla="*/ 62505 h 85631"/>
                          <a:gd name="connsiteX1" fmla="*/ 12662 w 98314"/>
                          <a:gd name="connsiteY1" fmla="*/ 3241 h 85631"/>
                          <a:gd name="connsiteX2" fmla="*/ 51853 w 98314"/>
                          <a:gd name="connsiteY2" fmla="*/ 8004 h 85631"/>
                          <a:gd name="connsiteX3" fmla="*/ 98314 w 98314"/>
                          <a:gd name="connsiteY3" fmla="*/ 46630 h 85631"/>
                          <a:gd name="connsiteX4" fmla="*/ 51853 w 98314"/>
                          <a:gd name="connsiteY4" fmla="*/ 85256 h 85631"/>
                          <a:gd name="connsiteX5" fmla="*/ 2217 w 98314"/>
                          <a:gd name="connsiteY5" fmla="*/ 62505 h 85631"/>
                          <a:gd name="connsiteX0" fmla="*/ 2659 w 98756"/>
                          <a:gd name="connsiteY0" fmla="*/ 62505 h 69284"/>
                          <a:gd name="connsiteX1" fmla="*/ 13104 w 98756"/>
                          <a:gd name="connsiteY1" fmla="*/ 3241 h 69284"/>
                          <a:gd name="connsiteX2" fmla="*/ 52295 w 98756"/>
                          <a:gd name="connsiteY2" fmla="*/ 8004 h 69284"/>
                          <a:gd name="connsiteX3" fmla="*/ 98756 w 98756"/>
                          <a:gd name="connsiteY3" fmla="*/ 46630 h 69284"/>
                          <a:gd name="connsiteX4" fmla="*/ 58645 w 98756"/>
                          <a:gd name="connsiteY4" fmla="*/ 66206 h 69284"/>
                          <a:gd name="connsiteX5" fmla="*/ 2659 w 98756"/>
                          <a:gd name="connsiteY5" fmla="*/ 62505 h 69284"/>
                          <a:gd name="connsiteX0" fmla="*/ 2659 w 98756"/>
                          <a:gd name="connsiteY0" fmla="*/ 62150 h 69531"/>
                          <a:gd name="connsiteX1" fmla="*/ 13104 w 98756"/>
                          <a:gd name="connsiteY1" fmla="*/ 2886 h 69531"/>
                          <a:gd name="connsiteX2" fmla="*/ 52295 w 98756"/>
                          <a:gd name="connsiteY2" fmla="*/ 7649 h 69531"/>
                          <a:gd name="connsiteX3" fmla="*/ 98756 w 98756"/>
                          <a:gd name="connsiteY3" fmla="*/ 36750 h 69531"/>
                          <a:gd name="connsiteX4" fmla="*/ 58645 w 98756"/>
                          <a:gd name="connsiteY4" fmla="*/ 65851 h 69531"/>
                          <a:gd name="connsiteX5" fmla="*/ 2659 w 98756"/>
                          <a:gd name="connsiteY5" fmla="*/ 62150 h 69531"/>
                          <a:gd name="connsiteX0" fmla="*/ 2659 w 98756"/>
                          <a:gd name="connsiteY0" fmla="*/ 69247 h 76628"/>
                          <a:gd name="connsiteX1" fmla="*/ 13104 w 98756"/>
                          <a:gd name="connsiteY1" fmla="*/ 9983 h 76628"/>
                          <a:gd name="connsiteX2" fmla="*/ 58645 w 98756"/>
                          <a:gd name="connsiteY2" fmla="*/ 2046 h 76628"/>
                          <a:gd name="connsiteX3" fmla="*/ 98756 w 98756"/>
                          <a:gd name="connsiteY3" fmla="*/ 43847 h 76628"/>
                          <a:gd name="connsiteX4" fmla="*/ 58645 w 98756"/>
                          <a:gd name="connsiteY4" fmla="*/ 72948 h 76628"/>
                          <a:gd name="connsiteX5" fmla="*/ 2659 w 98756"/>
                          <a:gd name="connsiteY5" fmla="*/ 69247 h 76628"/>
                          <a:gd name="connsiteX0" fmla="*/ 12211 w 108308"/>
                          <a:gd name="connsiteY0" fmla="*/ 72519 h 80420"/>
                          <a:gd name="connsiteX1" fmla="*/ 3606 w 108308"/>
                          <a:gd name="connsiteY1" fmla="*/ 4803 h 80420"/>
                          <a:gd name="connsiteX2" fmla="*/ 68197 w 108308"/>
                          <a:gd name="connsiteY2" fmla="*/ 5318 h 80420"/>
                          <a:gd name="connsiteX3" fmla="*/ 108308 w 108308"/>
                          <a:gd name="connsiteY3" fmla="*/ 47119 h 80420"/>
                          <a:gd name="connsiteX4" fmla="*/ 68197 w 108308"/>
                          <a:gd name="connsiteY4" fmla="*/ 76220 h 80420"/>
                          <a:gd name="connsiteX5" fmla="*/ 12211 w 108308"/>
                          <a:gd name="connsiteY5" fmla="*/ 72519 h 80420"/>
                          <a:gd name="connsiteX0" fmla="*/ 2818 w 127490"/>
                          <a:gd name="connsiteY0" fmla="*/ 76745 h 83125"/>
                          <a:gd name="connsiteX1" fmla="*/ 22788 w 127490"/>
                          <a:gd name="connsiteY1" fmla="*/ 4803 h 83125"/>
                          <a:gd name="connsiteX2" fmla="*/ 87379 w 127490"/>
                          <a:gd name="connsiteY2" fmla="*/ 5318 h 83125"/>
                          <a:gd name="connsiteX3" fmla="*/ 127490 w 127490"/>
                          <a:gd name="connsiteY3" fmla="*/ 47119 h 83125"/>
                          <a:gd name="connsiteX4" fmla="*/ 87379 w 127490"/>
                          <a:gd name="connsiteY4" fmla="*/ 76220 h 83125"/>
                          <a:gd name="connsiteX5" fmla="*/ 2818 w 127490"/>
                          <a:gd name="connsiteY5" fmla="*/ 76745 h 83125"/>
                          <a:gd name="connsiteX0" fmla="*/ 4020 w 128692"/>
                          <a:gd name="connsiteY0" fmla="*/ 76745 h 85175"/>
                          <a:gd name="connsiteX1" fmla="*/ 23990 w 128692"/>
                          <a:gd name="connsiteY1" fmla="*/ 4803 h 85175"/>
                          <a:gd name="connsiteX2" fmla="*/ 88581 w 128692"/>
                          <a:gd name="connsiteY2" fmla="*/ 5318 h 85175"/>
                          <a:gd name="connsiteX3" fmla="*/ 128692 w 128692"/>
                          <a:gd name="connsiteY3" fmla="*/ 47119 h 85175"/>
                          <a:gd name="connsiteX4" fmla="*/ 107631 w 128692"/>
                          <a:gd name="connsiteY4" fmla="*/ 80446 h 85175"/>
                          <a:gd name="connsiteX5" fmla="*/ 4020 w 128692"/>
                          <a:gd name="connsiteY5" fmla="*/ 76745 h 85175"/>
                          <a:gd name="connsiteX0" fmla="*/ 311 w 124983"/>
                          <a:gd name="connsiteY0" fmla="*/ 114981 h 126242"/>
                          <a:gd name="connsiteX1" fmla="*/ 71081 w 124983"/>
                          <a:gd name="connsiteY1" fmla="*/ 780 h 126242"/>
                          <a:gd name="connsiteX2" fmla="*/ 84872 w 124983"/>
                          <a:gd name="connsiteY2" fmla="*/ 43554 h 126242"/>
                          <a:gd name="connsiteX3" fmla="*/ 124983 w 124983"/>
                          <a:gd name="connsiteY3" fmla="*/ 85355 h 126242"/>
                          <a:gd name="connsiteX4" fmla="*/ 103922 w 124983"/>
                          <a:gd name="connsiteY4" fmla="*/ 118682 h 126242"/>
                          <a:gd name="connsiteX5" fmla="*/ 311 w 124983"/>
                          <a:gd name="connsiteY5" fmla="*/ 114981 h 126242"/>
                          <a:gd name="connsiteX0" fmla="*/ 3123 w 127795"/>
                          <a:gd name="connsiteY0" fmla="*/ 136754 h 149197"/>
                          <a:gd name="connsiteX1" fmla="*/ 31136 w 127795"/>
                          <a:gd name="connsiteY1" fmla="*/ 5728 h 149197"/>
                          <a:gd name="connsiteX2" fmla="*/ 73893 w 127795"/>
                          <a:gd name="connsiteY2" fmla="*/ 22553 h 149197"/>
                          <a:gd name="connsiteX3" fmla="*/ 87684 w 127795"/>
                          <a:gd name="connsiteY3" fmla="*/ 65327 h 149197"/>
                          <a:gd name="connsiteX4" fmla="*/ 127795 w 127795"/>
                          <a:gd name="connsiteY4" fmla="*/ 107128 h 149197"/>
                          <a:gd name="connsiteX5" fmla="*/ 106734 w 127795"/>
                          <a:gd name="connsiteY5" fmla="*/ 140455 h 149197"/>
                          <a:gd name="connsiteX6" fmla="*/ 3123 w 127795"/>
                          <a:gd name="connsiteY6" fmla="*/ 136754 h 149197"/>
                          <a:gd name="connsiteX0" fmla="*/ 9048 w 133720"/>
                          <a:gd name="connsiteY0" fmla="*/ 185654 h 201733"/>
                          <a:gd name="connsiteX1" fmla="*/ 8486 w 133720"/>
                          <a:gd name="connsiteY1" fmla="*/ 3916 h 201733"/>
                          <a:gd name="connsiteX2" fmla="*/ 37061 w 133720"/>
                          <a:gd name="connsiteY2" fmla="*/ 54628 h 201733"/>
                          <a:gd name="connsiteX3" fmla="*/ 79818 w 133720"/>
                          <a:gd name="connsiteY3" fmla="*/ 71453 h 201733"/>
                          <a:gd name="connsiteX4" fmla="*/ 93609 w 133720"/>
                          <a:gd name="connsiteY4" fmla="*/ 114227 h 201733"/>
                          <a:gd name="connsiteX5" fmla="*/ 133720 w 133720"/>
                          <a:gd name="connsiteY5" fmla="*/ 156028 h 201733"/>
                          <a:gd name="connsiteX6" fmla="*/ 112659 w 133720"/>
                          <a:gd name="connsiteY6" fmla="*/ 189355 h 201733"/>
                          <a:gd name="connsiteX7" fmla="*/ 9048 w 133720"/>
                          <a:gd name="connsiteY7" fmla="*/ 185654 h 201733"/>
                          <a:gd name="connsiteX0" fmla="*/ 9048 w 133720"/>
                          <a:gd name="connsiteY0" fmla="*/ 192718 h 208797"/>
                          <a:gd name="connsiteX1" fmla="*/ 8486 w 133720"/>
                          <a:gd name="connsiteY1" fmla="*/ 10980 h 208797"/>
                          <a:gd name="connsiteX2" fmla="*/ 37061 w 133720"/>
                          <a:gd name="connsiteY2" fmla="*/ 19432 h 208797"/>
                          <a:gd name="connsiteX3" fmla="*/ 37061 w 133720"/>
                          <a:gd name="connsiteY3" fmla="*/ 61692 h 208797"/>
                          <a:gd name="connsiteX4" fmla="*/ 79818 w 133720"/>
                          <a:gd name="connsiteY4" fmla="*/ 78517 h 208797"/>
                          <a:gd name="connsiteX5" fmla="*/ 93609 w 133720"/>
                          <a:gd name="connsiteY5" fmla="*/ 121291 h 208797"/>
                          <a:gd name="connsiteX6" fmla="*/ 133720 w 133720"/>
                          <a:gd name="connsiteY6" fmla="*/ 163092 h 208797"/>
                          <a:gd name="connsiteX7" fmla="*/ 112659 w 133720"/>
                          <a:gd name="connsiteY7" fmla="*/ 196419 h 208797"/>
                          <a:gd name="connsiteX8" fmla="*/ 9048 w 133720"/>
                          <a:gd name="connsiteY8" fmla="*/ 192718 h 208797"/>
                          <a:gd name="connsiteX0" fmla="*/ 33011 w 125933"/>
                          <a:gd name="connsiteY0" fmla="*/ 142007 h 196916"/>
                          <a:gd name="connsiteX1" fmla="*/ 699 w 125933"/>
                          <a:gd name="connsiteY1" fmla="*/ 10980 h 196916"/>
                          <a:gd name="connsiteX2" fmla="*/ 29274 w 125933"/>
                          <a:gd name="connsiteY2" fmla="*/ 19432 h 196916"/>
                          <a:gd name="connsiteX3" fmla="*/ 29274 w 125933"/>
                          <a:gd name="connsiteY3" fmla="*/ 61692 h 196916"/>
                          <a:gd name="connsiteX4" fmla="*/ 72031 w 125933"/>
                          <a:gd name="connsiteY4" fmla="*/ 78517 h 196916"/>
                          <a:gd name="connsiteX5" fmla="*/ 85822 w 125933"/>
                          <a:gd name="connsiteY5" fmla="*/ 121291 h 196916"/>
                          <a:gd name="connsiteX6" fmla="*/ 125933 w 125933"/>
                          <a:gd name="connsiteY6" fmla="*/ 163092 h 196916"/>
                          <a:gd name="connsiteX7" fmla="*/ 104872 w 125933"/>
                          <a:gd name="connsiteY7" fmla="*/ 196419 h 196916"/>
                          <a:gd name="connsiteX8" fmla="*/ 33011 w 125933"/>
                          <a:gd name="connsiteY8" fmla="*/ 142007 h 196916"/>
                          <a:gd name="connsiteX0" fmla="*/ 49204 w 142126"/>
                          <a:gd name="connsiteY0" fmla="*/ 142007 h 196916"/>
                          <a:gd name="connsiteX1" fmla="*/ 1017 w 142126"/>
                          <a:gd name="connsiteY1" fmla="*/ 61692 h 196916"/>
                          <a:gd name="connsiteX2" fmla="*/ 16892 w 142126"/>
                          <a:gd name="connsiteY2" fmla="*/ 10980 h 196916"/>
                          <a:gd name="connsiteX3" fmla="*/ 45467 w 142126"/>
                          <a:gd name="connsiteY3" fmla="*/ 19432 h 196916"/>
                          <a:gd name="connsiteX4" fmla="*/ 45467 w 142126"/>
                          <a:gd name="connsiteY4" fmla="*/ 61692 h 196916"/>
                          <a:gd name="connsiteX5" fmla="*/ 88224 w 142126"/>
                          <a:gd name="connsiteY5" fmla="*/ 78517 h 196916"/>
                          <a:gd name="connsiteX6" fmla="*/ 102015 w 142126"/>
                          <a:gd name="connsiteY6" fmla="*/ 121291 h 196916"/>
                          <a:gd name="connsiteX7" fmla="*/ 142126 w 142126"/>
                          <a:gd name="connsiteY7" fmla="*/ 163092 h 196916"/>
                          <a:gd name="connsiteX8" fmla="*/ 121065 w 142126"/>
                          <a:gd name="connsiteY8" fmla="*/ 196419 h 196916"/>
                          <a:gd name="connsiteX9" fmla="*/ 49204 w 142126"/>
                          <a:gd name="connsiteY9" fmla="*/ 142007 h 196916"/>
                          <a:gd name="connsiteX0" fmla="*/ 49204 w 142126"/>
                          <a:gd name="connsiteY0" fmla="*/ 142007 h 173263"/>
                          <a:gd name="connsiteX1" fmla="*/ 1017 w 142126"/>
                          <a:gd name="connsiteY1" fmla="*/ 61692 h 173263"/>
                          <a:gd name="connsiteX2" fmla="*/ 16892 w 142126"/>
                          <a:gd name="connsiteY2" fmla="*/ 10980 h 173263"/>
                          <a:gd name="connsiteX3" fmla="*/ 45467 w 142126"/>
                          <a:gd name="connsiteY3" fmla="*/ 19432 h 173263"/>
                          <a:gd name="connsiteX4" fmla="*/ 45467 w 142126"/>
                          <a:gd name="connsiteY4" fmla="*/ 61692 h 173263"/>
                          <a:gd name="connsiteX5" fmla="*/ 88224 w 142126"/>
                          <a:gd name="connsiteY5" fmla="*/ 78517 h 173263"/>
                          <a:gd name="connsiteX6" fmla="*/ 102015 w 142126"/>
                          <a:gd name="connsiteY6" fmla="*/ 121291 h 173263"/>
                          <a:gd name="connsiteX7" fmla="*/ 142126 w 142126"/>
                          <a:gd name="connsiteY7" fmla="*/ 163092 h 173263"/>
                          <a:gd name="connsiteX8" fmla="*/ 79790 w 142126"/>
                          <a:gd name="connsiteY8" fmla="*/ 162612 h 173263"/>
                          <a:gd name="connsiteX9" fmla="*/ 49204 w 142126"/>
                          <a:gd name="connsiteY9" fmla="*/ 142007 h 173263"/>
                          <a:gd name="connsiteX0" fmla="*/ 49204 w 110376"/>
                          <a:gd name="connsiteY0" fmla="*/ 142007 h 162833"/>
                          <a:gd name="connsiteX1" fmla="*/ 1017 w 110376"/>
                          <a:gd name="connsiteY1" fmla="*/ 61692 h 162833"/>
                          <a:gd name="connsiteX2" fmla="*/ 16892 w 110376"/>
                          <a:gd name="connsiteY2" fmla="*/ 10980 h 162833"/>
                          <a:gd name="connsiteX3" fmla="*/ 45467 w 110376"/>
                          <a:gd name="connsiteY3" fmla="*/ 19432 h 162833"/>
                          <a:gd name="connsiteX4" fmla="*/ 45467 w 110376"/>
                          <a:gd name="connsiteY4" fmla="*/ 61692 h 162833"/>
                          <a:gd name="connsiteX5" fmla="*/ 88224 w 110376"/>
                          <a:gd name="connsiteY5" fmla="*/ 78517 h 162833"/>
                          <a:gd name="connsiteX6" fmla="*/ 102015 w 110376"/>
                          <a:gd name="connsiteY6" fmla="*/ 121291 h 162833"/>
                          <a:gd name="connsiteX7" fmla="*/ 110376 w 110376"/>
                          <a:gd name="connsiteY7" fmla="*/ 133510 h 162833"/>
                          <a:gd name="connsiteX8" fmla="*/ 79790 w 110376"/>
                          <a:gd name="connsiteY8" fmla="*/ 162612 h 162833"/>
                          <a:gd name="connsiteX9" fmla="*/ 49204 w 110376"/>
                          <a:gd name="connsiteY9" fmla="*/ 142007 h 162833"/>
                          <a:gd name="connsiteX0" fmla="*/ 49204 w 110376"/>
                          <a:gd name="connsiteY0" fmla="*/ 142007 h 162833"/>
                          <a:gd name="connsiteX1" fmla="*/ 1017 w 110376"/>
                          <a:gd name="connsiteY1" fmla="*/ 61692 h 162833"/>
                          <a:gd name="connsiteX2" fmla="*/ 16892 w 110376"/>
                          <a:gd name="connsiteY2" fmla="*/ 10980 h 162833"/>
                          <a:gd name="connsiteX3" fmla="*/ 45467 w 110376"/>
                          <a:gd name="connsiteY3" fmla="*/ 19432 h 162833"/>
                          <a:gd name="connsiteX4" fmla="*/ 62136 w 110376"/>
                          <a:gd name="connsiteY4" fmla="*/ 49014 h 162833"/>
                          <a:gd name="connsiteX5" fmla="*/ 88224 w 110376"/>
                          <a:gd name="connsiteY5" fmla="*/ 78517 h 162833"/>
                          <a:gd name="connsiteX6" fmla="*/ 102015 w 110376"/>
                          <a:gd name="connsiteY6" fmla="*/ 121291 h 162833"/>
                          <a:gd name="connsiteX7" fmla="*/ 110376 w 110376"/>
                          <a:gd name="connsiteY7" fmla="*/ 133510 h 162833"/>
                          <a:gd name="connsiteX8" fmla="*/ 79790 w 110376"/>
                          <a:gd name="connsiteY8" fmla="*/ 162612 h 162833"/>
                          <a:gd name="connsiteX9" fmla="*/ 49204 w 110376"/>
                          <a:gd name="connsiteY9" fmla="*/ 142007 h 162833"/>
                          <a:gd name="connsiteX0" fmla="*/ 49204 w 105613"/>
                          <a:gd name="connsiteY0" fmla="*/ 142007 h 164051"/>
                          <a:gd name="connsiteX1" fmla="*/ 1017 w 105613"/>
                          <a:gd name="connsiteY1" fmla="*/ 61692 h 164051"/>
                          <a:gd name="connsiteX2" fmla="*/ 16892 w 105613"/>
                          <a:gd name="connsiteY2" fmla="*/ 10980 h 164051"/>
                          <a:gd name="connsiteX3" fmla="*/ 45467 w 105613"/>
                          <a:gd name="connsiteY3" fmla="*/ 19432 h 164051"/>
                          <a:gd name="connsiteX4" fmla="*/ 62136 w 105613"/>
                          <a:gd name="connsiteY4" fmla="*/ 49014 h 164051"/>
                          <a:gd name="connsiteX5" fmla="*/ 88224 w 105613"/>
                          <a:gd name="connsiteY5" fmla="*/ 78517 h 164051"/>
                          <a:gd name="connsiteX6" fmla="*/ 102015 w 105613"/>
                          <a:gd name="connsiteY6" fmla="*/ 121291 h 164051"/>
                          <a:gd name="connsiteX7" fmla="*/ 105613 w 105613"/>
                          <a:gd name="connsiteY7" fmla="*/ 111323 h 164051"/>
                          <a:gd name="connsiteX8" fmla="*/ 79790 w 105613"/>
                          <a:gd name="connsiteY8" fmla="*/ 162612 h 164051"/>
                          <a:gd name="connsiteX9" fmla="*/ 49204 w 105613"/>
                          <a:gd name="connsiteY9" fmla="*/ 142007 h 164051"/>
                          <a:gd name="connsiteX0" fmla="*/ 49204 w 105613"/>
                          <a:gd name="connsiteY0" fmla="*/ 142007 h 149974"/>
                          <a:gd name="connsiteX1" fmla="*/ 1017 w 105613"/>
                          <a:gd name="connsiteY1" fmla="*/ 61692 h 149974"/>
                          <a:gd name="connsiteX2" fmla="*/ 16892 w 105613"/>
                          <a:gd name="connsiteY2" fmla="*/ 10980 h 149974"/>
                          <a:gd name="connsiteX3" fmla="*/ 45467 w 105613"/>
                          <a:gd name="connsiteY3" fmla="*/ 19432 h 149974"/>
                          <a:gd name="connsiteX4" fmla="*/ 62136 w 105613"/>
                          <a:gd name="connsiteY4" fmla="*/ 49014 h 149974"/>
                          <a:gd name="connsiteX5" fmla="*/ 88224 w 105613"/>
                          <a:gd name="connsiteY5" fmla="*/ 78517 h 149974"/>
                          <a:gd name="connsiteX6" fmla="*/ 102015 w 105613"/>
                          <a:gd name="connsiteY6" fmla="*/ 121291 h 149974"/>
                          <a:gd name="connsiteX7" fmla="*/ 105613 w 105613"/>
                          <a:gd name="connsiteY7" fmla="*/ 111323 h 149974"/>
                          <a:gd name="connsiteX8" fmla="*/ 89315 w 105613"/>
                          <a:gd name="connsiteY8" fmla="*/ 143596 h 149974"/>
                          <a:gd name="connsiteX9" fmla="*/ 49204 w 105613"/>
                          <a:gd name="connsiteY9" fmla="*/ 142007 h 149974"/>
                          <a:gd name="connsiteX0" fmla="*/ 53967 w 105613"/>
                          <a:gd name="connsiteY0" fmla="*/ 122990 h 143862"/>
                          <a:gd name="connsiteX1" fmla="*/ 1017 w 105613"/>
                          <a:gd name="connsiteY1" fmla="*/ 61692 h 143862"/>
                          <a:gd name="connsiteX2" fmla="*/ 16892 w 105613"/>
                          <a:gd name="connsiteY2" fmla="*/ 10980 h 143862"/>
                          <a:gd name="connsiteX3" fmla="*/ 45467 w 105613"/>
                          <a:gd name="connsiteY3" fmla="*/ 19432 h 143862"/>
                          <a:gd name="connsiteX4" fmla="*/ 62136 w 105613"/>
                          <a:gd name="connsiteY4" fmla="*/ 49014 h 143862"/>
                          <a:gd name="connsiteX5" fmla="*/ 88224 w 105613"/>
                          <a:gd name="connsiteY5" fmla="*/ 78517 h 143862"/>
                          <a:gd name="connsiteX6" fmla="*/ 102015 w 105613"/>
                          <a:gd name="connsiteY6" fmla="*/ 121291 h 143862"/>
                          <a:gd name="connsiteX7" fmla="*/ 105613 w 105613"/>
                          <a:gd name="connsiteY7" fmla="*/ 111323 h 143862"/>
                          <a:gd name="connsiteX8" fmla="*/ 89315 w 105613"/>
                          <a:gd name="connsiteY8" fmla="*/ 143596 h 143862"/>
                          <a:gd name="connsiteX9" fmla="*/ 53967 w 105613"/>
                          <a:gd name="connsiteY9" fmla="*/ 122990 h 143862"/>
                          <a:gd name="connsiteX0" fmla="*/ 40087 w 91733"/>
                          <a:gd name="connsiteY0" fmla="*/ 122990 h 143903"/>
                          <a:gd name="connsiteX1" fmla="*/ 3806 w 91733"/>
                          <a:gd name="connsiteY1" fmla="*/ 52185 h 143903"/>
                          <a:gd name="connsiteX2" fmla="*/ 3012 w 91733"/>
                          <a:gd name="connsiteY2" fmla="*/ 10980 h 143903"/>
                          <a:gd name="connsiteX3" fmla="*/ 31587 w 91733"/>
                          <a:gd name="connsiteY3" fmla="*/ 19432 h 143903"/>
                          <a:gd name="connsiteX4" fmla="*/ 48256 w 91733"/>
                          <a:gd name="connsiteY4" fmla="*/ 49014 h 143903"/>
                          <a:gd name="connsiteX5" fmla="*/ 74344 w 91733"/>
                          <a:gd name="connsiteY5" fmla="*/ 78517 h 143903"/>
                          <a:gd name="connsiteX6" fmla="*/ 88135 w 91733"/>
                          <a:gd name="connsiteY6" fmla="*/ 121291 h 143903"/>
                          <a:gd name="connsiteX7" fmla="*/ 91733 w 91733"/>
                          <a:gd name="connsiteY7" fmla="*/ 111323 h 143903"/>
                          <a:gd name="connsiteX8" fmla="*/ 75435 w 91733"/>
                          <a:gd name="connsiteY8" fmla="*/ 143596 h 143903"/>
                          <a:gd name="connsiteX9" fmla="*/ 40087 w 91733"/>
                          <a:gd name="connsiteY9" fmla="*/ 122990 h 143903"/>
                          <a:gd name="connsiteX0" fmla="*/ 44850 w 91733"/>
                          <a:gd name="connsiteY0" fmla="*/ 110312 h 143597"/>
                          <a:gd name="connsiteX1" fmla="*/ 3806 w 91733"/>
                          <a:gd name="connsiteY1" fmla="*/ 52185 h 143597"/>
                          <a:gd name="connsiteX2" fmla="*/ 3012 w 91733"/>
                          <a:gd name="connsiteY2" fmla="*/ 10980 h 143597"/>
                          <a:gd name="connsiteX3" fmla="*/ 31587 w 91733"/>
                          <a:gd name="connsiteY3" fmla="*/ 19432 h 143597"/>
                          <a:gd name="connsiteX4" fmla="*/ 48256 w 91733"/>
                          <a:gd name="connsiteY4" fmla="*/ 49014 h 143597"/>
                          <a:gd name="connsiteX5" fmla="*/ 74344 w 91733"/>
                          <a:gd name="connsiteY5" fmla="*/ 78517 h 143597"/>
                          <a:gd name="connsiteX6" fmla="*/ 88135 w 91733"/>
                          <a:gd name="connsiteY6" fmla="*/ 121291 h 143597"/>
                          <a:gd name="connsiteX7" fmla="*/ 91733 w 91733"/>
                          <a:gd name="connsiteY7" fmla="*/ 111323 h 143597"/>
                          <a:gd name="connsiteX8" fmla="*/ 75435 w 91733"/>
                          <a:gd name="connsiteY8" fmla="*/ 143596 h 143597"/>
                          <a:gd name="connsiteX9" fmla="*/ 44850 w 91733"/>
                          <a:gd name="connsiteY9" fmla="*/ 110312 h 143597"/>
                          <a:gd name="connsiteX0" fmla="*/ 44850 w 91733"/>
                          <a:gd name="connsiteY0" fmla="*/ 110312 h 143597"/>
                          <a:gd name="connsiteX1" fmla="*/ 3806 w 91733"/>
                          <a:gd name="connsiteY1" fmla="*/ 52185 h 143597"/>
                          <a:gd name="connsiteX2" fmla="*/ 3012 w 91733"/>
                          <a:gd name="connsiteY2" fmla="*/ 10980 h 143597"/>
                          <a:gd name="connsiteX3" fmla="*/ 31587 w 91733"/>
                          <a:gd name="connsiteY3" fmla="*/ 19432 h 143597"/>
                          <a:gd name="connsiteX4" fmla="*/ 48256 w 91733"/>
                          <a:gd name="connsiteY4" fmla="*/ 49014 h 143597"/>
                          <a:gd name="connsiteX5" fmla="*/ 74344 w 91733"/>
                          <a:gd name="connsiteY5" fmla="*/ 78517 h 143597"/>
                          <a:gd name="connsiteX6" fmla="*/ 78610 w 91733"/>
                          <a:gd name="connsiteY6" fmla="*/ 102275 h 143597"/>
                          <a:gd name="connsiteX7" fmla="*/ 91733 w 91733"/>
                          <a:gd name="connsiteY7" fmla="*/ 111323 h 143597"/>
                          <a:gd name="connsiteX8" fmla="*/ 75435 w 91733"/>
                          <a:gd name="connsiteY8" fmla="*/ 143596 h 143597"/>
                          <a:gd name="connsiteX9" fmla="*/ 44850 w 91733"/>
                          <a:gd name="connsiteY9" fmla="*/ 110312 h 143597"/>
                          <a:gd name="connsiteX0" fmla="*/ 44850 w 91733"/>
                          <a:gd name="connsiteY0" fmla="*/ 110312 h 124433"/>
                          <a:gd name="connsiteX1" fmla="*/ 3806 w 91733"/>
                          <a:gd name="connsiteY1" fmla="*/ 52185 h 124433"/>
                          <a:gd name="connsiteX2" fmla="*/ 3012 w 91733"/>
                          <a:gd name="connsiteY2" fmla="*/ 10980 h 124433"/>
                          <a:gd name="connsiteX3" fmla="*/ 31587 w 91733"/>
                          <a:gd name="connsiteY3" fmla="*/ 19432 h 124433"/>
                          <a:gd name="connsiteX4" fmla="*/ 48256 w 91733"/>
                          <a:gd name="connsiteY4" fmla="*/ 49014 h 124433"/>
                          <a:gd name="connsiteX5" fmla="*/ 74344 w 91733"/>
                          <a:gd name="connsiteY5" fmla="*/ 78517 h 124433"/>
                          <a:gd name="connsiteX6" fmla="*/ 78610 w 91733"/>
                          <a:gd name="connsiteY6" fmla="*/ 102275 h 124433"/>
                          <a:gd name="connsiteX7" fmla="*/ 91733 w 91733"/>
                          <a:gd name="connsiteY7" fmla="*/ 111323 h 124433"/>
                          <a:gd name="connsiteX8" fmla="*/ 65910 w 91733"/>
                          <a:gd name="connsiteY8" fmla="*/ 121409 h 124433"/>
                          <a:gd name="connsiteX9" fmla="*/ 44850 w 91733"/>
                          <a:gd name="connsiteY9" fmla="*/ 110312 h 124433"/>
                          <a:gd name="connsiteX0" fmla="*/ 44850 w 79374"/>
                          <a:gd name="connsiteY0" fmla="*/ 110312 h 122122"/>
                          <a:gd name="connsiteX1" fmla="*/ 3806 w 79374"/>
                          <a:gd name="connsiteY1" fmla="*/ 52185 h 122122"/>
                          <a:gd name="connsiteX2" fmla="*/ 3012 w 79374"/>
                          <a:gd name="connsiteY2" fmla="*/ 10980 h 122122"/>
                          <a:gd name="connsiteX3" fmla="*/ 31587 w 79374"/>
                          <a:gd name="connsiteY3" fmla="*/ 19432 h 122122"/>
                          <a:gd name="connsiteX4" fmla="*/ 48256 w 79374"/>
                          <a:gd name="connsiteY4" fmla="*/ 49014 h 122122"/>
                          <a:gd name="connsiteX5" fmla="*/ 74344 w 79374"/>
                          <a:gd name="connsiteY5" fmla="*/ 78517 h 122122"/>
                          <a:gd name="connsiteX6" fmla="*/ 78610 w 79374"/>
                          <a:gd name="connsiteY6" fmla="*/ 102275 h 122122"/>
                          <a:gd name="connsiteX7" fmla="*/ 75065 w 79374"/>
                          <a:gd name="connsiteY7" fmla="*/ 98645 h 122122"/>
                          <a:gd name="connsiteX8" fmla="*/ 65910 w 79374"/>
                          <a:gd name="connsiteY8" fmla="*/ 121409 h 122122"/>
                          <a:gd name="connsiteX9" fmla="*/ 44850 w 79374"/>
                          <a:gd name="connsiteY9" fmla="*/ 110312 h 122122"/>
                          <a:gd name="connsiteX0" fmla="*/ 42560 w 77084"/>
                          <a:gd name="connsiteY0" fmla="*/ 94411 h 106222"/>
                          <a:gd name="connsiteX1" fmla="*/ 1516 w 77084"/>
                          <a:gd name="connsiteY1" fmla="*/ 36284 h 106222"/>
                          <a:gd name="connsiteX2" fmla="*/ 10247 w 77084"/>
                          <a:gd name="connsiteY2" fmla="*/ 26774 h 106222"/>
                          <a:gd name="connsiteX3" fmla="*/ 29297 w 77084"/>
                          <a:gd name="connsiteY3" fmla="*/ 3531 h 106222"/>
                          <a:gd name="connsiteX4" fmla="*/ 45966 w 77084"/>
                          <a:gd name="connsiteY4" fmla="*/ 33113 h 106222"/>
                          <a:gd name="connsiteX5" fmla="*/ 72054 w 77084"/>
                          <a:gd name="connsiteY5" fmla="*/ 62616 h 106222"/>
                          <a:gd name="connsiteX6" fmla="*/ 76320 w 77084"/>
                          <a:gd name="connsiteY6" fmla="*/ 86374 h 106222"/>
                          <a:gd name="connsiteX7" fmla="*/ 72775 w 77084"/>
                          <a:gd name="connsiteY7" fmla="*/ 82744 h 106222"/>
                          <a:gd name="connsiteX8" fmla="*/ 63620 w 77084"/>
                          <a:gd name="connsiteY8" fmla="*/ 105508 h 106222"/>
                          <a:gd name="connsiteX9" fmla="*/ 42560 w 77084"/>
                          <a:gd name="connsiteY9" fmla="*/ 94411 h 106222"/>
                          <a:gd name="connsiteX0" fmla="*/ 42560 w 77084"/>
                          <a:gd name="connsiteY0" fmla="*/ 82618 h 94429"/>
                          <a:gd name="connsiteX1" fmla="*/ 1516 w 77084"/>
                          <a:gd name="connsiteY1" fmla="*/ 24491 h 94429"/>
                          <a:gd name="connsiteX2" fmla="*/ 10247 w 77084"/>
                          <a:gd name="connsiteY2" fmla="*/ 14981 h 94429"/>
                          <a:gd name="connsiteX3" fmla="*/ 29297 w 77084"/>
                          <a:gd name="connsiteY3" fmla="*/ 10756 h 94429"/>
                          <a:gd name="connsiteX4" fmla="*/ 45966 w 77084"/>
                          <a:gd name="connsiteY4" fmla="*/ 21320 h 94429"/>
                          <a:gd name="connsiteX5" fmla="*/ 72054 w 77084"/>
                          <a:gd name="connsiteY5" fmla="*/ 50823 h 94429"/>
                          <a:gd name="connsiteX6" fmla="*/ 76320 w 77084"/>
                          <a:gd name="connsiteY6" fmla="*/ 74581 h 94429"/>
                          <a:gd name="connsiteX7" fmla="*/ 72775 w 77084"/>
                          <a:gd name="connsiteY7" fmla="*/ 70951 h 94429"/>
                          <a:gd name="connsiteX8" fmla="*/ 63620 w 77084"/>
                          <a:gd name="connsiteY8" fmla="*/ 93715 h 94429"/>
                          <a:gd name="connsiteX9" fmla="*/ 42560 w 77084"/>
                          <a:gd name="connsiteY9" fmla="*/ 82618 h 94429"/>
                          <a:gd name="connsiteX0" fmla="*/ 42560 w 77084"/>
                          <a:gd name="connsiteY0" fmla="*/ 82618 h 94429"/>
                          <a:gd name="connsiteX1" fmla="*/ 1516 w 77084"/>
                          <a:gd name="connsiteY1" fmla="*/ 24491 h 94429"/>
                          <a:gd name="connsiteX2" fmla="*/ 10247 w 77084"/>
                          <a:gd name="connsiteY2" fmla="*/ 14981 h 94429"/>
                          <a:gd name="connsiteX3" fmla="*/ 29297 w 77084"/>
                          <a:gd name="connsiteY3" fmla="*/ 10756 h 94429"/>
                          <a:gd name="connsiteX4" fmla="*/ 43585 w 77084"/>
                          <a:gd name="connsiteY4" fmla="*/ 30829 h 94429"/>
                          <a:gd name="connsiteX5" fmla="*/ 72054 w 77084"/>
                          <a:gd name="connsiteY5" fmla="*/ 50823 h 94429"/>
                          <a:gd name="connsiteX6" fmla="*/ 76320 w 77084"/>
                          <a:gd name="connsiteY6" fmla="*/ 74581 h 94429"/>
                          <a:gd name="connsiteX7" fmla="*/ 72775 w 77084"/>
                          <a:gd name="connsiteY7" fmla="*/ 70951 h 94429"/>
                          <a:gd name="connsiteX8" fmla="*/ 63620 w 77084"/>
                          <a:gd name="connsiteY8" fmla="*/ 93715 h 94429"/>
                          <a:gd name="connsiteX9" fmla="*/ 42560 w 77084"/>
                          <a:gd name="connsiteY9" fmla="*/ 82618 h 94429"/>
                          <a:gd name="connsiteX0" fmla="*/ 42560 w 77084"/>
                          <a:gd name="connsiteY0" fmla="*/ 82618 h 94018"/>
                          <a:gd name="connsiteX1" fmla="*/ 1516 w 77084"/>
                          <a:gd name="connsiteY1" fmla="*/ 62524 h 94018"/>
                          <a:gd name="connsiteX2" fmla="*/ 10247 w 77084"/>
                          <a:gd name="connsiteY2" fmla="*/ 14981 h 94018"/>
                          <a:gd name="connsiteX3" fmla="*/ 29297 w 77084"/>
                          <a:gd name="connsiteY3" fmla="*/ 10756 h 94018"/>
                          <a:gd name="connsiteX4" fmla="*/ 43585 w 77084"/>
                          <a:gd name="connsiteY4" fmla="*/ 30829 h 94018"/>
                          <a:gd name="connsiteX5" fmla="*/ 72054 w 77084"/>
                          <a:gd name="connsiteY5" fmla="*/ 50823 h 94018"/>
                          <a:gd name="connsiteX6" fmla="*/ 76320 w 77084"/>
                          <a:gd name="connsiteY6" fmla="*/ 74581 h 94018"/>
                          <a:gd name="connsiteX7" fmla="*/ 72775 w 77084"/>
                          <a:gd name="connsiteY7" fmla="*/ 70951 h 94018"/>
                          <a:gd name="connsiteX8" fmla="*/ 63620 w 77084"/>
                          <a:gd name="connsiteY8" fmla="*/ 93715 h 94018"/>
                          <a:gd name="connsiteX9" fmla="*/ 42560 w 77084"/>
                          <a:gd name="connsiteY9" fmla="*/ 82618 h 94018"/>
                          <a:gd name="connsiteX0" fmla="*/ 42560 w 77084"/>
                          <a:gd name="connsiteY0" fmla="*/ 73899 h 85299"/>
                          <a:gd name="connsiteX1" fmla="*/ 1516 w 77084"/>
                          <a:gd name="connsiteY1" fmla="*/ 53805 h 85299"/>
                          <a:gd name="connsiteX2" fmla="*/ 10247 w 77084"/>
                          <a:gd name="connsiteY2" fmla="*/ 37955 h 85299"/>
                          <a:gd name="connsiteX3" fmla="*/ 29297 w 77084"/>
                          <a:gd name="connsiteY3" fmla="*/ 2037 h 85299"/>
                          <a:gd name="connsiteX4" fmla="*/ 43585 w 77084"/>
                          <a:gd name="connsiteY4" fmla="*/ 22110 h 85299"/>
                          <a:gd name="connsiteX5" fmla="*/ 72054 w 77084"/>
                          <a:gd name="connsiteY5" fmla="*/ 42104 h 85299"/>
                          <a:gd name="connsiteX6" fmla="*/ 76320 w 77084"/>
                          <a:gd name="connsiteY6" fmla="*/ 65862 h 85299"/>
                          <a:gd name="connsiteX7" fmla="*/ 72775 w 77084"/>
                          <a:gd name="connsiteY7" fmla="*/ 62232 h 85299"/>
                          <a:gd name="connsiteX8" fmla="*/ 63620 w 77084"/>
                          <a:gd name="connsiteY8" fmla="*/ 84996 h 85299"/>
                          <a:gd name="connsiteX9" fmla="*/ 42560 w 77084"/>
                          <a:gd name="connsiteY9" fmla="*/ 73899 h 85299"/>
                          <a:gd name="connsiteX0" fmla="*/ 42560 w 77084"/>
                          <a:gd name="connsiteY0" fmla="*/ 52685 h 64085"/>
                          <a:gd name="connsiteX1" fmla="*/ 1516 w 77084"/>
                          <a:gd name="connsiteY1" fmla="*/ 32591 h 64085"/>
                          <a:gd name="connsiteX2" fmla="*/ 10247 w 77084"/>
                          <a:gd name="connsiteY2" fmla="*/ 16741 h 64085"/>
                          <a:gd name="connsiteX3" fmla="*/ 29297 w 77084"/>
                          <a:gd name="connsiteY3" fmla="*/ 15687 h 64085"/>
                          <a:gd name="connsiteX4" fmla="*/ 43585 w 77084"/>
                          <a:gd name="connsiteY4" fmla="*/ 896 h 64085"/>
                          <a:gd name="connsiteX5" fmla="*/ 72054 w 77084"/>
                          <a:gd name="connsiteY5" fmla="*/ 20890 h 64085"/>
                          <a:gd name="connsiteX6" fmla="*/ 76320 w 77084"/>
                          <a:gd name="connsiteY6" fmla="*/ 44648 h 64085"/>
                          <a:gd name="connsiteX7" fmla="*/ 72775 w 77084"/>
                          <a:gd name="connsiteY7" fmla="*/ 41018 h 64085"/>
                          <a:gd name="connsiteX8" fmla="*/ 63620 w 77084"/>
                          <a:gd name="connsiteY8" fmla="*/ 63782 h 64085"/>
                          <a:gd name="connsiteX9" fmla="*/ 42560 w 77084"/>
                          <a:gd name="connsiteY9" fmla="*/ 52685 h 64085"/>
                          <a:gd name="connsiteX0" fmla="*/ 42560 w 76322"/>
                          <a:gd name="connsiteY0" fmla="*/ 51797 h 63197"/>
                          <a:gd name="connsiteX1" fmla="*/ 1516 w 76322"/>
                          <a:gd name="connsiteY1" fmla="*/ 31703 h 63197"/>
                          <a:gd name="connsiteX2" fmla="*/ 10247 w 76322"/>
                          <a:gd name="connsiteY2" fmla="*/ 15853 h 63197"/>
                          <a:gd name="connsiteX3" fmla="*/ 29297 w 76322"/>
                          <a:gd name="connsiteY3" fmla="*/ 14799 h 63197"/>
                          <a:gd name="connsiteX4" fmla="*/ 43585 w 76322"/>
                          <a:gd name="connsiteY4" fmla="*/ 8 h 63197"/>
                          <a:gd name="connsiteX5" fmla="*/ 44305 w 76322"/>
                          <a:gd name="connsiteY5" fmla="*/ 30542 h 63197"/>
                          <a:gd name="connsiteX6" fmla="*/ 72054 w 76322"/>
                          <a:gd name="connsiteY6" fmla="*/ 20002 h 63197"/>
                          <a:gd name="connsiteX7" fmla="*/ 76320 w 76322"/>
                          <a:gd name="connsiteY7" fmla="*/ 43760 h 63197"/>
                          <a:gd name="connsiteX8" fmla="*/ 72775 w 76322"/>
                          <a:gd name="connsiteY8" fmla="*/ 40130 h 63197"/>
                          <a:gd name="connsiteX9" fmla="*/ 63620 w 76322"/>
                          <a:gd name="connsiteY9" fmla="*/ 62894 h 63197"/>
                          <a:gd name="connsiteX10" fmla="*/ 42560 w 76322"/>
                          <a:gd name="connsiteY10" fmla="*/ 51797 h 63197"/>
                          <a:gd name="connsiteX0" fmla="*/ 42560 w 93756"/>
                          <a:gd name="connsiteY0" fmla="*/ 51797 h 63197"/>
                          <a:gd name="connsiteX1" fmla="*/ 1516 w 93756"/>
                          <a:gd name="connsiteY1" fmla="*/ 31703 h 63197"/>
                          <a:gd name="connsiteX2" fmla="*/ 10247 w 93756"/>
                          <a:gd name="connsiteY2" fmla="*/ 15853 h 63197"/>
                          <a:gd name="connsiteX3" fmla="*/ 29297 w 93756"/>
                          <a:gd name="connsiteY3" fmla="*/ 14799 h 63197"/>
                          <a:gd name="connsiteX4" fmla="*/ 43585 w 93756"/>
                          <a:gd name="connsiteY4" fmla="*/ 8 h 63197"/>
                          <a:gd name="connsiteX5" fmla="*/ 44305 w 93756"/>
                          <a:gd name="connsiteY5" fmla="*/ 30542 h 63197"/>
                          <a:gd name="connsiteX6" fmla="*/ 93485 w 93756"/>
                          <a:gd name="connsiteY6" fmla="*/ 986 h 63197"/>
                          <a:gd name="connsiteX7" fmla="*/ 76320 w 93756"/>
                          <a:gd name="connsiteY7" fmla="*/ 43760 h 63197"/>
                          <a:gd name="connsiteX8" fmla="*/ 72775 w 93756"/>
                          <a:gd name="connsiteY8" fmla="*/ 40130 h 63197"/>
                          <a:gd name="connsiteX9" fmla="*/ 63620 w 93756"/>
                          <a:gd name="connsiteY9" fmla="*/ 62894 h 63197"/>
                          <a:gd name="connsiteX10" fmla="*/ 42560 w 93756"/>
                          <a:gd name="connsiteY10" fmla="*/ 51797 h 63197"/>
                          <a:gd name="connsiteX0" fmla="*/ 42560 w 93756"/>
                          <a:gd name="connsiteY0" fmla="*/ 57001 h 68401"/>
                          <a:gd name="connsiteX1" fmla="*/ 1516 w 93756"/>
                          <a:gd name="connsiteY1" fmla="*/ 36907 h 68401"/>
                          <a:gd name="connsiteX2" fmla="*/ 10247 w 93756"/>
                          <a:gd name="connsiteY2" fmla="*/ 21057 h 68401"/>
                          <a:gd name="connsiteX3" fmla="*/ 29297 w 93756"/>
                          <a:gd name="connsiteY3" fmla="*/ 20003 h 68401"/>
                          <a:gd name="connsiteX4" fmla="*/ 43585 w 93756"/>
                          <a:gd name="connsiteY4" fmla="*/ 5212 h 68401"/>
                          <a:gd name="connsiteX5" fmla="*/ 49068 w 93756"/>
                          <a:gd name="connsiteY5" fmla="*/ 884 h 68401"/>
                          <a:gd name="connsiteX6" fmla="*/ 93485 w 93756"/>
                          <a:gd name="connsiteY6" fmla="*/ 6190 h 68401"/>
                          <a:gd name="connsiteX7" fmla="*/ 76320 w 93756"/>
                          <a:gd name="connsiteY7" fmla="*/ 48964 h 68401"/>
                          <a:gd name="connsiteX8" fmla="*/ 72775 w 93756"/>
                          <a:gd name="connsiteY8" fmla="*/ 45334 h 68401"/>
                          <a:gd name="connsiteX9" fmla="*/ 63620 w 93756"/>
                          <a:gd name="connsiteY9" fmla="*/ 68098 h 68401"/>
                          <a:gd name="connsiteX10" fmla="*/ 42560 w 93756"/>
                          <a:gd name="connsiteY10" fmla="*/ 57001 h 68401"/>
                          <a:gd name="connsiteX0" fmla="*/ 42560 w 93756"/>
                          <a:gd name="connsiteY0" fmla="*/ 82885 h 94285"/>
                          <a:gd name="connsiteX1" fmla="*/ 1516 w 93756"/>
                          <a:gd name="connsiteY1" fmla="*/ 62791 h 94285"/>
                          <a:gd name="connsiteX2" fmla="*/ 10247 w 93756"/>
                          <a:gd name="connsiteY2" fmla="*/ 46941 h 94285"/>
                          <a:gd name="connsiteX3" fmla="*/ 7865 w 93756"/>
                          <a:gd name="connsiteY3" fmla="*/ 1515 h 94285"/>
                          <a:gd name="connsiteX4" fmla="*/ 43585 w 93756"/>
                          <a:gd name="connsiteY4" fmla="*/ 31096 h 94285"/>
                          <a:gd name="connsiteX5" fmla="*/ 49068 w 93756"/>
                          <a:gd name="connsiteY5" fmla="*/ 26768 h 94285"/>
                          <a:gd name="connsiteX6" fmla="*/ 93485 w 93756"/>
                          <a:gd name="connsiteY6" fmla="*/ 32074 h 94285"/>
                          <a:gd name="connsiteX7" fmla="*/ 76320 w 93756"/>
                          <a:gd name="connsiteY7" fmla="*/ 74848 h 94285"/>
                          <a:gd name="connsiteX8" fmla="*/ 72775 w 93756"/>
                          <a:gd name="connsiteY8" fmla="*/ 71218 h 94285"/>
                          <a:gd name="connsiteX9" fmla="*/ 63620 w 93756"/>
                          <a:gd name="connsiteY9" fmla="*/ 93982 h 94285"/>
                          <a:gd name="connsiteX10" fmla="*/ 42560 w 93756"/>
                          <a:gd name="connsiteY10" fmla="*/ 82885 h 94285"/>
                          <a:gd name="connsiteX0" fmla="*/ 43884 w 95080"/>
                          <a:gd name="connsiteY0" fmla="*/ 84900 h 96300"/>
                          <a:gd name="connsiteX1" fmla="*/ 2840 w 95080"/>
                          <a:gd name="connsiteY1" fmla="*/ 64806 h 96300"/>
                          <a:gd name="connsiteX2" fmla="*/ 4428 w 95080"/>
                          <a:gd name="connsiteY2" fmla="*/ 26770 h 96300"/>
                          <a:gd name="connsiteX3" fmla="*/ 9189 w 95080"/>
                          <a:gd name="connsiteY3" fmla="*/ 3530 h 96300"/>
                          <a:gd name="connsiteX4" fmla="*/ 44909 w 95080"/>
                          <a:gd name="connsiteY4" fmla="*/ 33111 h 96300"/>
                          <a:gd name="connsiteX5" fmla="*/ 50392 w 95080"/>
                          <a:gd name="connsiteY5" fmla="*/ 28783 h 96300"/>
                          <a:gd name="connsiteX6" fmla="*/ 94809 w 95080"/>
                          <a:gd name="connsiteY6" fmla="*/ 34089 h 96300"/>
                          <a:gd name="connsiteX7" fmla="*/ 77644 w 95080"/>
                          <a:gd name="connsiteY7" fmla="*/ 76863 h 96300"/>
                          <a:gd name="connsiteX8" fmla="*/ 74099 w 95080"/>
                          <a:gd name="connsiteY8" fmla="*/ 73233 h 96300"/>
                          <a:gd name="connsiteX9" fmla="*/ 64944 w 95080"/>
                          <a:gd name="connsiteY9" fmla="*/ 95997 h 96300"/>
                          <a:gd name="connsiteX10" fmla="*/ 43884 w 95080"/>
                          <a:gd name="connsiteY10" fmla="*/ 84900 h 963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95080" h="96300">
                            <a:moveTo>
                              <a:pt x="43884" y="84900"/>
                            </a:moveTo>
                            <a:cubicBezTo>
                              <a:pt x="33533" y="79702"/>
                              <a:pt x="8225" y="86644"/>
                              <a:pt x="2840" y="64806"/>
                            </a:cubicBezTo>
                            <a:cubicBezTo>
                              <a:pt x="-2545" y="42968"/>
                              <a:pt x="724" y="38039"/>
                              <a:pt x="4428" y="26770"/>
                            </a:cubicBezTo>
                            <a:cubicBezTo>
                              <a:pt x="7509" y="1411"/>
                              <a:pt x="4426" y="-4922"/>
                              <a:pt x="9189" y="3530"/>
                            </a:cubicBezTo>
                            <a:cubicBezTo>
                              <a:pt x="13952" y="11982"/>
                              <a:pt x="39630" y="33656"/>
                              <a:pt x="44909" y="33111"/>
                            </a:cubicBezTo>
                            <a:cubicBezTo>
                              <a:pt x="50188" y="32566"/>
                              <a:pt x="45647" y="25451"/>
                              <a:pt x="50392" y="28783"/>
                            </a:cubicBezTo>
                            <a:cubicBezTo>
                              <a:pt x="55137" y="32115"/>
                              <a:pt x="92251" y="28717"/>
                              <a:pt x="94809" y="34089"/>
                            </a:cubicBezTo>
                            <a:cubicBezTo>
                              <a:pt x="97367" y="39461"/>
                              <a:pt x="81096" y="70339"/>
                              <a:pt x="77644" y="76863"/>
                            </a:cubicBezTo>
                            <a:cubicBezTo>
                              <a:pt x="74192" y="83387"/>
                              <a:pt x="74099" y="51900"/>
                              <a:pt x="74099" y="73233"/>
                            </a:cubicBezTo>
                            <a:cubicBezTo>
                              <a:pt x="74099" y="94566"/>
                              <a:pt x="69980" y="94053"/>
                              <a:pt x="64944" y="95997"/>
                            </a:cubicBezTo>
                            <a:cubicBezTo>
                              <a:pt x="59908" y="97942"/>
                              <a:pt x="54235" y="90098"/>
                              <a:pt x="43884" y="84900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en-US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1009" name="DF"/>
                    <p:cNvSpPr/>
                    <p:nvPr/>
                  </p:nvSpPr>
                  <p:spPr bwMode="auto">
                    <a:xfrm rot="10800000">
                      <a:off x="5949560" y="2512133"/>
                      <a:ext cx="95080" cy="72352"/>
                    </a:xfrm>
                    <a:custGeom>
                      <a:avLst/>
                      <a:gdLst>
                        <a:gd name="connsiteX0" fmla="*/ 0 w 92922"/>
                        <a:gd name="connsiteY0" fmla="*/ 38626 h 77251"/>
                        <a:gd name="connsiteX1" fmla="*/ 46461 w 92922"/>
                        <a:gd name="connsiteY1" fmla="*/ 0 h 77251"/>
                        <a:gd name="connsiteX2" fmla="*/ 92922 w 92922"/>
                        <a:gd name="connsiteY2" fmla="*/ 38626 h 77251"/>
                        <a:gd name="connsiteX3" fmla="*/ 46461 w 92922"/>
                        <a:gd name="connsiteY3" fmla="*/ 77252 h 77251"/>
                        <a:gd name="connsiteX4" fmla="*/ 0 w 92922"/>
                        <a:gd name="connsiteY4" fmla="*/ 38626 h 77251"/>
                        <a:gd name="connsiteX0" fmla="*/ 2773 w 95695"/>
                        <a:gd name="connsiteY0" fmla="*/ 46630 h 85256"/>
                        <a:gd name="connsiteX1" fmla="*/ 10043 w 95695"/>
                        <a:gd name="connsiteY1" fmla="*/ 3241 h 85256"/>
                        <a:gd name="connsiteX2" fmla="*/ 49234 w 95695"/>
                        <a:gd name="connsiteY2" fmla="*/ 8004 h 85256"/>
                        <a:gd name="connsiteX3" fmla="*/ 95695 w 95695"/>
                        <a:gd name="connsiteY3" fmla="*/ 46630 h 85256"/>
                        <a:gd name="connsiteX4" fmla="*/ 49234 w 95695"/>
                        <a:gd name="connsiteY4" fmla="*/ 85256 h 85256"/>
                        <a:gd name="connsiteX5" fmla="*/ 2773 w 95695"/>
                        <a:gd name="connsiteY5" fmla="*/ 46630 h 85256"/>
                        <a:gd name="connsiteX0" fmla="*/ 2217 w 98314"/>
                        <a:gd name="connsiteY0" fmla="*/ 62505 h 85631"/>
                        <a:gd name="connsiteX1" fmla="*/ 12662 w 98314"/>
                        <a:gd name="connsiteY1" fmla="*/ 3241 h 85631"/>
                        <a:gd name="connsiteX2" fmla="*/ 51853 w 98314"/>
                        <a:gd name="connsiteY2" fmla="*/ 8004 h 85631"/>
                        <a:gd name="connsiteX3" fmla="*/ 98314 w 98314"/>
                        <a:gd name="connsiteY3" fmla="*/ 46630 h 85631"/>
                        <a:gd name="connsiteX4" fmla="*/ 51853 w 98314"/>
                        <a:gd name="connsiteY4" fmla="*/ 85256 h 85631"/>
                        <a:gd name="connsiteX5" fmla="*/ 2217 w 98314"/>
                        <a:gd name="connsiteY5" fmla="*/ 62505 h 85631"/>
                        <a:gd name="connsiteX0" fmla="*/ 2659 w 98756"/>
                        <a:gd name="connsiteY0" fmla="*/ 62505 h 69284"/>
                        <a:gd name="connsiteX1" fmla="*/ 13104 w 98756"/>
                        <a:gd name="connsiteY1" fmla="*/ 3241 h 69284"/>
                        <a:gd name="connsiteX2" fmla="*/ 52295 w 98756"/>
                        <a:gd name="connsiteY2" fmla="*/ 8004 h 69284"/>
                        <a:gd name="connsiteX3" fmla="*/ 98756 w 98756"/>
                        <a:gd name="connsiteY3" fmla="*/ 46630 h 69284"/>
                        <a:gd name="connsiteX4" fmla="*/ 58645 w 98756"/>
                        <a:gd name="connsiteY4" fmla="*/ 66206 h 69284"/>
                        <a:gd name="connsiteX5" fmla="*/ 2659 w 98756"/>
                        <a:gd name="connsiteY5" fmla="*/ 62505 h 69284"/>
                        <a:gd name="connsiteX0" fmla="*/ 2659 w 98756"/>
                        <a:gd name="connsiteY0" fmla="*/ 62150 h 69531"/>
                        <a:gd name="connsiteX1" fmla="*/ 13104 w 98756"/>
                        <a:gd name="connsiteY1" fmla="*/ 2886 h 69531"/>
                        <a:gd name="connsiteX2" fmla="*/ 52295 w 98756"/>
                        <a:gd name="connsiteY2" fmla="*/ 7649 h 69531"/>
                        <a:gd name="connsiteX3" fmla="*/ 98756 w 98756"/>
                        <a:gd name="connsiteY3" fmla="*/ 36750 h 69531"/>
                        <a:gd name="connsiteX4" fmla="*/ 58645 w 98756"/>
                        <a:gd name="connsiteY4" fmla="*/ 65851 h 69531"/>
                        <a:gd name="connsiteX5" fmla="*/ 2659 w 98756"/>
                        <a:gd name="connsiteY5" fmla="*/ 62150 h 69531"/>
                        <a:gd name="connsiteX0" fmla="*/ 2659 w 98756"/>
                        <a:gd name="connsiteY0" fmla="*/ 69247 h 76628"/>
                        <a:gd name="connsiteX1" fmla="*/ 13104 w 98756"/>
                        <a:gd name="connsiteY1" fmla="*/ 9983 h 76628"/>
                        <a:gd name="connsiteX2" fmla="*/ 58645 w 98756"/>
                        <a:gd name="connsiteY2" fmla="*/ 2046 h 76628"/>
                        <a:gd name="connsiteX3" fmla="*/ 98756 w 98756"/>
                        <a:gd name="connsiteY3" fmla="*/ 43847 h 76628"/>
                        <a:gd name="connsiteX4" fmla="*/ 58645 w 98756"/>
                        <a:gd name="connsiteY4" fmla="*/ 72948 h 76628"/>
                        <a:gd name="connsiteX5" fmla="*/ 2659 w 98756"/>
                        <a:gd name="connsiteY5" fmla="*/ 69247 h 76628"/>
                        <a:gd name="connsiteX0" fmla="*/ 12211 w 108308"/>
                        <a:gd name="connsiteY0" fmla="*/ 72519 h 80420"/>
                        <a:gd name="connsiteX1" fmla="*/ 3606 w 108308"/>
                        <a:gd name="connsiteY1" fmla="*/ 4803 h 80420"/>
                        <a:gd name="connsiteX2" fmla="*/ 68197 w 108308"/>
                        <a:gd name="connsiteY2" fmla="*/ 5318 h 80420"/>
                        <a:gd name="connsiteX3" fmla="*/ 108308 w 108308"/>
                        <a:gd name="connsiteY3" fmla="*/ 47119 h 80420"/>
                        <a:gd name="connsiteX4" fmla="*/ 68197 w 108308"/>
                        <a:gd name="connsiteY4" fmla="*/ 76220 h 80420"/>
                        <a:gd name="connsiteX5" fmla="*/ 12211 w 108308"/>
                        <a:gd name="connsiteY5" fmla="*/ 72519 h 80420"/>
                        <a:gd name="connsiteX0" fmla="*/ 2818 w 127490"/>
                        <a:gd name="connsiteY0" fmla="*/ 76745 h 83125"/>
                        <a:gd name="connsiteX1" fmla="*/ 22788 w 127490"/>
                        <a:gd name="connsiteY1" fmla="*/ 4803 h 83125"/>
                        <a:gd name="connsiteX2" fmla="*/ 87379 w 127490"/>
                        <a:gd name="connsiteY2" fmla="*/ 5318 h 83125"/>
                        <a:gd name="connsiteX3" fmla="*/ 127490 w 127490"/>
                        <a:gd name="connsiteY3" fmla="*/ 47119 h 83125"/>
                        <a:gd name="connsiteX4" fmla="*/ 87379 w 127490"/>
                        <a:gd name="connsiteY4" fmla="*/ 76220 h 83125"/>
                        <a:gd name="connsiteX5" fmla="*/ 2818 w 127490"/>
                        <a:gd name="connsiteY5" fmla="*/ 76745 h 83125"/>
                        <a:gd name="connsiteX0" fmla="*/ 4020 w 128692"/>
                        <a:gd name="connsiteY0" fmla="*/ 76745 h 85175"/>
                        <a:gd name="connsiteX1" fmla="*/ 23990 w 128692"/>
                        <a:gd name="connsiteY1" fmla="*/ 4803 h 85175"/>
                        <a:gd name="connsiteX2" fmla="*/ 88581 w 128692"/>
                        <a:gd name="connsiteY2" fmla="*/ 5318 h 85175"/>
                        <a:gd name="connsiteX3" fmla="*/ 128692 w 128692"/>
                        <a:gd name="connsiteY3" fmla="*/ 47119 h 85175"/>
                        <a:gd name="connsiteX4" fmla="*/ 107631 w 128692"/>
                        <a:gd name="connsiteY4" fmla="*/ 80446 h 85175"/>
                        <a:gd name="connsiteX5" fmla="*/ 4020 w 128692"/>
                        <a:gd name="connsiteY5" fmla="*/ 76745 h 85175"/>
                        <a:gd name="connsiteX0" fmla="*/ 311 w 124983"/>
                        <a:gd name="connsiteY0" fmla="*/ 114981 h 126242"/>
                        <a:gd name="connsiteX1" fmla="*/ 71081 w 124983"/>
                        <a:gd name="connsiteY1" fmla="*/ 780 h 126242"/>
                        <a:gd name="connsiteX2" fmla="*/ 84872 w 124983"/>
                        <a:gd name="connsiteY2" fmla="*/ 43554 h 126242"/>
                        <a:gd name="connsiteX3" fmla="*/ 124983 w 124983"/>
                        <a:gd name="connsiteY3" fmla="*/ 85355 h 126242"/>
                        <a:gd name="connsiteX4" fmla="*/ 103922 w 124983"/>
                        <a:gd name="connsiteY4" fmla="*/ 118682 h 126242"/>
                        <a:gd name="connsiteX5" fmla="*/ 311 w 124983"/>
                        <a:gd name="connsiteY5" fmla="*/ 114981 h 126242"/>
                        <a:gd name="connsiteX0" fmla="*/ 3123 w 127795"/>
                        <a:gd name="connsiteY0" fmla="*/ 136754 h 149197"/>
                        <a:gd name="connsiteX1" fmla="*/ 31136 w 127795"/>
                        <a:gd name="connsiteY1" fmla="*/ 5728 h 149197"/>
                        <a:gd name="connsiteX2" fmla="*/ 73893 w 127795"/>
                        <a:gd name="connsiteY2" fmla="*/ 22553 h 149197"/>
                        <a:gd name="connsiteX3" fmla="*/ 87684 w 127795"/>
                        <a:gd name="connsiteY3" fmla="*/ 65327 h 149197"/>
                        <a:gd name="connsiteX4" fmla="*/ 127795 w 127795"/>
                        <a:gd name="connsiteY4" fmla="*/ 107128 h 149197"/>
                        <a:gd name="connsiteX5" fmla="*/ 106734 w 127795"/>
                        <a:gd name="connsiteY5" fmla="*/ 140455 h 149197"/>
                        <a:gd name="connsiteX6" fmla="*/ 3123 w 127795"/>
                        <a:gd name="connsiteY6" fmla="*/ 136754 h 149197"/>
                        <a:gd name="connsiteX0" fmla="*/ 9048 w 133720"/>
                        <a:gd name="connsiteY0" fmla="*/ 185654 h 201733"/>
                        <a:gd name="connsiteX1" fmla="*/ 8486 w 133720"/>
                        <a:gd name="connsiteY1" fmla="*/ 3916 h 201733"/>
                        <a:gd name="connsiteX2" fmla="*/ 37061 w 133720"/>
                        <a:gd name="connsiteY2" fmla="*/ 54628 h 201733"/>
                        <a:gd name="connsiteX3" fmla="*/ 79818 w 133720"/>
                        <a:gd name="connsiteY3" fmla="*/ 71453 h 201733"/>
                        <a:gd name="connsiteX4" fmla="*/ 93609 w 133720"/>
                        <a:gd name="connsiteY4" fmla="*/ 114227 h 201733"/>
                        <a:gd name="connsiteX5" fmla="*/ 133720 w 133720"/>
                        <a:gd name="connsiteY5" fmla="*/ 156028 h 201733"/>
                        <a:gd name="connsiteX6" fmla="*/ 112659 w 133720"/>
                        <a:gd name="connsiteY6" fmla="*/ 189355 h 201733"/>
                        <a:gd name="connsiteX7" fmla="*/ 9048 w 133720"/>
                        <a:gd name="connsiteY7" fmla="*/ 185654 h 201733"/>
                        <a:gd name="connsiteX0" fmla="*/ 9048 w 133720"/>
                        <a:gd name="connsiteY0" fmla="*/ 192718 h 208797"/>
                        <a:gd name="connsiteX1" fmla="*/ 8486 w 133720"/>
                        <a:gd name="connsiteY1" fmla="*/ 10980 h 208797"/>
                        <a:gd name="connsiteX2" fmla="*/ 37061 w 133720"/>
                        <a:gd name="connsiteY2" fmla="*/ 19432 h 208797"/>
                        <a:gd name="connsiteX3" fmla="*/ 37061 w 133720"/>
                        <a:gd name="connsiteY3" fmla="*/ 61692 h 208797"/>
                        <a:gd name="connsiteX4" fmla="*/ 79818 w 133720"/>
                        <a:gd name="connsiteY4" fmla="*/ 78517 h 208797"/>
                        <a:gd name="connsiteX5" fmla="*/ 93609 w 133720"/>
                        <a:gd name="connsiteY5" fmla="*/ 121291 h 208797"/>
                        <a:gd name="connsiteX6" fmla="*/ 133720 w 133720"/>
                        <a:gd name="connsiteY6" fmla="*/ 163092 h 208797"/>
                        <a:gd name="connsiteX7" fmla="*/ 112659 w 133720"/>
                        <a:gd name="connsiteY7" fmla="*/ 196419 h 208797"/>
                        <a:gd name="connsiteX8" fmla="*/ 9048 w 133720"/>
                        <a:gd name="connsiteY8" fmla="*/ 192718 h 208797"/>
                        <a:gd name="connsiteX0" fmla="*/ 33011 w 125933"/>
                        <a:gd name="connsiteY0" fmla="*/ 142007 h 196916"/>
                        <a:gd name="connsiteX1" fmla="*/ 699 w 125933"/>
                        <a:gd name="connsiteY1" fmla="*/ 10980 h 196916"/>
                        <a:gd name="connsiteX2" fmla="*/ 29274 w 125933"/>
                        <a:gd name="connsiteY2" fmla="*/ 19432 h 196916"/>
                        <a:gd name="connsiteX3" fmla="*/ 29274 w 125933"/>
                        <a:gd name="connsiteY3" fmla="*/ 61692 h 196916"/>
                        <a:gd name="connsiteX4" fmla="*/ 72031 w 125933"/>
                        <a:gd name="connsiteY4" fmla="*/ 78517 h 196916"/>
                        <a:gd name="connsiteX5" fmla="*/ 85822 w 125933"/>
                        <a:gd name="connsiteY5" fmla="*/ 121291 h 196916"/>
                        <a:gd name="connsiteX6" fmla="*/ 125933 w 125933"/>
                        <a:gd name="connsiteY6" fmla="*/ 163092 h 196916"/>
                        <a:gd name="connsiteX7" fmla="*/ 104872 w 125933"/>
                        <a:gd name="connsiteY7" fmla="*/ 196419 h 196916"/>
                        <a:gd name="connsiteX8" fmla="*/ 33011 w 125933"/>
                        <a:gd name="connsiteY8" fmla="*/ 142007 h 196916"/>
                        <a:gd name="connsiteX0" fmla="*/ 49204 w 142126"/>
                        <a:gd name="connsiteY0" fmla="*/ 142007 h 196916"/>
                        <a:gd name="connsiteX1" fmla="*/ 1017 w 142126"/>
                        <a:gd name="connsiteY1" fmla="*/ 61692 h 196916"/>
                        <a:gd name="connsiteX2" fmla="*/ 16892 w 142126"/>
                        <a:gd name="connsiteY2" fmla="*/ 10980 h 196916"/>
                        <a:gd name="connsiteX3" fmla="*/ 45467 w 142126"/>
                        <a:gd name="connsiteY3" fmla="*/ 19432 h 196916"/>
                        <a:gd name="connsiteX4" fmla="*/ 45467 w 142126"/>
                        <a:gd name="connsiteY4" fmla="*/ 61692 h 196916"/>
                        <a:gd name="connsiteX5" fmla="*/ 88224 w 142126"/>
                        <a:gd name="connsiteY5" fmla="*/ 78517 h 196916"/>
                        <a:gd name="connsiteX6" fmla="*/ 102015 w 142126"/>
                        <a:gd name="connsiteY6" fmla="*/ 121291 h 196916"/>
                        <a:gd name="connsiteX7" fmla="*/ 142126 w 142126"/>
                        <a:gd name="connsiteY7" fmla="*/ 163092 h 196916"/>
                        <a:gd name="connsiteX8" fmla="*/ 121065 w 142126"/>
                        <a:gd name="connsiteY8" fmla="*/ 196419 h 196916"/>
                        <a:gd name="connsiteX9" fmla="*/ 49204 w 142126"/>
                        <a:gd name="connsiteY9" fmla="*/ 142007 h 196916"/>
                        <a:gd name="connsiteX0" fmla="*/ 49204 w 142126"/>
                        <a:gd name="connsiteY0" fmla="*/ 142007 h 173263"/>
                        <a:gd name="connsiteX1" fmla="*/ 1017 w 142126"/>
                        <a:gd name="connsiteY1" fmla="*/ 61692 h 173263"/>
                        <a:gd name="connsiteX2" fmla="*/ 16892 w 142126"/>
                        <a:gd name="connsiteY2" fmla="*/ 10980 h 173263"/>
                        <a:gd name="connsiteX3" fmla="*/ 45467 w 142126"/>
                        <a:gd name="connsiteY3" fmla="*/ 19432 h 173263"/>
                        <a:gd name="connsiteX4" fmla="*/ 45467 w 142126"/>
                        <a:gd name="connsiteY4" fmla="*/ 61692 h 173263"/>
                        <a:gd name="connsiteX5" fmla="*/ 88224 w 142126"/>
                        <a:gd name="connsiteY5" fmla="*/ 78517 h 173263"/>
                        <a:gd name="connsiteX6" fmla="*/ 102015 w 142126"/>
                        <a:gd name="connsiteY6" fmla="*/ 121291 h 173263"/>
                        <a:gd name="connsiteX7" fmla="*/ 142126 w 142126"/>
                        <a:gd name="connsiteY7" fmla="*/ 163092 h 173263"/>
                        <a:gd name="connsiteX8" fmla="*/ 79790 w 142126"/>
                        <a:gd name="connsiteY8" fmla="*/ 162612 h 173263"/>
                        <a:gd name="connsiteX9" fmla="*/ 49204 w 142126"/>
                        <a:gd name="connsiteY9" fmla="*/ 142007 h 17326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45467 w 110376"/>
                        <a:gd name="connsiteY4" fmla="*/ 61692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62136 w 110376"/>
                        <a:gd name="connsiteY4" fmla="*/ 49014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05613"/>
                        <a:gd name="connsiteY0" fmla="*/ 142007 h 164051"/>
                        <a:gd name="connsiteX1" fmla="*/ 1017 w 105613"/>
                        <a:gd name="connsiteY1" fmla="*/ 61692 h 164051"/>
                        <a:gd name="connsiteX2" fmla="*/ 16892 w 105613"/>
                        <a:gd name="connsiteY2" fmla="*/ 10980 h 164051"/>
                        <a:gd name="connsiteX3" fmla="*/ 45467 w 105613"/>
                        <a:gd name="connsiteY3" fmla="*/ 19432 h 164051"/>
                        <a:gd name="connsiteX4" fmla="*/ 62136 w 105613"/>
                        <a:gd name="connsiteY4" fmla="*/ 49014 h 164051"/>
                        <a:gd name="connsiteX5" fmla="*/ 88224 w 105613"/>
                        <a:gd name="connsiteY5" fmla="*/ 78517 h 164051"/>
                        <a:gd name="connsiteX6" fmla="*/ 102015 w 105613"/>
                        <a:gd name="connsiteY6" fmla="*/ 121291 h 164051"/>
                        <a:gd name="connsiteX7" fmla="*/ 105613 w 105613"/>
                        <a:gd name="connsiteY7" fmla="*/ 111323 h 164051"/>
                        <a:gd name="connsiteX8" fmla="*/ 79790 w 105613"/>
                        <a:gd name="connsiteY8" fmla="*/ 162612 h 164051"/>
                        <a:gd name="connsiteX9" fmla="*/ 49204 w 105613"/>
                        <a:gd name="connsiteY9" fmla="*/ 142007 h 164051"/>
                        <a:gd name="connsiteX0" fmla="*/ 49204 w 105613"/>
                        <a:gd name="connsiteY0" fmla="*/ 142007 h 149974"/>
                        <a:gd name="connsiteX1" fmla="*/ 1017 w 105613"/>
                        <a:gd name="connsiteY1" fmla="*/ 61692 h 149974"/>
                        <a:gd name="connsiteX2" fmla="*/ 16892 w 105613"/>
                        <a:gd name="connsiteY2" fmla="*/ 10980 h 149974"/>
                        <a:gd name="connsiteX3" fmla="*/ 45467 w 105613"/>
                        <a:gd name="connsiteY3" fmla="*/ 19432 h 149974"/>
                        <a:gd name="connsiteX4" fmla="*/ 62136 w 105613"/>
                        <a:gd name="connsiteY4" fmla="*/ 49014 h 149974"/>
                        <a:gd name="connsiteX5" fmla="*/ 88224 w 105613"/>
                        <a:gd name="connsiteY5" fmla="*/ 78517 h 149974"/>
                        <a:gd name="connsiteX6" fmla="*/ 102015 w 105613"/>
                        <a:gd name="connsiteY6" fmla="*/ 121291 h 149974"/>
                        <a:gd name="connsiteX7" fmla="*/ 105613 w 105613"/>
                        <a:gd name="connsiteY7" fmla="*/ 111323 h 149974"/>
                        <a:gd name="connsiteX8" fmla="*/ 89315 w 105613"/>
                        <a:gd name="connsiteY8" fmla="*/ 143596 h 149974"/>
                        <a:gd name="connsiteX9" fmla="*/ 49204 w 105613"/>
                        <a:gd name="connsiteY9" fmla="*/ 142007 h 149974"/>
                        <a:gd name="connsiteX0" fmla="*/ 53967 w 105613"/>
                        <a:gd name="connsiteY0" fmla="*/ 122990 h 143862"/>
                        <a:gd name="connsiteX1" fmla="*/ 1017 w 105613"/>
                        <a:gd name="connsiteY1" fmla="*/ 61692 h 143862"/>
                        <a:gd name="connsiteX2" fmla="*/ 16892 w 105613"/>
                        <a:gd name="connsiteY2" fmla="*/ 10980 h 143862"/>
                        <a:gd name="connsiteX3" fmla="*/ 45467 w 105613"/>
                        <a:gd name="connsiteY3" fmla="*/ 19432 h 143862"/>
                        <a:gd name="connsiteX4" fmla="*/ 62136 w 105613"/>
                        <a:gd name="connsiteY4" fmla="*/ 49014 h 143862"/>
                        <a:gd name="connsiteX5" fmla="*/ 88224 w 105613"/>
                        <a:gd name="connsiteY5" fmla="*/ 78517 h 143862"/>
                        <a:gd name="connsiteX6" fmla="*/ 102015 w 105613"/>
                        <a:gd name="connsiteY6" fmla="*/ 121291 h 143862"/>
                        <a:gd name="connsiteX7" fmla="*/ 105613 w 105613"/>
                        <a:gd name="connsiteY7" fmla="*/ 111323 h 143862"/>
                        <a:gd name="connsiteX8" fmla="*/ 89315 w 105613"/>
                        <a:gd name="connsiteY8" fmla="*/ 143596 h 143862"/>
                        <a:gd name="connsiteX9" fmla="*/ 53967 w 105613"/>
                        <a:gd name="connsiteY9" fmla="*/ 122990 h 143862"/>
                        <a:gd name="connsiteX0" fmla="*/ 40087 w 91733"/>
                        <a:gd name="connsiteY0" fmla="*/ 122990 h 143903"/>
                        <a:gd name="connsiteX1" fmla="*/ 3806 w 91733"/>
                        <a:gd name="connsiteY1" fmla="*/ 52185 h 143903"/>
                        <a:gd name="connsiteX2" fmla="*/ 3012 w 91733"/>
                        <a:gd name="connsiteY2" fmla="*/ 10980 h 143903"/>
                        <a:gd name="connsiteX3" fmla="*/ 31587 w 91733"/>
                        <a:gd name="connsiteY3" fmla="*/ 19432 h 143903"/>
                        <a:gd name="connsiteX4" fmla="*/ 48256 w 91733"/>
                        <a:gd name="connsiteY4" fmla="*/ 49014 h 143903"/>
                        <a:gd name="connsiteX5" fmla="*/ 74344 w 91733"/>
                        <a:gd name="connsiteY5" fmla="*/ 78517 h 143903"/>
                        <a:gd name="connsiteX6" fmla="*/ 88135 w 91733"/>
                        <a:gd name="connsiteY6" fmla="*/ 121291 h 143903"/>
                        <a:gd name="connsiteX7" fmla="*/ 91733 w 91733"/>
                        <a:gd name="connsiteY7" fmla="*/ 111323 h 143903"/>
                        <a:gd name="connsiteX8" fmla="*/ 75435 w 91733"/>
                        <a:gd name="connsiteY8" fmla="*/ 143596 h 143903"/>
                        <a:gd name="connsiteX9" fmla="*/ 40087 w 91733"/>
                        <a:gd name="connsiteY9" fmla="*/ 122990 h 143903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88135 w 91733"/>
                        <a:gd name="connsiteY6" fmla="*/ 121291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78610 w 91733"/>
                        <a:gd name="connsiteY6" fmla="*/ 102275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24433"/>
                        <a:gd name="connsiteX1" fmla="*/ 3806 w 91733"/>
                        <a:gd name="connsiteY1" fmla="*/ 52185 h 124433"/>
                        <a:gd name="connsiteX2" fmla="*/ 3012 w 91733"/>
                        <a:gd name="connsiteY2" fmla="*/ 10980 h 124433"/>
                        <a:gd name="connsiteX3" fmla="*/ 31587 w 91733"/>
                        <a:gd name="connsiteY3" fmla="*/ 19432 h 124433"/>
                        <a:gd name="connsiteX4" fmla="*/ 48256 w 91733"/>
                        <a:gd name="connsiteY4" fmla="*/ 49014 h 124433"/>
                        <a:gd name="connsiteX5" fmla="*/ 74344 w 91733"/>
                        <a:gd name="connsiteY5" fmla="*/ 78517 h 124433"/>
                        <a:gd name="connsiteX6" fmla="*/ 78610 w 91733"/>
                        <a:gd name="connsiteY6" fmla="*/ 102275 h 124433"/>
                        <a:gd name="connsiteX7" fmla="*/ 91733 w 91733"/>
                        <a:gd name="connsiteY7" fmla="*/ 111323 h 124433"/>
                        <a:gd name="connsiteX8" fmla="*/ 65910 w 91733"/>
                        <a:gd name="connsiteY8" fmla="*/ 121409 h 124433"/>
                        <a:gd name="connsiteX9" fmla="*/ 44850 w 91733"/>
                        <a:gd name="connsiteY9" fmla="*/ 110312 h 124433"/>
                        <a:gd name="connsiteX0" fmla="*/ 44850 w 79374"/>
                        <a:gd name="connsiteY0" fmla="*/ 110312 h 122122"/>
                        <a:gd name="connsiteX1" fmla="*/ 3806 w 79374"/>
                        <a:gd name="connsiteY1" fmla="*/ 52185 h 122122"/>
                        <a:gd name="connsiteX2" fmla="*/ 3012 w 79374"/>
                        <a:gd name="connsiteY2" fmla="*/ 10980 h 122122"/>
                        <a:gd name="connsiteX3" fmla="*/ 31587 w 79374"/>
                        <a:gd name="connsiteY3" fmla="*/ 19432 h 122122"/>
                        <a:gd name="connsiteX4" fmla="*/ 48256 w 79374"/>
                        <a:gd name="connsiteY4" fmla="*/ 49014 h 122122"/>
                        <a:gd name="connsiteX5" fmla="*/ 74344 w 79374"/>
                        <a:gd name="connsiteY5" fmla="*/ 78517 h 122122"/>
                        <a:gd name="connsiteX6" fmla="*/ 78610 w 79374"/>
                        <a:gd name="connsiteY6" fmla="*/ 102275 h 122122"/>
                        <a:gd name="connsiteX7" fmla="*/ 75065 w 79374"/>
                        <a:gd name="connsiteY7" fmla="*/ 98645 h 122122"/>
                        <a:gd name="connsiteX8" fmla="*/ 65910 w 79374"/>
                        <a:gd name="connsiteY8" fmla="*/ 121409 h 122122"/>
                        <a:gd name="connsiteX9" fmla="*/ 44850 w 79374"/>
                        <a:gd name="connsiteY9" fmla="*/ 110312 h 122122"/>
                        <a:gd name="connsiteX0" fmla="*/ 42560 w 77084"/>
                        <a:gd name="connsiteY0" fmla="*/ 94411 h 106222"/>
                        <a:gd name="connsiteX1" fmla="*/ 1516 w 77084"/>
                        <a:gd name="connsiteY1" fmla="*/ 36284 h 106222"/>
                        <a:gd name="connsiteX2" fmla="*/ 10247 w 77084"/>
                        <a:gd name="connsiteY2" fmla="*/ 26774 h 106222"/>
                        <a:gd name="connsiteX3" fmla="*/ 29297 w 77084"/>
                        <a:gd name="connsiteY3" fmla="*/ 3531 h 106222"/>
                        <a:gd name="connsiteX4" fmla="*/ 45966 w 77084"/>
                        <a:gd name="connsiteY4" fmla="*/ 33113 h 106222"/>
                        <a:gd name="connsiteX5" fmla="*/ 72054 w 77084"/>
                        <a:gd name="connsiteY5" fmla="*/ 62616 h 106222"/>
                        <a:gd name="connsiteX6" fmla="*/ 76320 w 77084"/>
                        <a:gd name="connsiteY6" fmla="*/ 86374 h 106222"/>
                        <a:gd name="connsiteX7" fmla="*/ 72775 w 77084"/>
                        <a:gd name="connsiteY7" fmla="*/ 82744 h 106222"/>
                        <a:gd name="connsiteX8" fmla="*/ 63620 w 77084"/>
                        <a:gd name="connsiteY8" fmla="*/ 105508 h 106222"/>
                        <a:gd name="connsiteX9" fmla="*/ 42560 w 77084"/>
                        <a:gd name="connsiteY9" fmla="*/ 94411 h 106222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5966 w 77084"/>
                        <a:gd name="connsiteY4" fmla="*/ 21320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3585 w 77084"/>
                        <a:gd name="connsiteY4" fmla="*/ 30829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018"/>
                        <a:gd name="connsiteX1" fmla="*/ 1516 w 77084"/>
                        <a:gd name="connsiteY1" fmla="*/ 62524 h 94018"/>
                        <a:gd name="connsiteX2" fmla="*/ 10247 w 77084"/>
                        <a:gd name="connsiteY2" fmla="*/ 14981 h 94018"/>
                        <a:gd name="connsiteX3" fmla="*/ 29297 w 77084"/>
                        <a:gd name="connsiteY3" fmla="*/ 10756 h 94018"/>
                        <a:gd name="connsiteX4" fmla="*/ 43585 w 77084"/>
                        <a:gd name="connsiteY4" fmla="*/ 30829 h 94018"/>
                        <a:gd name="connsiteX5" fmla="*/ 72054 w 77084"/>
                        <a:gd name="connsiteY5" fmla="*/ 50823 h 94018"/>
                        <a:gd name="connsiteX6" fmla="*/ 76320 w 77084"/>
                        <a:gd name="connsiteY6" fmla="*/ 74581 h 94018"/>
                        <a:gd name="connsiteX7" fmla="*/ 72775 w 77084"/>
                        <a:gd name="connsiteY7" fmla="*/ 70951 h 94018"/>
                        <a:gd name="connsiteX8" fmla="*/ 63620 w 77084"/>
                        <a:gd name="connsiteY8" fmla="*/ 93715 h 94018"/>
                        <a:gd name="connsiteX9" fmla="*/ 42560 w 77084"/>
                        <a:gd name="connsiteY9" fmla="*/ 82618 h 94018"/>
                        <a:gd name="connsiteX0" fmla="*/ 42560 w 77084"/>
                        <a:gd name="connsiteY0" fmla="*/ 73899 h 85299"/>
                        <a:gd name="connsiteX1" fmla="*/ 1516 w 77084"/>
                        <a:gd name="connsiteY1" fmla="*/ 53805 h 85299"/>
                        <a:gd name="connsiteX2" fmla="*/ 10247 w 77084"/>
                        <a:gd name="connsiteY2" fmla="*/ 37955 h 85299"/>
                        <a:gd name="connsiteX3" fmla="*/ 29297 w 77084"/>
                        <a:gd name="connsiteY3" fmla="*/ 2037 h 85299"/>
                        <a:gd name="connsiteX4" fmla="*/ 43585 w 77084"/>
                        <a:gd name="connsiteY4" fmla="*/ 22110 h 85299"/>
                        <a:gd name="connsiteX5" fmla="*/ 72054 w 77084"/>
                        <a:gd name="connsiteY5" fmla="*/ 42104 h 85299"/>
                        <a:gd name="connsiteX6" fmla="*/ 76320 w 77084"/>
                        <a:gd name="connsiteY6" fmla="*/ 65862 h 85299"/>
                        <a:gd name="connsiteX7" fmla="*/ 72775 w 77084"/>
                        <a:gd name="connsiteY7" fmla="*/ 62232 h 85299"/>
                        <a:gd name="connsiteX8" fmla="*/ 63620 w 77084"/>
                        <a:gd name="connsiteY8" fmla="*/ 84996 h 85299"/>
                        <a:gd name="connsiteX9" fmla="*/ 42560 w 77084"/>
                        <a:gd name="connsiteY9" fmla="*/ 73899 h 85299"/>
                        <a:gd name="connsiteX0" fmla="*/ 42560 w 77084"/>
                        <a:gd name="connsiteY0" fmla="*/ 52685 h 64085"/>
                        <a:gd name="connsiteX1" fmla="*/ 1516 w 77084"/>
                        <a:gd name="connsiteY1" fmla="*/ 32591 h 64085"/>
                        <a:gd name="connsiteX2" fmla="*/ 10247 w 77084"/>
                        <a:gd name="connsiteY2" fmla="*/ 16741 h 64085"/>
                        <a:gd name="connsiteX3" fmla="*/ 29297 w 77084"/>
                        <a:gd name="connsiteY3" fmla="*/ 15687 h 64085"/>
                        <a:gd name="connsiteX4" fmla="*/ 43585 w 77084"/>
                        <a:gd name="connsiteY4" fmla="*/ 896 h 64085"/>
                        <a:gd name="connsiteX5" fmla="*/ 72054 w 77084"/>
                        <a:gd name="connsiteY5" fmla="*/ 20890 h 64085"/>
                        <a:gd name="connsiteX6" fmla="*/ 76320 w 77084"/>
                        <a:gd name="connsiteY6" fmla="*/ 44648 h 64085"/>
                        <a:gd name="connsiteX7" fmla="*/ 72775 w 77084"/>
                        <a:gd name="connsiteY7" fmla="*/ 41018 h 64085"/>
                        <a:gd name="connsiteX8" fmla="*/ 63620 w 77084"/>
                        <a:gd name="connsiteY8" fmla="*/ 63782 h 64085"/>
                        <a:gd name="connsiteX9" fmla="*/ 42560 w 77084"/>
                        <a:gd name="connsiteY9" fmla="*/ 52685 h 64085"/>
                        <a:gd name="connsiteX0" fmla="*/ 42560 w 76322"/>
                        <a:gd name="connsiteY0" fmla="*/ 51797 h 63197"/>
                        <a:gd name="connsiteX1" fmla="*/ 1516 w 76322"/>
                        <a:gd name="connsiteY1" fmla="*/ 31703 h 63197"/>
                        <a:gd name="connsiteX2" fmla="*/ 10247 w 76322"/>
                        <a:gd name="connsiteY2" fmla="*/ 15853 h 63197"/>
                        <a:gd name="connsiteX3" fmla="*/ 29297 w 76322"/>
                        <a:gd name="connsiteY3" fmla="*/ 14799 h 63197"/>
                        <a:gd name="connsiteX4" fmla="*/ 43585 w 76322"/>
                        <a:gd name="connsiteY4" fmla="*/ 8 h 63197"/>
                        <a:gd name="connsiteX5" fmla="*/ 44305 w 76322"/>
                        <a:gd name="connsiteY5" fmla="*/ 30542 h 63197"/>
                        <a:gd name="connsiteX6" fmla="*/ 72054 w 76322"/>
                        <a:gd name="connsiteY6" fmla="*/ 20002 h 63197"/>
                        <a:gd name="connsiteX7" fmla="*/ 76320 w 76322"/>
                        <a:gd name="connsiteY7" fmla="*/ 43760 h 63197"/>
                        <a:gd name="connsiteX8" fmla="*/ 72775 w 76322"/>
                        <a:gd name="connsiteY8" fmla="*/ 40130 h 63197"/>
                        <a:gd name="connsiteX9" fmla="*/ 63620 w 76322"/>
                        <a:gd name="connsiteY9" fmla="*/ 62894 h 63197"/>
                        <a:gd name="connsiteX10" fmla="*/ 42560 w 76322"/>
                        <a:gd name="connsiteY10" fmla="*/ 51797 h 63197"/>
                        <a:gd name="connsiteX0" fmla="*/ 42560 w 93756"/>
                        <a:gd name="connsiteY0" fmla="*/ 51797 h 63197"/>
                        <a:gd name="connsiteX1" fmla="*/ 1516 w 93756"/>
                        <a:gd name="connsiteY1" fmla="*/ 31703 h 63197"/>
                        <a:gd name="connsiteX2" fmla="*/ 10247 w 93756"/>
                        <a:gd name="connsiteY2" fmla="*/ 15853 h 63197"/>
                        <a:gd name="connsiteX3" fmla="*/ 29297 w 93756"/>
                        <a:gd name="connsiteY3" fmla="*/ 14799 h 63197"/>
                        <a:gd name="connsiteX4" fmla="*/ 43585 w 93756"/>
                        <a:gd name="connsiteY4" fmla="*/ 8 h 63197"/>
                        <a:gd name="connsiteX5" fmla="*/ 44305 w 93756"/>
                        <a:gd name="connsiteY5" fmla="*/ 30542 h 63197"/>
                        <a:gd name="connsiteX6" fmla="*/ 93485 w 93756"/>
                        <a:gd name="connsiteY6" fmla="*/ 986 h 63197"/>
                        <a:gd name="connsiteX7" fmla="*/ 76320 w 93756"/>
                        <a:gd name="connsiteY7" fmla="*/ 43760 h 63197"/>
                        <a:gd name="connsiteX8" fmla="*/ 72775 w 93756"/>
                        <a:gd name="connsiteY8" fmla="*/ 40130 h 63197"/>
                        <a:gd name="connsiteX9" fmla="*/ 63620 w 93756"/>
                        <a:gd name="connsiteY9" fmla="*/ 62894 h 63197"/>
                        <a:gd name="connsiteX10" fmla="*/ 42560 w 93756"/>
                        <a:gd name="connsiteY10" fmla="*/ 51797 h 63197"/>
                        <a:gd name="connsiteX0" fmla="*/ 42560 w 93756"/>
                        <a:gd name="connsiteY0" fmla="*/ 57001 h 68401"/>
                        <a:gd name="connsiteX1" fmla="*/ 1516 w 93756"/>
                        <a:gd name="connsiteY1" fmla="*/ 36907 h 68401"/>
                        <a:gd name="connsiteX2" fmla="*/ 10247 w 93756"/>
                        <a:gd name="connsiteY2" fmla="*/ 21057 h 68401"/>
                        <a:gd name="connsiteX3" fmla="*/ 29297 w 93756"/>
                        <a:gd name="connsiteY3" fmla="*/ 20003 h 68401"/>
                        <a:gd name="connsiteX4" fmla="*/ 43585 w 93756"/>
                        <a:gd name="connsiteY4" fmla="*/ 5212 h 68401"/>
                        <a:gd name="connsiteX5" fmla="*/ 49068 w 93756"/>
                        <a:gd name="connsiteY5" fmla="*/ 884 h 68401"/>
                        <a:gd name="connsiteX6" fmla="*/ 93485 w 93756"/>
                        <a:gd name="connsiteY6" fmla="*/ 6190 h 68401"/>
                        <a:gd name="connsiteX7" fmla="*/ 76320 w 93756"/>
                        <a:gd name="connsiteY7" fmla="*/ 48964 h 68401"/>
                        <a:gd name="connsiteX8" fmla="*/ 72775 w 93756"/>
                        <a:gd name="connsiteY8" fmla="*/ 45334 h 68401"/>
                        <a:gd name="connsiteX9" fmla="*/ 63620 w 93756"/>
                        <a:gd name="connsiteY9" fmla="*/ 68098 h 68401"/>
                        <a:gd name="connsiteX10" fmla="*/ 42560 w 93756"/>
                        <a:gd name="connsiteY10" fmla="*/ 57001 h 68401"/>
                        <a:gd name="connsiteX0" fmla="*/ 42560 w 93756"/>
                        <a:gd name="connsiteY0" fmla="*/ 82885 h 94285"/>
                        <a:gd name="connsiteX1" fmla="*/ 1516 w 93756"/>
                        <a:gd name="connsiteY1" fmla="*/ 62791 h 94285"/>
                        <a:gd name="connsiteX2" fmla="*/ 10247 w 93756"/>
                        <a:gd name="connsiteY2" fmla="*/ 46941 h 94285"/>
                        <a:gd name="connsiteX3" fmla="*/ 7865 w 93756"/>
                        <a:gd name="connsiteY3" fmla="*/ 1515 h 94285"/>
                        <a:gd name="connsiteX4" fmla="*/ 43585 w 93756"/>
                        <a:gd name="connsiteY4" fmla="*/ 31096 h 94285"/>
                        <a:gd name="connsiteX5" fmla="*/ 49068 w 93756"/>
                        <a:gd name="connsiteY5" fmla="*/ 26768 h 94285"/>
                        <a:gd name="connsiteX6" fmla="*/ 93485 w 93756"/>
                        <a:gd name="connsiteY6" fmla="*/ 32074 h 94285"/>
                        <a:gd name="connsiteX7" fmla="*/ 76320 w 93756"/>
                        <a:gd name="connsiteY7" fmla="*/ 74848 h 94285"/>
                        <a:gd name="connsiteX8" fmla="*/ 72775 w 93756"/>
                        <a:gd name="connsiteY8" fmla="*/ 71218 h 94285"/>
                        <a:gd name="connsiteX9" fmla="*/ 63620 w 93756"/>
                        <a:gd name="connsiteY9" fmla="*/ 93982 h 94285"/>
                        <a:gd name="connsiteX10" fmla="*/ 42560 w 93756"/>
                        <a:gd name="connsiteY10" fmla="*/ 82885 h 94285"/>
                        <a:gd name="connsiteX0" fmla="*/ 43884 w 95080"/>
                        <a:gd name="connsiteY0" fmla="*/ 84900 h 96300"/>
                        <a:gd name="connsiteX1" fmla="*/ 2840 w 95080"/>
                        <a:gd name="connsiteY1" fmla="*/ 64806 h 96300"/>
                        <a:gd name="connsiteX2" fmla="*/ 4428 w 95080"/>
                        <a:gd name="connsiteY2" fmla="*/ 26770 h 96300"/>
                        <a:gd name="connsiteX3" fmla="*/ 9189 w 95080"/>
                        <a:gd name="connsiteY3" fmla="*/ 3530 h 96300"/>
                        <a:gd name="connsiteX4" fmla="*/ 44909 w 95080"/>
                        <a:gd name="connsiteY4" fmla="*/ 33111 h 96300"/>
                        <a:gd name="connsiteX5" fmla="*/ 50392 w 95080"/>
                        <a:gd name="connsiteY5" fmla="*/ 28783 h 96300"/>
                        <a:gd name="connsiteX6" fmla="*/ 94809 w 95080"/>
                        <a:gd name="connsiteY6" fmla="*/ 34089 h 96300"/>
                        <a:gd name="connsiteX7" fmla="*/ 77644 w 95080"/>
                        <a:gd name="connsiteY7" fmla="*/ 76863 h 96300"/>
                        <a:gd name="connsiteX8" fmla="*/ 74099 w 95080"/>
                        <a:gd name="connsiteY8" fmla="*/ 73233 h 96300"/>
                        <a:gd name="connsiteX9" fmla="*/ 64944 w 95080"/>
                        <a:gd name="connsiteY9" fmla="*/ 95997 h 96300"/>
                        <a:gd name="connsiteX10" fmla="*/ 43884 w 95080"/>
                        <a:gd name="connsiteY10" fmla="*/ 84900 h 963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95080" h="96300">
                          <a:moveTo>
                            <a:pt x="43884" y="84900"/>
                          </a:moveTo>
                          <a:cubicBezTo>
                            <a:pt x="33533" y="79702"/>
                            <a:pt x="8225" y="86644"/>
                            <a:pt x="2840" y="64806"/>
                          </a:cubicBezTo>
                          <a:cubicBezTo>
                            <a:pt x="-2545" y="42968"/>
                            <a:pt x="724" y="38039"/>
                            <a:pt x="4428" y="26770"/>
                          </a:cubicBezTo>
                          <a:cubicBezTo>
                            <a:pt x="7509" y="1411"/>
                            <a:pt x="4426" y="-4922"/>
                            <a:pt x="9189" y="3530"/>
                          </a:cubicBezTo>
                          <a:cubicBezTo>
                            <a:pt x="13952" y="11982"/>
                            <a:pt x="39630" y="33656"/>
                            <a:pt x="44909" y="33111"/>
                          </a:cubicBezTo>
                          <a:cubicBezTo>
                            <a:pt x="50188" y="32566"/>
                            <a:pt x="45647" y="25451"/>
                            <a:pt x="50392" y="28783"/>
                          </a:cubicBezTo>
                          <a:cubicBezTo>
                            <a:pt x="55137" y="32115"/>
                            <a:pt x="92251" y="28717"/>
                            <a:pt x="94809" y="34089"/>
                          </a:cubicBezTo>
                          <a:cubicBezTo>
                            <a:pt x="97367" y="39461"/>
                            <a:pt x="81096" y="70339"/>
                            <a:pt x="77644" y="76863"/>
                          </a:cubicBezTo>
                          <a:cubicBezTo>
                            <a:pt x="74192" y="83387"/>
                            <a:pt x="74099" y="51900"/>
                            <a:pt x="74099" y="73233"/>
                          </a:cubicBezTo>
                          <a:cubicBezTo>
                            <a:pt x="74099" y="94566"/>
                            <a:pt x="69980" y="94053"/>
                            <a:pt x="64944" y="95997"/>
                          </a:cubicBezTo>
                          <a:cubicBezTo>
                            <a:pt x="59908" y="97942"/>
                            <a:pt x="54235" y="90098"/>
                            <a:pt x="43884" y="8490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US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10" name="DF"/>
                    <p:cNvSpPr/>
                    <p:nvPr/>
                  </p:nvSpPr>
                  <p:spPr bwMode="auto">
                    <a:xfrm rot="10800000">
                      <a:off x="5951220" y="2354580"/>
                      <a:ext cx="76322" cy="47481"/>
                    </a:xfrm>
                    <a:custGeom>
                      <a:avLst/>
                      <a:gdLst>
                        <a:gd name="connsiteX0" fmla="*/ 0 w 92922"/>
                        <a:gd name="connsiteY0" fmla="*/ 38626 h 77251"/>
                        <a:gd name="connsiteX1" fmla="*/ 46461 w 92922"/>
                        <a:gd name="connsiteY1" fmla="*/ 0 h 77251"/>
                        <a:gd name="connsiteX2" fmla="*/ 92922 w 92922"/>
                        <a:gd name="connsiteY2" fmla="*/ 38626 h 77251"/>
                        <a:gd name="connsiteX3" fmla="*/ 46461 w 92922"/>
                        <a:gd name="connsiteY3" fmla="*/ 77252 h 77251"/>
                        <a:gd name="connsiteX4" fmla="*/ 0 w 92922"/>
                        <a:gd name="connsiteY4" fmla="*/ 38626 h 77251"/>
                        <a:gd name="connsiteX0" fmla="*/ 2773 w 95695"/>
                        <a:gd name="connsiteY0" fmla="*/ 46630 h 85256"/>
                        <a:gd name="connsiteX1" fmla="*/ 10043 w 95695"/>
                        <a:gd name="connsiteY1" fmla="*/ 3241 h 85256"/>
                        <a:gd name="connsiteX2" fmla="*/ 49234 w 95695"/>
                        <a:gd name="connsiteY2" fmla="*/ 8004 h 85256"/>
                        <a:gd name="connsiteX3" fmla="*/ 95695 w 95695"/>
                        <a:gd name="connsiteY3" fmla="*/ 46630 h 85256"/>
                        <a:gd name="connsiteX4" fmla="*/ 49234 w 95695"/>
                        <a:gd name="connsiteY4" fmla="*/ 85256 h 85256"/>
                        <a:gd name="connsiteX5" fmla="*/ 2773 w 95695"/>
                        <a:gd name="connsiteY5" fmla="*/ 46630 h 85256"/>
                        <a:gd name="connsiteX0" fmla="*/ 2217 w 98314"/>
                        <a:gd name="connsiteY0" fmla="*/ 62505 h 85631"/>
                        <a:gd name="connsiteX1" fmla="*/ 12662 w 98314"/>
                        <a:gd name="connsiteY1" fmla="*/ 3241 h 85631"/>
                        <a:gd name="connsiteX2" fmla="*/ 51853 w 98314"/>
                        <a:gd name="connsiteY2" fmla="*/ 8004 h 85631"/>
                        <a:gd name="connsiteX3" fmla="*/ 98314 w 98314"/>
                        <a:gd name="connsiteY3" fmla="*/ 46630 h 85631"/>
                        <a:gd name="connsiteX4" fmla="*/ 51853 w 98314"/>
                        <a:gd name="connsiteY4" fmla="*/ 85256 h 85631"/>
                        <a:gd name="connsiteX5" fmla="*/ 2217 w 98314"/>
                        <a:gd name="connsiteY5" fmla="*/ 62505 h 85631"/>
                        <a:gd name="connsiteX0" fmla="*/ 2659 w 98756"/>
                        <a:gd name="connsiteY0" fmla="*/ 62505 h 69284"/>
                        <a:gd name="connsiteX1" fmla="*/ 13104 w 98756"/>
                        <a:gd name="connsiteY1" fmla="*/ 3241 h 69284"/>
                        <a:gd name="connsiteX2" fmla="*/ 52295 w 98756"/>
                        <a:gd name="connsiteY2" fmla="*/ 8004 h 69284"/>
                        <a:gd name="connsiteX3" fmla="*/ 98756 w 98756"/>
                        <a:gd name="connsiteY3" fmla="*/ 46630 h 69284"/>
                        <a:gd name="connsiteX4" fmla="*/ 58645 w 98756"/>
                        <a:gd name="connsiteY4" fmla="*/ 66206 h 69284"/>
                        <a:gd name="connsiteX5" fmla="*/ 2659 w 98756"/>
                        <a:gd name="connsiteY5" fmla="*/ 62505 h 69284"/>
                        <a:gd name="connsiteX0" fmla="*/ 2659 w 98756"/>
                        <a:gd name="connsiteY0" fmla="*/ 62150 h 69531"/>
                        <a:gd name="connsiteX1" fmla="*/ 13104 w 98756"/>
                        <a:gd name="connsiteY1" fmla="*/ 2886 h 69531"/>
                        <a:gd name="connsiteX2" fmla="*/ 52295 w 98756"/>
                        <a:gd name="connsiteY2" fmla="*/ 7649 h 69531"/>
                        <a:gd name="connsiteX3" fmla="*/ 98756 w 98756"/>
                        <a:gd name="connsiteY3" fmla="*/ 36750 h 69531"/>
                        <a:gd name="connsiteX4" fmla="*/ 58645 w 98756"/>
                        <a:gd name="connsiteY4" fmla="*/ 65851 h 69531"/>
                        <a:gd name="connsiteX5" fmla="*/ 2659 w 98756"/>
                        <a:gd name="connsiteY5" fmla="*/ 62150 h 69531"/>
                        <a:gd name="connsiteX0" fmla="*/ 2659 w 98756"/>
                        <a:gd name="connsiteY0" fmla="*/ 69247 h 76628"/>
                        <a:gd name="connsiteX1" fmla="*/ 13104 w 98756"/>
                        <a:gd name="connsiteY1" fmla="*/ 9983 h 76628"/>
                        <a:gd name="connsiteX2" fmla="*/ 58645 w 98756"/>
                        <a:gd name="connsiteY2" fmla="*/ 2046 h 76628"/>
                        <a:gd name="connsiteX3" fmla="*/ 98756 w 98756"/>
                        <a:gd name="connsiteY3" fmla="*/ 43847 h 76628"/>
                        <a:gd name="connsiteX4" fmla="*/ 58645 w 98756"/>
                        <a:gd name="connsiteY4" fmla="*/ 72948 h 76628"/>
                        <a:gd name="connsiteX5" fmla="*/ 2659 w 98756"/>
                        <a:gd name="connsiteY5" fmla="*/ 69247 h 76628"/>
                        <a:gd name="connsiteX0" fmla="*/ 12211 w 108308"/>
                        <a:gd name="connsiteY0" fmla="*/ 72519 h 80420"/>
                        <a:gd name="connsiteX1" fmla="*/ 3606 w 108308"/>
                        <a:gd name="connsiteY1" fmla="*/ 4803 h 80420"/>
                        <a:gd name="connsiteX2" fmla="*/ 68197 w 108308"/>
                        <a:gd name="connsiteY2" fmla="*/ 5318 h 80420"/>
                        <a:gd name="connsiteX3" fmla="*/ 108308 w 108308"/>
                        <a:gd name="connsiteY3" fmla="*/ 47119 h 80420"/>
                        <a:gd name="connsiteX4" fmla="*/ 68197 w 108308"/>
                        <a:gd name="connsiteY4" fmla="*/ 76220 h 80420"/>
                        <a:gd name="connsiteX5" fmla="*/ 12211 w 108308"/>
                        <a:gd name="connsiteY5" fmla="*/ 72519 h 80420"/>
                        <a:gd name="connsiteX0" fmla="*/ 2818 w 127490"/>
                        <a:gd name="connsiteY0" fmla="*/ 76745 h 83125"/>
                        <a:gd name="connsiteX1" fmla="*/ 22788 w 127490"/>
                        <a:gd name="connsiteY1" fmla="*/ 4803 h 83125"/>
                        <a:gd name="connsiteX2" fmla="*/ 87379 w 127490"/>
                        <a:gd name="connsiteY2" fmla="*/ 5318 h 83125"/>
                        <a:gd name="connsiteX3" fmla="*/ 127490 w 127490"/>
                        <a:gd name="connsiteY3" fmla="*/ 47119 h 83125"/>
                        <a:gd name="connsiteX4" fmla="*/ 87379 w 127490"/>
                        <a:gd name="connsiteY4" fmla="*/ 76220 h 83125"/>
                        <a:gd name="connsiteX5" fmla="*/ 2818 w 127490"/>
                        <a:gd name="connsiteY5" fmla="*/ 76745 h 83125"/>
                        <a:gd name="connsiteX0" fmla="*/ 4020 w 128692"/>
                        <a:gd name="connsiteY0" fmla="*/ 76745 h 85175"/>
                        <a:gd name="connsiteX1" fmla="*/ 23990 w 128692"/>
                        <a:gd name="connsiteY1" fmla="*/ 4803 h 85175"/>
                        <a:gd name="connsiteX2" fmla="*/ 88581 w 128692"/>
                        <a:gd name="connsiteY2" fmla="*/ 5318 h 85175"/>
                        <a:gd name="connsiteX3" fmla="*/ 128692 w 128692"/>
                        <a:gd name="connsiteY3" fmla="*/ 47119 h 85175"/>
                        <a:gd name="connsiteX4" fmla="*/ 107631 w 128692"/>
                        <a:gd name="connsiteY4" fmla="*/ 80446 h 85175"/>
                        <a:gd name="connsiteX5" fmla="*/ 4020 w 128692"/>
                        <a:gd name="connsiteY5" fmla="*/ 76745 h 85175"/>
                        <a:gd name="connsiteX0" fmla="*/ 311 w 124983"/>
                        <a:gd name="connsiteY0" fmla="*/ 114981 h 126242"/>
                        <a:gd name="connsiteX1" fmla="*/ 71081 w 124983"/>
                        <a:gd name="connsiteY1" fmla="*/ 780 h 126242"/>
                        <a:gd name="connsiteX2" fmla="*/ 84872 w 124983"/>
                        <a:gd name="connsiteY2" fmla="*/ 43554 h 126242"/>
                        <a:gd name="connsiteX3" fmla="*/ 124983 w 124983"/>
                        <a:gd name="connsiteY3" fmla="*/ 85355 h 126242"/>
                        <a:gd name="connsiteX4" fmla="*/ 103922 w 124983"/>
                        <a:gd name="connsiteY4" fmla="*/ 118682 h 126242"/>
                        <a:gd name="connsiteX5" fmla="*/ 311 w 124983"/>
                        <a:gd name="connsiteY5" fmla="*/ 114981 h 126242"/>
                        <a:gd name="connsiteX0" fmla="*/ 3123 w 127795"/>
                        <a:gd name="connsiteY0" fmla="*/ 136754 h 149197"/>
                        <a:gd name="connsiteX1" fmla="*/ 31136 w 127795"/>
                        <a:gd name="connsiteY1" fmla="*/ 5728 h 149197"/>
                        <a:gd name="connsiteX2" fmla="*/ 73893 w 127795"/>
                        <a:gd name="connsiteY2" fmla="*/ 22553 h 149197"/>
                        <a:gd name="connsiteX3" fmla="*/ 87684 w 127795"/>
                        <a:gd name="connsiteY3" fmla="*/ 65327 h 149197"/>
                        <a:gd name="connsiteX4" fmla="*/ 127795 w 127795"/>
                        <a:gd name="connsiteY4" fmla="*/ 107128 h 149197"/>
                        <a:gd name="connsiteX5" fmla="*/ 106734 w 127795"/>
                        <a:gd name="connsiteY5" fmla="*/ 140455 h 149197"/>
                        <a:gd name="connsiteX6" fmla="*/ 3123 w 127795"/>
                        <a:gd name="connsiteY6" fmla="*/ 136754 h 149197"/>
                        <a:gd name="connsiteX0" fmla="*/ 9048 w 133720"/>
                        <a:gd name="connsiteY0" fmla="*/ 185654 h 201733"/>
                        <a:gd name="connsiteX1" fmla="*/ 8486 w 133720"/>
                        <a:gd name="connsiteY1" fmla="*/ 3916 h 201733"/>
                        <a:gd name="connsiteX2" fmla="*/ 37061 w 133720"/>
                        <a:gd name="connsiteY2" fmla="*/ 54628 h 201733"/>
                        <a:gd name="connsiteX3" fmla="*/ 79818 w 133720"/>
                        <a:gd name="connsiteY3" fmla="*/ 71453 h 201733"/>
                        <a:gd name="connsiteX4" fmla="*/ 93609 w 133720"/>
                        <a:gd name="connsiteY4" fmla="*/ 114227 h 201733"/>
                        <a:gd name="connsiteX5" fmla="*/ 133720 w 133720"/>
                        <a:gd name="connsiteY5" fmla="*/ 156028 h 201733"/>
                        <a:gd name="connsiteX6" fmla="*/ 112659 w 133720"/>
                        <a:gd name="connsiteY6" fmla="*/ 189355 h 201733"/>
                        <a:gd name="connsiteX7" fmla="*/ 9048 w 133720"/>
                        <a:gd name="connsiteY7" fmla="*/ 185654 h 201733"/>
                        <a:gd name="connsiteX0" fmla="*/ 9048 w 133720"/>
                        <a:gd name="connsiteY0" fmla="*/ 192718 h 208797"/>
                        <a:gd name="connsiteX1" fmla="*/ 8486 w 133720"/>
                        <a:gd name="connsiteY1" fmla="*/ 10980 h 208797"/>
                        <a:gd name="connsiteX2" fmla="*/ 37061 w 133720"/>
                        <a:gd name="connsiteY2" fmla="*/ 19432 h 208797"/>
                        <a:gd name="connsiteX3" fmla="*/ 37061 w 133720"/>
                        <a:gd name="connsiteY3" fmla="*/ 61692 h 208797"/>
                        <a:gd name="connsiteX4" fmla="*/ 79818 w 133720"/>
                        <a:gd name="connsiteY4" fmla="*/ 78517 h 208797"/>
                        <a:gd name="connsiteX5" fmla="*/ 93609 w 133720"/>
                        <a:gd name="connsiteY5" fmla="*/ 121291 h 208797"/>
                        <a:gd name="connsiteX6" fmla="*/ 133720 w 133720"/>
                        <a:gd name="connsiteY6" fmla="*/ 163092 h 208797"/>
                        <a:gd name="connsiteX7" fmla="*/ 112659 w 133720"/>
                        <a:gd name="connsiteY7" fmla="*/ 196419 h 208797"/>
                        <a:gd name="connsiteX8" fmla="*/ 9048 w 133720"/>
                        <a:gd name="connsiteY8" fmla="*/ 192718 h 208797"/>
                        <a:gd name="connsiteX0" fmla="*/ 33011 w 125933"/>
                        <a:gd name="connsiteY0" fmla="*/ 142007 h 196916"/>
                        <a:gd name="connsiteX1" fmla="*/ 699 w 125933"/>
                        <a:gd name="connsiteY1" fmla="*/ 10980 h 196916"/>
                        <a:gd name="connsiteX2" fmla="*/ 29274 w 125933"/>
                        <a:gd name="connsiteY2" fmla="*/ 19432 h 196916"/>
                        <a:gd name="connsiteX3" fmla="*/ 29274 w 125933"/>
                        <a:gd name="connsiteY3" fmla="*/ 61692 h 196916"/>
                        <a:gd name="connsiteX4" fmla="*/ 72031 w 125933"/>
                        <a:gd name="connsiteY4" fmla="*/ 78517 h 196916"/>
                        <a:gd name="connsiteX5" fmla="*/ 85822 w 125933"/>
                        <a:gd name="connsiteY5" fmla="*/ 121291 h 196916"/>
                        <a:gd name="connsiteX6" fmla="*/ 125933 w 125933"/>
                        <a:gd name="connsiteY6" fmla="*/ 163092 h 196916"/>
                        <a:gd name="connsiteX7" fmla="*/ 104872 w 125933"/>
                        <a:gd name="connsiteY7" fmla="*/ 196419 h 196916"/>
                        <a:gd name="connsiteX8" fmla="*/ 33011 w 125933"/>
                        <a:gd name="connsiteY8" fmla="*/ 142007 h 196916"/>
                        <a:gd name="connsiteX0" fmla="*/ 49204 w 142126"/>
                        <a:gd name="connsiteY0" fmla="*/ 142007 h 196916"/>
                        <a:gd name="connsiteX1" fmla="*/ 1017 w 142126"/>
                        <a:gd name="connsiteY1" fmla="*/ 61692 h 196916"/>
                        <a:gd name="connsiteX2" fmla="*/ 16892 w 142126"/>
                        <a:gd name="connsiteY2" fmla="*/ 10980 h 196916"/>
                        <a:gd name="connsiteX3" fmla="*/ 45467 w 142126"/>
                        <a:gd name="connsiteY3" fmla="*/ 19432 h 196916"/>
                        <a:gd name="connsiteX4" fmla="*/ 45467 w 142126"/>
                        <a:gd name="connsiteY4" fmla="*/ 61692 h 196916"/>
                        <a:gd name="connsiteX5" fmla="*/ 88224 w 142126"/>
                        <a:gd name="connsiteY5" fmla="*/ 78517 h 196916"/>
                        <a:gd name="connsiteX6" fmla="*/ 102015 w 142126"/>
                        <a:gd name="connsiteY6" fmla="*/ 121291 h 196916"/>
                        <a:gd name="connsiteX7" fmla="*/ 142126 w 142126"/>
                        <a:gd name="connsiteY7" fmla="*/ 163092 h 196916"/>
                        <a:gd name="connsiteX8" fmla="*/ 121065 w 142126"/>
                        <a:gd name="connsiteY8" fmla="*/ 196419 h 196916"/>
                        <a:gd name="connsiteX9" fmla="*/ 49204 w 142126"/>
                        <a:gd name="connsiteY9" fmla="*/ 142007 h 196916"/>
                        <a:gd name="connsiteX0" fmla="*/ 49204 w 142126"/>
                        <a:gd name="connsiteY0" fmla="*/ 142007 h 173263"/>
                        <a:gd name="connsiteX1" fmla="*/ 1017 w 142126"/>
                        <a:gd name="connsiteY1" fmla="*/ 61692 h 173263"/>
                        <a:gd name="connsiteX2" fmla="*/ 16892 w 142126"/>
                        <a:gd name="connsiteY2" fmla="*/ 10980 h 173263"/>
                        <a:gd name="connsiteX3" fmla="*/ 45467 w 142126"/>
                        <a:gd name="connsiteY3" fmla="*/ 19432 h 173263"/>
                        <a:gd name="connsiteX4" fmla="*/ 45467 w 142126"/>
                        <a:gd name="connsiteY4" fmla="*/ 61692 h 173263"/>
                        <a:gd name="connsiteX5" fmla="*/ 88224 w 142126"/>
                        <a:gd name="connsiteY5" fmla="*/ 78517 h 173263"/>
                        <a:gd name="connsiteX6" fmla="*/ 102015 w 142126"/>
                        <a:gd name="connsiteY6" fmla="*/ 121291 h 173263"/>
                        <a:gd name="connsiteX7" fmla="*/ 142126 w 142126"/>
                        <a:gd name="connsiteY7" fmla="*/ 163092 h 173263"/>
                        <a:gd name="connsiteX8" fmla="*/ 79790 w 142126"/>
                        <a:gd name="connsiteY8" fmla="*/ 162612 h 173263"/>
                        <a:gd name="connsiteX9" fmla="*/ 49204 w 142126"/>
                        <a:gd name="connsiteY9" fmla="*/ 142007 h 17326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45467 w 110376"/>
                        <a:gd name="connsiteY4" fmla="*/ 61692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62136 w 110376"/>
                        <a:gd name="connsiteY4" fmla="*/ 49014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05613"/>
                        <a:gd name="connsiteY0" fmla="*/ 142007 h 164051"/>
                        <a:gd name="connsiteX1" fmla="*/ 1017 w 105613"/>
                        <a:gd name="connsiteY1" fmla="*/ 61692 h 164051"/>
                        <a:gd name="connsiteX2" fmla="*/ 16892 w 105613"/>
                        <a:gd name="connsiteY2" fmla="*/ 10980 h 164051"/>
                        <a:gd name="connsiteX3" fmla="*/ 45467 w 105613"/>
                        <a:gd name="connsiteY3" fmla="*/ 19432 h 164051"/>
                        <a:gd name="connsiteX4" fmla="*/ 62136 w 105613"/>
                        <a:gd name="connsiteY4" fmla="*/ 49014 h 164051"/>
                        <a:gd name="connsiteX5" fmla="*/ 88224 w 105613"/>
                        <a:gd name="connsiteY5" fmla="*/ 78517 h 164051"/>
                        <a:gd name="connsiteX6" fmla="*/ 102015 w 105613"/>
                        <a:gd name="connsiteY6" fmla="*/ 121291 h 164051"/>
                        <a:gd name="connsiteX7" fmla="*/ 105613 w 105613"/>
                        <a:gd name="connsiteY7" fmla="*/ 111323 h 164051"/>
                        <a:gd name="connsiteX8" fmla="*/ 79790 w 105613"/>
                        <a:gd name="connsiteY8" fmla="*/ 162612 h 164051"/>
                        <a:gd name="connsiteX9" fmla="*/ 49204 w 105613"/>
                        <a:gd name="connsiteY9" fmla="*/ 142007 h 164051"/>
                        <a:gd name="connsiteX0" fmla="*/ 49204 w 105613"/>
                        <a:gd name="connsiteY0" fmla="*/ 142007 h 149974"/>
                        <a:gd name="connsiteX1" fmla="*/ 1017 w 105613"/>
                        <a:gd name="connsiteY1" fmla="*/ 61692 h 149974"/>
                        <a:gd name="connsiteX2" fmla="*/ 16892 w 105613"/>
                        <a:gd name="connsiteY2" fmla="*/ 10980 h 149974"/>
                        <a:gd name="connsiteX3" fmla="*/ 45467 w 105613"/>
                        <a:gd name="connsiteY3" fmla="*/ 19432 h 149974"/>
                        <a:gd name="connsiteX4" fmla="*/ 62136 w 105613"/>
                        <a:gd name="connsiteY4" fmla="*/ 49014 h 149974"/>
                        <a:gd name="connsiteX5" fmla="*/ 88224 w 105613"/>
                        <a:gd name="connsiteY5" fmla="*/ 78517 h 149974"/>
                        <a:gd name="connsiteX6" fmla="*/ 102015 w 105613"/>
                        <a:gd name="connsiteY6" fmla="*/ 121291 h 149974"/>
                        <a:gd name="connsiteX7" fmla="*/ 105613 w 105613"/>
                        <a:gd name="connsiteY7" fmla="*/ 111323 h 149974"/>
                        <a:gd name="connsiteX8" fmla="*/ 89315 w 105613"/>
                        <a:gd name="connsiteY8" fmla="*/ 143596 h 149974"/>
                        <a:gd name="connsiteX9" fmla="*/ 49204 w 105613"/>
                        <a:gd name="connsiteY9" fmla="*/ 142007 h 149974"/>
                        <a:gd name="connsiteX0" fmla="*/ 53967 w 105613"/>
                        <a:gd name="connsiteY0" fmla="*/ 122990 h 143862"/>
                        <a:gd name="connsiteX1" fmla="*/ 1017 w 105613"/>
                        <a:gd name="connsiteY1" fmla="*/ 61692 h 143862"/>
                        <a:gd name="connsiteX2" fmla="*/ 16892 w 105613"/>
                        <a:gd name="connsiteY2" fmla="*/ 10980 h 143862"/>
                        <a:gd name="connsiteX3" fmla="*/ 45467 w 105613"/>
                        <a:gd name="connsiteY3" fmla="*/ 19432 h 143862"/>
                        <a:gd name="connsiteX4" fmla="*/ 62136 w 105613"/>
                        <a:gd name="connsiteY4" fmla="*/ 49014 h 143862"/>
                        <a:gd name="connsiteX5" fmla="*/ 88224 w 105613"/>
                        <a:gd name="connsiteY5" fmla="*/ 78517 h 143862"/>
                        <a:gd name="connsiteX6" fmla="*/ 102015 w 105613"/>
                        <a:gd name="connsiteY6" fmla="*/ 121291 h 143862"/>
                        <a:gd name="connsiteX7" fmla="*/ 105613 w 105613"/>
                        <a:gd name="connsiteY7" fmla="*/ 111323 h 143862"/>
                        <a:gd name="connsiteX8" fmla="*/ 89315 w 105613"/>
                        <a:gd name="connsiteY8" fmla="*/ 143596 h 143862"/>
                        <a:gd name="connsiteX9" fmla="*/ 53967 w 105613"/>
                        <a:gd name="connsiteY9" fmla="*/ 122990 h 143862"/>
                        <a:gd name="connsiteX0" fmla="*/ 40087 w 91733"/>
                        <a:gd name="connsiteY0" fmla="*/ 122990 h 143903"/>
                        <a:gd name="connsiteX1" fmla="*/ 3806 w 91733"/>
                        <a:gd name="connsiteY1" fmla="*/ 52185 h 143903"/>
                        <a:gd name="connsiteX2" fmla="*/ 3012 w 91733"/>
                        <a:gd name="connsiteY2" fmla="*/ 10980 h 143903"/>
                        <a:gd name="connsiteX3" fmla="*/ 31587 w 91733"/>
                        <a:gd name="connsiteY3" fmla="*/ 19432 h 143903"/>
                        <a:gd name="connsiteX4" fmla="*/ 48256 w 91733"/>
                        <a:gd name="connsiteY4" fmla="*/ 49014 h 143903"/>
                        <a:gd name="connsiteX5" fmla="*/ 74344 w 91733"/>
                        <a:gd name="connsiteY5" fmla="*/ 78517 h 143903"/>
                        <a:gd name="connsiteX6" fmla="*/ 88135 w 91733"/>
                        <a:gd name="connsiteY6" fmla="*/ 121291 h 143903"/>
                        <a:gd name="connsiteX7" fmla="*/ 91733 w 91733"/>
                        <a:gd name="connsiteY7" fmla="*/ 111323 h 143903"/>
                        <a:gd name="connsiteX8" fmla="*/ 75435 w 91733"/>
                        <a:gd name="connsiteY8" fmla="*/ 143596 h 143903"/>
                        <a:gd name="connsiteX9" fmla="*/ 40087 w 91733"/>
                        <a:gd name="connsiteY9" fmla="*/ 122990 h 143903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88135 w 91733"/>
                        <a:gd name="connsiteY6" fmla="*/ 121291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78610 w 91733"/>
                        <a:gd name="connsiteY6" fmla="*/ 102275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24433"/>
                        <a:gd name="connsiteX1" fmla="*/ 3806 w 91733"/>
                        <a:gd name="connsiteY1" fmla="*/ 52185 h 124433"/>
                        <a:gd name="connsiteX2" fmla="*/ 3012 w 91733"/>
                        <a:gd name="connsiteY2" fmla="*/ 10980 h 124433"/>
                        <a:gd name="connsiteX3" fmla="*/ 31587 w 91733"/>
                        <a:gd name="connsiteY3" fmla="*/ 19432 h 124433"/>
                        <a:gd name="connsiteX4" fmla="*/ 48256 w 91733"/>
                        <a:gd name="connsiteY4" fmla="*/ 49014 h 124433"/>
                        <a:gd name="connsiteX5" fmla="*/ 74344 w 91733"/>
                        <a:gd name="connsiteY5" fmla="*/ 78517 h 124433"/>
                        <a:gd name="connsiteX6" fmla="*/ 78610 w 91733"/>
                        <a:gd name="connsiteY6" fmla="*/ 102275 h 124433"/>
                        <a:gd name="connsiteX7" fmla="*/ 91733 w 91733"/>
                        <a:gd name="connsiteY7" fmla="*/ 111323 h 124433"/>
                        <a:gd name="connsiteX8" fmla="*/ 65910 w 91733"/>
                        <a:gd name="connsiteY8" fmla="*/ 121409 h 124433"/>
                        <a:gd name="connsiteX9" fmla="*/ 44850 w 91733"/>
                        <a:gd name="connsiteY9" fmla="*/ 110312 h 124433"/>
                        <a:gd name="connsiteX0" fmla="*/ 44850 w 79374"/>
                        <a:gd name="connsiteY0" fmla="*/ 110312 h 122122"/>
                        <a:gd name="connsiteX1" fmla="*/ 3806 w 79374"/>
                        <a:gd name="connsiteY1" fmla="*/ 52185 h 122122"/>
                        <a:gd name="connsiteX2" fmla="*/ 3012 w 79374"/>
                        <a:gd name="connsiteY2" fmla="*/ 10980 h 122122"/>
                        <a:gd name="connsiteX3" fmla="*/ 31587 w 79374"/>
                        <a:gd name="connsiteY3" fmla="*/ 19432 h 122122"/>
                        <a:gd name="connsiteX4" fmla="*/ 48256 w 79374"/>
                        <a:gd name="connsiteY4" fmla="*/ 49014 h 122122"/>
                        <a:gd name="connsiteX5" fmla="*/ 74344 w 79374"/>
                        <a:gd name="connsiteY5" fmla="*/ 78517 h 122122"/>
                        <a:gd name="connsiteX6" fmla="*/ 78610 w 79374"/>
                        <a:gd name="connsiteY6" fmla="*/ 102275 h 122122"/>
                        <a:gd name="connsiteX7" fmla="*/ 75065 w 79374"/>
                        <a:gd name="connsiteY7" fmla="*/ 98645 h 122122"/>
                        <a:gd name="connsiteX8" fmla="*/ 65910 w 79374"/>
                        <a:gd name="connsiteY8" fmla="*/ 121409 h 122122"/>
                        <a:gd name="connsiteX9" fmla="*/ 44850 w 79374"/>
                        <a:gd name="connsiteY9" fmla="*/ 110312 h 122122"/>
                        <a:gd name="connsiteX0" fmla="*/ 42560 w 77084"/>
                        <a:gd name="connsiteY0" fmla="*/ 94411 h 106222"/>
                        <a:gd name="connsiteX1" fmla="*/ 1516 w 77084"/>
                        <a:gd name="connsiteY1" fmla="*/ 36284 h 106222"/>
                        <a:gd name="connsiteX2" fmla="*/ 10247 w 77084"/>
                        <a:gd name="connsiteY2" fmla="*/ 26774 h 106222"/>
                        <a:gd name="connsiteX3" fmla="*/ 29297 w 77084"/>
                        <a:gd name="connsiteY3" fmla="*/ 3531 h 106222"/>
                        <a:gd name="connsiteX4" fmla="*/ 45966 w 77084"/>
                        <a:gd name="connsiteY4" fmla="*/ 33113 h 106222"/>
                        <a:gd name="connsiteX5" fmla="*/ 72054 w 77084"/>
                        <a:gd name="connsiteY5" fmla="*/ 62616 h 106222"/>
                        <a:gd name="connsiteX6" fmla="*/ 76320 w 77084"/>
                        <a:gd name="connsiteY6" fmla="*/ 86374 h 106222"/>
                        <a:gd name="connsiteX7" fmla="*/ 72775 w 77084"/>
                        <a:gd name="connsiteY7" fmla="*/ 82744 h 106222"/>
                        <a:gd name="connsiteX8" fmla="*/ 63620 w 77084"/>
                        <a:gd name="connsiteY8" fmla="*/ 105508 h 106222"/>
                        <a:gd name="connsiteX9" fmla="*/ 42560 w 77084"/>
                        <a:gd name="connsiteY9" fmla="*/ 94411 h 106222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5966 w 77084"/>
                        <a:gd name="connsiteY4" fmla="*/ 21320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3585 w 77084"/>
                        <a:gd name="connsiteY4" fmla="*/ 30829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018"/>
                        <a:gd name="connsiteX1" fmla="*/ 1516 w 77084"/>
                        <a:gd name="connsiteY1" fmla="*/ 62524 h 94018"/>
                        <a:gd name="connsiteX2" fmla="*/ 10247 w 77084"/>
                        <a:gd name="connsiteY2" fmla="*/ 14981 h 94018"/>
                        <a:gd name="connsiteX3" fmla="*/ 29297 w 77084"/>
                        <a:gd name="connsiteY3" fmla="*/ 10756 h 94018"/>
                        <a:gd name="connsiteX4" fmla="*/ 43585 w 77084"/>
                        <a:gd name="connsiteY4" fmla="*/ 30829 h 94018"/>
                        <a:gd name="connsiteX5" fmla="*/ 72054 w 77084"/>
                        <a:gd name="connsiteY5" fmla="*/ 50823 h 94018"/>
                        <a:gd name="connsiteX6" fmla="*/ 76320 w 77084"/>
                        <a:gd name="connsiteY6" fmla="*/ 74581 h 94018"/>
                        <a:gd name="connsiteX7" fmla="*/ 72775 w 77084"/>
                        <a:gd name="connsiteY7" fmla="*/ 70951 h 94018"/>
                        <a:gd name="connsiteX8" fmla="*/ 63620 w 77084"/>
                        <a:gd name="connsiteY8" fmla="*/ 93715 h 94018"/>
                        <a:gd name="connsiteX9" fmla="*/ 42560 w 77084"/>
                        <a:gd name="connsiteY9" fmla="*/ 82618 h 94018"/>
                        <a:gd name="connsiteX0" fmla="*/ 42560 w 77084"/>
                        <a:gd name="connsiteY0" fmla="*/ 73899 h 85299"/>
                        <a:gd name="connsiteX1" fmla="*/ 1516 w 77084"/>
                        <a:gd name="connsiteY1" fmla="*/ 53805 h 85299"/>
                        <a:gd name="connsiteX2" fmla="*/ 10247 w 77084"/>
                        <a:gd name="connsiteY2" fmla="*/ 37955 h 85299"/>
                        <a:gd name="connsiteX3" fmla="*/ 29297 w 77084"/>
                        <a:gd name="connsiteY3" fmla="*/ 2037 h 85299"/>
                        <a:gd name="connsiteX4" fmla="*/ 43585 w 77084"/>
                        <a:gd name="connsiteY4" fmla="*/ 22110 h 85299"/>
                        <a:gd name="connsiteX5" fmla="*/ 72054 w 77084"/>
                        <a:gd name="connsiteY5" fmla="*/ 42104 h 85299"/>
                        <a:gd name="connsiteX6" fmla="*/ 76320 w 77084"/>
                        <a:gd name="connsiteY6" fmla="*/ 65862 h 85299"/>
                        <a:gd name="connsiteX7" fmla="*/ 72775 w 77084"/>
                        <a:gd name="connsiteY7" fmla="*/ 62232 h 85299"/>
                        <a:gd name="connsiteX8" fmla="*/ 63620 w 77084"/>
                        <a:gd name="connsiteY8" fmla="*/ 84996 h 85299"/>
                        <a:gd name="connsiteX9" fmla="*/ 42560 w 77084"/>
                        <a:gd name="connsiteY9" fmla="*/ 73899 h 85299"/>
                        <a:gd name="connsiteX0" fmla="*/ 42560 w 77084"/>
                        <a:gd name="connsiteY0" fmla="*/ 52685 h 64085"/>
                        <a:gd name="connsiteX1" fmla="*/ 1516 w 77084"/>
                        <a:gd name="connsiteY1" fmla="*/ 32591 h 64085"/>
                        <a:gd name="connsiteX2" fmla="*/ 10247 w 77084"/>
                        <a:gd name="connsiteY2" fmla="*/ 16741 h 64085"/>
                        <a:gd name="connsiteX3" fmla="*/ 29297 w 77084"/>
                        <a:gd name="connsiteY3" fmla="*/ 15687 h 64085"/>
                        <a:gd name="connsiteX4" fmla="*/ 43585 w 77084"/>
                        <a:gd name="connsiteY4" fmla="*/ 896 h 64085"/>
                        <a:gd name="connsiteX5" fmla="*/ 72054 w 77084"/>
                        <a:gd name="connsiteY5" fmla="*/ 20890 h 64085"/>
                        <a:gd name="connsiteX6" fmla="*/ 76320 w 77084"/>
                        <a:gd name="connsiteY6" fmla="*/ 44648 h 64085"/>
                        <a:gd name="connsiteX7" fmla="*/ 72775 w 77084"/>
                        <a:gd name="connsiteY7" fmla="*/ 41018 h 64085"/>
                        <a:gd name="connsiteX8" fmla="*/ 63620 w 77084"/>
                        <a:gd name="connsiteY8" fmla="*/ 63782 h 64085"/>
                        <a:gd name="connsiteX9" fmla="*/ 42560 w 77084"/>
                        <a:gd name="connsiteY9" fmla="*/ 52685 h 64085"/>
                        <a:gd name="connsiteX0" fmla="*/ 42560 w 76322"/>
                        <a:gd name="connsiteY0" fmla="*/ 51797 h 63197"/>
                        <a:gd name="connsiteX1" fmla="*/ 1516 w 76322"/>
                        <a:gd name="connsiteY1" fmla="*/ 31703 h 63197"/>
                        <a:gd name="connsiteX2" fmla="*/ 10247 w 76322"/>
                        <a:gd name="connsiteY2" fmla="*/ 15853 h 63197"/>
                        <a:gd name="connsiteX3" fmla="*/ 29297 w 76322"/>
                        <a:gd name="connsiteY3" fmla="*/ 14799 h 63197"/>
                        <a:gd name="connsiteX4" fmla="*/ 43585 w 76322"/>
                        <a:gd name="connsiteY4" fmla="*/ 8 h 63197"/>
                        <a:gd name="connsiteX5" fmla="*/ 44305 w 76322"/>
                        <a:gd name="connsiteY5" fmla="*/ 30542 h 63197"/>
                        <a:gd name="connsiteX6" fmla="*/ 72054 w 76322"/>
                        <a:gd name="connsiteY6" fmla="*/ 20002 h 63197"/>
                        <a:gd name="connsiteX7" fmla="*/ 76320 w 76322"/>
                        <a:gd name="connsiteY7" fmla="*/ 43760 h 63197"/>
                        <a:gd name="connsiteX8" fmla="*/ 72775 w 76322"/>
                        <a:gd name="connsiteY8" fmla="*/ 40130 h 63197"/>
                        <a:gd name="connsiteX9" fmla="*/ 63620 w 76322"/>
                        <a:gd name="connsiteY9" fmla="*/ 62894 h 63197"/>
                        <a:gd name="connsiteX10" fmla="*/ 42560 w 76322"/>
                        <a:gd name="connsiteY10" fmla="*/ 51797 h 6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322" h="63197">
                          <a:moveTo>
                            <a:pt x="42560" y="51797"/>
                          </a:moveTo>
                          <a:cubicBezTo>
                            <a:pt x="32209" y="46599"/>
                            <a:pt x="6901" y="53541"/>
                            <a:pt x="1516" y="31703"/>
                          </a:cubicBezTo>
                          <a:cubicBezTo>
                            <a:pt x="-3869" y="9865"/>
                            <a:pt x="6543" y="27122"/>
                            <a:pt x="10247" y="15853"/>
                          </a:cubicBezTo>
                          <a:cubicBezTo>
                            <a:pt x="13328" y="-9506"/>
                            <a:pt x="24534" y="6347"/>
                            <a:pt x="29297" y="14799"/>
                          </a:cubicBezTo>
                          <a:cubicBezTo>
                            <a:pt x="34060" y="23251"/>
                            <a:pt x="38306" y="553"/>
                            <a:pt x="43585" y="8"/>
                          </a:cubicBezTo>
                          <a:cubicBezTo>
                            <a:pt x="48864" y="-537"/>
                            <a:pt x="39560" y="27210"/>
                            <a:pt x="44305" y="30542"/>
                          </a:cubicBezTo>
                          <a:cubicBezTo>
                            <a:pt x="49050" y="33874"/>
                            <a:pt x="69496" y="14630"/>
                            <a:pt x="72054" y="20002"/>
                          </a:cubicBezTo>
                          <a:cubicBezTo>
                            <a:pt x="74612" y="25374"/>
                            <a:pt x="76200" y="40405"/>
                            <a:pt x="76320" y="43760"/>
                          </a:cubicBezTo>
                          <a:cubicBezTo>
                            <a:pt x="76440" y="47115"/>
                            <a:pt x="72775" y="18797"/>
                            <a:pt x="72775" y="40130"/>
                          </a:cubicBezTo>
                          <a:cubicBezTo>
                            <a:pt x="72775" y="61463"/>
                            <a:pt x="68656" y="60950"/>
                            <a:pt x="63620" y="62894"/>
                          </a:cubicBezTo>
                          <a:cubicBezTo>
                            <a:pt x="58584" y="64839"/>
                            <a:pt x="52911" y="56995"/>
                            <a:pt x="42560" y="5179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US" sz="1100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11" name="DF"/>
                    <p:cNvSpPr/>
                    <p:nvPr/>
                  </p:nvSpPr>
                  <p:spPr bwMode="auto">
                    <a:xfrm rot="10800000">
                      <a:off x="6332098" y="2870979"/>
                      <a:ext cx="76322" cy="47481"/>
                    </a:xfrm>
                    <a:custGeom>
                      <a:avLst/>
                      <a:gdLst>
                        <a:gd name="connsiteX0" fmla="*/ 0 w 92922"/>
                        <a:gd name="connsiteY0" fmla="*/ 38626 h 77251"/>
                        <a:gd name="connsiteX1" fmla="*/ 46461 w 92922"/>
                        <a:gd name="connsiteY1" fmla="*/ 0 h 77251"/>
                        <a:gd name="connsiteX2" fmla="*/ 92922 w 92922"/>
                        <a:gd name="connsiteY2" fmla="*/ 38626 h 77251"/>
                        <a:gd name="connsiteX3" fmla="*/ 46461 w 92922"/>
                        <a:gd name="connsiteY3" fmla="*/ 77252 h 77251"/>
                        <a:gd name="connsiteX4" fmla="*/ 0 w 92922"/>
                        <a:gd name="connsiteY4" fmla="*/ 38626 h 77251"/>
                        <a:gd name="connsiteX0" fmla="*/ 2773 w 95695"/>
                        <a:gd name="connsiteY0" fmla="*/ 46630 h 85256"/>
                        <a:gd name="connsiteX1" fmla="*/ 10043 w 95695"/>
                        <a:gd name="connsiteY1" fmla="*/ 3241 h 85256"/>
                        <a:gd name="connsiteX2" fmla="*/ 49234 w 95695"/>
                        <a:gd name="connsiteY2" fmla="*/ 8004 h 85256"/>
                        <a:gd name="connsiteX3" fmla="*/ 95695 w 95695"/>
                        <a:gd name="connsiteY3" fmla="*/ 46630 h 85256"/>
                        <a:gd name="connsiteX4" fmla="*/ 49234 w 95695"/>
                        <a:gd name="connsiteY4" fmla="*/ 85256 h 85256"/>
                        <a:gd name="connsiteX5" fmla="*/ 2773 w 95695"/>
                        <a:gd name="connsiteY5" fmla="*/ 46630 h 85256"/>
                        <a:gd name="connsiteX0" fmla="*/ 2217 w 98314"/>
                        <a:gd name="connsiteY0" fmla="*/ 62505 h 85631"/>
                        <a:gd name="connsiteX1" fmla="*/ 12662 w 98314"/>
                        <a:gd name="connsiteY1" fmla="*/ 3241 h 85631"/>
                        <a:gd name="connsiteX2" fmla="*/ 51853 w 98314"/>
                        <a:gd name="connsiteY2" fmla="*/ 8004 h 85631"/>
                        <a:gd name="connsiteX3" fmla="*/ 98314 w 98314"/>
                        <a:gd name="connsiteY3" fmla="*/ 46630 h 85631"/>
                        <a:gd name="connsiteX4" fmla="*/ 51853 w 98314"/>
                        <a:gd name="connsiteY4" fmla="*/ 85256 h 85631"/>
                        <a:gd name="connsiteX5" fmla="*/ 2217 w 98314"/>
                        <a:gd name="connsiteY5" fmla="*/ 62505 h 85631"/>
                        <a:gd name="connsiteX0" fmla="*/ 2659 w 98756"/>
                        <a:gd name="connsiteY0" fmla="*/ 62505 h 69284"/>
                        <a:gd name="connsiteX1" fmla="*/ 13104 w 98756"/>
                        <a:gd name="connsiteY1" fmla="*/ 3241 h 69284"/>
                        <a:gd name="connsiteX2" fmla="*/ 52295 w 98756"/>
                        <a:gd name="connsiteY2" fmla="*/ 8004 h 69284"/>
                        <a:gd name="connsiteX3" fmla="*/ 98756 w 98756"/>
                        <a:gd name="connsiteY3" fmla="*/ 46630 h 69284"/>
                        <a:gd name="connsiteX4" fmla="*/ 58645 w 98756"/>
                        <a:gd name="connsiteY4" fmla="*/ 66206 h 69284"/>
                        <a:gd name="connsiteX5" fmla="*/ 2659 w 98756"/>
                        <a:gd name="connsiteY5" fmla="*/ 62505 h 69284"/>
                        <a:gd name="connsiteX0" fmla="*/ 2659 w 98756"/>
                        <a:gd name="connsiteY0" fmla="*/ 62150 h 69531"/>
                        <a:gd name="connsiteX1" fmla="*/ 13104 w 98756"/>
                        <a:gd name="connsiteY1" fmla="*/ 2886 h 69531"/>
                        <a:gd name="connsiteX2" fmla="*/ 52295 w 98756"/>
                        <a:gd name="connsiteY2" fmla="*/ 7649 h 69531"/>
                        <a:gd name="connsiteX3" fmla="*/ 98756 w 98756"/>
                        <a:gd name="connsiteY3" fmla="*/ 36750 h 69531"/>
                        <a:gd name="connsiteX4" fmla="*/ 58645 w 98756"/>
                        <a:gd name="connsiteY4" fmla="*/ 65851 h 69531"/>
                        <a:gd name="connsiteX5" fmla="*/ 2659 w 98756"/>
                        <a:gd name="connsiteY5" fmla="*/ 62150 h 69531"/>
                        <a:gd name="connsiteX0" fmla="*/ 2659 w 98756"/>
                        <a:gd name="connsiteY0" fmla="*/ 69247 h 76628"/>
                        <a:gd name="connsiteX1" fmla="*/ 13104 w 98756"/>
                        <a:gd name="connsiteY1" fmla="*/ 9983 h 76628"/>
                        <a:gd name="connsiteX2" fmla="*/ 58645 w 98756"/>
                        <a:gd name="connsiteY2" fmla="*/ 2046 h 76628"/>
                        <a:gd name="connsiteX3" fmla="*/ 98756 w 98756"/>
                        <a:gd name="connsiteY3" fmla="*/ 43847 h 76628"/>
                        <a:gd name="connsiteX4" fmla="*/ 58645 w 98756"/>
                        <a:gd name="connsiteY4" fmla="*/ 72948 h 76628"/>
                        <a:gd name="connsiteX5" fmla="*/ 2659 w 98756"/>
                        <a:gd name="connsiteY5" fmla="*/ 69247 h 76628"/>
                        <a:gd name="connsiteX0" fmla="*/ 12211 w 108308"/>
                        <a:gd name="connsiteY0" fmla="*/ 72519 h 80420"/>
                        <a:gd name="connsiteX1" fmla="*/ 3606 w 108308"/>
                        <a:gd name="connsiteY1" fmla="*/ 4803 h 80420"/>
                        <a:gd name="connsiteX2" fmla="*/ 68197 w 108308"/>
                        <a:gd name="connsiteY2" fmla="*/ 5318 h 80420"/>
                        <a:gd name="connsiteX3" fmla="*/ 108308 w 108308"/>
                        <a:gd name="connsiteY3" fmla="*/ 47119 h 80420"/>
                        <a:gd name="connsiteX4" fmla="*/ 68197 w 108308"/>
                        <a:gd name="connsiteY4" fmla="*/ 76220 h 80420"/>
                        <a:gd name="connsiteX5" fmla="*/ 12211 w 108308"/>
                        <a:gd name="connsiteY5" fmla="*/ 72519 h 80420"/>
                        <a:gd name="connsiteX0" fmla="*/ 2818 w 127490"/>
                        <a:gd name="connsiteY0" fmla="*/ 76745 h 83125"/>
                        <a:gd name="connsiteX1" fmla="*/ 22788 w 127490"/>
                        <a:gd name="connsiteY1" fmla="*/ 4803 h 83125"/>
                        <a:gd name="connsiteX2" fmla="*/ 87379 w 127490"/>
                        <a:gd name="connsiteY2" fmla="*/ 5318 h 83125"/>
                        <a:gd name="connsiteX3" fmla="*/ 127490 w 127490"/>
                        <a:gd name="connsiteY3" fmla="*/ 47119 h 83125"/>
                        <a:gd name="connsiteX4" fmla="*/ 87379 w 127490"/>
                        <a:gd name="connsiteY4" fmla="*/ 76220 h 83125"/>
                        <a:gd name="connsiteX5" fmla="*/ 2818 w 127490"/>
                        <a:gd name="connsiteY5" fmla="*/ 76745 h 83125"/>
                        <a:gd name="connsiteX0" fmla="*/ 4020 w 128692"/>
                        <a:gd name="connsiteY0" fmla="*/ 76745 h 85175"/>
                        <a:gd name="connsiteX1" fmla="*/ 23990 w 128692"/>
                        <a:gd name="connsiteY1" fmla="*/ 4803 h 85175"/>
                        <a:gd name="connsiteX2" fmla="*/ 88581 w 128692"/>
                        <a:gd name="connsiteY2" fmla="*/ 5318 h 85175"/>
                        <a:gd name="connsiteX3" fmla="*/ 128692 w 128692"/>
                        <a:gd name="connsiteY3" fmla="*/ 47119 h 85175"/>
                        <a:gd name="connsiteX4" fmla="*/ 107631 w 128692"/>
                        <a:gd name="connsiteY4" fmla="*/ 80446 h 85175"/>
                        <a:gd name="connsiteX5" fmla="*/ 4020 w 128692"/>
                        <a:gd name="connsiteY5" fmla="*/ 76745 h 85175"/>
                        <a:gd name="connsiteX0" fmla="*/ 311 w 124983"/>
                        <a:gd name="connsiteY0" fmla="*/ 114981 h 126242"/>
                        <a:gd name="connsiteX1" fmla="*/ 71081 w 124983"/>
                        <a:gd name="connsiteY1" fmla="*/ 780 h 126242"/>
                        <a:gd name="connsiteX2" fmla="*/ 84872 w 124983"/>
                        <a:gd name="connsiteY2" fmla="*/ 43554 h 126242"/>
                        <a:gd name="connsiteX3" fmla="*/ 124983 w 124983"/>
                        <a:gd name="connsiteY3" fmla="*/ 85355 h 126242"/>
                        <a:gd name="connsiteX4" fmla="*/ 103922 w 124983"/>
                        <a:gd name="connsiteY4" fmla="*/ 118682 h 126242"/>
                        <a:gd name="connsiteX5" fmla="*/ 311 w 124983"/>
                        <a:gd name="connsiteY5" fmla="*/ 114981 h 126242"/>
                        <a:gd name="connsiteX0" fmla="*/ 3123 w 127795"/>
                        <a:gd name="connsiteY0" fmla="*/ 136754 h 149197"/>
                        <a:gd name="connsiteX1" fmla="*/ 31136 w 127795"/>
                        <a:gd name="connsiteY1" fmla="*/ 5728 h 149197"/>
                        <a:gd name="connsiteX2" fmla="*/ 73893 w 127795"/>
                        <a:gd name="connsiteY2" fmla="*/ 22553 h 149197"/>
                        <a:gd name="connsiteX3" fmla="*/ 87684 w 127795"/>
                        <a:gd name="connsiteY3" fmla="*/ 65327 h 149197"/>
                        <a:gd name="connsiteX4" fmla="*/ 127795 w 127795"/>
                        <a:gd name="connsiteY4" fmla="*/ 107128 h 149197"/>
                        <a:gd name="connsiteX5" fmla="*/ 106734 w 127795"/>
                        <a:gd name="connsiteY5" fmla="*/ 140455 h 149197"/>
                        <a:gd name="connsiteX6" fmla="*/ 3123 w 127795"/>
                        <a:gd name="connsiteY6" fmla="*/ 136754 h 149197"/>
                        <a:gd name="connsiteX0" fmla="*/ 9048 w 133720"/>
                        <a:gd name="connsiteY0" fmla="*/ 185654 h 201733"/>
                        <a:gd name="connsiteX1" fmla="*/ 8486 w 133720"/>
                        <a:gd name="connsiteY1" fmla="*/ 3916 h 201733"/>
                        <a:gd name="connsiteX2" fmla="*/ 37061 w 133720"/>
                        <a:gd name="connsiteY2" fmla="*/ 54628 h 201733"/>
                        <a:gd name="connsiteX3" fmla="*/ 79818 w 133720"/>
                        <a:gd name="connsiteY3" fmla="*/ 71453 h 201733"/>
                        <a:gd name="connsiteX4" fmla="*/ 93609 w 133720"/>
                        <a:gd name="connsiteY4" fmla="*/ 114227 h 201733"/>
                        <a:gd name="connsiteX5" fmla="*/ 133720 w 133720"/>
                        <a:gd name="connsiteY5" fmla="*/ 156028 h 201733"/>
                        <a:gd name="connsiteX6" fmla="*/ 112659 w 133720"/>
                        <a:gd name="connsiteY6" fmla="*/ 189355 h 201733"/>
                        <a:gd name="connsiteX7" fmla="*/ 9048 w 133720"/>
                        <a:gd name="connsiteY7" fmla="*/ 185654 h 201733"/>
                        <a:gd name="connsiteX0" fmla="*/ 9048 w 133720"/>
                        <a:gd name="connsiteY0" fmla="*/ 192718 h 208797"/>
                        <a:gd name="connsiteX1" fmla="*/ 8486 w 133720"/>
                        <a:gd name="connsiteY1" fmla="*/ 10980 h 208797"/>
                        <a:gd name="connsiteX2" fmla="*/ 37061 w 133720"/>
                        <a:gd name="connsiteY2" fmla="*/ 19432 h 208797"/>
                        <a:gd name="connsiteX3" fmla="*/ 37061 w 133720"/>
                        <a:gd name="connsiteY3" fmla="*/ 61692 h 208797"/>
                        <a:gd name="connsiteX4" fmla="*/ 79818 w 133720"/>
                        <a:gd name="connsiteY4" fmla="*/ 78517 h 208797"/>
                        <a:gd name="connsiteX5" fmla="*/ 93609 w 133720"/>
                        <a:gd name="connsiteY5" fmla="*/ 121291 h 208797"/>
                        <a:gd name="connsiteX6" fmla="*/ 133720 w 133720"/>
                        <a:gd name="connsiteY6" fmla="*/ 163092 h 208797"/>
                        <a:gd name="connsiteX7" fmla="*/ 112659 w 133720"/>
                        <a:gd name="connsiteY7" fmla="*/ 196419 h 208797"/>
                        <a:gd name="connsiteX8" fmla="*/ 9048 w 133720"/>
                        <a:gd name="connsiteY8" fmla="*/ 192718 h 208797"/>
                        <a:gd name="connsiteX0" fmla="*/ 33011 w 125933"/>
                        <a:gd name="connsiteY0" fmla="*/ 142007 h 196916"/>
                        <a:gd name="connsiteX1" fmla="*/ 699 w 125933"/>
                        <a:gd name="connsiteY1" fmla="*/ 10980 h 196916"/>
                        <a:gd name="connsiteX2" fmla="*/ 29274 w 125933"/>
                        <a:gd name="connsiteY2" fmla="*/ 19432 h 196916"/>
                        <a:gd name="connsiteX3" fmla="*/ 29274 w 125933"/>
                        <a:gd name="connsiteY3" fmla="*/ 61692 h 196916"/>
                        <a:gd name="connsiteX4" fmla="*/ 72031 w 125933"/>
                        <a:gd name="connsiteY4" fmla="*/ 78517 h 196916"/>
                        <a:gd name="connsiteX5" fmla="*/ 85822 w 125933"/>
                        <a:gd name="connsiteY5" fmla="*/ 121291 h 196916"/>
                        <a:gd name="connsiteX6" fmla="*/ 125933 w 125933"/>
                        <a:gd name="connsiteY6" fmla="*/ 163092 h 196916"/>
                        <a:gd name="connsiteX7" fmla="*/ 104872 w 125933"/>
                        <a:gd name="connsiteY7" fmla="*/ 196419 h 196916"/>
                        <a:gd name="connsiteX8" fmla="*/ 33011 w 125933"/>
                        <a:gd name="connsiteY8" fmla="*/ 142007 h 196916"/>
                        <a:gd name="connsiteX0" fmla="*/ 49204 w 142126"/>
                        <a:gd name="connsiteY0" fmla="*/ 142007 h 196916"/>
                        <a:gd name="connsiteX1" fmla="*/ 1017 w 142126"/>
                        <a:gd name="connsiteY1" fmla="*/ 61692 h 196916"/>
                        <a:gd name="connsiteX2" fmla="*/ 16892 w 142126"/>
                        <a:gd name="connsiteY2" fmla="*/ 10980 h 196916"/>
                        <a:gd name="connsiteX3" fmla="*/ 45467 w 142126"/>
                        <a:gd name="connsiteY3" fmla="*/ 19432 h 196916"/>
                        <a:gd name="connsiteX4" fmla="*/ 45467 w 142126"/>
                        <a:gd name="connsiteY4" fmla="*/ 61692 h 196916"/>
                        <a:gd name="connsiteX5" fmla="*/ 88224 w 142126"/>
                        <a:gd name="connsiteY5" fmla="*/ 78517 h 196916"/>
                        <a:gd name="connsiteX6" fmla="*/ 102015 w 142126"/>
                        <a:gd name="connsiteY6" fmla="*/ 121291 h 196916"/>
                        <a:gd name="connsiteX7" fmla="*/ 142126 w 142126"/>
                        <a:gd name="connsiteY7" fmla="*/ 163092 h 196916"/>
                        <a:gd name="connsiteX8" fmla="*/ 121065 w 142126"/>
                        <a:gd name="connsiteY8" fmla="*/ 196419 h 196916"/>
                        <a:gd name="connsiteX9" fmla="*/ 49204 w 142126"/>
                        <a:gd name="connsiteY9" fmla="*/ 142007 h 196916"/>
                        <a:gd name="connsiteX0" fmla="*/ 49204 w 142126"/>
                        <a:gd name="connsiteY0" fmla="*/ 142007 h 173263"/>
                        <a:gd name="connsiteX1" fmla="*/ 1017 w 142126"/>
                        <a:gd name="connsiteY1" fmla="*/ 61692 h 173263"/>
                        <a:gd name="connsiteX2" fmla="*/ 16892 w 142126"/>
                        <a:gd name="connsiteY2" fmla="*/ 10980 h 173263"/>
                        <a:gd name="connsiteX3" fmla="*/ 45467 w 142126"/>
                        <a:gd name="connsiteY3" fmla="*/ 19432 h 173263"/>
                        <a:gd name="connsiteX4" fmla="*/ 45467 w 142126"/>
                        <a:gd name="connsiteY4" fmla="*/ 61692 h 173263"/>
                        <a:gd name="connsiteX5" fmla="*/ 88224 w 142126"/>
                        <a:gd name="connsiteY5" fmla="*/ 78517 h 173263"/>
                        <a:gd name="connsiteX6" fmla="*/ 102015 w 142126"/>
                        <a:gd name="connsiteY6" fmla="*/ 121291 h 173263"/>
                        <a:gd name="connsiteX7" fmla="*/ 142126 w 142126"/>
                        <a:gd name="connsiteY7" fmla="*/ 163092 h 173263"/>
                        <a:gd name="connsiteX8" fmla="*/ 79790 w 142126"/>
                        <a:gd name="connsiteY8" fmla="*/ 162612 h 173263"/>
                        <a:gd name="connsiteX9" fmla="*/ 49204 w 142126"/>
                        <a:gd name="connsiteY9" fmla="*/ 142007 h 17326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45467 w 110376"/>
                        <a:gd name="connsiteY4" fmla="*/ 61692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62136 w 110376"/>
                        <a:gd name="connsiteY4" fmla="*/ 49014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05613"/>
                        <a:gd name="connsiteY0" fmla="*/ 142007 h 164051"/>
                        <a:gd name="connsiteX1" fmla="*/ 1017 w 105613"/>
                        <a:gd name="connsiteY1" fmla="*/ 61692 h 164051"/>
                        <a:gd name="connsiteX2" fmla="*/ 16892 w 105613"/>
                        <a:gd name="connsiteY2" fmla="*/ 10980 h 164051"/>
                        <a:gd name="connsiteX3" fmla="*/ 45467 w 105613"/>
                        <a:gd name="connsiteY3" fmla="*/ 19432 h 164051"/>
                        <a:gd name="connsiteX4" fmla="*/ 62136 w 105613"/>
                        <a:gd name="connsiteY4" fmla="*/ 49014 h 164051"/>
                        <a:gd name="connsiteX5" fmla="*/ 88224 w 105613"/>
                        <a:gd name="connsiteY5" fmla="*/ 78517 h 164051"/>
                        <a:gd name="connsiteX6" fmla="*/ 102015 w 105613"/>
                        <a:gd name="connsiteY6" fmla="*/ 121291 h 164051"/>
                        <a:gd name="connsiteX7" fmla="*/ 105613 w 105613"/>
                        <a:gd name="connsiteY7" fmla="*/ 111323 h 164051"/>
                        <a:gd name="connsiteX8" fmla="*/ 79790 w 105613"/>
                        <a:gd name="connsiteY8" fmla="*/ 162612 h 164051"/>
                        <a:gd name="connsiteX9" fmla="*/ 49204 w 105613"/>
                        <a:gd name="connsiteY9" fmla="*/ 142007 h 164051"/>
                        <a:gd name="connsiteX0" fmla="*/ 49204 w 105613"/>
                        <a:gd name="connsiteY0" fmla="*/ 142007 h 149974"/>
                        <a:gd name="connsiteX1" fmla="*/ 1017 w 105613"/>
                        <a:gd name="connsiteY1" fmla="*/ 61692 h 149974"/>
                        <a:gd name="connsiteX2" fmla="*/ 16892 w 105613"/>
                        <a:gd name="connsiteY2" fmla="*/ 10980 h 149974"/>
                        <a:gd name="connsiteX3" fmla="*/ 45467 w 105613"/>
                        <a:gd name="connsiteY3" fmla="*/ 19432 h 149974"/>
                        <a:gd name="connsiteX4" fmla="*/ 62136 w 105613"/>
                        <a:gd name="connsiteY4" fmla="*/ 49014 h 149974"/>
                        <a:gd name="connsiteX5" fmla="*/ 88224 w 105613"/>
                        <a:gd name="connsiteY5" fmla="*/ 78517 h 149974"/>
                        <a:gd name="connsiteX6" fmla="*/ 102015 w 105613"/>
                        <a:gd name="connsiteY6" fmla="*/ 121291 h 149974"/>
                        <a:gd name="connsiteX7" fmla="*/ 105613 w 105613"/>
                        <a:gd name="connsiteY7" fmla="*/ 111323 h 149974"/>
                        <a:gd name="connsiteX8" fmla="*/ 89315 w 105613"/>
                        <a:gd name="connsiteY8" fmla="*/ 143596 h 149974"/>
                        <a:gd name="connsiteX9" fmla="*/ 49204 w 105613"/>
                        <a:gd name="connsiteY9" fmla="*/ 142007 h 149974"/>
                        <a:gd name="connsiteX0" fmla="*/ 53967 w 105613"/>
                        <a:gd name="connsiteY0" fmla="*/ 122990 h 143862"/>
                        <a:gd name="connsiteX1" fmla="*/ 1017 w 105613"/>
                        <a:gd name="connsiteY1" fmla="*/ 61692 h 143862"/>
                        <a:gd name="connsiteX2" fmla="*/ 16892 w 105613"/>
                        <a:gd name="connsiteY2" fmla="*/ 10980 h 143862"/>
                        <a:gd name="connsiteX3" fmla="*/ 45467 w 105613"/>
                        <a:gd name="connsiteY3" fmla="*/ 19432 h 143862"/>
                        <a:gd name="connsiteX4" fmla="*/ 62136 w 105613"/>
                        <a:gd name="connsiteY4" fmla="*/ 49014 h 143862"/>
                        <a:gd name="connsiteX5" fmla="*/ 88224 w 105613"/>
                        <a:gd name="connsiteY5" fmla="*/ 78517 h 143862"/>
                        <a:gd name="connsiteX6" fmla="*/ 102015 w 105613"/>
                        <a:gd name="connsiteY6" fmla="*/ 121291 h 143862"/>
                        <a:gd name="connsiteX7" fmla="*/ 105613 w 105613"/>
                        <a:gd name="connsiteY7" fmla="*/ 111323 h 143862"/>
                        <a:gd name="connsiteX8" fmla="*/ 89315 w 105613"/>
                        <a:gd name="connsiteY8" fmla="*/ 143596 h 143862"/>
                        <a:gd name="connsiteX9" fmla="*/ 53967 w 105613"/>
                        <a:gd name="connsiteY9" fmla="*/ 122990 h 143862"/>
                        <a:gd name="connsiteX0" fmla="*/ 40087 w 91733"/>
                        <a:gd name="connsiteY0" fmla="*/ 122990 h 143903"/>
                        <a:gd name="connsiteX1" fmla="*/ 3806 w 91733"/>
                        <a:gd name="connsiteY1" fmla="*/ 52185 h 143903"/>
                        <a:gd name="connsiteX2" fmla="*/ 3012 w 91733"/>
                        <a:gd name="connsiteY2" fmla="*/ 10980 h 143903"/>
                        <a:gd name="connsiteX3" fmla="*/ 31587 w 91733"/>
                        <a:gd name="connsiteY3" fmla="*/ 19432 h 143903"/>
                        <a:gd name="connsiteX4" fmla="*/ 48256 w 91733"/>
                        <a:gd name="connsiteY4" fmla="*/ 49014 h 143903"/>
                        <a:gd name="connsiteX5" fmla="*/ 74344 w 91733"/>
                        <a:gd name="connsiteY5" fmla="*/ 78517 h 143903"/>
                        <a:gd name="connsiteX6" fmla="*/ 88135 w 91733"/>
                        <a:gd name="connsiteY6" fmla="*/ 121291 h 143903"/>
                        <a:gd name="connsiteX7" fmla="*/ 91733 w 91733"/>
                        <a:gd name="connsiteY7" fmla="*/ 111323 h 143903"/>
                        <a:gd name="connsiteX8" fmla="*/ 75435 w 91733"/>
                        <a:gd name="connsiteY8" fmla="*/ 143596 h 143903"/>
                        <a:gd name="connsiteX9" fmla="*/ 40087 w 91733"/>
                        <a:gd name="connsiteY9" fmla="*/ 122990 h 143903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88135 w 91733"/>
                        <a:gd name="connsiteY6" fmla="*/ 121291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78610 w 91733"/>
                        <a:gd name="connsiteY6" fmla="*/ 102275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  <a:gd name="connsiteX0" fmla="*/ 44850 w 91733"/>
                        <a:gd name="connsiteY0" fmla="*/ 110312 h 124433"/>
                        <a:gd name="connsiteX1" fmla="*/ 3806 w 91733"/>
                        <a:gd name="connsiteY1" fmla="*/ 52185 h 124433"/>
                        <a:gd name="connsiteX2" fmla="*/ 3012 w 91733"/>
                        <a:gd name="connsiteY2" fmla="*/ 10980 h 124433"/>
                        <a:gd name="connsiteX3" fmla="*/ 31587 w 91733"/>
                        <a:gd name="connsiteY3" fmla="*/ 19432 h 124433"/>
                        <a:gd name="connsiteX4" fmla="*/ 48256 w 91733"/>
                        <a:gd name="connsiteY4" fmla="*/ 49014 h 124433"/>
                        <a:gd name="connsiteX5" fmla="*/ 74344 w 91733"/>
                        <a:gd name="connsiteY5" fmla="*/ 78517 h 124433"/>
                        <a:gd name="connsiteX6" fmla="*/ 78610 w 91733"/>
                        <a:gd name="connsiteY6" fmla="*/ 102275 h 124433"/>
                        <a:gd name="connsiteX7" fmla="*/ 91733 w 91733"/>
                        <a:gd name="connsiteY7" fmla="*/ 111323 h 124433"/>
                        <a:gd name="connsiteX8" fmla="*/ 65910 w 91733"/>
                        <a:gd name="connsiteY8" fmla="*/ 121409 h 124433"/>
                        <a:gd name="connsiteX9" fmla="*/ 44850 w 91733"/>
                        <a:gd name="connsiteY9" fmla="*/ 110312 h 124433"/>
                        <a:gd name="connsiteX0" fmla="*/ 44850 w 79374"/>
                        <a:gd name="connsiteY0" fmla="*/ 110312 h 122122"/>
                        <a:gd name="connsiteX1" fmla="*/ 3806 w 79374"/>
                        <a:gd name="connsiteY1" fmla="*/ 52185 h 122122"/>
                        <a:gd name="connsiteX2" fmla="*/ 3012 w 79374"/>
                        <a:gd name="connsiteY2" fmla="*/ 10980 h 122122"/>
                        <a:gd name="connsiteX3" fmla="*/ 31587 w 79374"/>
                        <a:gd name="connsiteY3" fmla="*/ 19432 h 122122"/>
                        <a:gd name="connsiteX4" fmla="*/ 48256 w 79374"/>
                        <a:gd name="connsiteY4" fmla="*/ 49014 h 122122"/>
                        <a:gd name="connsiteX5" fmla="*/ 74344 w 79374"/>
                        <a:gd name="connsiteY5" fmla="*/ 78517 h 122122"/>
                        <a:gd name="connsiteX6" fmla="*/ 78610 w 79374"/>
                        <a:gd name="connsiteY6" fmla="*/ 102275 h 122122"/>
                        <a:gd name="connsiteX7" fmla="*/ 75065 w 79374"/>
                        <a:gd name="connsiteY7" fmla="*/ 98645 h 122122"/>
                        <a:gd name="connsiteX8" fmla="*/ 65910 w 79374"/>
                        <a:gd name="connsiteY8" fmla="*/ 121409 h 122122"/>
                        <a:gd name="connsiteX9" fmla="*/ 44850 w 79374"/>
                        <a:gd name="connsiteY9" fmla="*/ 110312 h 122122"/>
                        <a:gd name="connsiteX0" fmla="*/ 42560 w 77084"/>
                        <a:gd name="connsiteY0" fmla="*/ 94411 h 106222"/>
                        <a:gd name="connsiteX1" fmla="*/ 1516 w 77084"/>
                        <a:gd name="connsiteY1" fmla="*/ 36284 h 106222"/>
                        <a:gd name="connsiteX2" fmla="*/ 10247 w 77084"/>
                        <a:gd name="connsiteY2" fmla="*/ 26774 h 106222"/>
                        <a:gd name="connsiteX3" fmla="*/ 29297 w 77084"/>
                        <a:gd name="connsiteY3" fmla="*/ 3531 h 106222"/>
                        <a:gd name="connsiteX4" fmla="*/ 45966 w 77084"/>
                        <a:gd name="connsiteY4" fmla="*/ 33113 h 106222"/>
                        <a:gd name="connsiteX5" fmla="*/ 72054 w 77084"/>
                        <a:gd name="connsiteY5" fmla="*/ 62616 h 106222"/>
                        <a:gd name="connsiteX6" fmla="*/ 76320 w 77084"/>
                        <a:gd name="connsiteY6" fmla="*/ 86374 h 106222"/>
                        <a:gd name="connsiteX7" fmla="*/ 72775 w 77084"/>
                        <a:gd name="connsiteY7" fmla="*/ 82744 h 106222"/>
                        <a:gd name="connsiteX8" fmla="*/ 63620 w 77084"/>
                        <a:gd name="connsiteY8" fmla="*/ 105508 h 106222"/>
                        <a:gd name="connsiteX9" fmla="*/ 42560 w 77084"/>
                        <a:gd name="connsiteY9" fmla="*/ 94411 h 106222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5966 w 77084"/>
                        <a:gd name="connsiteY4" fmla="*/ 21320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429"/>
                        <a:gd name="connsiteX1" fmla="*/ 1516 w 77084"/>
                        <a:gd name="connsiteY1" fmla="*/ 24491 h 94429"/>
                        <a:gd name="connsiteX2" fmla="*/ 10247 w 77084"/>
                        <a:gd name="connsiteY2" fmla="*/ 14981 h 94429"/>
                        <a:gd name="connsiteX3" fmla="*/ 29297 w 77084"/>
                        <a:gd name="connsiteY3" fmla="*/ 10756 h 94429"/>
                        <a:gd name="connsiteX4" fmla="*/ 43585 w 77084"/>
                        <a:gd name="connsiteY4" fmla="*/ 30829 h 94429"/>
                        <a:gd name="connsiteX5" fmla="*/ 72054 w 77084"/>
                        <a:gd name="connsiteY5" fmla="*/ 50823 h 94429"/>
                        <a:gd name="connsiteX6" fmla="*/ 76320 w 77084"/>
                        <a:gd name="connsiteY6" fmla="*/ 74581 h 94429"/>
                        <a:gd name="connsiteX7" fmla="*/ 72775 w 77084"/>
                        <a:gd name="connsiteY7" fmla="*/ 70951 h 94429"/>
                        <a:gd name="connsiteX8" fmla="*/ 63620 w 77084"/>
                        <a:gd name="connsiteY8" fmla="*/ 93715 h 94429"/>
                        <a:gd name="connsiteX9" fmla="*/ 42560 w 77084"/>
                        <a:gd name="connsiteY9" fmla="*/ 82618 h 94429"/>
                        <a:gd name="connsiteX0" fmla="*/ 42560 w 77084"/>
                        <a:gd name="connsiteY0" fmla="*/ 82618 h 94018"/>
                        <a:gd name="connsiteX1" fmla="*/ 1516 w 77084"/>
                        <a:gd name="connsiteY1" fmla="*/ 62524 h 94018"/>
                        <a:gd name="connsiteX2" fmla="*/ 10247 w 77084"/>
                        <a:gd name="connsiteY2" fmla="*/ 14981 h 94018"/>
                        <a:gd name="connsiteX3" fmla="*/ 29297 w 77084"/>
                        <a:gd name="connsiteY3" fmla="*/ 10756 h 94018"/>
                        <a:gd name="connsiteX4" fmla="*/ 43585 w 77084"/>
                        <a:gd name="connsiteY4" fmla="*/ 30829 h 94018"/>
                        <a:gd name="connsiteX5" fmla="*/ 72054 w 77084"/>
                        <a:gd name="connsiteY5" fmla="*/ 50823 h 94018"/>
                        <a:gd name="connsiteX6" fmla="*/ 76320 w 77084"/>
                        <a:gd name="connsiteY6" fmla="*/ 74581 h 94018"/>
                        <a:gd name="connsiteX7" fmla="*/ 72775 w 77084"/>
                        <a:gd name="connsiteY7" fmla="*/ 70951 h 94018"/>
                        <a:gd name="connsiteX8" fmla="*/ 63620 w 77084"/>
                        <a:gd name="connsiteY8" fmla="*/ 93715 h 94018"/>
                        <a:gd name="connsiteX9" fmla="*/ 42560 w 77084"/>
                        <a:gd name="connsiteY9" fmla="*/ 82618 h 94018"/>
                        <a:gd name="connsiteX0" fmla="*/ 42560 w 77084"/>
                        <a:gd name="connsiteY0" fmla="*/ 73899 h 85299"/>
                        <a:gd name="connsiteX1" fmla="*/ 1516 w 77084"/>
                        <a:gd name="connsiteY1" fmla="*/ 53805 h 85299"/>
                        <a:gd name="connsiteX2" fmla="*/ 10247 w 77084"/>
                        <a:gd name="connsiteY2" fmla="*/ 37955 h 85299"/>
                        <a:gd name="connsiteX3" fmla="*/ 29297 w 77084"/>
                        <a:gd name="connsiteY3" fmla="*/ 2037 h 85299"/>
                        <a:gd name="connsiteX4" fmla="*/ 43585 w 77084"/>
                        <a:gd name="connsiteY4" fmla="*/ 22110 h 85299"/>
                        <a:gd name="connsiteX5" fmla="*/ 72054 w 77084"/>
                        <a:gd name="connsiteY5" fmla="*/ 42104 h 85299"/>
                        <a:gd name="connsiteX6" fmla="*/ 76320 w 77084"/>
                        <a:gd name="connsiteY6" fmla="*/ 65862 h 85299"/>
                        <a:gd name="connsiteX7" fmla="*/ 72775 w 77084"/>
                        <a:gd name="connsiteY7" fmla="*/ 62232 h 85299"/>
                        <a:gd name="connsiteX8" fmla="*/ 63620 w 77084"/>
                        <a:gd name="connsiteY8" fmla="*/ 84996 h 85299"/>
                        <a:gd name="connsiteX9" fmla="*/ 42560 w 77084"/>
                        <a:gd name="connsiteY9" fmla="*/ 73899 h 85299"/>
                        <a:gd name="connsiteX0" fmla="*/ 42560 w 77084"/>
                        <a:gd name="connsiteY0" fmla="*/ 52685 h 64085"/>
                        <a:gd name="connsiteX1" fmla="*/ 1516 w 77084"/>
                        <a:gd name="connsiteY1" fmla="*/ 32591 h 64085"/>
                        <a:gd name="connsiteX2" fmla="*/ 10247 w 77084"/>
                        <a:gd name="connsiteY2" fmla="*/ 16741 h 64085"/>
                        <a:gd name="connsiteX3" fmla="*/ 29297 w 77084"/>
                        <a:gd name="connsiteY3" fmla="*/ 15687 h 64085"/>
                        <a:gd name="connsiteX4" fmla="*/ 43585 w 77084"/>
                        <a:gd name="connsiteY4" fmla="*/ 896 h 64085"/>
                        <a:gd name="connsiteX5" fmla="*/ 72054 w 77084"/>
                        <a:gd name="connsiteY5" fmla="*/ 20890 h 64085"/>
                        <a:gd name="connsiteX6" fmla="*/ 76320 w 77084"/>
                        <a:gd name="connsiteY6" fmla="*/ 44648 h 64085"/>
                        <a:gd name="connsiteX7" fmla="*/ 72775 w 77084"/>
                        <a:gd name="connsiteY7" fmla="*/ 41018 h 64085"/>
                        <a:gd name="connsiteX8" fmla="*/ 63620 w 77084"/>
                        <a:gd name="connsiteY8" fmla="*/ 63782 h 64085"/>
                        <a:gd name="connsiteX9" fmla="*/ 42560 w 77084"/>
                        <a:gd name="connsiteY9" fmla="*/ 52685 h 64085"/>
                        <a:gd name="connsiteX0" fmla="*/ 42560 w 76322"/>
                        <a:gd name="connsiteY0" fmla="*/ 51797 h 63197"/>
                        <a:gd name="connsiteX1" fmla="*/ 1516 w 76322"/>
                        <a:gd name="connsiteY1" fmla="*/ 31703 h 63197"/>
                        <a:gd name="connsiteX2" fmla="*/ 10247 w 76322"/>
                        <a:gd name="connsiteY2" fmla="*/ 15853 h 63197"/>
                        <a:gd name="connsiteX3" fmla="*/ 29297 w 76322"/>
                        <a:gd name="connsiteY3" fmla="*/ 14799 h 63197"/>
                        <a:gd name="connsiteX4" fmla="*/ 43585 w 76322"/>
                        <a:gd name="connsiteY4" fmla="*/ 8 h 63197"/>
                        <a:gd name="connsiteX5" fmla="*/ 44305 w 76322"/>
                        <a:gd name="connsiteY5" fmla="*/ 30542 h 63197"/>
                        <a:gd name="connsiteX6" fmla="*/ 72054 w 76322"/>
                        <a:gd name="connsiteY6" fmla="*/ 20002 h 63197"/>
                        <a:gd name="connsiteX7" fmla="*/ 76320 w 76322"/>
                        <a:gd name="connsiteY7" fmla="*/ 43760 h 63197"/>
                        <a:gd name="connsiteX8" fmla="*/ 72775 w 76322"/>
                        <a:gd name="connsiteY8" fmla="*/ 40130 h 63197"/>
                        <a:gd name="connsiteX9" fmla="*/ 63620 w 76322"/>
                        <a:gd name="connsiteY9" fmla="*/ 62894 h 63197"/>
                        <a:gd name="connsiteX10" fmla="*/ 42560 w 76322"/>
                        <a:gd name="connsiteY10" fmla="*/ 51797 h 631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76322" h="63197">
                          <a:moveTo>
                            <a:pt x="42560" y="51797"/>
                          </a:moveTo>
                          <a:cubicBezTo>
                            <a:pt x="32209" y="46599"/>
                            <a:pt x="6901" y="53541"/>
                            <a:pt x="1516" y="31703"/>
                          </a:cubicBezTo>
                          <a:cubicBezTo>
                            <a:pt x="-3869" y="9865"/>
                            <a:pt x="6543" y="27122"/>
                            <a:pt x="10247" y="15853"/>
                          </a:cubicBezTo>
                          <a:cubicBezTo>
                            <a:pt x="13328" y="-9506"/>
                            <a:pt x="24534" y="6347"/>
                            <a:pt x="29297" y="14799"/>
                          </a:cubicBezTo>
                          <a:cubicBezTo>
                            <a:pt x="34060" y="23251"/>
                            <a:pt x="38306" y="553"/>
                            <a:pt x="43585" y="8"/>
                          </a:cubicBezTo>
                          <a:cubicBezTo>
                            <a:pt x="48864" y="-537"/>
                            <a:pt x="39560" y="27210"/>
                            <a:pt x="44305" y="30542"/>
                          </a:cubicBezTo>
                          <a:cubicBezTo>
                            <a:pt x="49050" y="33874"/>
                            <a:pt x="69496" y="14630"/>
                            <a:pt x="72054" y="20002"/>
                          </a:cubicBezTo>
                          <a:cubicBezTo>
                            <a:pt x="74612" y="25374"/>
                            <a:pt x="76200" y="40405"/>
                            <a:pt x="76320" y="43760"/>
                          </a:cubicBezTo>
                          <a:cubicBezTo>
                            <a:pt x="76440" y="47115"/>
                            <a:pt x="72775" y="18797"/>
                            <a:pt x="72775" y="40130"/>
                          </a:cubicBezTo>
                          <a:cubicBezTo>
                            <a:pt x="72775" y="61463"/>
                            <a:pt x="68656" y="60950"/>
                            <a:pt x="63620" y="62894"/>
                          </a:cubicBezTo>
                          <a:cubicBezTo>
                            <a:pt x="58584" y="64839"/>
                            <a:pt x="52911" y="56995"/>
                            <a:pt x="42560" y="51797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US" sz="1100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grpSp>
                <p:nvGrpSpPr>
                  <p:cNvPr id="998" name="Group 241"/>
                  <p:cNvGrpSpPr>
                    <a:grpSpLocks noChangeAspect="1"/>
                  </p:cNvGrpSpPr>
                  <p:nvPr/>
                </p:nvGrpSpPr>
                <p:grpSpPr>
                  <a:xfrm>
                    <a:off x="5294503" y="2352761"/>
                    <a:ext cx="3198375" cy="3937067"/>
                    <a:chOff x="5583933" y="2288963"/>
                    <a:chExt cx="3110951" cy="3462919"/>
                  </a:xfrm>
                  <a:grpFill/>
                </p:grpSpPr>
                <p:grpSp>
                  <p:nvGrpSpPr>
                    <p:cNvPr id="999" name="Group 242"/>
                    <p:cNvGrpSpPr/>
                    <p:nvPr/>
                  </p:nvGrpSpPr>
                  <p:grpSpPr>
                    <a:xfrm>
                      <a:off x="5583933" y="2514666"/>
                      <a:ext cx="3110951" cy="3237216"/>
                      <a:chOff x="3686119" y="2560638"/>
                      <a:chExt cx="3184369" cy="3313615"/>
                    </a:xfrm>
                    <a:grpFill/>
                  </p:grpSpPr>
                  <p:sp>
                    <p:nvSpPr>
                      <p:cNvPr id="1004" name="Freeform 247"/>
                      <p:cNvSpPr/>
                      <p:nvPr/>
                    </p:nvSpPr>
                    <p:spPr>
                      <a:xfrm>
                        <a:off x="4827034" y="3887548"/>
                        <a:ext cx="322955" cy="242670"/>
                      </a:xfrm>
                      <a:custGeom>
                        <a:avLst/>
                        <a:gdLst>
                          <a:gd name="connsiteX0" fmla="*/ 17147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8" fmla="*/ 17147 w 195280"/>
                          <a:gd name="connsiteY8" fmla="*/ 11875 h 154450"/>
                          <a:gd name="connsiteX0" fmla="*/ 64648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0" fmla="*/ 23941 w 154573"/>
                          <a:gd name="connsiteY0" fmla="*/ 11875 h 155931"/>
                          <a:gd name="connsiteX1" fmla="*/ 191 w 154573"/>
                          <a:gd name="connsiteY1" fmla="*/ 142504 h 155931"/>
                          <a:gd name="connsiteX2" fmla="*/ 35817 w 154573"/>
                          <a:gd name="connsiteY2" fmla="*/ 154379 h 155931"/>
                          <a:gd name="connsiteX3" fmla="*/ 154570 w 154573"/>
                          <a:gd name="connsiteY3" fmla="*/ 106878 h 155931"/>
                          <a:gd name="connsiteX4" fmla="*/ 142694 w 154573"/>
                          <a:gd name="connsiteY4" fmla="*/ 47501 h 155931"/>
                          <a:gd name="connsiteX5" fmla="*/ 71443 w 154573"/>
                          <a:gd name="connsiteY5" fmla="*/ 0 h 155931"/>
                          <a:gd name="connsiteX6" fmla="*/ 23941 w 154573"/>
                          <a:gd name="connsiteY6" fmla="*/ 11875 h 155931"/>
                          <a:gd name="connsiteX0" fmla="*/ 1753 w 211133"/>
                          <a:gd name="connsiteY0" fmla="*/ 57929 h 154450"/>
                          <a:gd name="connsiteX1" fmla="*/ 56751 w 211133"/>
                          <a:gd name="connsiteY1" fmla="*/ 142504 h 154450"/>
                          <a:gd name="connsiteX2" fmla="*/ 92377 w 211133"/>
                          <a:gd name="connsiteY2" fmla="*/ 154379 h 154450"/>
                          <a:gd name="connsiteX3" fmla="*/ 211130 w 211133"/>
                          <a:gd name="connsiteY3" fmla="*/ 106878 h 154450"/>
                          <a:gd name="connsiteX4" fmla="*/ 199254 w 211133"/>
                          <a:gd name="connsiteY4" fmla="*/ 47501 h 154450"/>
                          <a:gd name="connsiteX5" fmla="*/ 128003 w 211133"/>
                          <a:gd name="connsiteY5" fmla="*/ 0 h 154450"/>
                          <a:gd name="connsiteX6" fmla="*/ 1753 w 211133"/>
                          <a:gd name="connsiteY6" fmla="*/ 57929 h 154450"/>
                          <a:gd name="connsiteX0" fmla="*/ 34199 w 243579"/>
                          <a:gd name="connsiteY0" fmla="*/ 57929 h 174919"/>
                          <a:gd name="connsiteX1" fmla="*/ 2058 w 243579"/>
                          <a:gd name="connsiteY1" fmla="*/ 171957 h 174919"/>
                          <a:gd name="connsiteX2" fmla="*/ 89197 w 243579"/>
                          <a:gd name="connsiteY2" fmla="*/ 142504 h 174919"/>
                          <a:gd name="connsiteX3" fmla="*/ 124823 w 243579"/>
                          <a:gd name="connsiteY3" fmla="*/ 154379 h 174919"/>
                          <a:gd name="connsiteX4" fmla="*/ 243576 w 243579"/>
                          <a:gd name="connsiteY4" fmla="*/ 106878 h 174919"/>
                          <a:gd name="connsiteX5" fmla="*/ 231700 w 243579"/>
                          <a:gd name="connsiteY5" fmla="*/ 47501 h 174919"/>
                          <a:gd name="connsiteX6" fmla="*/ 160449 w 243579"/>
                          <a:gd name="connsiteY6" fmla="*/ 0 h 174919"/>
                          <a:gd name="connsiteX7" fmla="*/ 34199 w 243579"/>
                          <a:gd name="connsiteY7" fmla="*/ 57929 h 174919"/>
                          <a:gd name="connsiteX0" fmla="*/ 34199 w 243579"/>
                          <a:gd name="connsiteY0" fmla="*/ 57929 h 178813"/>
                          <a:gd name="connsiteX1" fmla="*/ 2058 w 243579"/>
                          <a:gd name="connsiteY1" fmla="*/ 171957 h 178813"/>
                          <a:gd name="connsiteX2" fmla="*/ 99359 w 243579"/>
                          <a:gd name="connsiteY2" fmla="*/ 171591 h 178813"/>
                          <a:gd name="connsiteX3" fmla="*/ 124823 w 243579"/>
                          <a:gd name="connsiteY3" fmla="*/ 154379 h 178813"/>
                          <a:gd name="connsiteX4" fmla="*/ 243576 w 243579"/>
                          <a:gd name="connsiteY4" fmla="*/ 106878 h 178813"/>
                          <a:gd name="connsiteX5" fmla="*/ 231700 w 243579"/>
                          <a:gd name="connsiteY5" fmla="*/ 47501 h 178813"/>
                          <a:gd name="connsiteX6" fmla="*/ 160449 w 243579"/>
                          <a:gd name="connsiteY6" fmla="*/ 0 h 178813"/>
                          <a:gd name="connsiteX7" fmla="*/ 34199 w 243579"/>
                          <a:gd name="connsiteY7" fmla="*/ 57929 h 178813"/>
                          <a:gd name="connsiteX0" fmla="*/ 34199 w 251212"/>
                          <a:gd name="connsiteY0" fmla="*/ 57929 h 179237"/>
                          <a:gd name="connsiteX1" fmla="*/ 2058 w 251212"/>
                          <a:gd name="connsiteY1" fmla="*/ 171957 h 179237"/>
                          <a:gd name="connsiteX2" fmla="*/ 99359 w 251212"/>
                          <a:gd name="connsiteY2" fmla="*/ 171591 h 179237"/>
                          <a:gd name="connsiteX3" fmla="*/ 124823 w 251212"/>
                          <a:gd name="connsiteY3" fmla="*/ 144683 h 179237"/>
                          <a:gd name="connsiteX4" fmla="*/ 243576 w 251212"/>
                          <a:gd name="connsiteY4" fmla="*/ 106878 h 179237"/>
                          <a:gd name="connsiteX5" fmla="*/ 231700 w 251212"/>
                          <a:gd name="connsiteY5" fmla="*/ 47501 h 179237"/>
                          <a:gd name="connsiteX6" fmla="*/ 160449 w 251212"/>
                          <a:gd name="connsiteY6" fmla="*/ 0 h 179237"/>
                          <a:gd name="connsiteX7" fmla="*/ 34199 w 251212"/>
                          <a:gd name="connsiteY7" fmla="*/ 57929 h 179237"/>
                          <a:gd name="connsiteX0" fmla="*/ 34199 w 251212"/>
                          <a:gd name="connsiteY0" fmla="*/ 57929 h 180116"/>
                          <a:gd name="connsiteX1" fmla="*/ 2058 w 251212"/>
                          <a:gd name="connsiteY1" fmla="*/ 171957 h 180116"/>
                          <a:gd name="connsiteX2" fmla="*/ 76497 w 251212"/>
                          <a:gd name="connsiteY2" fmla="*/ 174015 h 180116"/>
                          <a:gd name="connsiteX3" fmla="*/ 124823 w 251212"/>
                          <a:gd name="connsiteY3" fmla="*/ 144683 h 180116"/>
                          <a:gd name="connsiteX4" fmla="*/ 243576 w 251212"/>
                          <a:gd name="connsiteY4" fmla="*/ 106878 h 180116"/>
                          <a:gd name="connsiteX5" fmla="*/ 231700 w 251212"/>
                          <a:gd name="connsiteY5" fmla="*/ 47501 h 180116"/>
                          <a:gd name="connsiteX6" fmla="*/ 160449 w 251212"/>
                          <a:gd name="connsiteY6" fmla="*/ 0 h 180116"/>
                          <a:gd name="connsiteX7" fmla="*/ 34199 w 251212"/>
                          <a:gd name="connsiteY7" fmla="*/ 57929 h 18011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251212" h="180116">
                            <a:moveTo>
                              <a:pt x="34199" y="57929"/>
                            </a:moveTo>
                            <a:cubicBezTo>
                              <a:pt x="16268" y="75681"/>
                              <a:pt x="-7108" y="157861"/>
                              <a:pt x="2058" y="171957"/>
                            </a:cubicBezTo>
                            <a:cubicBezTo>
                              <a:pt x="11224" y="186053"/>
                              <a:pt x="56036" y="178561"/>
                              <a:pt x="76497" y="174015"/>
                            </a:cubicBezTo>
                            <a:cubicBezTo>
                              <a:pt x="96958" y="169469"/>
                              <a:pt x="112948" y="140725"/>
                              <a:pt x="124823" y="144683"/>
                            </a:cubicBezTo>
                            <a:cubicBezTo>
                              <a:pt x="177674" y="138811"/>
                              <a:pt x="225763" y="123075"/>
                              <a:pt x="243576" y="106878"/>
                            </a:cubicBezTo>
                            <a:cubicBezTo>
                              <a:pt x="261389" y="90681"/>
                              <a:pt x="244092" y="63434"/>
                              <a:pt x="231700" y="47501"/>
                            </a:cubicBezTo>
                            <a:cubicBezTo>
                              <a:pt x="214175" y="24969"/>
                              <a:pt x="160449" y="0"/>
                              <a:pt x="160449" y="0"/>
                            </a:cubicBezTo>
                            <a:cubicBezTo>
                              <a:pt x="144615" y="3958"/>
                              <a:pt x="49201" y="51500"/>
                              <a:pt x="34199" y="57929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005" name="Oval 1"/>
                      <p:cNvSpPr/>
                      <p:nvPr/>
                    </p:nvSpPr>
                    <p:spPr>
                      <a:xfrm>
                        <a:off x="6334125" y="2560638"/>
                        <a:ext cx="536363" cy="871419"/>
                      </a:xfrm>
                      <a:custGeom>
                        <a:avLst/>
                        <a:gdLst>
                          <a:gd name="connsiteX0" fmla="*/ 0 w 175290"/>
                          <a:gd name="connsiteY0" fmla="*/ 415689 h 831377"/>
                          <a:gd name="connsiteX1" fmla="*/ 87645 w 175290"/>
                          <a:gd name="connsiteY1" fmla="*/ 0 h 831377"/>
                          <a:gd name="connsiteX2" fmla="*/ 175290 w 175290"/>
                          <a:gd name="connsiteY2" fmla="*/ 415689 h 831377"/>
                          <a:gd name="connsiteX3" fmla="*/ 87645 w 175290"/>
                          <a:gd name="connsiteY3" fmla="*/ 831378 h 831377"/>
                          <a:gd name="connsiteX4" fmla="*/ 0 w 175290"/>
                          <a:gd name="connsiteY4" fmla="*/ 415689 h 831377"/>
                          <a:gd name="connsiteX0" fmla="*/ 277887 w 453177"/>
                          <a:gd name="connsiteY0" fmla="*/ 415689 h 781372"/>
                          <a:gd name="connsiteX1" fmla="*/ 365532 w 453177"/>
                          <a:gd name="connsiteY1" fmla="*/ 0 h 781372"/>
                          <a:gd name="connsiteX2" fmla="*/ 453177 w 453177"/>
                          <a:gd name="connsiteY2" fmla="*/ 415689 h 781372"/>
                          <a:gd name="connsiteX3" fmla="*/ 5963 w 453177"/>
                          <a:gd name="connsiteY3" fmla="*/ 781372 h 781372"/>
                          <a:gd name="connsiteX4" fmla="*/ 277887 w 453177"/>
                          <a:gd name="connsiteY4" fmla="*/ 415689 h 781372"/>
                          <a:gd name="connsiteX0" fmla="*/ 273064 w 388823"/>
                          <a:gd name="connsiteY0" fmla="*/ 415694 h 781381"/>
                          <a:gd name="connsiteX1" fmla="*/ 360709 w 388823"/>
                          <a:gd name="connsiteY1" fmla="*/ 5 h 781381"/>
                          <a:gd name="connsiteX2" fmla="*/ 388823 w 388823"/>
                          <a:gd name="connsiteY2" fmla="*/ 408551 h 781381"/>
                          <a:gd name="connsiteX3" fmla="*/ 1140 w 388823"/>
                          <a:gd name="connsiteY3" fmla="*/ 781377 h 781381"/>
                          <a:gd name="connsiteX4" fmla="*/ 273064 w 388823"/>
                          <a:gd name="connsiteY4" fmla="*/ 415694 h 781381"/>
                          <a:gd name="connsiteX0" fmla="*/ 273690 w 420406"/>
                          <a:gd name="connsiteY0" fmla="*/ 415694 h 781381"/>
                          <a:gd name="connsiteX1" fmla="*/ 361335 w 420406"/>
                          <a:gd name="connsiteY1" fmla="*/ 5 h 781381"/>
                          <a:gd name="connsiteX2" fmla="*/ 420406 w 420406"/>
                          <a:gd name="connsiteY2" fmla="*/ 408551 h 781381"/>
                          <a:gd name="connsiteX3" fmla="*/ 1766 w 420406"/>
                          <a:gd name="connsiteY3" fmla="*/ 781377 h 781381"/>
                          <a:gd name="connsiteX4" fmla="*/ 273690 w 420406"/>
                          <a:gd name="connsiteY4" fmla="*/ 415694 h 781381"/>
                          <a:gd name="connsiteX0" fmla="*/ 273715 w 420431"/>
                          <a:gd name="connsiteY0" fmla="*/ 308548 h 674235"/>
                          <a:gd name="connsiteX1" fmla="*/ 382791 w 420431"/>
                          <a:gd name="connsiteY1" fmla="*/ 15 h 674235"/>
                          <a:gd name="connsiteX2" fmla="*/ 420431 w 420431"/>
                          <a:gd name="connsiteY2" fmla="*/ 301405 h 674235"/>
                          <a:gd name="connsiteX3" fmla="*/ 1791 w 420431"/>
                          <a:gd name="connsiteY3" fmla="*/ 674231 h 674235"/>
                          <a:gd name="connsiteX4" fmla="*/ 273715 w 420431"/>
                          <a:gd name="connsiteY4" fmla="*/ 308548 h 674235"/>
                          <a:gd name="connsiteX0" fmla="*/ 219346 w 366062"/>
                          <a:gd name="connsiteY0" fmla="*/ 308548 h 688521"/>
                          <a:gd name="connsiteX1" fmla="*/ 328422 w 366062"/>
                          <a:gd name="connsiteY1" fmla="*/ 15 h 688521"/>
                          <a:gd name="connsiteX2" fmla="*/ 366062 w 366062"/>
                          <a:gd name="connsiteY2" fmla="*/ 301405 h 688521"/>
                          <a:gd name="connsiteX3" fmla="*/ 2191 w 366062"/>
                          <a:gd name="connsiteY3" fmla="*/ 688518 h 688521"/>
                          <a:gd name="connsiteX4" fmla="*/ 219346 w 366062"/>
                          <a:gd name="connsiteY4" fmla="*/ 308548 h 688521"/>
                          <a:gd name="connsiteX0" fmla="*/ 219036 w 353846"/>
                          <a:gd name="connsiteY0" fmla="*/ 308574 h 688554"/>
                          <a:gd name="connsiteX1" fmla="*/ 328112 w 353846"/>
                          <a:gd name="connsiteY1" fmla="*/ 41 h 688554"/>
                          <a:gd name="connsiteX2" fmla="*/ 353846 w 353846"/>
                          <a:gd name="connsiteY2" fmla="*/ 296669 h 688554"/>
                          <a:gd name="connsiteX3" fmla="*/ 1881 w 353846"/>
                          <a:gd name="connsiteY3" fmla="*/ 688544 h 688554"/>
                          <a:gd name="connsiteX4" fmla="*/ 219036 w 353846"/>
                          <a:gd name="connsiteY4" fmla="*/ 308574 h 688554"/>
                          <a:gd name="connsiteX0" fmla="*/ 219036 w 390008"/>
                          <a:gd name="connsiteY0" fmla="*/ 312239 h 692219"/>
                          <a:gd name="connsiteX1" fmla="*/ 328112 w 390008"/>
                          <a:gd name="connsiteY1" fmla="*/ 3706 h 692219"/>
                          <a:gd name="connsiteX2" fmla="*/ 379870 w 390008"/>
                          <a:gd name="connsiteY2" fmla="*/ 151655 h 692219"/>
                          <a:gd name="connsiteX3" fmla="*/ 353846 w 390008"/>
                          <a:gd name="connsiteY3" fmla="*/ 300334 h 692219"/>
                          <a:gd name="connsiteX4" fmla="*/ 1881 w 390008"/>
                          <a:gd name="connsiteY4" fmla="*/ 692209 h 692219"/>
                          <a:gd name="connsiteX5" fmla="*/ 219036 w 390008"/>
                          <a:gd name="connsiteY5" fmla="*/ 312239 h 692219"/>
                          <a:gd name="connsiteX0" fmla="*/ 217522 w 379622"/>
                          <a:gd name="connsiteY0" fmla="*/ 312239 h 695223"/>
                          <a:gd name="connsiteX1" fmla="*/ 326598 w 379622"/>
                          <a:gd name="connsiteY1" fmla="*/ 3706 h 695223"/>
                          <a:gd name="connsiteX2" fmla="*/ 378356 w 379622"/>
                          <a:gd name="connsiteY2" fmla="*/ 151655 h 695223"/>
                          <a:gd name="connsiteX3" fmla="*/ 352332 w 379622"/>
                          <a:gd name="connsiteY3" fmla="*/ 300334 h 695223"/>
                          <a:gd name="connsiteX4" fmla="*/ 273581 w 379622"/>
                          <a:gd name="connsiteY4" fmla="*/ 480269 h 695223"/>
                          <a:gd name="connsiteX5" fmla="*/ 367 w 379622"/>
                          <a:gd name="connsiteY5" fmla="*/ 692209 h 695223"/>
                          <a:gd name="connsiteX6" fmla="*/ 217522 w 379622"/>
                          <a:gd name="connsiteY6" fmla="*/ 312239 h 695223"/>
                          <a:gd name="connsiteX0" fmla="*/ 217522 w 382225"/>
                          <a:gd name="connsiteY0" fmla="*/ 312239 h 695223"/>
                          <a:gd name="connsiteX1" fmla="*/ 326598 w 382225"/>
                          <a:gd name="connsiteY1" fmla="*/ 3706 h 695223"/>
                          <a:gd name="connsiteX2" fmla="*/ 378356 w 382225"/>
                          <a:gd name="connsiteY2" fmla="*/ 151655 h 695223"/>
                          <a:gd name="connsiteX3" fmla="*/ 364238 w 382225"/>
                          <a:gd name="connsiteY3" fmla="*/ 297953 h 695223"/>
                          <a:gd name="connsiteX4" fmla="*/ 273581 w 382225"/>
                          <a:gd name="connsiteY4" fmla="*/ 480269 h 695223"/>
                          <a:gd name="connsiteX5" fmla="*/ 367 w 382225"/>
                          <a:gd name="connsiteY5" fmla="*/ 692209 h 695223"/>
                          <a:gd name="connsiteX6" fmla="*/ 217522 w 382225"/>
                          <a:gd name="connsiteY6" fmla="*/ 312239 h 695223"/>
                          <a:gd name="connsiteX0" fmla="*/ 217522 w 382225"/>
                          <a:gd name="connsiteY0" fmla="*/ 359366 h 695816"/>
                          <a:gd name="connsiteX1" fmla="*/ 326598 w 382225"/>
                          <a:gd name="connsiteY1" fmla="*/ 5589 h 695816"/>
                          <a:gd name="connsiteX2" fmla="*/ 378356 w 382225"/>
                          <a:gd name="connsiteY2" fmla="*/ 153538 h 695816"/>
                          <a:gd name="connsiteX3" fmla="*/ 364238 w 382225"/>
                          <a:gd name="connsiteY3" fmla="*/ 299836 h 695816"/>
                          <a:gd name="connsiteX4" fmla="*/ 273581 w 382225"/>
                          <a:gd name="connsiteY4" fmla="*/ 482152 h 695816"/>
                          <a:gd name="connsiteX5" fmla="*/ 367 w 382225"/>
                          <a:gd name="connsiteY5" fmla="*/ 694092 h 695816"/>
                          <a:gd name="connsiteX6" fmla="*/ 217522 w 382225"/>
                          <a:gd name="connsiteY6" fmla="*/ 359366 h 695816"/>
                          <a:gd name="connsiteX0" fmla="*/ 243444 w 381953"/>
                          <a:gd name="connsiteY0" fmla="*/ 366828 h 695957"/>
                          <a:gd name="connsiteX1" fmla="*/ 326326 w 381953"/>
                          <a:gd name="connsiteY1" fmla="*/ 5907 h 695957"/>
                          <a:gd name="connsiteX2" fmla="*/ 378084 w 381953"/>
                          <a:gd name="connsiteY2" fmla="*/ 153856 h 695957"/>
                          <a:gd name="connsiteX3" fmla="*/ 363966 w 381953"/>
                          <a:gd name="connsiteY3" fmla="*/ 300154 h 695957"/>
                          <a:gd name="connsiteX4" fmla="*/ 273309 w 381953"/>
                          <a:gd name="connsiteY4" fmla="*/ 482470 h 695957"/>
                          <a:gd name="connsiteX5" fmla="*/ 95 w 381953"/>
                          <a:gd name="connsiteY5" fmla="*/ 694410 h 695957"/>
                          <a:gd name="connsiteX6" fmla="*/ 243444 w 381953"/>
                          <a:gd name="connsiteY6" fmla="*/ 366828 h 695957"/>
                          <a:gd name="connsiteX0" fmla="*/ 243444 w 379080"/>
                          <a:gd name="connsiteY0" fmla="*/ 366828 h 695838"/>
                          <a:gd name="connsiteX1" fmla="*/ 326326 w 379080"/>
                          <a:gd name="connsiteY1" fmla="*/ 5907 h 695838"/>
                          <a:gd name="connsiteX2" fmla="*/ 378084 w 379080"/>
                          <a:gd name="connsiteY2" fmla="*/ 153856 h 695838"/>
                          <a:gd name="connsiteX3" fmla="*/ 363966 w 379080"/>
                          <a:gd name="connsiteY3" fmla="*/ 300154 h 695838"/>
                          <a:gd name="connsiteX4" fmla="*/ 335222 w 379080"/>
                          <a:gd name="connsiteY4" fmla="*/ 406271 h 695838"/>
                          <a:gd name="connsiteX5" fmla="*/ 273309 w 379080"/>
                          <a:gd name="connsiteY5" fmla="*/ 482470 h 695838"/>
                          <a:gd name="connsiteX6" fmla="*/ 95 w 379080"/>
                          <a:gd name="connsiteY6" fmla="*/ 694410 h 695838"/>
                          <a:gd name="connsiteX7" fmla="*/ 243444 w 379080"/>
                          <a:gd name="connsiteY7" fmla="*/ 366828 h 695838"/>
                          <a:gd name="connsiteX0" fmla="*/ 243441 w 379077"/>
                          <a:gd name="connsiteY0" fmla="*/ 372957 h 701967"/>
                          <a:gd name="connsiteX1" fmla="*/ 292201 w 379077"/>
                          <a:gd name="connsiteY1" fmla="*/ 49685 h 701967"/>
                          <a:gd name="connsiteX2" fmla="*/ 326323 w 379077"/>
                          <a:gd name="connsiteY2" fmla="*/ 12036 h 701967"/>
                          <a:gd name="connsiteX3" fmla="*/ 378081 w 379077"/>
                          <a:gd name="connsiteY3" fmla="*/ 159985 h 701967"/>
                          <a:gd name="connsiteX4" fmla="*/ 363963 w 379077"/>
                          <a:gd name="connsiteY4" fmla="*/ 306283 h 701967"/>
                          <a:gd name="connsiteX5" fmla="*/ 335219 w 379077"/>
                          <a:gd name="connsiteY5" fmla="*/ 412400 h 701967"/>
                          <a:gd name="connsiteX6" fmla="*/ 273306 w 379077"/>
                          <a:gd name="connsiteY6" fmla="*/ 488599 h 701967"/>
                          <a:gd name="connsiteX7" fmla="*/ 92 w 379077"/>
                          <a:gd name="connsiteY7" fmla="*/ 700539 h 701967"/>
                          <a:gd name="connsiteX8" fmla="*/ 243441 w 379077"/>
                          <a:gd name="connsiteY8" fmla="*/ 372957 h 701967"/>
                          <a:gd name="connsiteX0" fmla="*/ 243441 w 379299"/>
                          <a:gd name="connsiteY0" fmla="*/ 444886 h 773896"/>
                          <a:gd name="connsiteX1" fmla="*/ 292201 w 379299"/>
                          <a:gd name="connsiteY1" fmla="*/ 121614 h 773896"/>
                          <a:gd name="connsiteX2" fmla="*/ 334383 w 379299"/>
                          <a:gd name="connsiteY2" fmla="*/ 2764 h 773896"/>
                          <a:gd name="connsiteX3" fmla="*/ 378081 w 379299"/>
                          <a:gd name="connsiteY3" fmla="*/ 231914 h 773896"/>
                          <a:gd name="connsiteX4" fmla="*/ 363963 w 379299"/>
                          <a:gd name="connsiteY4" fmla="*/ 378212 h 773896"/>
                          <a:gd name="connsiteX5" fmla="*/ 335219 w 379299"/>
                          <a:gd name="connsiteY5" fmla="*/ 484329 h 773896"/>
                          <a:gd name="connsiteX6" fmla="*/ 273306 w 379299"/>
                          <a:gd name="connsiteY6" fmla="*/ 560528 h 773896"/>
                          <a:gd name="connsiteX7" fmla="*/ 92 w 379299"/>
                          <a:gd name="connsiteY7" fmla="*/ 772468 h 773896"/>
                          <a:gd name="connsiteX8" fmla="*/ 243441 w 379299"/>
                          <a:gd name="connsiteY8" fmla="*/ 444886 h 773896"/>
                          <a:gd name="connsiteX0" fmla="*/ 424134 w 570110"/>
                          <a:gd name="connsiteY0" fmla="*/ 626479 h 955489"/>
                          <a:gd name="connsiteX1" fmla="*/ 472894 w 570110"/>
                          <a:gd name="connsiteY1" fmla="*/ 303207 h 955489"/>
                          <a:gd name="connsiteX2" fmla="*/ 73 w 570110"/>
                          <a:gd name="connsiteY2" fmla="*/ 1980 h 955489"/>
                          <a:gd name="connsiteX3" fmla="*/ 515076 w 570110"/>
                          <a:gd name="connsiteY3" fmla="*/ 184357 h 955489"/>
                          <a:gd name="connsiteX4" fmla="*/ 558774 w 570110"/>
                          <a:gd name="connsiteY4" fmla="*/ 413507 h 955489"/>
                          <a:gd name="connsiteX5" fmla="*/ 544656 w 570110"/>
                          <a:gd name="connsiteY5" fmla="*/ 559805 h 955489"/>
                          <a:gd name="connsiteX6" fmla="*/ 515912 w 570110"/>
                          <a:gd name="connsiteY6" fmla="*/ 665922 h 955489"/>
                          <a:gd name="connsiteX7" fmla="*/ 453999 w 570110"/>
                          <a:gd name="connsiteY7" fmla="*/ 742121 h 955489"/>
                          <a:gd name="connsiteX8" fmla="*/ 180785 w 570110"/>
                          <a:gd name="connsiteY8" fmla="*/ 954061 h 955489"/>
                          <a:gd name="connsiteX9" fmla="*/ 424134 w 570110"/>
                          <a:gd name="connsiteY9" fmla="*/ 626479 h 955489"/>
                          <a:gd name="connsiteX0" fmla="*/ 467547 w 613523"/>
                          <a:gd name="connsiteY0" fmla="*/ 629550 h 958560"/>
                          <a:gd name="connsiteX1" fmla="*/ 516307 w 613523"/>
                          <a:gd name="connsiteY1" fmla="*/ 306278 h 958560"/>
                          <a:gd name="connsiteX2" fmla="*/ 81098 w 613523"/>
                          <a:gd name="connsiteY2" fmla="*/ 101969 h 958560"/>
                          <a:gd name="connsiteX3" fmla="*/ 43486 w 613523"/>
                          <a:gd name="connsiteY3" fmla="*/ 5051 h 958560"/>
                          <a:gd name="connsiteX4" fmla="*/ 558489 w 613523"/>
                          <a:gd name="connsiteY4" fmla="*/ 187428 h 958560"/>
                          <a:gd name="connsiteX5" fmla="*/ 602187 w 613523"/>
                          <a:gd name="connsiteY5" fmla="*/ 416578 h 958560"/>
                          <a:gd name="connsiteX6" fmla="*/ 588069 w 613523"/>
                          <a:gd name="connsiteY6" fmla="*/ 562876 h 958560"/>
                          <a:gd name="connsiteX7" fmla="*/ 559325 w 613523"/>
                          <a:gd name="connsiteY7" fmla="*/ 668993 h 958560"/>
                          <a:gd name="connsiteX8" fmla="*/ 497412 w 613523"/>
                          <a:gd name="connsiteY8" fmla="*/ 745192 h 958560"/>
                          <a:gd name="connsiteX9" fmla="*/ 224198 w 613523"/>
                          <a:gd name="connsiteY9" fmla="*/ 957132 h 958560"/>
                          <a:gd name="connsiteX10" fmla="*/ 467547 w 613523"/>
                          <a:gd name="connsiteY10" fmla="*/ 629550 h 958560"/>
                          <a:gd name="connsiteX0" fmla="*/ 467547 w 605112"/>
                          <a:gd name="connsiteY0" fmla="*/ 629550 h 958560"/>
                          <a:gd name="connsiteX1" fmla="*/ 516307 w 605112"/>
                          <a:gd name="connsiteY1" fmla="*/ 306278 h 958560"/>
                          <a:gd name="connsiteX2" fmla="*/ 81098 w 605112"/>
                          <a:gd name="connsiteY2" fmla="*/ 101969 h 958560"/>
                          <a:gd name="connsiteX3" fmla="*/ 43486 w 605112"/>
                          <a:gd name="connsiteY3" fmla="*/ 5051 h 958560"/>
                          <a:gd name="connsiteX4" fmla="*/ 531625 w 605112"/>
                          <a:gd name="connsiteY4" fmla="*/ 187428 h 958560"/>
                          <a:gd name="connsiteX5" fmla="*/ 602187 w 605112"/>
                          <a:gd name="connsiteY5" fmla="*/ 416578 h 958560"/>
                          <a:gd name="connsiteX6" fmla="*/ 588069 w 605112"/>
                          <a:gd name="connsiteY6" fmla="*/ 562876 h 958560"/>
                          <a:gd name="connsiteX7" fmla="*/ 559325 w 605112"/>
                          <a:gd name="connsiteY7" fmla="*/ 668993 h 958560"/>
                          <a:gd name="connsiteX8" fmla="*/ 497412 w 605112"/>
                          <a:gd name="connsiteY8" fmla="*/ 745192 h 958560"/>
                          <a:gd name="connsiteX9" fmla="*/ 224198 w 605112"/>
                          <a:gd name="connsiteY9" fmla="*/ 957132 h 958560"/>
                          <a:gd name="connsiteX10" fmla="*/ 467547 w 605112"/>
                          <a:gd name="connsiteY10" fmla="*/ 629550 h 95856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605112" h="958560">
                            <a:moveTo>
                              <a:pt x="467547" y="629550"/>
                            </a:moveTo>
                            <a:cubicBezTo>
                              <a:pt x="516232" y="521074"/>
                              <a:pt x="502493" y="366432"/>
                              <a:pt x="516307" y="306278"/>
                            </a:cubicBezTo>
                            <a:cubicBezTo>
                              <a:pt x="452794" y="207870"/>
                              <a:pt x="159901" y="152173"/>
                              <a:pt x="81098" y="101969"/>
                            </a:cubicBezTo>
                            <a:cubicBezTo>
                              <a:pt x="2295" y="51765"/>
                              <a:pt x="-35184" y="-19670"/>
                              <a:pt x="43486" y="5051"/>
                            </a:cubicBezTo>
                            <a:cubicBezTo>
                              <a:pt x="122156" y="29772"/>
                              <a:pt x="438508" y="118840"/>
                              <a:pt x="531625" y="187428"/>
                            </a:cubicBezTo>
                            <a:cubicBezTo>
                              <a:pt x="624742" y="256016"/>
                              <a:pt x="592780" y="354003"/>
                              <a:pt x="602187" y="416578"/>
                            </a:cubicBezTo>
                            <a:cubicBezTo>
                              <a:pt x="611594" y="479153"/>
                              <a:pt x="596006" y="522791"/>
                              <a:pt x="588069" y="562876"/>
                            </a:cubicBezTo>
                            <a:cubicBezTo>
                              <a:pt x="580132" y="602961"/>
                              <a:pt x="574435" y="638607"/>
                              <a:pt x="559325" y="668993"/>
                            </a:cubicBezTo>
                            <a:cubicBezTo>
                              <a:pt x="544216" y="699379"/>
                              <a:pt x="552473" y="695185"/>
                              <a:pt x="497412" y="745192"/>
                            </a:cubicBezTo>
                            <a:cubicBezTo>
                              <a:pt x="442351" y="795199"/>
                              <a:pt x="229176" y="976406"/>
                              <a:pt x="224198" y="957132"/>
                            </a:cubicBezTo>
                            <a:cubicBezTo>
                              <a:pt x="219220" y="937858"/>
                              <a:pt x="418862" y="738026"/>
                              <a:pt x="467547" y="629550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006" name="Freeform 249"/>
                      <p:cNvSpPr/>
                      <p:nvPr/>
                    </p:nvSpPr>
                    <p:spPr>
                      <a:xfrm>
                        <a:off x="3686119" y="3519488"/>
                        <a:ext cx="189463" cy="200246"/>
                      </a:xfrm>
                      <a:custGeom>
                        <a:avLst/>
                        <a:gdLst>
                          <a:gd name="connsiteX0" fmla="*/ 17147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8" fmla="*/ 17147 w 195280"/>
                          <a:gd name="connsiteY8" fmla="*/ 11875 h 154450"/>
                          <a:gd name="connsiteX0" fmla="*/ 64648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0" fmla="*/ 23941 w 154573"/>
                          <a:gd name="connsiteY0" fmla="*/ 11875 h 155931"/>
                          <a:gd name="connsiteX1" fmla="*/ 191 w 154573"/>
                          <a:gd name="connsiteY1" fmla="*/ 142504 h 155931"/>
                          <a:gd name="connsiteX2" fmla="*/ 35817 w 154573"/>
                          <a:gd name="connsiteY2" fmla="*/ 154379 h 155931"/>
                          <a:gd name="connsiteX3" fmla="*/ 154570 w 154573"/>
                          <a:gd name="connsiteY3" fmla="*/ 106878 h 155931"/>
                          <a:gd name="connsiteX4" fmla="*/ 142694 w 154573"/>
                          <a:gd name="connsiteY4" fmla="*/ 47501 h 155931"/>
                          <a:gd name="connsiteX5" fmla="*/ 71443 w 154573"/>
                          <a:gd name="connsiteY5" fmla="*/ 0 h 155931"/>
                          <a:gd name="connsiteX6" fmla="*/ 23941 w 154573"/>
                          <a:gd name="connsiteY6" fmla="*/ 11875 h 155931"/>
                          <a:gd name="connsiteX0" fmla="*/ 1753 w 211133"/>
                          <a:gd name="connsiteY0" fmla="*/ 57929 h 154450"/>
                          <a:gd name="connsiteX1" fmla="*/ 56751 w 211133"/>
                          <a:gd name="connsiteY1" fmla="*/ 142504 h 154450"/>
                          <a:gd name="connsiteX2" fmla="*/ 92377 w 211133"/>
                          <a:gd name="connsiteY2" fmla="*/ 154379 h 154450"/>
                          <a:gd name="connsiteX3" fmla="*/ 211130 w 211133"/>
                          <a:gd name="connsiteY3" fmla="*/ 106878 h 154450"/>
                          <a:gd name="connsiteX4" fmla="*/ 199254 w 211133"/>
                          <a:gd name="connsiteY4" fmla="*/ 47501 h 154450"/>
                          <a:gd name="connsiteX5" fmla="*/ 128003 w 211133"/>
                          <a:gd name="connsiteY5" fmla="*/ 0 h 154450"/>
                          <a:gd name="connsiteX6" fmla="*/ 1753 w 211133"/>
                          <a:gd name="connsiteY6" fmla="*/ 57929 h 154450"/>
                          <a:gd name="connsiteX0" fmla="*/ 34199 w 243579"/>
                          <a:gd name="connsiteY0" fmla="*/ 57929 h 174919"/>
                          <a:gd name="connsiteX1" fmla="*/ 2058 w 243579"/>
                          <a:gd name="connsiteY1" fmla="*/ 171957 h 174919"/>
                          <a:gd name="connsiteX2" fmla="*/ 89197 w 243579"/>
                          <a:gd name="connsiteY2" fmla="*/ 142504 h 174919"/>
                          <a:gd name="connsiteX3" fmla="*/ 124823 w 243579"/>
                          <a:gd name="connsiteY3" fmla="*/ 154379 h 174919"/>
                          <a:gd name="connsiteX4" fmla="*/ 243576 w 243579"/>
                          <a:gd name="connsiteY4" fmla="*/ 106878 h 174919"/>
                          <a:gd name="connsiteX5" fmla="*/ 231700 w 243579"/>
                          <a:gd name="connsiteY5" fmla="*/ 47501 h 174919"/>
                          <a:gd name="connsiteX6" fmla="*/ 160449 w 243579"/>
                          <a:gd name="connsiteY6" fmla="*/ 0 h 174919"/>
                          <a:gd name="connsiteX7" fmla="*/ 34199 w 243579"/>
                          <a:gd name="connsiteY7" fmla="*/ 57929 h 174919"/>
                          <a:gd name="connsiteX0" fmla="*/ 34199 w 243579"/>
                          <a:gd name="connsiteY0" fmla="*/ 57929 h 178813"/>
                          <a:gd name="connsiteX1" fmla="*/ 2058 w 243579"/>
                          <a:gd name="connsiteY1" fmla="*/ 171957 h 178813"/>
                          <a:gd name="connsiteX2" fmla="*/ 99359 w 243579"/>
                          <a:gd name="connsiteY2" fmla="*/ 171591 h 178813"/>
                          <a:gd name="connsiteX3" fmla="*/ 124823 w 243579"/>
                          <a:gd name="connsiteY3" fmla="*/ 154379 h 178813"/>
                          <a:gd name="connsiteX4" fmla="*/ 243576 w 243579"/>
                          <a:gd name="connsiteY4" fmla="*/ 106878 h 178813"/>
                          <a:gd name="connsiteX5" fmla="*/ 231700 w 243579"/>
                          <a:gd name="connsiteY5" fmla="*/ 47501 h 178813"/>
                          <a:gd name="connsiteX6" fmla="*/ 160449 w 243579"/>
                          <a:gd name="connsiteY6" fmla="*/ 0 h 178813"/>
                          <a:gd name="connsiteX7" fmla="*/ 34199 w 243579"/>
                          <a:gd name="connsiteY7" fmla="*/ 57929 h 178813"/>
                          <a:gd name="connsiteX0" fmla="*/ 34199 w 251212"/>
                          <a:gd name="connsiteY0" fmla="*/ 57929 h 179237"/>
                          <a:gd name="connsiteX1" fmla="*/ 2058 w 251212"/>
                          <a:gd name="connsiteY1" fmla="*/ 171957 h 179237"/>
                          <a:gd name="connsiteX2" fmla="*/ 99359 w 251212"/>
                          <a:gd name="connsiteY2" fmla="*/ 171591 h 179237"/>
                          <a:gd name="connsiteX3" fmla="*/ 124823 w 251212"/>
                          <a:gd name="connsiteY3" fmla="*/ 144683 h 179237"/>
                          <a:gd name="connsiteX4" fmla="*/ 243576 w 251212"/>
                          <a:gd name="connsiteY4" fmla="*/ 106878 h 179237"/>
                          <a:gd name="connsiteX5" fmla="*/ 231700 w 251212"/>
                          <a:gd name="connsiteY5" fmla="*/ 47501 h 179237"/>
                          <a:gd name="connsiteX6" fmla="*/ 160449 w 251212"/>
                          <a:gd name="connsiteY6" fmla="*/ 0 h 179237"/>
                          <a:gd name="connsiteX7" fmla="*/ 34199 w 251212"/>
                          <a:gd name="connsiteY7" fmla="*/ 57929 h 179237"/>
                          <a:gd name="connsiteX0" fmla="*/ 34199 w 251212"/>
                          <a:gd name="connsiteY0" fmla="*/ 57929 h 180116"/>
                          <a:gd name="connsiteX1" fmla="*/ 2058 w 251212"/>
                          <a:gd name="connsiteY1" fmla="*/ 171957 h 180116"/>
                          <a:gd name="connsiteX2" fmla="*/ 76497 w 251212"/>
                          <a:gd name="connsiteY2" fmla="*/ 174015 h 180116"/>
                          <a:gd name="connsiteX3" fmla="*/ 124823 w 251212"/>
                          <a:gd name="connsiteY3" fmla="*/ 144683 h 180116"/>
                          <a:gd name="connsiteX4" fmla="*/ 243576 w 251212"/>
                          <a:gd name="connsiteY4" fmla="*/ 106878 h 180116"/>
                          <a:gd name="connsiteX5" fmla="*/ 231700 w 251212"/>
                          <a:gd name="connsiteY5" fmla="*/ 47501 h 180116"/>
                          <a:gd name="connsiteX6" fmla="*/ 160449 w 251212"/>
                          <a:gd name="connsiteY6" fmla="*/ 0 h 180116"/>
                          <a:gd name="connsiteX7" fmla="*/ 34199 w 251212"/>
                          <a:gd name="connsiteY7" fmla="*/ 57929 h 180116"/>
                          <a:gd name="connsiteX0" fmla="*/ 34199 w 246435"/>
                          <a:gd name="connsiteY0" fmla="*/ 57929 h 179063"/>
                          <a:gd name="connsiteX1" fmla="*/ 2058 w 246435"/>
                          <a:gd name="connsiteY1" fmla="*/ 171957 h 179063"/>
                          <a:gd name="connsiteX2" fmla="*/ 76497 w 246435"/>
                          <a:gd name="connsiteY2" fmla="*/ 174015 h 179063"/>
                          <a:gd name="connsiteX3" fmla="*/ 189909 w 246435"/>
                          <a:gd name="connsiteY3" fmla="*/ 166068 h 179063"/>
                          <a:gd name="connsiteX4" fmla="*/ 243576 w 246435"/>
                          <a:gd name="connsiteY4" fmla="*/ 106878 h 179063"/>
                          <a:gd name="connsiteX5" fmla="*/ 231700 w 246435"/>
                          <a:gd name="connsiteY5" fmla="*/ 47501 h 179063"/>
                          <a:gd name="connsiteX6" fmla="*/ 160449 w 246435"/>
                          <a:gd name="connsiteY6" fmla="*/ 0 h 179063"/>
                          <a:gd name="connsiteX7" fmla="*/ 34199 w 246435"/>
                          <a:gd name="connsiteY7" fmla="*/ 57929 h 179063"/>
                          <a:gd name="connsiteX0" fmla="*/ 3535 w 215771"/>
                          <a:gd name="connsiteY0" fmla="*/ 57929 h 179839"/>
                          <a:gd name="connsiteX1" fmla="*/ 45833 w 215771"/>
                          <a:gd name="connsiteY1" fmla="*/ 174015 h 179839"/>
                          <a:gd name="connsiteX2" fmla="*/ 159245 w 215771"/>
                          <a:gd name="connsiteY2" fmla="*/ 166068 h 179839"/>
                          <a:gd name="connsiteX3" fmla="*/ 212912 w 215771"/>
                          <a:gd name="connsiteY3" fmla="*/ 106878 h 179839"/>
                          <a:gd name="connsiteX4" fmla="*/ 201036 w 215771"/>
                          <a:gd name="connsiteY4" fmla="*/ 47501 h 179839"/>
                          <a:gd name="connsiteX5" fmla="*/ 129785 w 215771"/>
                          <a:gd name="connsiteY5" fmla="*/ 0 h 179839"/>
                          <a:gd name="connsiteX6" fmla="*/ 3535 w 215771"/>
                          <a:gd name="connsiteY6" fmla="*/ 57929 h 179839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5771" h="179839">
                            <a:moveTo>
                              <a:pt x="3535" y="57929"/>
                            </a:moveTo>
                            <a:cubicBezTo>
                              <a:pt x="-10457" y="86931"/>
                              <a:pt x="19881" y="155992"/>
                              <a:pt x="45833" y="174015"/>
                            </a:cubicBezTo>
                            <a:cubicBezTo>
                              <a:pt x="71785" y="192038"/>
                              <a:pt x="147370" y="162110"/>
                              <a:pt x="159245" y="166068"/>
                            </a:cubicBezTo>
                            <a:cubicBezTo>
                              <a:pt x="212096" y="160196"/>
                              <a:pt x="205947" y="126639"/>
                              <a:pt x="212912" y="106878"/>
                            </a:cubicBezTo>
                            <a:cubicBezTo>
                              <a:pt x="219877" y="87117"/>
                              <a:pt x="213428" y="63434"/>
                              <a:pt x="201036" y="47501"/>
                            </a:cubicBezTo>
                            <a:cubicBezTo>
                              <a:pt x="183511" y="24969"/>
                              <a:pt x="129785" y="0"/>
                              <a:pt x="129785" y="0"/>
                            </a:cubicBezTo>
                            <a:cubicBezTo>
                              <a:pt x="113951" y="3958"/>
                              <a:pt x="18537" y="51500"/>
                              <a:pt x="3535" y="57929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1007" name="Freeform 250"/>
                      <p:cNvSpPr/>
                      <p:nvPr/>
                    </p:nvSpPr>
                    <p:spPr>
                      <a:xfrm>
                        <a:off x="4590529" y="4487862"/>
                        <a:ext cx="1257783" cy="1386391"/>
                      </a:xfrm>
                      <a:custGeom>
                        <a:avLst/>
                        <a:gdLst>
                          <a:gd name="connsiteX0" fmla="*/ 17147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8" fmla="*/ 17147 w 195280"/>
                          <a:gd name="connsiteY8" fmla="*/ 11875 h 154450"/>
                          <a:gd name="connsiteX0" fmla="*/ 64648 w 195280"/>
                          <a:gd name="connsiteY0" fmla="*/ 11875 h 154450"/>
                          <a:gd name="connsiteX1" fmla="*/ 17147 w 195280"/>
                          <a:gd name="connsiteY1" fmla="*/ 11875 h 154450"/>
                          <a:gd name="connsiteX2" fmla="*/ 40898 w 195280"/>
                          <a:gd name="connsiteY2" fmla="*/ 142504 h 154450"/>
                          <a:gd name="connsiteX3" fmla="*/ 76524 w 195280"/>
                          <a:gd name="connsiteY3" fmla="*/ 154379 h 154450"/>
                          <a:gd name="connsiteX4" fmla="*/ 195277 w 195280"/>
                          <a:gd name="connsiteY4" fmla="*/ 106878 h 154450"/>
                          <a:gd name="connsiteX5" fmla="*/ 183401 w 195280"/>
                          <a:gd name="connsiteY5" fmla="*/ 47501 h 154450"/>
                          <a:gd name="connsiteX6" fmla="*/ 112150 w 195280"/>
                          <a:gd name="connsiteY6" fmla="*/ 0 h 154450"/>
                          <a:gd name="connsiteX7" fmla="*/ 64648 w 195280"/>
                          <a:gd name="connsiteY7" fmla="*/ 11875 h 154450"/>
                          <a:gd name="connsiteX0" fmla="*/ 23941 w 154573"/>
                          <a:gd name="connsiteY0" fmla="*/ 11875 h 155931"/>
                          <a:gd name="connsiteX1" fmla="*/ 191 w 154573"/>
                          <a:gd name="connsiteY1" fmla="*/ 142504 h 155931"/>
                          <a:gd name="connsiteX2" fmla="*/ 35817 w 154573"/>
                          <a:gd name="connsiteY2" fmla="*/ 154379 h 155931"/>
                          <a:gd name="connsiteX3" fmla="*/ 154570 w 154573"/>
                          <a:gd name="connsiteY3" fmla="*/ 106878 h 155931"/>
                          <a:gd name="connsiteX4" fmla="*/ 142694 w 154573"/>
                          <a:gd name="connsiteY4" fmla="*/ 47501 h 155931"/>
                          <a:gd name="connsiteX5" fmla="*/ 71443 w 154573"/>
                          <a:gd name="connsiteY5" fmla="*/ 0 h 155931"/>
                          <a:gd name="connsiteX6" fmla="*/ 23941 w 154573"/>
                          <a:gd name="connsiteY6" fmla="*/ 11875 h 155931"/>
                          <a:gd name="connsiteX0" fmla="*/ 13690 w 155773"/>
                          <a:gd name="connsiteY0" fmla="*/ 57403 h 154450"/>
                          <a:gd name="connsiteX1" fmla="*/ 1391 w 155773"/>
                          <a:gd name="connsiteY1" fmla="*/ 142504 h 154450"/>
                          <a:gd name="connsiteX2" fmla="*/ 37017 w 155773"/>
                          <a:gd name="connsiteY2" fmla="*/ 154379 h 154450"/>
                          <a:gd name="connsiteX3" fmla="*/ 155770 w 155773"/>
                          <a:gd name="connsiteY3" fmla="*/ 106878 h 154450"/>
                          <a:gd name="connsiteX4" fmla="*/ 143894 w 155773"/>
                          <a:gd name="connsiteY4" fmla="*/ 47501 h 154450"/>
                          <a:gd name="connsiteX5" fmla="*/ 72643 w 155773"/>
                          <a:gd name="connsiteY5" fmla="*/ 0 h 154450"/>
                          <a:gd name="connsiteX6" fmla="*/ 13690 w 155773"/>
                          <a:gd name="connsiteY6" fmla="*/ 57403 h 154450"/>
                          <a:gd name="connsiteX0" fmla="*/ 13690 w 155770"/>
                          <a:gd name="connsiteY0" fmla="*/ 71971 h 169018"/>
                          <a:gd name="connsiteX1" fmla="*/ 1391 w 155770"/>
                          <a:gd name="connsiteY1" fmla="*/ 157072 h 169018"/>
                          <a:gd name="connsiteX2" fmla="*/ 37017 w 155770"/>
                          <a:gd name="connsiteY2" fmla="*/ 168947 h 169018"/>
                          <a:gd name="connsiteX3" fmla="*/ 155770 w 155770"/>
                          <a:gd name="connsiteY3" fmla="*/ 121446 h 169018"/>
                          <a:gd name="connsiteX4" fmla="*/ 143894 w 155770"/>
                          <a:gd name="connsiteY4" fmla="*/ 62069 h 169018"/>
                          <a:gd name="connsiteX5" fmla="*/ 89819 w 155770"/>
                          <a:gd name="connsiteY5" fmla="*/ 0 h 169018"/>
                          <a:gd name="connsiteX6" fmla="*/ 13690 w 155770"/>
                          <a:gd name="connsiteY6" fmla="*/ 71971 h 169018"/>
                          <a:gd name="connsiteX0" fmla="*/ 22122 w 154659"/>
                          <a:gd name="connsiteY0" fmla="*/ 31907 h 170133"/>
                          <a:gd name="connsiteX1" fmla="*/ 280 w 154659"/>
                          <a:gd name="connsiteY1" fmla="*/ 157072 h 170133"/>
                          <a:gd name="connsiteX2" fmla="*/ 35906 w 154659"/>
                          <a:gd name="connsiteY2" fmla="*/ 168947 h 170133"/>
                          <a:gd name="connsiteX3" fmla="*/ 154659 w 154659"/>
                          <a:gd name="connsiteY3" fmla="*/ 121446 h 170133"/>
                          <a:gd name="connsiteX4" fmla="*/ 142783 w 154659"/>
                          <a:gd name="connsiteY4" fmla="*/ 62069 h 170133"/>
                          <a:gd name="connsiteX5" fmla="*/ 88708 w 154659"/>
                          <a:gd name="connsiteY5" fmla="*/ 0 h 170133"/>
                          <a:gd name="connsiteX6" fmla="*/ 22122 w 154659"/>
                          <a:gd name="connsiteY6" fmla="*/ 31907 h 170133"/>
                          <a:gd name="connsiteX0" fmla="*/ 72178 w 204715"/>
                          <a:gd name="connsiteY0" fmla="*/ 31907 h 239671"/>
                          <a:gd name="connsiteX1" fmla="*/ 61 w 204715"/>
                          <a:gd name="connsiteY1" fmla="*/ 236087 h 239671"/>
                          <a:gd name="connsiteX2" fmla="*/ 85962 w 204715"/>
                          <a:gd name="connsiteY2" fmla="*/ 168947 h 239671"/>
                          <a:gd name="connsiteX3" fmla="*/ 204715 w 204715"/>
                          <a:gd name="connsiteY3" fmla="*/ 121446 h 239671"/>
                          <a:gd name="connsiteX4" fmla="*/ 192839 w 204715"/>
                          <a:gd name="connsiteY4" fmla="*/ 62069 h 239671"/>
                          <a:gd name="connsiteX5" fmla="*/ 138764 w 204715"/>
                          <a:gd name="connsiteY5" fmla="*/ 0 h 239671"/>
                          <a:gd name="connsiteX6" fmla="*/ 72178 w 204715"/>
                          <a:gd name="connsiteY6" fmla="*/ 31907 h 239671"/>
                          <a:gd name="connsiteX0" fmla="*/ 134124 w 284806"/>
                          <a:gd name="connsiteY0" fmla="*/ 31907 h 502566"/>
                          <a:gd name="connsiteX1" fmla="*/ 62007 w 284806"/>
                          <a:gd name="connsiteY1" fmla="*/ 236087 h 502566"/>
                          <a:gd name="connsiteX2" fmla="*/ 1797 w 284806"/>
                          <a:gd name="connsiteY2" fmla="*/ 502566 h 502566"/>
                          <a:gd name="connsiteX3" fmla="*/ 266661 w 284806"/>
                          <a:gd name="connsiteY3" fmla="*/ 121446 h 502566"/>
                          <a:gd name="connsiteX4" fmla="*/ 254785 w 284806"/>
                          <a:gd name="connsiteY4" fmla="*/ 62069 h 502566"/>
                          <a:gd name="connsiteX5" fmla="*/ 200710 w 284806"/>
                          <a:gd name="connsiteY5" fmla="*/ 0 h 502566"/>
                          <a:gd name="connsiteX6" fmla="*/ 134124 w 284806"/>
                          <a:gd name="connsiteY6" fmla="*/ 31907 h 502566"/>
                          <a:gd name="connsiteX0" fmla="*/ 133275 w 279806"/>
                          <a:gd name="connsiteY0" fmla="*/ 31907 h 537561"/>
                          <a:gd name="connsiteX1" fmla="*/ 61158 w 279806"/>
                          <a:gd name="connsiteY1" fmla="*/ 236087 h 537561"/>
                          <a:gd name="connsiteX2" fmla="*/ 948 w 279806"/>
                          <a:gd name="connsiteY2" fmla="*/ 502566 h 537561"/>
                          <a:gd name="connsiteX3" fmla="*/ 57124 w 279806"/>
                          <a:gd name="connsiteY3" fmla="*/ 494000 h 537561"/>
                          <a:gd name="connsiteX4" fmla="*/ 265812 w 279806"/>
                          <a:gd name="connsiteY4" fmla="*/ 121446 h 537561"/>
                          <a:gd name="connsiteX5" fmla="*/ 253936 w 279806"/>
                          <a:gd name="connsiteY5" fmla="*/ 62069 h 537561"/>
                          <a:gd name="connsiteX6" fmla="*/ 199861 w 279806"/>
                          <a:gd name="connsiteY6" fmla="*/ 0 h 537561"/>
                          <a:gd name="connsiteX7" fmla="*/ 133275 w 279806"/>
                          <a:gd name="connsiteY7" fmla="*/ 31907 h 537561"/>
                          <a:gd name="connsiteX0" fmla="*/ 132894 w 273634"/>
                          <a:gd name="connsiteY0" fmla="*/ 31907 h 526509"/>
                          <a:gd name="connsiteX1" fmla="*/ 60777 w 273634"/>
                          <a:gd name="connsiteY1" fmla="*/ 236087 h 526509"/>
                          <a:gd name="connsiteX2" fmla="*/ 567 w 273634"/>
                          <a:gd name="connsiteY2" fmla="*/ 502566 h 526509"/>
                          <a:gd name="connsiteX3" fmla="*/ 56743 w 273634"/>
                          <a:gd name="connsiteY3" fmla="*/ 494000 h 526509"/>
                          <a:gd name="connsiteX4" fmla="*/ 135298 w 273634"/>
                          <a:gd name="connsiteY4" fmla="*/ 300852 h 526509"/>
                          <a:gd name="connsiteX5" fmla="*/ 265431 w 273634"/>
                          <a:gd name="connsiteY5" fmla="*/ 121446 h 526509"/>
                          <a:gd name="connsiteX6" fmla="*/ 253555 w 273634"/>
                          <a:gd name="connsiteY6" fmla="*/ 62069 h 526509"/>
                          <a:gd name="connsiteX7" fmla="*/ 199480 w 273634"/>
                          <a:gd name="connsiteY7" fmla="*/ 0 h 526509"/>
                          <a:gd name="connsiteX8" fmla="*/ 132894 w 273634"/>
                          <a:gd name="connsiteY8" fmla="*/ 31907 h 526509"/>
                          <a:gd name="connsiteX0" fmla="*/ 132894 w 272135"/>
                          <a:gd name="connsiteY0" fmla="*/ 31907 h 526509"/>
                          <a:gd name="connsiteX1" fmla="*/ 60777 w 272135"/>
                          <a:gd name="connsiteY1" fmla="*/ 236087 h 526509"/>
                          <a:gd name="connsiteX2" fmla="*/ 567 w 272135"/>
                          <a:gd name="connsiteY2" fmla="*/ 502566 h 526509"/>
                          <a:gd name="connsiteX3" fmla="*/ 56743 w 272135"/>
                          <a:gd name="connsiteY3" fmla="*/ 494000 h 526509"/>
                          <a:gd name="connsiteX4" fmla="*/ 135298 w 272135"/>
                          <a:gd name="connsiteY4" fmla="*/ 300852 h 526509"/>
                          <a:gd name="connsiteX5" fmla="*/ 155722 w 272135"/>
                          <a:gd name="connsiteY5" fmla="*/ 204278 h 526509"/>
                          <a:gd name="connsiteX6" fmla="*/ 265431 w 272135"/>
                          <a:gd name="connsiteY6" fmla="*/ 121446 h 526509"/>
                          <a:gd name="connsiteX7" fmla="*/ 253555 w 272135"/>
                          <a:gd name="connsiteY7" fmla="*/ 62069 h 526509"/>
                          <a:gd name="connsiteX8" fmla="*/ 199480 w 272135"/>
                          <a:gd name="connsiteY8" fmla="*/ 0 h 526509"/>
                          <a:gd name="connsiteX9" fmla="*/ 132894 w 272135"/>
                          <a:gd name="connsiteY9" fmla="*/ 31907 h 526509"/>
                          <a:gd name="connsiteX0" fmla="*/ 132894 w 268027"/>
                          <a:gd name="connsiteY0" fmla="*/ 31907 h 526509"/>
                          <a:gd name="connsiteX1" fmla="*/ 60777 w 268027"/>
                          <a:gd name="connsiteY1" fmla="*/ 236087 h 526509"/>
                          <a:gd name="connsiteX2" fmla="*/ 567 w 268027"/>
                          <a:gd name="connsiteY2" fmla="*/ 502566 h 526509"/>
                          <a:gd name="connsiteX3" fmla="*/ 56743 w 268027"/>
                          <a:gd name="connsiteY3" fmla="*/ 494000 h 526509"/>
                          <a:gd name="connsiteX4" fmla="*/ 135298 w 268027"/>
                          <a:gd name="connsiteY4" fmla="*/ 300852 h 526509"/>
                          <a:gd name="connsiteX5" fmla="*/ 155722 w 268027"/>
                          <a:gd name="connsiteY5" fmla="*/ 204278 h 526509"/>
                          <a:gd name="connsiteX6" fmla="*/ 212281 w 268027"/>
                          <a:gd name="connsiteY6" fmla="*/ 147211 h 526509"/>
                          <a:gd name="connsiteX7" fmla="*/ 265431 w 268027"/>
                          <a:gd name="connsiteY7" fmla="*/ 121446 h 526509"/>
                          <a:gd name="connsiteX8" fmla="*/ 253555 w 268027"/>
                          <a:gd name="connsiteY8" fmla="*/ 62069 h 526509"/>
                          <a:gd name="connsiteX9" fmla="*/ 199480 w 268027"/>
                          <a:gd name="connsiteY9" fmla="*/ 0 h 526509"/>
                          <a:gd name="connsiteX10" fmla="*/ 132894 w 268027"/>
                          <a:gd name="connsiteY10" fmla="*/ 31907 h 526509"/>
                          <a:gd name="connsiteX0" fmla="*/ 132894 w 319648"/>
                          <a:gd name="connsiteY0" fmla="*/ 31907 h 526509"/>
                          <a:gd name="connsiteX1" fmla="*/ 60777 w 319648"/>
                          <a:gd name="connsiteY1" fmla="*/ 236087 h 526509"/>
                          <a:gd name="connsiteX2" fmla="*/ 567 w 319648"/>
                          <a:gd name="connsiteY2" fmla="*/ 502566 h 526509"/>
                          <a:gd name="connsiteX3" fmla="*/ 56743 w 319648"/>
                          <a:gd name="connsiteY3" fmla="*/ 494000 h 526509"/>
                          <a:gd name="connsiteX4" fmla="*/ 135298 w 319648"/>
                          <a:gd name="connsiteY4" fmla="*/ 300852 h 526509"/>
                          <a:gd name="connsiteX5" fmla="*/ 155722 w 319648"/>
                          <a:gd name="connsiteY5" fmla="*/ 204278 h 526509"/>
                          <a:gd name="connsiteX6" fmla="*/ 212281 w 319648"/>
                          <a:gd name="connsiteY6" fmla="*/ 147211 h 526509"/>
                          <a:gd name="connsiteX7" fmla="*/ 265431 w 319648"/>
                          <a:gd name="connsiteY7" fmla="*/ 121446 h 526509"/>
                          <a:gd name="connsiteX8" fmla="*/ 317970 w 319648"/>
                          <a:gd name="connsiteY8" fmla="*/ 35731 h 526509"/>
                          <a:gd name="connsiteX9" fmla="*/ 199480 w 319648"/>
                          <a:gd name="connsiteY9" fmla="*/ 0 h 526509"/>
                          <a:gd name="connsiteX10" fmla="*/ 132894 w 319648"/>
                          <a:gd name="connsiteY10" fmla="*/ 31907 h 526509"/>
                          <a:gd name="connsiteX0" fmla="*/ 132894 w 347624"/>
                          <a:gd name="connsiteY0" fmla="*/ 150485 h 645087"/>
                          <a:gd name="connsiteX1" fmla="*/ 60777 w 347624"/>
                          <a:gd name="connsiteY1" fmla="*/ 354665 h 645087"/>
                          <a:gd name="connsiteX2" fmla="*/ 567 w 347624"/>
                          <a:gd name="connsiteY2" fmla="*/ 621144 h 645087"/>
                          <a:gd name="connsiteX3" fmla="*/ 56743 w 347624"/>
                          <a:gd name="connsiteY3" fmla="*/ 612578 h 645087"/>
                          <a:gd name="connsiteX4" fmla="*/ 135298 w 347624"/>
                          <a:gd name="connsiteY4" fmla="*/ 419430 h 645087"/>
                          <a:gd name="connsiteX5" fmla="*/ 155722 w 347624"/>
                          <a:gd name="connsiteY5" fmla="*/ 322856 h 645087"/>
                          <a:gd name="connsiteX6" fmla="*/ 212281 w 347624"/>
                          <a:gd name="connsiteY6" fmla="*/ 265789 h 645087"/>
                          <a:gd name="connsiteX7" fmla="*/ 265431 w 347624"/>
                          <a:gd name="connsiteY7" fmla="*/ 240024 h 645087"/>
                          <a:gd name="connsiteX8" fmla="*/ 317970 w 347624"/>
                          <a:gd name="connsiteY8" fmla="*/ 154309 h 645087"/>
                          <a:gd name="connsiteX9" fmla="*/ 341111 w 347624"/>
                          <a:gd name="connsiteY9" fmla="*/ 211 h 645087"/>
                          <a:gd name="connsiteX10" fmla="*/ 199480 w 347624"/>
                          <a:gd name="connsiteY10" fmla="*/ 118578 h 645087"/>
                          <a:gd name="connsiteX11" fmla="*/ 132894 w 347624"/>
                          <a:gd name="connsiteY11" fmla="*/ 150485 h 645087"/>
                          <a:gd name="connsiteX0" fmla="*/ 132894 w 347624"/>
                          <a:gd name="connsiteY0" fmla="*/ 150649 h 645251"/>
                          <a:gd name="connsiteX1" fmla="*/ 60777 w 347624"/>
                          <a:gd name="connsiteY1" fmla="*/ 354829 h 645251"/>
                          <a:gd name="connsiteX2" fmla="*/ 567 w 347624"/>
                          <a:gd name="connsiteY2" fmla="*/ 621308 h 645251"/>
                          <a:gd name="connsiteX3" fmla="*/ 56743 w 347624"/>
                          <a:gd name="connsiteY3" fmla="*/ 612742 h 645251"/>
                          <a:gd name="connsiteX4" fmla="*/ 135298 w 347624"/>
                          <a:gd name="connsiteY4" fmla="*/ 419594 h 645251"/>
                          <a:gd name="connsiteX5" fmla="*/ 155722 w 347624"/>
                          <a:gd name="connsiteY5" fmla="*/ 323020 h 645251"/>
                          <a:gd name="connsiteX6" fmla="*/ 212281 w 347624"/>
                          <a:gd name="connsiteY6" fmla="*/ 265953 h 645251"/>
                          <a:gd name="connsiteX7" fmla="*/ 265431 w 347624"/>
                          <a:gd name="connsiteY7" fmla="*/ 240188 h 645251"/>
                          <a:gd name="connsiteX8" fmla="*/ 317970 w 347624"/>
                          <a:gd name="connsiteY8" fmla="*/ 154473 h 645251"/>
                          <a:gd name="connsiteX9" fmla="*/ 341111 w 347624"/>
                          <a:gd name="connsiteY9" fmla="*/ 375 h 645251"/>
                          <a:gd name="connsiteX10" fmla="*/ 185340 w 347624"/>
                          <a:gd name="connsiteY10" fmla="*/ 63870 h 645251"/>
                          <a:gd name="connsiteX11" fmla="*/ 132894 w 347624"/>
                          <a:gd name="connsiteY11" fmla="*/ 150649 h 645251"/>
                          <a:gd name="connsiteX0" fmla="*/ 131323 w 347624"/>
                          <a:gd name="connsiteY0" fmla="*/ 65049 h 645251"/>
                          <a:gd name="connsiteX1" fmla="*/ 60777 w 347624"/>
                          <a:gd name="connsiteY1" fmla="*/ 354829 h 645251"/>
                          <a:gd name="connsiteX2" fmla="*/ 567 w 347624"/>
                          <a:gd name="connsiteY2" fmla="*/ 621308 h 645251"/>
                          <a:gd name="connsiteX3" fmla="*/ 56743 w 347624"/>
                          <a:gd name="connsiteY3" fmla="*/ 612742 h 645251"/>
                          <a:gd name="connsiteX4" fmla="*/ 135298 w 347624"/>
                          <a:gd name="connsiteY4" fmla="*/ 419594 h 645251"/>
                          <a:gd name="connsiteX5" fmla="*/ 155722 w 347624"/>
                          <a:gd name="connsiteY5" fmla="*/ 323020 h 645251"/>
                          <a:gd name="connsiteX6" fmla="*/ 212281 w 347624"/>
                          <a:gd name="connsiteY6" fmla="*/ 265953 h 645251"/>
                          <a:gd name="connsiteX7" fmla="*/ 265431 w 347624"/>
                          <a:gd name="connsiteY7" fmla="*/ 240188 h 645251"/>
                          <a:gd name="connsiteX8" fmla="*/ 317970 w 347624"/>
                          <a:gd name="connsiteY8" fmla="*/ 154473 h 645251"/>
                          <a:gd name="connsiteX9" fmla="*/ 341111 w 347624"/>
                          <a:gd name="connsiteY9" fmla="*/ 375 h 645251"/>
                          <a:gd name="connsiteX10" fmla="*/ 185340 w 347624"/>
                          <a:gd name="connsiteY10" fmla="*/ 63870 h 645251"/>
                          <a:gd name="connsiteX11" fmla="*/ 131323 w 347624"/>
                          <a:gd name="connsiteY11" fmla="*/ 65049 h 645251"/>
                          <a:gd name="connsiteX0" fmla="*/ 131323 w 347624"/>
                          <a:gd name="connsiteY0" fmla="*/ 65272 h 645474"/>
                          <a:gd name="connsiteX1" fmla="*/ 60777 w 347624"/>
                          <a:gd name="connsiteY1" fmla="*/ 355052 h 645474"/>
                          <a:gd name="connsiteX2" fmla="*/ 567 w 347624"/>
                          <a:gd name="connsiteY2" fmla="*/ 621531 h 645474"/>
                          <a:gd name="connsiteX3" fmla="*/ 56743 w 347624"/>
                          <a:gd name="connsiteY3" fmla="*/ 612965 h 645474"/>
                          <a:gd name="connsiteX4" fmla="*/ 135298 w 347624"/>
                          <a:gd name="connsiteY4" fmla="*/ 419817 h 645474"/>
                          <a:gd name="connsiteX5" fmla="*/ 155722 w 347624"/>
                          <a:gd name="connsiteY5" fmla="*/ 323243 h 645474"/>
                          <a:gd name="connsiteX6" fmla="*/ 212281 w 347624"/>
                          <a:gd name="connsiteY6" fmla="*/ 266176 h 645474"/>
                          <a:gd name="connsiteX7" fmla="*/ 265431 w 347624"/>
                          <a:gd name="connsiteY7" fmla="*/ 240411 h 645474"/>
                          <a:gd name="connsiteX8" fmla="*/ 317970 w 347624"/>
                          <a:gd name="connsiteY8" fmla="*/ 154696 h 645474"/>
                          <a:gd name="connsiteX9" fmla="*/ 341111 w 347624"/>
                          <a:gd name="connsiteY9" fmla="*/ 598 h 645474"/>
                          <a:gd name="connsiteX10" fmla="*/ 185340 w 347624"/>
                          <a:gd name="connsiteY10" fmla="*/ 37754 h 645474"/>
                          <a:gd name="connsiteX11" fmla="*/ 131323 w 347624"/>
                          <a:gd name="connsiteY11" fmla="*/ 65272 h 645474"/>
                          <a:gd name="connsiteX0" fmla="*/ 131323 w 415405"/>
                          <a:gd name="connsiteY0" fmla="*/ 65272 h 645474"/>
                          <a:gd name="connsiteX1" fmla="*/ 60777 w 415405"/>
                          <a:gd name="connsiteY1" fmla="*/ 355052 h 645474"/>
                          <a:gd name="connsiteX2" fmla="*/ 567 w 415405"/>
                          <a:gd name="connsiteY2" fmla="*/ 621531 h 645474"/>
                          <a:gd name="connsiteX3" fmla="*/ 56743 w 415405"/>
                          <a:gd name="connsiteY3" fmla="*/ 612965 h 645474"/>
                          <a:gd name="connsiteX4" fmla="*/ 135298 w 415405"/>
                          <a:gd name="connsiteY4" fmla="*/ 419817 h 645474"/>
                          <a:gd name="connsiteX5" fmla="*/ 155722 w 415405"/>
                          <a:gd name="connsiteY5" fmla="*/ 323243 h 645474"/>
                          <a:gd name="connsiteX6" fmla="*/ 212281 w 415405"/>
                          <a:gd name="connsiteY6" fmla="*/ 266176 h 645474"/>
                          <a:gd name="connsiteX7" fmla="*/ 265431 w 415405"/>
                          <a:gd name="connsiteY7" fmla="*/ 240411 h 645474"/>
                          <a:gd name="connsiteX8" fmla="*/ 413807 w 415405"/>
                          <a:gd name="connsiteY8" fmla="*/ 159086 h 645474"/>
                          <a:gd name="connsiteX9" fmla="*/ 341111 w 415405"/>
                          <a:gd name="connsiteY9" fmla="*/ 598 h 645474"/>
                          <a:gd name="connsiteX10" fmla="*/ 185340 w 415405"/>
                          <a:gd name="connsiteY10" fmla="*/ 37754 h 645474"/>
                          <a:gd name="connsiteX11" fmla="*/ 131323 w 415405"/>
                          <a:gd name="connsiteY11" fmla="*/ 65272 h 645474"/>
                          <a:gd name="connsiteX0" fmla="*/ 131323 w 415405"/>
                          <a:gd name="connsiteY0" fmla="*/ 65272 h 645474"/>
                          <a:gd name="connsiteX1" fmla="*/ 86594 w 415405"/>
                          <a:gd name="connsiteY1" fmla="*/ 165213 h 645474"/>
                          <a:gd name="connsiteX2" fmla="*/ 60777 w 415405"/>
                          <a:gd name="connsiteY2" fmla="*/ 355052 h 645474"/>
                          <a:gd name="connsiteX3" fmla="*/ 567 w 415405"/>
                          <a:gd name="connsiteY3" fmla="*/ 621531 h 645474"/>
                          <a:gd name="connsiteX4" fmla="*/ 56743 w 415405"/>
                          <a:gd name="connsiteY4" fmla="*/ 612965 h 645474"/>
                          <a:gd name="connsiteX5" fmla="*/ 135298 w 415405"/>
                          <a:gd name="connsiteY5" fmla="*/ 419817 h 645474"/>
                          <a:gd name="connsiteX6" fmla="*/ 155722 w 415405"/>
                          <a:gd name="connsiteY6" fmla="*/ 323243 h 645474"/>
                          <a:gd name="connsiteX7" fmla="*/ 212281 w 415405"/>
                          <a:gd name="connsiteY7" fmla="*/ 266176 h 645474"/>
                          <a:gd name="connsiteX8" fmla="*/ 265431 w 415405"/>
                          <a:gd name="connsiteY8" fmla="*/ 240411 h 645474"/>
                          <a:gd name="connsiteX9" fmla="*/ 413807 w 415405"/>
                          <a:gd name="connsiteY9" fmla="*/ 159086 h 645474"/>
                          <a:gd name="connsiteX10" fmla="*/ 341111 w 415405"/>
                          <a:gd name="connsiteY10" fmla="*/ 598 h 645474"/>
                          <a:gd name="connsiteX11" fmla="*/ 185340 w 415405"/>
                          <a:gd name="connsiteY11" fmla="*/ 37754 h 645474"/>
                          <a:gd name="connsiteX12" fmla="*/ 131323 w 415405"/>
                          <a:gd name="connsiteY12" fmla="*/ 65272 h 645474"/>
                          <a:gd name="connsiteX0" fmla="*/ 131323 w 415538"/>
                          <a:gd name="connsiteY0" fmla="*/ 67515 h 647717"/>
                          <a:gd name="connsiteX1" fmla="*/ 86594 w 415538"/>
                          <a:gd name="connsiteY1" fmla="*/ 167456 h 647717"/>
                          <a:gd name="connsiteX2" fmla="*/ 60777 w 415538"/>
                          <a:gd name="connsiteY2" fmla="*/ 357295 h 647717"/>
                          <a:gd name="connsiteX3" fmla="*/ 567 w 415538"/>
                          <a:gd name="connsiteY3" fmla="*/ 623774 h 647717"/>
                          <a:gd name="connsiteX4" fmla="*/ 56743 w 415538"/>
                          <a:gd name="connsiteY4" fmla="*/ 615208 h 647717"/>
                          <a:gd name="connsiteX5" fmla="*/ 135298 w 415538"/>
                          <a:gd name="connsiteY5" fmla="*/ 422060 h 647717"/>
                          <a:gd name="connsiteX6" fmla="*/ 155722 w 415538"/>
                          <a:gd name="connsiteY6" fmla="*/ 325486 h 647717"/>
                          <a:gd name="connsiteX7" fmla="*/ 212281 w 415538"/>
                          <a:gd name="connsiteY7" fmla="*/ 268419 h 647717"/>
                          <a:gd name="connsiteX8" fmla="*/ 265431 w 415538"/>
                          <a:gd name="connsiteY8" fmla="*/ 242654 h 647717"/>
                          <a:gd name="connsiteX9" fmla="*/ 413807 w 415538"/>
                          <a:gd name="connsiteY9" fmla="*/ 161329 h 647717"/>
                          <a:gd name="connsiteX10" fmla="*/ 341111 w 415538"/>
                          <a:gd name="connsiteY10" fmla="*/ 2841 h 647717"/>
                          <a:gd name="connsiteX11" fmla="*/ 267269 w 415538"/>
                          <a:gd name="connsiteY11" fmla="*/ 119169 h 647717"/>
                          <a:gd name="connsiteX12" fmla="*/ 185340 w 415538"/>
                          <a:gd name="connsiteY12" fmla="*/ 39997 h 647717"/>
                          <a:gd name="connsiteX13" fmla="*/ 131323 w 415538"/>
                          <a:gd name="connsiteY13" fmla="*/ 67515 h 647717"/>
                          <a:gd name="connsiteX0" fmla="*/ 131323 w 417269"/>
                          <a:gd name="connsiteY0" fmla="*/ 64920 h 645122"/>
                          <a:gd name="connsiteX1" fmla="*/ 86594 w 417269"/>
                          <a:gd name="connsiteY1" fmla="*/ 164861 h 645122"/>
                          <a:gd name="connsiteX2" fmla="*/ 60777 w 417269"/>
                          <a:gd name="connsiteY2" fmla="*/ 354700 h 645122"/>
                          <a:gd name="connsiteX3" fmla="*/ 567 w 417269"/>
                          <a:gd name="connsiteY3" fmla="*/ 621179 h 645122"/>
                          <a:gd name="connsiteX4" fmla="*/ 56743 w 417269"/>
                          <a:gd name="connsiteY4" fmla="*/ 612613 h 645122"/>
                          <a:gd name="connsiteX5" fmla="*/ 135298 w 417269"/>
                          <a:gd name="connsiteY5" fmla="*/ 419465 h 645122"/>
                          <a:gd name="connsiteX6" fmla="*/ 155722 w 417269"/>
                          <a:gd name="connsiteY6" fmla="*/ 322891 h 645122"/>
                          <a:gd name="connsiteX7" fmla="*/ 212281 w 417269"/>
                          <a:gd name="connsiteY7" fmla="*/ 265824 h 645122"/>
                          <a:gd name="connsiteX8" fmla="*/ 265431 w 417269"/>
                          <a:gd name="connsiteY8" fmla="*/ 240059 h 645122"/>
                          <a:gd name="connsiteX9" fmla="*/ 413807 w 417269"/>
                          <a:gd name="connsiteY9" fmla="*/ 158734 h 645122"/>
                          <a:gd name="connsiteX10" fmla="*/ 367819 w 417269"/>
                          <a:gd name="connsiteY10" fmla="*/ 134133 h 645122"/>
                          <a:gd name="connsiteX11" fmla="*/ 341111 w 417269"/>
                          <a:gd name="connsiteY11" fmla="*/ 246 h 645122"/>
                          <a:gd name="connsiteX12" fmla="*/ 267269 w 417269"/>
                          <a:gd name="connsiteY12" fmla="*/ 116574 h 645122"/>
                          <a:gd name="connsiteX13" fmla="*/ 185340 w 417269"/>
                          <a:gd name="connsiteY13" fmla="*/ 37402 h 645122"/>
                          <a:gd name="connsiteX14" fmla="*/ 131323 w 417269"/>
                          <a:gd name="connsiteY14" fmla="*/ 64920 h 645122"/>
                          <a:gd name="connsiteX0" fmla="*/ 131323 w 418757"/>
                          <a:gd name="connsiteY0" fmla="*/ 64920 h 645122"/>
                          <a:gd name="connsiteX1" fmla="*/ 86594 w 418757"/>
                          <a:gd name="connsiteY1" fmla="*/ 164861 h 645122"/>
                          <a:gd name="connsiteX2" fmla="*/ 60777 w 418757"/>
                          <a:gd name="connsiteY2" fmla="*/ 354700 h 645122"/>
                          <a:gd name="connsiteX3" fmla="*/ 567 w 418757"/>
                          <a:gd name="connsiteY3" fmla="*/ 621179 h 645122"/>
                          <a:gd name="connsiteX4" fmla="*/ 56743 w 418757"/>
                          <a:gd name="connsiteY4" fmla="*/ 612613 h 645122"/>
                          <a:gd name="connsiteX5" fmla="*/ 135298 w 418757"/>
                          <a:gd name="connsiteY5" fmla="*/ 419465 h 645122"/>
                          <a:gd name="connsiteX6" fmla="*/ 155722 w 418757"/>
                          <a:gd name="connsiteY6" fmla="*/ 322891 h 645122"/>
                          <a:gd name="connsiteX7" fmla="*/ 212281 w 418757"/>
                          <a:gd name="connsiteY7" fmla="*/ 265824 h 645122"/>
                          <a:gd name="connsiteX8" fmla="*/ 265431 w 418757"/>
                          <a:gd name="connsiteY8" fmla="*/ 240059 h 645122"/>
                          <a:gd name="connsiteX9" fmla="*/ 415378 w 418757"/>
                          <a:gd name="connsiteY9" fmla="*/ 182878 h 645122"/>
                          <a:gd name="connsiteX10" fmla="*/ 367819 w 418757"/>
                          <a:gd name="connsiteY10" fmla="*/ 134133 h 645122"/>
                          <a:gd name="connsiteX11" fmla="*/ 341111 w 418757"/>
                          <a:gd name="connsiteY11" fmla="*/ 246 h 645122"/>
                          <a:gd name="connsiteX12" fmla="*/ 267269 w 418757"/>
                          <a:gd name="connsiteY12" fmla="*/ 116574 h 645122"/>
                          <a:gd name="connsiteX13" fmla="*/ 185340 w 418757"/>
                          <a:gd name="connsiteY13" fmla="*/ 37402 h 645122"/>
                          <a:gd name="connsiteX14" fmla="*/ 131323 w 418757"/>
                          <a:gd name="connsiteY14" fmla="*/ 64920 h 645122"/>
                          <a:gd name="connsiteX0" fmla="*/ 131209 w 418643"/>
                          <a:gd name="connsiteY0" fmla="*/ 64920 h 641858"/>
                          <a:gd name="connsiteX1" fmla="*/ 86480 w 418643"/>
                          <a:gd name="connsiteY1" fmla="*/ 164861 h 641858"/>
                          <a:gd name="connsiteX2" fmla="*/ 60663 w 418643"/>
                          <a:gd name="connsiteY2" fmla="*/ 354700 h 641858"/>
                          <a:gd name="connsiteX3" fmla="*/ 453 w 418643"/>
                          <a:gd name="connsiteY3" fmla="*/ 621179 h 641858"/>
                          <a:gd name="connsiteX4" fmla="*/ 56629 w 418643"/>
                          <a:gd name="connsiteY4" fmla="*/ 612613 h 641858"/>
                          <a:gd name="connsiteX5" fmla="*/ 119472 w 418643"/>
                          <a:gd name="connsiteY5" fmla="*/ 529209 h 641858"/>
                          <a:gd name="connsiteX6" fmla="*/ 135184 w 418643"/>
                          <a:gd name="connsiteY6" fmla="*/ 419465 h 641858"/>
                          <a:gd name="connsiteX7" fmla="*/ 155608 w 418643"/>
                          <a:gd name="connsiteY7" fmla="*/ 322891 h 641858"/>
                          <a:gd name="connsiteX8" fmla="*/ 212167 w 418643"/>
                          <a:gd name="connsiteY8" fmla="*/ 265824 h 641858"/>
                          <a:gd name="connsiteX9" fmla="*/ 265317 w 418643"/>
                          <a:gd name="connsiteY9" fmla="*/ 240059 h 641858"/>
                          <a:gd name="connsiteX10" fmla="*/ 415264 w 418643"/>
                          <a:gd name="connsiteY10" fmla="*/ 182878 h 641858"/>
                          <a:gd name="connsiteX11" fmla="*/ 367705 w 418643"/>
                          <a:gd name="connsiteY11" fmla="*/ 134133 h 641858"/>
                          <a:gd name="connsiteX12" fmla="*/ 340997 w 418643"/>
                          <a:gd name="connsiteY12" fmla="*/ 246 h 641858"/>
                          <a:gd name="connsiteX13" fmla="*/ 267155 w 418643"/>
                          <a:gd name="connsiteY13" fmla="*/ 116574 h 641858"/>
                          <a:gd name="connsiteX14" fmla="*/ 185226 w 418643"/>
                          <a:gd name="connsiteY14" fmla="*/ 37402 h 641858"/>
                          <a:gd name="connsiteX15" fmla="*/ 131209 w 418643"/>
                          <a:gd name="connsiteY15" fmla="*/ 64920 h 641858"/>
                          <a:gd name="connsiteX0" fmla="*/ 131209 w 418723"/>
                          <a:gd name="connsiteY0" fmla="*/ 64920 h 641858"/>
                          <a:gd name="connsiteX1" fmla="*/ 86480 w 418723"/>
                          <a:gd name="connsiteY1" fmla="*/ 164861 h 641858"/>
                          <a:gd name="connsiteX2" fmla="*/ 60663 w 418723"/>
                          <a:gd name="connsiteY2" fmla="*/ 354700 h 641858"/>
                          <a:gd name="connsiteX3" fmla="*/ 453 w 418723"/>
                          <a:gd name="connsiteY3" fmla="*/ 621179 h 641858"/>
                          <a:gd name="connsiteX4" fmla="*/ 56629 w 418723"/>
                          <a:gd name="connsiteY4" fmla="*/ 612613 h 641858"/>
                          <a:gd name="connsiteX5" fmla="*/ 119472 w 418723"/>
                          <a:gd name="connsiteY5" fmla="*/ 529209 h 641858"/>
                          <a:gd name="connsiteX6" fmla="*/ 135184 w 418723"/>
                          <a:gd name="connsiteY6" fmla="*/ 419465 h 641858"/>
                          <a:gd name="connsiteX7" fmla="*/ 155608 w 418723"/>
                          <a:gd name="connsiteY7" fmla="*/ 322891 h 641858"/>
                          <a:gd name="connsiteX8" fmla="*/ 212167 w 418723"/>
                          <a:gd name="connsiteY8" fmla="*/ 265824 h 641858"/>
                          <a:gd name="connsiteX9" fmla="*/ 263753 w 418723"/>
                          <a:gd name="connsiteY9" fmla="*/ 255868 h 641858"/>
                          <a:gd name="connsiteX10" fmla="*/ 415264 w 418723"/>
                          <a:gd name="connsiteY10" fmla="*/ 182878 h 641858"/>
                          <a:gd name="connsiteX11" fmla="*/ 367705 w 418723"/>
                          <a:gd name="connsiteY11" fmla="*/ 134133 h 641858"/>
                          <a:gd name="connsiteX12" fmla="*/ 340997 w 418723"/>
                          <a:gd name="connsiteY12" fmla="*/ 246 h 641858"/>
                          <a:gd name="connsiteX13" fmla="*/ 267155 w 418723"/>
                          <a:gd name="connsiteY13" fmla="*/ 116574 h 641858"/>
                          <a:gd name="connsiteX14" fmla="*/ 185226 w 418723"/>
                          <a:gd name="connsiteY14" fmla="*/ 37402 h 641858"/>
                          <a:gd name="connsiteX15" fmla="*/ 131209 w 418723"/>
                          <a:gd name="connsiteY15" fmla="*/ 64920 h 641858"/>
                          <a:gd name="connsiteX0" fmla="*/ 131209 w 418723"/>
                          <a:gd name="connsiteY0" fmla="*/ 64920 h 641858"/>
                          <a:gd name="connsiteX1" fmla="*/ 86480 w 418723"/>
                          <a:gd name="connsiteY1" fmla="*/ 164861 h 641858"/>
                          <a:gd name="connsiteX2" fmla="*/ 60663 w 418723"/>
                          <a:gd name="connsiteY2" fmla="*/ 354700 h 641858"/>
                          <a:gd name="connsiteX3" fmla="*/ 453 w 418723"/>
                          <a:gd name="connsiteY3" fmla="*/ 621179 h 641858"/>
                          <a:gd name="connsiteX4" fmla="*/ 56629 w 418723"/>
                          <a:gd name="connsiteY4" fmla="*/ 612613 h 641858"/>
                          <a:gd name="connsiteX5" fmla="*/ 119472 w 418723"/>
                          <a:gd name="connsiteY5" fmla="*/ 529209 h 641858"/>
                          <a:gd name="connsiteX6" fmla="*/ 135184 w 418723"/>
                          <a:gd name="connsiteY6" fmla="*/ 419465 h 641858"/>
                          <a:gd name="connsiteX7" fmla="*/ 155608 w 418723"/>
                          <a:gd name="connsiteY7" fmla="*/ 322891 h 641858"/>
                          <a:gd name="connsiteX8" fmla="*/ 212167 w 418723"/>
                          <a:gd name="connsiteY8" fmla="*/ 265824 h 641858"/>
                          <a:gd name="connsiteX9" fmla="*/ 263753 w 418723"/>
                          <a:gd name="connsiteY9" fmla="*/ 255868 h 641858"/>
                          <a:gd name="connsiteX10" fmla="*/ 415264 w 418723"/>
                          <a:gd name="connsiteY10" fmla="*/ 182878 h 641858"/>
                          <a:gd name="connsiteX11" fmla="*/ 367705 w 418723"/>
                          <a:gd name="connsiteY11" fmla="*/ 134133 h 641858"/>
                          <a:gd name="connsiteX12" fmla="*/ 340997 w 418723"/>
                          <a:gd name="connsiteY12" fmla="*/ 246 h 641858"/>
                          <a:gd name="connsiteX13" fmla="*/ 267155 w 418723"/>
                          <a:gd name="connsiteY13" fmla="*/ 116574 h 641858"/>
                          <a:gd name="connsiteX14" fmla="*/ 185226 w 418723"/>
                          <a:gd name="connsiteY14" fmla="*/ 37402 h 641858"/>
                          <a:gd name="connsiteX15" fmla="*/ 131209 w 418723"/>
                          <a:gd name="connsiteY15" fmla="*/ 64920 h 641858"/>
                          <a:gd name="connsiteX0" fmla="*/ 131209 w 418723"/>
                          <a:gd name="connsiteY0" fmla="*/ 64920 h 641858"/>
                          <a:gd name="connsiteX1" fmla="*/ 86480 w 418723"/>
                          <a:gd name="connsiteY1" fmla="*/ 164861 h 641858"/>
                          <a:gd name="connsiteX2" fmla="*/ 60663 w 418723"/>
                          <a:gd name="connsiteY2" fmla="*/ 354700 h 641858"/>
                          <a:gd name="connsiteX3" fmla="*/ 453 w 418723"/>
                          <a:gd name="connsiteY3" fmla="*/ 621179 h 641858"/>
                          <a:gd name="connsiteX4" fmla="*/ 56629 w 418723"/>
                          <a:gd name="connsiteY4" fmla="*/ 612613 h 641858"/>
                          <a:gd name="connsiteX5" fmla="*/ 119472 w 418723"/>
                          <a:gd name="connsiteY5" fmla="*/ 529209 h 641858"/>
                          <a:gd name="connsiteX6" fmla="*/ 135184 w 418723"/>
                          <a:gd name="connsiteY6" fmla="*/ 419465 h 641858"/>
                          <a:gd name="connsiteX7" fmla="*/ 155608 w 418723"/>
                          <a:gd name="connsiteY7" fmla="*/ 322891 h 641858"/>
                          <a:gd name="connsiteX8" fmla="*/ 213731 w 418723"/>
                          <a:gd name="connsiteY8" fmla="*/ 271753 h 641858"/>
                          <a:gd name="connsiteX9" fmla="*/ 263753 w 418723"/>
                          <a:gd name="connsiteY9" fmla="*/ 255868 h 641858"/>
                          <a:gd name="connsiteX10" fmla="*/ 415264 w 418723"/>
                          <a:gd name="connsiteY10" fmla="*/ 182878 h 641858"/>
                          <a:gd name="connsiteX11" fmla="*/ 367705 w 418723"/>
                          <a:gd name="connsiteY11" fmla="*/ 134133 h 641858"/>
                          <a:gd name="connsiteX12" fmla="*/ 340997 w 418723"/>
                          <a:gd name="connsiteY12" fmla="*/ 246 h 641858"/>
                          <a:gd name="connsiteX13" fmla="*/ 267155 w 418723"/>
                          <a:gd name="connsiteY13" fmla="*/ 116574 h 641858"/>
                          <a:gd name="connsiteX14" fmla="*/ 185226 w 418723"/>
                          <a:gd name="connsiteY14" fmla="*/ 37402 h 641858"/>
                          <a:gd name="connsiteX15" fmla="*/ 131209 w 418723"/>
                          <a:gd name="connsiteY15" fmla="*/ 64920 h 641858"/>
                          <a:gd name="connsiteX0" fmla="*/ 131209 w 418723"/>
                          <a:gd name="connsiteY0" fmla="*/ 64920 h 641858"/>
                          <a:gd name="connsiteX1" fmla="*/ 86480 w 418723"/>
                          <a:gd name="connsiteY1" fmla="*/ 164861 h 641858"/>
                          <a:gd name="connsiteX2" fmla="*/ 60663 w 418723"/>
                          <a:gd name="connsiteY2" fmla="*/ 354700 h 641858"/>
                          <a:gd name="connsiteX3" fmla="*/ 453 w 418723"/>
                          <a:gd name="connsiteY3" fmla="*/ 621179 h 641858"/>
                          <a:gd name="connsiteX4" fmla="*/ 56629 w 418723"/>
                          <a:gd name="connsiteY4" fmla="*/ 612613 h 641858"/>
                          <a:gd name="connsiteX5" fmla="*/ 119472 w 418723"/>
                          <a:gd name="connsiteY5" fmla="*/ 529209 h 641858"/>
                          <a:gd name="connsiteX6" fmla="*/ 135184 w 418723"/>
                          <a:gd name="connsiteY6" fmla="*/ 419465 h 641858"/>
                          <a:gd name="connsiteX7" fmla="*/ 152480 w 418723"/>
                          <a:gd name="connsiteY7" fmla="*/ 330796 h 641858"/>
                          <a:gd name="connsiteX8" fmla="*/ 213731 w 418723"/>
                          <a:gd name="connsiteY8" fmla="*/ 271753 h 641858"/>
                          <a:gd name="connsiteX9" fmla="*/ 263753 w 418723"/>
                          <a:gd name="connsiteY9" fmla="*/ 255868 h 641858"/>
                          <a:gd name="connsiteX10" fmla="*/ 415264 w 418723"/>
                          <a:gd name="connsiteY10" fmla="*/ 182878 h 641858"/>
                          <a:gd name="connsiteX11" fmla="*/ 367705 w 418723"/>
                          <a:gd name="connsiteY11" fmla="*/ 134133 h 641858"/>
                          <a:gd name="connsiteX12" fmla="*/ 340997 w 418723"/>
                          <a:gd name="connsiteY12" fmla="*/ 246 h 641858"/>
                          <a:gd name="connsiteX13" fmla="*/ 267155 w 418723"/>
                          <a:gd name="connsiteY13" fmla="*/ 116574 h 641858"/>
                          <a:gd name="connsiteX14" fmla="*/ 185226 w 418723"/>
                          <a:gd name="connsiteY14" fmla="*/ 37402 h 641858"/>
                          <a:gd name="connsiteX15" fmla="*/ 131209 w 418723"/>
                          <a:gd name="connsiteY15" fmla="*/ 64920 h 641858"/>
                          <a:gd name="connsiteX0" fmla="*/ 131209 w 418723"/>
                          <a:gd name="connsiteY0" fmla="*/ 64920 h 641858"/>
                          <a:gd name="connsiteX1" fmla="*/ 86480 w 418723"/>
                          <a:gd name="connsiteY1" fmla="*/ 164861 h 641858"/>
                          <a:gd name="connsiteX2" fmla="*/ 60663 w 418723"/>
                          <a:gd name="connsiteY2" fmla="*/ 354700 h 641858"/>
                          <a:gd name="connsiteX3" fmla="*/ 453 w 418723"/>
                          <a:gd name="connsiteY3" fmla="*/ 621179 h 641858"/>
                          <a:gd name="connsiteX4" fmla="*/ 56629 w 418723"/>
                          <a:gd name="connsiteY4" fmla="*/ 612613 h 641858"/>
                          <a:gd name="connsiteX5" fmla="*/ 119472 w 418723"/>
                          <a:gd name="connsiteY5" fmla="*/ 529209 h 641858"/>
                          <a:gd name="connsiteX6" fmla="*/ 116413 w 418723"/>
                          <a:gd name="connsiteY6" fmla="*/ 409585 h 641858"/>
                          <a:gd name="connsiteX7" fmla="*/ 152480 w 418723"/>
                          <a:gd name="connsiteY7" fmla="*/ 330796 h 641858"/>
                          <a:gd name="connsiteX8" fmla="*/ 213731 w 418723"/>
                          <a:gd name="connsiteY8" fmla="*/ 271753 h 641858"/>
                          <a:gd name="connsiteX9" fmla="*/ 263753 w 418723"/>
                          <a:gd name="connsiteY9" fmla="*/ 255868 h 641858"/>
                          <a:gd name="connsiteX10" fmla="*/ 415264 w 418723"/>
                          <a:gd name="connsiteY10" fmla="*/ 182878 h 641858"/>
                          <a:gd name="connsiteX11" fmla="*/ 367705 w 418723"/>
                          <a:gd name="connsiteY11" fmla="*/ 134133 h 641858"/>
                          <a:gd name="connsiteX12" fmla="*/ 340997 w 418723"/>
                          <a:gd name="connsiteY12" fmla="*/ 246 h 641858"/>
                          <a:gd name="connsiteX13" fmla="*/ 267155 w 418723"/>
                          <a:gd name="connsiteY13" fmla="*/ 116574 h 641858"/>
                          <a:gd name="connsiteX14" fmla="*/ 185226 w 418723"/>
                          <a:gd name="connsiteY14" fmla="*/ 37402 h 641858"/>
                          <a:gd name="connsiteX15" fmla="*/ 131209 w 418723"/>
                          <a:gd name="connsiteY15" fmla="*/ 64920 h 641858"/>
                          <a:gd name="connsiteX0" fmla="*/ 131216 w 418730"/>
                          <a:gd name="connsiteY0" fmla="*/ 64920 h 640842"/>
                          <a:gd name="connsiteX1" fmla="*/ 86487 w 418730"/>
                          <a:gd name="connsiteY1" fmla="*/ 164861 h 640842"/>
                          <a:gd name="connsiteX2" fmla="*/ 60670 w 418730"/>
                          <a:gd name="connsiteY2" fmla="*/ 354700 h 640842"/>
                          <a:gd name="connsiteX3" fmla="*/ 460 w 418730"/>
                          <a:gd name="connsiteY3" fmla="*/ 621179 h 640842"/>
                          <a:gd name="connsiteX4" fmla="*/ 56636 w 418730"/>
                          <a:gd name="connsiteY4" fmla="*/ 612613 h 640842"/>
                          <a:gd name="connsiteX5" fmla="*/ 110094 w 418730"/>
                          <a:gd name="connsiteY5" fmla="*/ 525257 h 640842"/>
                          <a:gd name="connsiteX6" fmla="*/ 116420 w 418730"/>
                          <a:gd name="connsiteY6" fmla="*/ 409585 h 640842"/>
                          <a:gd name="connsiteX7" fmla="*/ 152487 w 418730"/>
                          <a:gd name="connsiteY7" fmla="*/ 330796 h 640842"/>
                          <a:gd name="connsiteX8" fmla="*/ 213738 w 418730"/>
                          <a:gd name="connsiteY8" fmla="*/ 271753 h 640842"/>
                          <a:gd name="connsiteX9" fmla="*/ 263760 w 418730"/>
                          <a:gd name="connsiteY9" fmla="*/ 255868 h 640842"/>
                          <a:gd name="connsiteX10" fmla="*/ 415271 w 418730"/>
                          <a:gd name="connsiteY10" fmla="*/ 182878 h 640842"/>
                          <a:gd name="connsiteX11" fmla="*/ 367712 w 418730"/>
                          <a:gd name="connsiteY11" fmla="*/ 134133 h 640842"/>
                          <a:gd name="connsiteX12" fmla="*/ 341004 w 418730"/>
                          <a:gd name="connsiteY12" fmla="*/ 246 h 640842"/>
                          <a:gd name="connsiteX13" fmla="*/ 267162 w 418730"/>
                          <a:gd name="connsiteY13" fmla="*/ 116574 h 640842"/>
                          <a:gd name="connsiteX14" fmla="*/ 185233 w 418730"/>
                          <a:gd name="connsiteY14" fmla="*/ 37402 h 640842"/>
                          <a:gd name="connsiteX15" fmla="*/ 131216 w 418730"/>
                          <a:gd name="connsiteY15" fmla="*/ 64920 h 640842"/>
                          <a:gd name="connsiteX0" fmla="*/ 130872 w 418386"/>
                          <a:gd name="connsiteY0" fmla="*/ 64920 h 640299"/>
                          <a:gd name="connsiteX1" fmla="*/ 86143 w 418386"/>
                          <a:gd name="connsiteY1" fmla="*/ 164861 h 640299"/>
                          <a:gd name="connsiteX2" fmla="*/ 60326 w 418386"/>
                          <a:gd name="connsiteY2" fmla="*/ 354700 h 640299"/>
                          <a:gd name="connsiteX3" fmla="*/ 116 w 418386"/>
                          <a:gd name="connsiteY3" fmla="*/ 621179 h 640299"/>
                          <a:gd name="connsiteX4" fmla="*/ 46907 w 418386"/>
                          <a:gd name="connsiteY4" fmla="*/ 608661 h 640299"/>
                          <a:gd name="connsiteX5" fmla="*/ 109750 w 418386"/>
                          <a:gd name="connsiteY5" fmla="*/ 525257 h 640299"/>
                          <a:gd name="connsiteX6" fmla="*/ 116076 w 418386"/>
                          <a:gd name="connsiteY6" fmla="*/ 409585 h 640299"/>
                          <a:gd name="connsiteX7" fmla="*/ 152143 w 418386"/>
                          <a:gd name="connsiteY7" fmla="*/ 330796 h 640299"/>
                          <a:gd name="connsiteX8" fmla="*/ 213394 w 418386"/>
                          <a:gd name="connsiteY8" fmla="*/ 271753 h 640299"/>
                          <a:gd name="connsiteX9" fmla="*/ 263416 w 418386"/>
                          <a:gd name="connsiteY9" fmla="*/ 255868 h 640299"/>
                          <a:gd name="connsiteX10" fmla="*/ 414927 w 418386"/>
                          <a:gd name="connsiteY10" fmla="*/ 182878 h 640299"/>
                          <a:gd name="connsiteX11" fmla="*/ 367368 w 418386"/>
                          <a:gd name="connsiteY11" fmla="*/ 134133 h 640299"/>
                          <a:gd name="connsiteX12" fmla="*/ 340660 w 418386"/>
                          <a:gd name="connsiteY12" fmla="*/ 246 h 640299"/>
                          <a:gd name="connsiteX13" fmla="*/ 266818 w 418386"/>
                          <a:gd name="connsiteY13" fmla="*/ 116574 h 640299"/>
                          <a:gd name="connsiteX14" fmla="*/ 184889 w 418386"/>
                          <a:gd name="connsiteY14" fmla="*/ 37402 h 640299"/>
                          <a:gd name="connsiteX15" fmla="*/ 130872 w 418386"/>
                          <a:gd name="connsiteY15" fmla="*/ 64920 h 640299"/>
                          <a:gd name="connsiteX0" fmla="*/ 130857 w 418371"/>
                          <a:gd name="connsiteY0" fmla="*/ 64920 h 638938"/>
                          <a:gd name="connsiteX1" fmla="*/ 86128 w 418371"/>
                          <a:gd name="connsiteY1" fmla="*/ 164861 h 638938"/>
                          <a:gd name="connsiteX2" fmla="*/ 60311 w 418371"/>
                          <a:gd name="connsiteY2" fmla="*/ 354700 h 638938"/>
                          <a:gd name="connsiteX3" fmla="*/ 101 w 418371"/>
                          <a:gd name="connsiteY3" fmla="*/ 621179 h 638938"/>
                          <a:gd name="connsiteX4" fmla="*/ 46892 w 418371"/>
                          <a:gd name="connsiteY4" fmla="*/ 608661 h 638938"/>
                          <a:gd name="connsiteX5" fmla="*/ 79444 w 418371"/>
                          <a:gd name="connsiteY5" fmla="*/ 564442 h 638938"/>
                          <a:gd name="connsiteX6" fmla="*/ 109735 w 418371"/>
                          <a:gd name="connsiteY6" fmla="*/ 525257 h 638938"/>
                          <a:gd name="connsiteX7" fmla="*/ 116061 w 418371"/>
                          <a:gd name="connsiteY7" fmla="*/ 409585 h 638938"/>
                          <a:gd name="connsiteX8" fmla="*/ 152128 w 418371"/>
                          <a:gd name="connsiteY8" fmla="*/ 330796 h 638938"/>
                          <a:gd name="connsiteX9" fmla="*/ 213379 w 418371"/>
                          <a:gd name="connsiteY9" fmla="*/ 271753 h 638938"/>
                          <a:gd name="connsiteX10" fmla="*/ 263401 w 418371"/>
                          <a:gd name="connsiteY10" fmla="*/ 255868 h 638938"/>
                          <a:gd name="connsiteX11" fmla="*/ 414912 w 418371"/>
                          <a:gd name="connsiteY11" fmla="*/ 182878 h 638938"/>
                          <a:gd name="connsiteX12" fmla="*/ 367353 w 418371"/>
                          <a:gd name="connsiteY12" fmla="*/ 134133 h 638938"/>
                          <a:gd name="connsiteX13" fmla="*/ 340645 w 418371"/>
                          <a:gd name="connsiteY13" fmla="*/ 246 h 638938"/>
                          <a:gd name="connsiteX14" fmla="*/ 266803 w 418371"/>
                          <a:gd name="connsiteY14" fmla="*/ 116574 h 638938"/>
                          <a:gd name="connsiteX15" fmla="*/ 184874 w 418371"/>
                          <a:gd name="connsiteY15" fmla="*/ 37402 h 638938"/>
                          <a:gd name="connsiteX16" fmla="*/ 130857 w 418371"/>
                          <a:gd name="connsiteY16" fmla="*/ 64920 h 638938"/>
                          <a:gd name="connsiteX0" fmla="*/ 130857 w 418371"/>
                          <a:gd name="connsiteY0" fmla="*/ 64920 h 638938"/>
                          <a:gd name="connsiteX1" fmla="*/ 86128 w 418371"/>
                          <a:gd name="connsiteY1" fmla="*/ 164861 h 638938"/>
                          <a:gd name="connsiteX2" fmla="*/ 60311 w 418371"/>
                          <a:gd name="connsiteY2" fmla="*/ 354700 h 638938"/>
                          <a:gd name="connsiteX3" fmla="*/ 101 w 418371"/>
                          <a:gd name="connsiteY3" fmla="*/ 621179 h 638938"/>
                          <a:gd name="connsiteX4" fmla="*/ 46892 w 418371"/>
                          <a:gd name="connsiteY4" fmla="*/ 608661 h 638938"/>
                          <a:gd name="connsiteX5" fmla="*/ 79444 w 418371"/>
                          <a:gd name="connsiteY5" fmla="*/ 564442 h 638938"/>
                          <a:gd name="connsiteX6" fmla="*/ 109735 w 418371"/>
                          <a:gd name="connsiteY6" fmla="*/ 525257 h 638938"/>
                          <a:gd name="connsiteX7" fmla="*/ 121677 w 418371"/>
                          <a:gd name="connsiteY7" fmla="*/ 485398 h 638938"/>
                          <a:gd name="connsiteX8" fmla="*/ 116061 w 418371"/>
                          <a:gd name="connsiteY8" fmla="*/ 409585 h 638938"/>
                          <a:gd name="connsiteX9" fmla="*/ 152128 w 418371"/>
                          <a:gd name="connsiteY9" fmla="*/ 330796 h 638938"/>
                          <a:gd name="connsiteX10" fmla="*/ 213379 w 418371"/>
                          <a:gd name="connsiteY10" fmla="*/ 271753 h 638938"/>
                          <a:gd name="connsiteX11" fmla="*/ 263401 w 418371"/>
                          <a:gd name="connsiteY11" fmla="*/ 255868 h 638938"/>
                          <a:gd name="connsiteX12" fmla="*/ 414912 w 418371"/>
                          <a:gd name="connsiteY12" fmla="*/ 182878 h 638938"/>
                          <a:gd name="connsiteX13" fmla="*/ 367353 w 418371"/>
                          <a:gd name="connsiteY13" fmla="*/ 134133 h 638938"/>
                          <a:gd name="connsiteX14" fmla="*/ 340645 w 418371"/>
                          <a:gd name="connsiteY14" fmla="*/ 246 h 638938"/>
                          <a:gd name="connsiteX15" fmla="*/ 266803 w 418371"/>
                          <a:gd name="connsiteY15" fmla="*/ 116574 h 638938"/>
                          <a:gd name="connsiteX16" fmla="*/ 184874 w 418371"/>
                          <a:gd name="connsiteY16" fmla="*/ 37402 h 638938"/>
                          <a:gd name="connsiteX17" fmla="*/ 130857 w 418371"/>
                          <a:gd name="connsiteY17" fmla="*/ 64920 h 638938"/>
                          <a:gd name="connsiteX0" fmla="*/ 130857 w 418371"/>
                          <a:gd name="connsiteY0" fmla="*/ 64920 h 638938"/>
                          <a:gd name="connsiteX1" fmla="*/ 86128 w 418371"/>
                          <a:gd name="connsiteY1" fmla="*/ 164861 h 638938"/>
                          <a:gd name="connsiteX2" fmla="*/ 60311 w 418371"/>
                          <a:gd name="connsiteY2" fmla="*/ 354700 h 638938"/>
                          <a:gd name="connsiteX3" fmla="*/ 101 w 418371"/>
                          <a:gd name="connsiteY3" fmla="*/ 621179 h 638938"/>
                          <a:gd name="connsiteX4" fmla="*/ 46892 w 418371"/>
                          <a:gd name="connsiteY4" fmla="*/ 608661 h 638938"/>
                          <a:gd name="connsiteX5" fmla="*/ 79444 w 418371"/>
                          <a:gd name="connsiteY5" fmla="*/ 564442 h 638938"/>
                          <a:gd name="connsiteX6" fmla="*/ 109735 w 418371"/>
                          <a:gd name="connsiteY6" fmla="*/ 531186 h 638938"/>
                          <a:gd name="connsiteX7" fmla="*/ 121677 w 418371"/>
                          <a:gd name="connsiteY7" fmla="*/ 485398 h 638938"/>
                          <a:gd name="connsiteX8" fmla="*/ 116061 w 418371"/>
                          <a:gd name="connsiteY8" fmla="*/ 409585 h 638938"/>
                          <a:gd name="connsiteX9" fmla="*/ 152128 w 418371"/>
                          <a:gd name="connsiteY9" fmla="*/ 330796 h 638938"/>
                          <a:gd name="connsiteX10" fmla="*/ 213379 w 418371"/>
                          <a:gd name="connsiteY10" fmla="*/ 271753 h 638938"/>
                          <a:gd name="connsiteX11" fmla="*/ 263401 w 418371"/>
                          <a:gd name="connsiteY11" fmla="*/ 255868 h 638938"/>
                          <a:gd name="connsiteX12" fmla="*/ 414912 w 418371"/>
                          <a:gd name="connsiteY12" fmla="*/ 182878 h 638938"/>
                          <a:gd name="connsiteX13" fmla="*/ 367353 w 418371"/>
                          <a:gd name="connsiteY13" fmla="*/ 134133 h 638938"/>
                          <a:gd name="connsiteX14" fmla="*/ 340645 w 418371"/>
                          <a:gd name="connsiteY14" fmla="*/ 246 h 638938"/>
                          <a:gd name="connsiteX15" fmla="*/ 266803 w 418371"/>
                          <a:gd name="connsiteY15" fmla="*/ 116574 h 638938"/>
                          <a:gd name="connsiteX16" fmla="*/ 184874 w 418371"/>
                          <a:gd name="connsiteY16" fmla="*/ 37402 h 638938"/>
                          <a:gd name="connsiteX17" fmla="*/ 130857 w 418371"/>
                          <a:gd name="connsiteY17" fmla="*/ 64920 h 638938"/>
                          <a:gd name="connsiteX0" fmla="*/ 130857 w 418371"/>
                          <a:gd name="connsiteY0" fmla="*/ 64920 h 638938"/>
                          <a:gd name="connsiteX1" fmla="*/ 86128 w 418371"/>
                          <a:gd name="connsiteY1" fmla="*/ 164861 h 638938"/>
                          <a:gd name="connsiteX2" fmla="*/ 60311 w 418371"/>
                          <a:gd name="connsiteY2" fmla="*/ 354700 h 638938"/>
                          <a:gd name="connsiteX3" fmla="*/ 101 w 418371"/>
                          <a:gd name="connsiteY3" fmla="*/ 621179 h 638938"/>
                          <a:gd name="connsiteX4" fmla="*/ 46892 w 418371"/>
                          <a:gd name="connsiteY4" fmla="*/ 608661 h 638938"/>
                          <a:gd name="connsiteX5" fmla="*/ 79444 w 418371"/>
                          <a:gd name="connsiteY5" fmla="*/ 564442 h 638938"/>
                          <a:gd name="connsiteX6" fmla="*/ 109735 w 418371"/>
                          <a:gd name="connsiteY6" fmla="*/ 531186 h 638938"/>
                          <a:gd name="connsiteX7" fmla="*/ 121677 w 418371"/>
                          <a:gd name="connsiteY7" fmla="*/ 485398 h 638938"/>
                          <a:gd name="connsiteX8" fmla="*/ 111368 w 418371"/>
                          <a:gd name="connsiteY8" fmla="*/ 407609 h 638938"/>
                          <a:gd name="connsiteX9" fmla="*/ 152128 w 418371"/>
                          <a:gd name="connsiteY9" fmla="*/ 330796 h 638938"/>
                          <a:gd name="connsiteX10" fmla="*/ 213379 w 418371"/>
                          <a:gd name="connsiteY10" fmla="*/ 271753 h 638938"/>
                          <a:gd name="connsiteX11" fmla="*/ 263401 w 418371"/>
                          <a:gd name="connsiteY11" fmla="*/ 255868 h 638938"/>
                          <a:gd name="connsiteX12" fmla="*/ 414912 w 418371"/>
                          <a:gd name="connsiteY12" fmla="*/ 182878 h 638938"/>
                          <a:gd name="connsiteX13" fmla="*/ 367353 w 418371"/>
                          <a:gd name="connsiteY13" fmla="*/ 134133 h 638938"/>
                          <a:gd name="connsiteX14" fmla="*/ 340645 w 418371"/>
                          <a:gd name="connsiteY14" fmla="*/ 246 h 638938"/>
                          <a:gd name="connsiteX15" fmla="*/ 266803 w 418371"/>
                          <a:gd name="connsiteY15" fmla="*/ 116574 h 638938"/>
                          <a:gd name="connsiteX16" fmla="*/ 184874 w 418371"/>
                          <a:gd name="connsiteY16" fmla="*/ 37402 h 638938"/>
                          <a:gd name="connsiteX17" fmla="*/ 130857 w 418371"/>
                          <a:gd name="connsiteY17" fmla="*/ 64920 h 638938"/>
                          <a:gd name="connsiteX0" fmla="*/ 130857 w 415908"/>
                          <a:gd name="connsiteY0" fmla="*/ 64920 h 638938"/>
                          <a:gd name="connsiteX1" fmla="*/ 86128 w 415908"/>
                          <a:gd name="connsiteY1" fmla="*/ 164861 h 638938"/>
                          <a:gd name="connsiteX2" fmla="*/ 60311 w 415908"/>
                          <a:gd name="connsiteY2" fmla="*/ 354700 h 638938"/>
                          <a:gd name="connsiteX3" fmla="*/ 101 w 415908"/>
                          <a:gd name="connsiteY3" fmla="*/ 621179 h 638938"/>
                          <a:gd name="connsiteX4" fmla="*/ 46892 w 415908"/>
                          <a:gd name="connsiteY4" fmla="*/ 608661 h 638938"/>
                          <a:gd name="connsiteX5" fmla="*/ 79444 w 415908"/>
                          <a:gd name="connsiteY5" fmla="*/ 564442 h 638938"/>
                          <a:gd name="connsiteX6" fmla="*/ 109735 w 415908"/>
                          <a:gd name="connsiteY6" fmla="*/ 531186 h 638938"/>
                          <a:gd name="connsiteX7" fmla="*/ 121677 w 415908"/>
                          <a:gd name="connsiteY7" fmla="*/ 485398 h 638938"/>
                          <a:gd name="connsiteX8" fmla="*/ 111368 w 415908"/>
                          <a:gd name="connsiteY8" fmla="*/ 407609 h 638938"/>
                          <a:gd name="connsiteX9" fmla="*/ 152128 w 415908"/>
                          <a:gd name="connsiteY9" fmla="*/ 330796 h 638938"/>
                          <a:gd name="connsiteX10" fmla="*/ 213379 w 415908"/>
                          <a:gd name="connsiteY10" fmla="*/ 271753 h 638938"/>
                          <a:gd name="connsiteX11" fmla="*/ 263401 w 415908"/>
                          <a:gd name="connsiteY11" fmla="*/ 255868 h 638938"/>
                          <a:gd name="connsiteX12" fmla="*/ 318768 w 415908"/>
                          <a:gd name="connsiteY12" fmla="*/ 226529 h 638938"/>
                          <a:gd name="connsiteX13" fmla="*/ 414912 w 415908"/>
                          <a:gd name="connsiteY13" fmla="*/ 182878 h 638938"/>
                          <a:gd name="connsiteX14" fmla="*/ 367353 w 415908"/>
                          <a:gd name="connsiteY14" fmla="*/ 134133 h 638938"/>
                          <a:gd name="connsiteX15" fmla="*/ 340645 w 415908"/>
                          <a:gd name="connsiteY15" fmla="*/ 246 h 638938"/>
                          <a:gd name="connsiteX16" fmla="*/ 266803 w 415908"/>
                          <a:gd name="connsiteY16" fmla="*/ 116574 h 638938"/>
                          <a:gd name="connsiteX17" fmla="*/ 184874 w 415908"/>
                          <a:gd name="connsiteY17" fmla="*/ 37402 h 638938"/>
                          <a:gd name="connsiteX18" fmla="*/ 130857 w 415908"/>
                          <a:gd name="connsiteY18" fmla="*/ 64920 h 638938"/>
                          <a:gd name="connsiteX0" fmla="*/ 130857 w 415854"/>
                          <a:gd name="connsiteY0" fmla="*/ 64920 h 638938"/>
                          <a:gd name="connsiteX1" fmla="*/ 86128 w 415854"/>
                          <a:gd name="connsiteY1" fmla="*/ 164861 h 638938"/>
                          <a:gd name="connsiteX2" fmla="*/ 60311 w 415854"/>
                          <a:gd name="connsiteY2" fmla="*/ 354700 h 638938"/>
                          <a:gd name="connsiteX3" fmla="*/ 101 w 415854"/>
                          <a:gd name="connsiteY3" fmla="*/ 621179 h 638938"/>
                          <a:gd name="connsiteX4" fmla="*/ 46892 w 415854"/>
                          <a:gd name="connsiteY4" fmla="*/ 608661 h 638938"/>
                          <a:gd name="connsiteX5" fmla="*/ 79444 w 415854"/>
                          <a:gd name="connsiteY5" fmla="*/ 564442 h 638938"/>
                          <a:gd name="connsiteX6" fmla="*/ 109735 w 415854"/>
                          <a:gd name="connsiteY6" fmla="*/ 531186 h 638938"/>
                          <a:gd name="connsiteX7" fmla="*/ 121677 w 415854"/>
                          <a:gd name="connsiteY7" fmla="*/ 485398 h 638938"/>
                          <a:gd name="connsiteX8" fmla="*/ 111368 w 415854"/>
                          <a:gd name="connsiteY8" fmla="*/ 407609 h 638938"/>
                          <a:gd name="connsiteX9" fmla="*/ 152128 w 415854"/>
                          <a:gd name="connsiteY9" fmla="*/ 330796 h 638938"/>
                          <a:gd name="connsiteX10" fmla="*/ 213379 w 415854"/>
                          <a:gd name="connsiteY10" fmla="*/ 271753 h 638938"/>
                          <a:gd name="connsiteX11" fmla="*/ 263401 w 415854"/>
                          <a:gd name="connsiteY11" fmla="*/ 255868 h 638938"/>
                          <a:gd name="connsiteX12" fmla="*/ 320332 w 415854"/>
                          <a:gd name="connsiteY12" fmla="*/ 216649 h 638938"/>
                          <a:gd name="connsiteX13" fmla="*/ 414912 w 415854"/>
                          <a:gd name="connsiteY13" fmla="*/ 182878 h 638938"/>
                          <a:gd name="connsiteX14" fmla="*/ 367353 w 415854"/>
                          <a:gd name="connsiteY14" fmla="*/ 134133 h 638938"/>
                          <a:gd name="connsiteX15" fmla="*/ 340645 w 415854"/>
                          <a:gd name="connsiteY15" fmla="*/ 246 h 638938"/>
                          <a:gd name="connsiteX16" fmla="*/ 266803 w 415854"/>
                          <a:gd name="connsiteY16" fmla="*/ 116574 h 638938"/>
                          <a:gd name="connsiteX17" fmla="*/ 184874 w 415854"/>
                          <a:gd name="connsiteY17" fmla="*/ 37402 h 638938"/>
                          <a:gd name="connsiteX18" fmla="*/ 130857 w 415854"/>
                          <a:gd name="connsiteY18" fmla="*/ 64920 h 638938"/>
                          <a:gd name="connsiteX0" fmla="*/ 130857 w 414927"/>
                          <a:gd name="connsiteY0" fmla="*/ 64920 h 638938"/>
                          <a:gd name="connsiteX1" fmla="*/ 86128 w 414927"/>
                          <a:gd name="connsiteY1" fmla="*/ 164861 h 638938"/>
                          <a:gd name="connsiteX2" fmla="*/ 60311 w 414927"/>
                          <a:gd name="connsiteY2" fmla="*/ 354700 h 638938"/>
                          <a:gd name="connsiteX3" fmla="*/ 101 w 414927"/>
                          <a:gd name="connsiteY3" fmla="*/ 621179 h 638938"/>
                          <a:gd name="connsiteX4" fmla="*/ 46892 w 414927"/>
                          <a:gd name="connsiteY4" fmla="*/ 608661 h 638938"/>
                          <a:gd name="connsiteX5" fmla="*/ 79444 w 414927"/>
                          <a:gd name="connsiteY5" fmla="*/ 564442 h 638938"/>
                          <a:gd name="connsiteX6" fmla="*/ 109735 w 414927"/>
                          <a:gd name="connsiteY6" fmla="*/ 531186 h 638938"/>
                          <a:gd name="connsiteX7" fmla="*/ 121677 w 414927"/>
                          <a:gd name="connsiteY7" fmla="*/ 485398 h 638938"/>
                          <a:gd name="connsiteX8" fmla="*/ 111368 w 414927"/>
                          <a:gd name="connsiteY8" fmla="*/ 407609 h 638938"/>
                          <a:gd name="connsiteX9" fmla="*/ 152128 w 414927"/>
                          <a:gd name="connsiteY9" fmla="*/ 330796 h 638938"/>
                          <a:gd name="connsiteX10" fmla="*/ 213379 w 414927"/>
                          <a:gd name="connsiteY10" fmla="*/ 271753 h 638938"/>
                          <a:gd name="connsiteX11" fmla="*/ 263401 w 414927"/>
                          <a:gd name="connsiteY11" fmla="*/ 255868 h 638938"/>
                          <a:gd name="connsiteX12" fmla="*/ 320332 w 414927"/>
                          <a:gd name="connsiteY12" fmla="*/ 216649 h 638938"/>
                          <a:gd name="connsiteX13" fmla="*/ 371951 w 414927"/>
                          <a:gd name="connsiteY13" fmla="*/ 214673 h 638938"/>
                          <a:gd name="connsiteX14" fmla="*/ 414912 w 414927"/>
                          <a:gd name="connsiteY14" fmla="*/ 182878 h 638938"/>
                          <a:gd name="connsiteX15" fmla="*/ 367353 w 414927"/>
                          <a:gd name="connsiteY15" fmla="*/ 134133 h 638938"/>
                          <a:gd name="connsiteX16" fmla="*/ 340645 w 414927"/>
                          <a:gd name="connsiteY16" fmla="*/ 246 h 638938"/>
                          <a:gd name="connsiteX17" fmla="*/ 266803 w 414927"/>
                          <a:gd name="connsiteY17" fmla="*/ 116574 h 638938"/>
                          <a:gd name="connsiteX18" fmla="*/ 184874 w 414927"/>
                          <a:gd name="connsiteY18" fmla="*/ 37402 h 638938"/>
                          <a:gd name="connsiteX19" fmla="*/ 130857 w 414927"/>
                          <a:gd name="connsiteY19" fmla="*/ 64920 h 638938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  <a:cxn ang="0">
                            <a:pos x="connsiteX11" y="connsiteY11"/>
                          </a:cxn>
                          <a:cxn ang="0">
                            <a:pos x="connsiteX12" y="connsiteY12"/>
                          </a:cxn>
                          <a:cxn ang="0">
                            <a:pos x="connsiteX13" y="connsiteY13"/>
                          </a:cxn>
                          <a:cxn ang="0">
                            <a:pos x="connsiteX14" y="connsiteY14"/>
                          </a:cxn>
                          <a:cxn ang="0">
                            <a:pos x="connsiteX15" y="connsiteY15"/>
                          </a:cxn>
                          <a:cxn ang="0">
                            <a:pos x="connsiteX16" y="connsiteY16"/>
                          </a:cxn>
                          <a:cxn ang="0">
                            <a:pos x="connsiteX17" y="connsiteY17"/>
                          </a:cxn>
                          <a:cxn ang="0">
                            <a:pos x="connsiteX18" y="connsiteY18"/>
                          </a:cxn>
                          <a:cxn ang="0">
                            <a:pos x="connsiteX19" y="connsiteY19"/>
                          </a:cxn>
                        </a:cxnLst>
                        <a:rect l="l" t="t" r="r" b="b"/>
                        <a:pathLst>
                          <a:path w="414927" h="638938">
                            <a:moveTo>
                              <a:pt x="130857" y="64920"/>
                            </a:moveTo>
                            <a:cubicBezTo>
                              <a:pt x="117542" y="87261"/>
                              <a:pt x="97886" y="116564"/>
                              <a:pt x="86128" y="164861"/>
                            </a:cubicBezTo>
                            <a:cubicBezTo>
                              <a:pt x="74370" y="213158"/>
                              <a:pt x="74649" y="278647"/>
                              <a:pt x="60311" y="354700"/>
                            </a:cubicBezTo>
                            <a:cubicBezTo>
                              <a:pt x="45973" y="430753"/>
                              <a:pt x="2337" y="578852"/>
                              <a:pt x="101" y="621179"/>
                            </a:cubicBezTo>
                            <a:cubicBezTo>
                              <a:pt x="-2135" y="663506"/>
                              <a:pt x="33668" y="618117"/>
                              <a:pt x="46892" y="608661"/>
                            </a:cubicBezTo>
                            <a:cubicBezTo>
                              <a:pt x="60116" y="599205"/>
                              <a:pt x="68970" y="578343"/>
                              <a:pt x="79444" y="564442"/>
                            </a:cubicBezTo>
                            <a:cubicBezTo>
                              <a:pt x="89918" y="550541"/>
                              <a:pt x="102696" y="544360"/>
                              <a:pt x="109735" y="531186"/>
                            </a:cubicBezTo>
                            <a:cubicBezTo>
                              <a:pt x="116774" y="518012"/>
                              <a:pt x="120623" y="504676"/>
                              <a:pt x="121677" y="485398"/>
                            </a:cubicBezTo>
                            <a:cubicBezTo>
                              <a:pt x="122731" y="466120"/>
                              <a:pt x="106293" y="433376"/>
                              <a:pt x="111368" y="407609"/>
                            </a:cubicBezTo>
                            <a:cubicBezTo>
                              <a:pt x="116443" y="381842"/>
                              <a:pt x="135126" y="353438"/>
                              <a:pt x="152128" y="330796"/>
                            </a:cubicBezTo>
                            <a:cubicBezTo>
                              <a:pt x="169130" y="308154"/>
                              <a:pt x="194834" y="284241"/>
                              <a:pt x="213379" y="271753"/>
                            </a:cubicBezTo>
                            <a:cubicBezTo>
                              <a:pt x="231924" y="259265"/>
                              <a:pt x="245576" y="265052"/>
                              <a:pt x="263401" y="255868"/>
                            </a:cubicBezTo>
                            <a:cubicBezTo>
                              <a:pt x="281226" y="246684"/>
                              <a:pt x="301980" y="225491"/>
                              <a:pt x="320332" y="216649"/>
                            </a:cubicBezTo>
                            <a:cubicBezTo>
                              <a:pt x="338684" y="207807"/>
                              <a:pt x="356188" y="220301"/>
                              <a:pt x="371951" y="214673"/>
                            </a:cubicBezTo>
                            <a:cubicBezTo>
                              <a:pt x="387714" y="209045"/>
                              <a:pt x="415678" y="196301"/>
                              <a:pt x="414912" y="182878"/>
                            </a:cubicBezTo>
                            <a:cubicBezTo>
                              <a:pt x="414146" y="169455"/>
                              <a:pt x="379469" y="160548"/>
                              <a:pt x="367353" y="134133"/>
                            </a:cubicBezTo>
                            <a:cubicBezTo>
                              <a:pt x="355237" y="107718"/>
                              <a:pt x="361855" y="-5973"/>
                              <a:pt x="340645" y="246"/>
                            </a:cubicBezTo>
                            <a:cubicBezTo>
                              <a:pt x="319435" y="6465"/>
                              <a:pt x="292765" y="110381"/>
                              <a:pt x="266803" y="116574"/>
                            </a:cubicBezTo>
                            <a:cubicBezTo>
                              <a:pt x="240841" y="122767"/>
                              <a:pt x="206222" y="29184"/>
                              <a:pt x="184874" y="37402"/>
                            </a:cubicBezTo>
                            <a:cubicBezTo>
                              <a:pt x="169040" y="41360"/>
                              <a:pt x="145859" y="58491"/>
                              <a:pt x="130857" y="64920"/>
                            </a:cubicBezTo>
                            <a:close/>
                          </a:path>
                        </a:pathLst>
                      </a:custGeom>
                      <a:solidFill>
                        <a:schemeClr val="bg1">
                          <a:lumMod val="75000"/>
                          <a:alpha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1000" name="Oval 243"/>
                    <p:cNvSpPr>
                      <a:spLocks noChangeAspect="1"/>
                    </p:cNvSpPr>
                    <p:nvPr/>
                  </p:nvSpPr>
                  <p:spPr>
                    <a:xfrm>
                      <a:off x="8618562" y="2823204"/>
                      <a:ext cx="72000" cy="72000"/>
                    </a:xfrm>
                    <a:prstGeom prst="ellipse">
                      <a:avLst/>
                    </a:prstGeom>
                    <a:grpFill/>
                    <a:ln w="12700"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01" name="Oval 244"/>
                    <p:cNvSpPr>
                      <a:spLocks noChangeAspect="1"/>
                    </p:cNvSpPr>
                    <p:nvPr/>
                  </p:nvSpPr>
                  <p:spPr>
                    <a:xfrm>
                      <a:off x="7355172" y="2288963"/>
                      <a:ext cx="72000" cy="72000"/>
                    </a:xfrm>
                    <a:prstGeom prst="ellipse">
                      <a:avLst/>
                    </a:prstGeom>
                    <a:grpFill/>
                    <a:ln w="12700"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02" name="Oval 245"/>
                    <p:cNvSpPr>
                      <a:spLocks noChangeAspect="1"/>
                    </p:cNvSpPr>
                    <p:nvPr/>
                  </p:nvSpPr>
                  <p:spPr>
                    <a:xfrm>
                      <a:off x="8051872" y="2376047"/>
                      <a:ext cx="72000" cy="72000"/>
                    </a:xfrm>
                    <a:prstGeom prst="ellipse">
                      <a:avLst/>
                    </a:prstGeom>
                    <a:grpFill/>
                    <a:ln w="12700"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  <p:sp>
                  <p:nvSpPr>
                    <p:cNvPr id="1003" name="Oval 246"/>
                    <p:cNvSpPr>
                      <a:spLocks noChangeAspect="1"/>
                    </p:cNvSpPr>
                    <p:nvPr/>
                  </p:nvSpPr>
                  <p:spPr>
                    <a:xfrm>
                      <a:off x="7623815" y="4758366"/>
                      <a:ext cx="72000" cy="72000"/>
                    </a:xfrm>
                    <a:prstGeom prst="ellipse">
                      <a:avLst/>
                    </a:prstGeom>
                    <a:grpFill/>
                    <a:ln w="12700">
                      <a:solidFill>
                        <a:schemeClr val="bg1">
                          <a:lumMod val="65000"/>
                        </a:schemeClr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</p:grpSp>
            <p:grpSp>
              <p:nvGrpSpPr>
                <p:cNvPr id="990" name="Group 291"/>
                <p:cNvGrpSpPr>
                  <a:grpSpLocks noChangeAspect="1"/>
                </p:cNvGrpSpPr>
                <p:nvPr/>
              </p:nvGrpSpPr>
              <p:grpSpPr>
                <a:xfrm>
                  <a:off x="5805204" y="4393096"/>
                  <a:ext cx="992883" cy="2302330"/>
                  <a:chOff x="4646139" y="4169519"/>
                  <a:chExt cx="1004537" cy="2044821"/>
                </a:xfrm>
                <a:grpFill/>
              </p:grpSpPr>
              <p:sp>
                <p:nvSpPr>
                  <p:cNvPr id="991" name="Oval 43"/>
                  <p:cNvSpPr/>
                  <p:nvPr/>
                </p:nvSpPr>
                <p:spPr>
                  <a:xfrm>
                    <a:off x="5277339" y="5205352"/>
                    <a:ext cx="120090" cy="129793"/>
                  </a:xfrm>
                  <a:custGeom>
                    <a:avLst/>
                    <a:gdLst>
                      <a:gd name="connsiteX0" fmla="*/ 0 w 131090"/>
                      <a:gd name="connsiteY0" fmla="*/ 61927 h 123853"/>
                      <a:gd name="connsiteX1" fmla="*/ 65545 w 131090"/>
                      <a:gd name="connsiteY1" fmla="*/ 0 h 123853"/>
                      <a:gd name="connsiteX2" fmla="*/ 131090 w 131090"/>
                      <a:gd name="connsiteY2" fmla="*/ 61927 h 123853"/>
                      <a:gd name="connsiteX3" fmla="*/ 65545 w 131090"/>
                      <a:gd name="connsiteY3" fmla="*/ 123854 h 123853"/>
                      <a:gd name="connsiteX4" fmla="*/ 0 w 131090"/>
                      <a:gd name="connsiteY4" fmla="*/ 61927 h 123853"/>
                      <a:gd name="connsiteX0" fmla="*/ 0 w 85846"/>
                      <a:gd name="connsiteY0" fmla="*/ 61931 h 123862"/>
                      <a:gd name="connsiteX1" fmla="*/ 65545 w 85846"/>
                      <a:gd name="connsiteY1" fmla="*/ 4 h 123862"/>
                      <a:gd name="connsiteX2" fmla="*/ 85846 w 85846"/>
                      <a:gd name="connsiteY2" fmla="*/ 64312 h 123862"/>
                      <a:gd name="connsiteX3" fmla="*/ 65545 w 85846"/>
                      <a:gd name="connsiteY3" fmla="*/ 123858 h 123862"/>
                      <a:gd name="connsiteX4" fmla="*/ 0 w 85846"/>
                      <a:gd name="connsiteY4" fmla="*/ 61931 h 123862"/>
                      <a:gd name="connsiteX0" fmla="*/ 0 w 69178"/>
                      <a:gd name="connsiteY0" fmla="*/ 37134 h 125753"/>
                      <a:gd name="connsiteX1" fmla="*/ 48877 w 69178"/>
                      <a:gd name="connsiteY1" fmla="*/ 1401 h 125753"/>
                      <a:gd name="connsiteX2" fmla="*/ 69178 w 69178"/>
                      <a:gd name="connsiteY2" fmla="*/ 65709 h 125753"/>
                      <a:gd name="connsiteX3" fmla="*/ 48877 w 69178"/>
                      <a:gd name="connsiteY3" fmla="*/ 125255 h 125753"/>
                      <a:gd name="connsiteX4" fmla="*/ 0 w 69178"/>
                      <a:gd name="connsiteY4" fmla="*/ 37134 h 125753"/>
                      <a:gd name="connsiteX0" fmla="*/ 5388 w 74566"/>
                      <a:gd name="connsiteY0" fmla="*/ 36471 h 129792"/>
                      <a:gd name="connsiteX1" fmla="*/ 54265 w 74566"/>
                      <a:gd name="connsiteY1" fmla="*/ 738 h 129792"/>
                      <a:gd name="connsiteX2" fmla="*/ 74566 w 74566"/>
                      <a:gd name="connsiteY2" fmla="*/ 65046 h 129792"/>
                      <a:gd name="connsiteX3" fmla="*/ 9021 w 74566"/>
                      <a:gd name="connsiteY3" fmla="*/ 129354 h 129792"/>
                      <a:gd name="connsiteX4" fmla="*/ 5388 w 74566"/>
                      <a:gd name="connsiteY4" fmla="*/ 36471 h 129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66" h="129792">
                        <a:moveTo>
                          <a:pt x="5388" y="36471"/>
                        </a:moveTo>
                        <a:cubicBezTo>
                          <a:pt x="12929" y="15035"/>
                          <a:pt x="42735" y="-4025"/>
                          <a:pt x="54265" y="738"/>
                        </a:cubicBezTo>
                        <a:cubicBezTo>
                          <a:pt x="65795" y="5501"/>
                          <a:pt x="74566" y="30845"/>
                          <a:pt x="74566" y="65046"/>
                        </a:cubicBezTo>
                        <a:cubicBezTo>
                          <a:pt x="74566" y="99247"/>
                          <a:pt x="20551" y="134117"/>
                          <a:pt x="9021" y="129354"/>
                        </a:cubicBezTo>
                        <a:cubicBezTo>
                          <a:pt x="-2509" y="124592"/>
                          <a:pt x="-2153" y="57907"/>
                          <a:pt x="5388" y="36471"/>
                        </a:cubicBezTo>
                        <a:close/>
                      </a:path>
                    </a:pathLst>
                  </a:custGeom>
                  <a:grpFill/>
                  <a:ln w="6350" cap="flat" cmpd="sng" algn="ctr">
                    <a:noFill/>
                    <a:prstDash val="dash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 ker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92" name="Oval 43"/>
                  <p:cNvSpPr/>
                  <p:nvPr/>
                </p:nvSpPr>
                <p:spPr>
                  <a:xfrm>
                    <a:off x="4646139" y="4169519"/>
                    <a:ext cx="159840" cy="172754"/>
                  </a:xfrm>
                  <a:custGeom>
                    <a:avLst/>
                    <a:gdLst>
                      <a:gd name="connsiteX0" fmla="*/ 0 w 131090"/>
                      <a:gd name="connsiteY0" fmla="*/ 61927 h 123853"/>
                      <a:gd name="connsiteX1" fmla="*/ 65545 w 131090"/>
                      <a:gd name="connsiteY1" fmla="*/ 0 h 123853"/>
                      <a:gd name="connsiteX2" fmla="*/ 131090 w 131090"/>
                      <a:gd name="connsiteY2" fmla="*/ 61927 h 123853"/>
                      <a:gd name="connsiteX3" fmla="*/ 65545 w 131090"/>
                      <a:gd name="connsiteY3" fmla="*/ 123854 h 123853"/>
                      <a:gd name="connsiteX4" fmla="*/ 0 w 131090"/>
                      <a:gd name="connsiteY4" fmla="*/ 61927 h 123853"/>
                      <a:gd name="connsiteX0" fmla="*/ 0 w 85846"/>
                      <a:gd name="connsiteY0" fmla="*/ 61931 h 123862"/>
                      <a:gd name="connsiteX1" fmla="*/ 65545 w 85846"/>
                      <a:gd name="connsiteY1" fmla="*/ 4 h 123862"/>
                      <a:gd name="connsiteX2" fmla="*/ 85846 w 85846"/>
                      <a:gd name="connsiteY2" fmla="*/ 64312 h 123862"/>
                      <a:gd name="connsiteX3" fmla="*/ 65545 w 85846"/>
                      <a:gd name="connsiteY3" fmla="*/ 123858 h 123862"/>
                      <a:gd name="connsiteX4" fmla="*/ 0 w 85846"/>
                      <a:gd name="connsiteY4" fmla="*/ 61931 h 123862"/>
                      <a:gd name="connsiteX0" fmla="*/ 0 w 69178"/>
                      <a:gd name="connsiteY0" fmla="*/ 37134 h 125753"/>
                      <a:gd name="connsiteX1" fmla="*/ 48877 w 69178"/>
                      <a:gd name="connsiteY1" fmla="*/ 1401 h 125753"/>
                      <a:gd name="connsiteX2" fmla="*/ 69178 w 69178"/>
                      <a:gd name="connsiteY2" fmla="*/ 65709 h 125753"/>
                      <a:gd name="connsiteX3" fmla="*/ 48877 w 69178"/>
                      <a:gd name="connsiteY3" fmla="*/ 125255 h 125753"/>
                      <a:gd name="connsiteX4" fmla="*/ 0 w 69178"/>
                      <a:gd name="connsiteY4" fmla="*/ 37134 h 125753"/>
                      <a:gd name="connsiteX0" fmla="*/ 5388 w 74566"/>
                      <a:gd name="connsiteY0" fmla="*/ 36471 h 129792"/>
                      <a:gd name="connsiteX1" fmla="*/ 54265 w 74566"/>
                      <a:gd name="connsiteY1" fmla="*/ 738 h 129792"/>
                      <a:gd name="connsiteX2" fmla="*/ 74566 w 74566"/>
                      <a:gd name="connsiteY2" fmla="*/ 65046 h 129792"/>
                      <a:gd name="connsiteX3" fmla="*/ 9021 w 74566"/>
                      <a:gd name="connsiteY3" fmla="*/ 129354 h 129792"/>
                      <a:gd name="connsiteX4" fmla="*/ 5388 w 74566"/>
                      <a:gd name="connsiteY4" fmla="*/ 36471 h 129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66" h="129792">
                        <a:moveTo>
                          <a:pt x="5388" y="36471"/>
                        </a:moveTo>
                        <a:cubicBezTo>
                          <a:pt x="12929" y="15035"/>
                          <a:pt x="42735" y="-4025"/>
                          <a:pt x="54265" y="738"/>
                        </a:cubicBezTo>
                        <a:cubicBezTo>
                          <a:pt x="65795" y="5501"/>
                          <a:pt x="74566" y="30845"/>
                          <a:pt x="74566" y="65046"/>
                        </a:cubicBezTo>
                        <a:cubicBezTo>
                          <a:pt x="74566" y="99247"/>
                          <a:pt x="20551" y="134117"/>
                          <a:pt x="9021" y="129354"/>
                        </a:cubicBezTo>
                        <a:cubicBezTo>
                          <a:pt x="-2509" y="124592"/>
                          <a:pt x="-2153" y="57907"/>
                          <a:pt x="5388" y="36471"/>
                        </a:cubicBezTo>
                        <a:close/>
                      </a:path>
                    </a:pathLst>
                  </a:custGeom>
                  <a:grpFill/>
                  <a:ln w="6350" cap="flat" cmpd="sng" algn="ctr">
                    <a:noFill/>
                    <a:prstDash val="dash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 ker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93" name="Oval 43"/>
                  <p:cNvSpPr/>
                  <p:nvPr/>
                </p:nvSpPr>
                <p:spPr>
                  <a:xfrm flipV="1">
                    <a:off x="5530586" y="4987634"/>
                    <a:ext cx="120090" cy="129793"/>
                  </a:xfrm>
                  <a:custGeom>
                    <a:avLst/>
                    <a:gdLst>
                      <a:gd name="connsiteX0" fmla="*/ 0 w 131090"/>
                      <a:gd name="connsiteY0" fmla="*/ 61927 h 123853"/>
                      <a:gd name="connsiteX1" fmla="*/ 65545 w 131090"/>
                      <a:gd name="connsiteY1" fmla="*/ 0 h 123853"/>
                      <a:gd name="connsiteX2" fmla="*/ 131090 w 131090"/>
                      <a:gd name="connsiteY2" fmla="*/ 61927 h 123853"/>
                      <a:gd name="connsiteX3" fmla="*/ 65545 w 131090"/>
                      <a:gd name="connsiteY3" fmla="*/ 123854 h 123853"/>
                      <a:gd name="connsiteX4" fmla="*/ 0 w 131090"/>
                      <a:gd name="connsiteY4" fmla="*/ 61927 h 123853"/>
                      <a:gd name="connsiteX0" fmla="*/ 0 w 85846"/>
                      <a:gd name="connsiteY0" fmla="*/ 61931 h 123862"/>
                      <a:gd name="connsiteX1" fmla="*/ 65545 w 85846"/>
                      <a:gd name="connsiteY1" fmla="*/ 4 h 123862"/>
                      <a:gd name="connsiteX2" fmla="*/ 85846 w 85846"/>
                      <a:gd name="connsiteY2" fmla="*/ 64312 h 123862"/>
                      <a:gd name="connsiteX3" fmla="*/ 65545 w 85846"/>
                      <a:gd name="connsiteY3" fmla="*/ 123858 h 123862"/>
                      <a:gd name="connsiteX4" fmla="*/ 0 w 85846"/>
                      <a:gd name="connsiteY4" fmla="*/ 61931 h 123862"/>
                      <a:gd name="connsiteX0" fmla="*/ 0 w 69178"/>
                      <a:gd name="connsiteY0" fmla="*/ 37134 h 125753"/>
                      <a:gd name="connsiteX1" fmla="*/ 48877 w 69178"/>
                      <a:gd name="connsiteY1" fmla="*/ 1401 h 125753"/>
                      <a:gd name="connsiteX2" fmla="*/ 69178 w 69178"/>
                      <a:gd name="connsiteY2" fmla="*/ 65709 h 125753"/>
                      <a:gd name="connsiteX3" fmla="*/ 48877 w 69178"/>
                      <a:gd name="connsiteY3" fmla="*/ 125255 h 125753"/>
                      <a:gd name="connsiteX4" fmla="*/ 0 w 69178"/>
                      <a:gd name="connsiteY4" fmla="*/ 37134 h 125753"/>
                      <a:gd name="connsiteX0" fmla="*/ 5388 w 74566"/>
                      <a:gd name="connsiteY0" fmla="*/ 36471 h 129792"/>
                      <a:gd name="connsiteX1" fmla="*/ 54265 w 74566"/>
                      <a:gd name="connsiteY1" fmla="*/ 738 h 129792"/>
                      <a:gd name="connsiteX2" fmla="*/ 74566 w 74566"/>
                      <a:gd name="connsiteY2" fmla="*/ 65046 h 129792"/>
                      <a:gd name="connsiteX3" fmla="*/ 9021 w 74566"/>
                      <a:gd name="connsiteY3" fmla="*/ 129354 h 129792"/>
                      <a:gd name="connsiteX4" fmla="*/ 5388 w 74566"/>
                      <a:gd name="connsiteY4" fmla="*/ 36471 h 129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66" h="129792">
                        <a:moveTo>
                          <a:pt x="5388" y="36471"/>
                        </a:moveTo>
                        <a:cubicBezTo>
                          <a:pt x="12929" y="15035"/>
                          <a:pt x="42735" y="-4025"/>
                          <a:pt x="54265" y="738"/>
                        </a:cubicBezTo>
                        <a:cubicBezTo>
                          <a:pt x="65795" y="5501"/>
                          <a:pt x="74566" y="30845"/>
                          <a:pt x="74566" y="65046"/>
                        </a:cubicBezTo>
                        <a:cubicBezTo>
                          <a:pt x="74566" y="99247"/>
                          <a:pt x="20551" y="134117"/>
                          <a:pt x="9021" y="129354"/>
                        </a:cubicBezTo>
                        <a:cubicBezTo>
                          <a:pt x="-2509" y="124592"/>
                          <a:pt x="-2153" y="57907"/>
                          <a:pt x="5388" y="36471"/>
                        </a:cubicBezTo>
                        <a:close/>
                      </a:path>
                    </a:pathLst>
                  </a:custGeom>
                  <a:grpFill/>
                  <a:ln w="6350" cap="flat" cmpd="sng" algn="ctr">
                    <a:noFill/>
                    <a:prstDash val="dash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 ker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94" name="Oval 43"/>
                  <p:cNvSpPr/>
                  <p:nvPr/>
                </p:nvSpPr>
                <p:spPr>
                  <a:xfrm flipV="1">
                    <a:off x="4768327" y="6125690"/>
                    <a:ext cx="74566" cy="88650"/>
                  </a:xfrm>
                  <a:custGeom>
                    <a:avLst/>
                    <a:gdLst>
                      <a:gd name="connsiteX0" fmla="*/ 0 w 131090"/>
                      <a:gd name="connsiteY0" fmla="*/ 61927 h 123853"/>
                      <a:gd name="connsiteX1" fmla="*/ 65545 w 131090"/>
                      <a:gd name="connsiteY1" fmla="*/ 0 h 123853"/>
                      <a:gd name="connsiteX2" fmla="*/ 131090 w 131090"/>
                      <a:gd name="connsiteY2" fmla="*/ 61927 h 123853"/>
                      <a:gd name="connsiteX3" fmla="*/ 65545 w 131090"/>
                      <a:gd name="connsiteY3" fmla="*/ 123854 h 123853"/>
                      <a:gd name="connsiteX4" fmla="*/ 0 w 131090"/>
                      <a:gd name="connsiteY4" fmla="*/ 61927 h 123853"/>
                      <a:gd name="connsiteX0" fmla="*/ 0 w 85846"/>
                      <a:gd name="connsiteY0" fmla="*/ 61931 h 123862"/>
                      <a:gd name="connsiteX1" fmla="*/ 65545 w 85846"/>
                      <a:gd name="connsiteY1" fmla="*/ 4 h 123862"/>
                      <a:gd name="connsiteX2" fmla="*/ 85846 w 85846"/>
                      <a:gd name="connsiteY2" fmla="*/ 64312 h 123862"/>
                      <a:gd name="connsiteX3" fmla="*/ 65545 w 85846"/>
                      <a:gd name="connsiteY3" fmla="*/ 123858 h 123862"/>
                      <a:gd name="connsiteX4" fmla="*/ 0 w 85846"/>
                      <a:gd name="connsiteY4" fmla="*/ 61931 h 123862"/>
                      <a:gd name="connsiteX0" fmla="*/ 0 w 69178"/>
                      <a:gd name="connsiteY0" fmla="*/ 37134 h 125753"/>
                      <a:gd name="connsiteX1" fmla="*/ 48877 w 69178"/>
                      <a:gd name="connsiteY1" fmla="*/ 1401 h 125753"/>
                      <a:gd name="connsiteX2" fmla="*/ 69178 w 69178"/>
                      <a:gd name="connsiteY2" fmla="*/ 65709 h 125753"/>
                      <a:gd name="connsiteX3" fmla="*/ 48877 w 69178"/>
                      <a:gd name="connsiteY3" fmla="*/ 125255 h 125753"/>
                      <a:gd name="connsiteX4" fmla="*/ 0 w 69178"/>
                      <a:gd name="connsiteY4" fmla="*/ 37134 h 125753"/>
                      <a:gd name="connsiteX0" fmla="*/ 5388 w 74566"/>
                      <a:gd name="connsiteY0" fmla="*/ 36471 h 129792"/>
                      <a:gd name="connsiteX1" fmla="*/ 54265 w 74566"/>
                      <a:gd name="connsiteY1" fmla="*/ 738 h 129792"/>
                      <a:gd name="connsiteX2" fmla="*/ 74566 w 74566"/>
                      <a:gd name="connsiteY2" fmla="*/ 65046 h 129792"/>
                      <a:gd name="connsiteX3" fmla="*/ 9021 w 74566"/>
                      <a:gd name="connsiteY3" fmla="*/ 129354 h 129792"/>
                      <a:gd name="connsiteX4" fmla="*/ 5388 w 74566"/>
                      <a:gd name="connsiteY4" fmla="*/ 36471 h 12979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74566" h="129792">
                        <a:moveTo>
                          <a:pt x="5388" y="36471"/>
                        </a:moveTo>
                        <a:cubicBezTo>
                          <a:pt x="12929" y="15035"/>
                          <a:pt x="42735" y="-4025"/>
                          <a:pt x="54265" y="738"/>
                        </a:cubicBezTo>
                        <a:cubicBezTo>
                          <a:pt x="65795" y="5501"/>
                          <a:pt x="74566" y="30845"/>
                          <a:pt x="74566" y="65046"/>
                        </a:cubicBezTo>
                        <a:cubicBezTo>
                          <a:pt x="74566" y="99247"/>
                          <a:pt x="20551" y="134117"/>
                          <a:pt x="9021" y="129354"/>
                        </a:cubicBezTo>
                        <a:cubicBezTo>
                          <a:pt x="-2509" y="124592"/>
                          <a:pt x="-2153" y="57907"/>
                          <a:pt x="5388" y="36471"/>
                        </a:cubicBezTo>
                        <a:close/>
                      </a:path>
                    </a:pathLst>
                  </a:custGeom>
                  <a:grpFill/>
                  <a:ln w="6350" cap="flat" cmpd="sng" algn="ctr">
                    <a:noFill/>
                    <a:prstDash val="dash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 ker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95" name="Oval 45"/>
                  <p:cNvSpPr/>
                  <p:nvPr/>
                </p:nvSpPr>
                <p:spPr>
                  <a:xfrm rot="16200000">
                    <a:off x="5332921" y="4395124"/>
                    <a:ext cx="130607" cy="166420"/>
                  </a:xfrm>
                  <a:custGeom>
                    <a:avLst/>
                    <a:gdLst>
                      <a:gd name="connsiteX0" fmla="*/ 0 w 78221"/>
                      <a:gd name="connsiteY0" fmla="*/ 51179 h 102358"/>
                      <a:gd name="connsiteX1" fmla="*/ 39111 w 78221"/>
                      <a:gd name="connsiteY1" fmla="*/ 0 h 102358"/>
                      <a:gd name="connsiteX2" fmla="*/ 78222 w 78221"/>
                      <a:gd name="connsiteY2" fmla="*/ 51179 h 102358"/>
                      <a:gd name="connsiteX3" fmla="*/ 39111 w 78221"/>
                      <a:gd name="connsiteY3" fmla="*/ 102358 h 102358"/>
                      <a:gd name="connsiteX4" fmla="*/ 0 w 78221"/>
                      <a:gd name="connsiteY4" fmla="*/ 51179 h 102358"/>
                      <a:gd name="connsiteX0" fmla="*/ 0 w 82937"/>
                      <a:gd name="connsiteY0" fmla="*/ 62449 h 113628"/>
                      <a:gd name="connsiteX1" fmla="*/ 39111 w 82937"/>
                      <a:gd name="connsiteY1" fmla="*/ 11270 h 113628"/>
                      <a:gd name="connsiteX2" fmla="*/ 79554 w 82937"/>
                      <a:gd name="connsiteY2" fmla="*/ 4091 h 113628"/>
                      <a:gd name="connsiteX3" fmla="*/ 78222 w 82937"/>
                      <a:gd name="connsiteY3" fmla="*/ 62449 h 113628"/>
                      <a:gd name="connsiteX4" fmla="*/ 39111 w 82937"/>
                      <a:gd name="connsiteY4" fmla="*/ 113628 h 113628"/>
                      <a:gd name="connsiteX5" fmla="*/ 0 w 82937"/>
                      <a:gd name="connsiteY5" fmla="*/ 62449 h 113628"/>
                      <a:gd name="connsiteX0" fmla="*/ 0 w 82374"/>
                      <a:gd name="connsiteY0" fmla="*/ 62449 h 113667"/>
                      <a:gd name="connsiteX1" fmla="*/ 39111 w 82374"/>
                      <a:gd name="connsiteY1" fmla="*/ 11270 h 113667"/>
                      <a:gd name="connsiteX2" fmla="*/ 79554 w 82374"/>
                      <a:gd name="connsiteY2" fmla="*/ 4091 h 113667"/>
                      <a:gd name="connsiteX3" fmla="*/ 78222 w 82374"/>
                      <a:gd name="connsiteY3" fmla="*/ 62449 h 113667"/>
                      <a:gd name="connsiteX4" fmla="*/ 48597 w 82374"/>
                      <a:gd name="connsiteY4" fmla="*/ 70766 h 113667"/>
                      <a:gd name="connsiteX5" fmla="*/ 39111 w 82374"/>
                      <a:gd name="connsiteY5" fmla="*/ 113628 h 113667"/>
                      <a:gd name="connsiteX6" fmla="*/ 0 w 82374"/>
                      <a:gd name="connsiteY6" fmla="*/ 62449 h 113667"/>
                      <a:gd name="connsiteX0" fmla="*/ 0 w 81096"/>
                      <a:gd name="connsiteY0" fmla="*/ 62449 h 113667"/>
                      <a:gd name="connsiteX1" fmla="*/ 39111 w 81096"/>
                      <a:gd name="connsiteY1" fmla="*/ 11270 h 113667"/>
                      <a:gd name="connsiteX2" fmla="*/ 79554 w 81096"/>
                      <a:gd name="connsiteY2" fmla="*/ 4091 h 113667"/>
                      <a:gd name="connsiteX3" fmla="*/ 68697 w 81096"/>
                      <a:gd name="connsiteY3" fmla="*/ 48162 h 113667"/>
                      <a:gd name="connsiteX4" fmla="*/ 48597 w 81096"/>
                      <a:gd name="connsiteY4" fmla="*/ 70766 h 113667"/>
                      <a:gd name="connsiteX5" fmla="*/ 39111 w 81096"/>
                      <a:gd name="connsiteY5" fmla="*/ 113628 h 113667"/>
                      <a:gd name="connsiteX6" fmla="*/ 0 w 81096"/>
                      <a:gd name="connsiteY6" fmla="*/ 62449 h 11366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1096" h="113667">
                        <a:moveTo>
                          <a:pt x="0" y="62449"/>
                        </a:moveTo>
                        <a:cubicBezTo>
                          <a:pt x="0" y="34184"/>
                          <a:pt x="25852" y="20996"/>
                          <a:pt x="39111" y="11270"/>
                        </a:cubicBezTo>
                        <a:cubicBezTo>
                          <a:pt x="52370" y="1544"/>
                          <a:pt x="73036" y="-4439"/>
                          <a:pt x="79554" y="4091"/>
                        </a:cubicBezTo>
                        <a:cubicBezTo>
                          <a:pt x="86073" y="12621"/>
                          <a:pt x="69888" y="37050"/>
                          <a:pt x="68697" y="48162"/>
                        </a:cubicBezTo>
                        <a:cubicBezTo>
                          <a:pt x="67506" y="59275"/>
                          <a:pt x="55116" y="62236"/>
                          <a:pt x="48597" y="70766"/>
                        </a:cubicBezTo>
                        <a:cubicBezTo>
                          <a:pt x="42079" y="79296"/>
                          <a:pt x="47210" y="115014"/>
                          <a:pt x="39111" y="113628"/>
                        </a:cubicBezTo>
                        <a:cubicBezTo>
                          <a:pt x="31012" y="112242"/>
                          <a:pt x="0" y="90714"/>
                          <a:pt x="0" y="62449"/>
                        </a:cubicBezTo>
                        <a:close/>
                      </a:path>
                    </a:pathLst>
                  </a:custGeom>
                  <a:grpFill/>
                  <a:ln w="6350" cap="flat" cmpd="sng" algn="ctr">
                    <a:noFill/>
                    <a:prstDash val="dash"/>
                  </a:ln>
                  <a:effectLst/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900" kern="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endParaRPr>
                  </a:p>
                </p:txBody>
              </p:sp>
            </p:grpSp>
          </p:grpSp>
          <p:grpSp>
            <p:nvGrpSpPr>
              <p:cNvPr id="970" name="Group 267"/>
              <p:cNvGrpSpPr>
                <a:grpSpLocks noChangeAspect="1"/>
              </p:cNvGrpSpPr>
              <p:nvPr/>
            </p:nvGrpSpPr>
            <p:grpSpPr>
              <a:xfrm>
                <a:off x="6087474" y="3032268"/>
                <a:ext cx="2426982" cy="3392639"/>
                <a:chOff x="6447437" y="2906890"/>
                <a:chExt cx="2258413" cy="2900553"/>
              </a:xfrm>
              <a:grpFill/>
            </p:grpSpPr>
            <p:grpSp>
              <p:nvGrpSpPr>
                <p:cNvPr id="971" name="Group 268"/>
                <p:cNvGrpSpPr/>
                <p:nvPr/>
              </p:nvGrpSpPr>
              <p:grpSpPr>
                <a:xfrm>
                  <a:off x="6447437" y="2943958"/>
                  <a:ext cx="2234700" cy="2863485"/>
                  <a:chOff x="4913460" y="3025113"/>
                  <a:chExt cx="2287440" cy="2931064"/>
                </a:xfrm>
                <a:grpFill/>
              </p:grpSpPr>
              <p:grpSp>
                <p:nvGrpSpPr>
                  <p:cNvPr id="977" name="Group 274"/>
                  <p:cNvGrpSpPr/>
                  <p:nvPr/>
                </p:nvGrpSpPr>
                <p:grpSpPr>
                  <a:xfrm>
                    <a:off x="4913460" y="3025113"/>
                    <a:ext cx="2287440" cy="2931064"/>
                    <a:chOff x="4913460" y="3025113"/>
                    <a:chExt cx="2287440" cy="2931064"/>
                  </a:xfrm>
                  <a:grpFill/>
                </p:grpSpPr>
                <p:grpSp>
                  <p:nvGrpSpPr>
                    <p:cNvPr id="979" name="Group 277"/>
                    <p:cNvGrpSpPr/>
                    <p:nvPr/>
                  </p:nvGrpSpPr>
                  <p:grpSpPr>
                    <a:xfrm>
                      <a:off x="4913460" y="3577632"/>
                      <a:ext cx="1883491" cy="2378545"/>
                      <a:chOff x="4913460" y="3577632"/>
                      <a:chExt cx="1883491" cy="2378545"/>
                    </a:xfrm>
                    <a:grpFill/>
                  </p:grpSpPr>
                  <p:grpSp>
                    <p:nvGrpSpPr>
                      <p:cNvPr id="981" name="Group 279"/>
                      <p:cNvGrpSpPr/>
                      <p:nvPr/>
                    </p:nvGrpSpPr>
                    <p:grpSpPr>
                      <a:xfrm>
                        <a:off x="4913460" y="5468068"/>
                        <a:ext cx="349830" cy="488109"/>
                        <a:chOff x="4913460" y="5468068"/>
                        <a:chExt cx="349830" cy="488109"/>
                      </a:xfrm>
                      <a:grpFill/>
                    </p:grpSpPr>
                    <p:sp>
                      <p:nvSpPr>
                        <p:cNvPr id="987" name="Freeform 285"/>
                        <p:cNvSpPr>
                          <a:spLocks noChangeAspect="1"/>
                        </p:cNvSpPr>
                        <p:nvPr/>
                      </p:nvSpPr>
                      <p:spPr>
                        <a:xfrm rot="11700000">
                          <a:off x="4913460" y="5792883"/>
                          <a:ext cx="125190" cy="163294"/>
                        </a:xfrm>
                        <a:custGeom>
                          <a:avLst/>
                          <a:gdLst>
                            <a:gd name="connsiteX0" fmla="*/ 175260 w 541020"/>
                            <a:gd name="connsiteY0" fmla="*/ 45720 h 281940"/>
                            <a:gd name="connsiteX1" fmla="*/ 0 w 541020"/>
                            <a:gd name="connsiteY1" fmla="*/ 121920 h 281940"/>
                            <a:gd name="connsiteX2" fmla="*/ 7620 w 541020"/>
                            <a:gd name="connsiteY2" fmla="*/ 251460 h 281940"/>
                            <a:gd name="connsiteX3" fmla="*/ 160020 w 541020"/>
                            <a:gd name="connsiteY3" fmla="*/ 281940 h 281940"/>
                            <a:gd name="connsiteX4" fmla="*/ 327660 w 541020"/>
                            <a:gd name="connsiteY4" fmla="*/ 236220 h 281940"/>
                            <a:gd name="connsiteX5" fmla="*/ 495300 w 541020"/>
                            <a:gd name="connsiteY5" fmla="*/ 114300 h 281940"/>
                            <a:gd name="connsiteX6" fmla="*/ 541020 w 541020"/>
                            <a:gd name="connsiteY6" fmla="*/ 30480 h 281940"/>
                            <a:gd name="connsiteX7" fmla="*/ 518160 w 541020"/>
                            <a:gd name="connsiteY7" fmla="*/ 0 h 281940"/>
                            <a:gd name="connsiteX8" fmla="*/ 449580 w 541020"/>
                            <a:gd name="connsiteY8" fmla="*/ 0 h 281940"/>
                            <a:gd name="connsiteX9" fmla="*/ 175260 w 541020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2454"/>
                            <a:gd name="connsiteX1" fmla="*/ 17128 w 558148"/>
                            <a:gd name="connsiteY1" fmla="*/ 121920 h 282454"/>
                            <a:gd name="connsiteX2" fmla="*/ 24748 w 558148"/>
                            <a:gd name="connsiteY2" fmla="*/ 251460 h 282454"/>
                            <a:gd name="connsiteX3" fmla="*/ 177148 w 558148"/>
                            <a:gd name="connsiteY3" fmla="*/ 281940 h 282454"/>
                            <a:gd name="connsiteX4" fmla="*/ 344788 w 558148"/>
                            <a:gd name="connsiteY4" fmla="*/ 236220 h 282454"/>
                            <a:gd name="connsiteX5" fmla="*/ 512428 w 558148"/>
                            <a:gd name="connsiteY5" fmla="*/ 114300 h 282454"/>
                            <a:gd name="connsiteX6" fmla="*/ 558148 w 558148"/>
                            <a:gd name="connsiteY6" fmla="*/ 30480 h 282454"/>
                            <a:gd name="connsiteX7" fmla="*/ 535288 w 558148"/>
                            <a:gd name="connsiteY7" fmla="*/ 0 h 282454"/>
                            <a:gd name="connsiteX8" fmla="*/ 466708 w 558148"/>
                            <a:gd name="connsiteY8" fmla="*/ 0 h 282454"/>
                            <a:gd name="connsiteX9" fmla="*/ 192388 w 558148"/>
                            <a:gd name="connsiteY9" fmla="*/ 45720 h 282454"/>
                            <a:gd name="connsiteX0" fmla="*/ 192388 w 558148"/>
                            <a:gd name="connsiteY0" fmla="*/ 45720 h 282454"/>
                            <a:gd name="connsiteX1" fmla="*/ 17128 w 558148"/>
                            <a:gd name="connsiteY1" fmla="*/ 121920 h 282454"/>
                            <a:gd name="connsiteX2" fmla="*/ 24748 w 558148"/>
                            <a:gd name="connsiteY2" fmla="*/ 251460 h 282454"/>
                            <a:gd name="connsiteX3" fmla="*/ 177148 w 558148"/>
                            <a:gd name="connsiteY3" fmla="*/ 281940 h 282454"/>
                            <a:gd name="connsiteX4" fmla="*/ 344788 w 558148"/>
                            <a:gd name="connsiteY4" fmla="*/ 236220 h 282454"/>
                            <a:gd name="connsiteX5" fmla="*/ 512428 w 558148"/>
                            <a:gd name="connsiteY5" fmla="*/ 114300 h 282454"/>
                            <a:gd name="connsiteX6" fmla="*/ 558148 w 558148"/>
                            <a:gd name="connsiteY6" fmla="*/ 30480 h 282454"/>
                            <a:gd name="connsiteX7" fmla="*/ 535288 w 558148"/>
                            <a:gd name="connsiteY7" fmla="*/ 0 h 282454"/>
                            <a:gd name="connsiteX8" fmla="*/ 466708 w 558148"/>
                            <a:gd name="connsiteY8" fmla="*/ 0 h 282454"/>
                            <a:gd name="connsiteX9" fmla="*/ 192388 w 558148"/>
                            <a:gd name="connsiteY9" fmla="*/ 45720 h 282454"/>
                            <a:gd name="connsiteX0" fmla="*/ 192388 w 558148"/>
                            <a:gd name="connsiteY0" fmla="*/ 50529 h 287263"/>
                            <a:gd name="connsiteX1" fmla="*/ 17128 w 558148"/>
                            <a:gd name="connsiteY1" fmla="*/ 126729 h 287263"/>
                            <a:gd name="connsiteX2" fmla="*/ 24748 w 558148"/>
                            <a:gd name="connsiteY2" fmla="*/ 256269 h 287263"/>
                            <a:gd name="connsiteX3" fmla="*/ 177148 w 558148"/>
                            <a:gd name="connsiteY3" fmla="*/ 286749 h 287263"/>
                            <a:gd name="connsiteX4" fmla="*/ 344788 w 558148"/>
                            <a:gd name="connsiteY4" fmla="*/ 241029 h 287263"/>
                            <a:gd name="connsiteX5" fmla="*/ 512428 w 558148"/>
                            <a:gd name="connsiteY5" fmla="*/ 119109 h 287263"/>
                            <a:gd name="connsiteX6" fmla="*/ 558148 w 558148"/>
                            <a:gd name="connsiteY6" fmla="*/ 35289 h 287263"/>
                            <a:gd name="connsiteX7" fmla="*/ 535288 w 558148"/>
                            <a:gd name="connsiteY7" fmla="*/ 4809 h 287263"/>
                            <a:gd name="connsiteX8" fmla="*/ 466708 w 558148"/>
                            <a:gd name="connsiteY8" fmla="*/ 4809 h 287263"/>
                            <a:gd name="connsiteX9" fmla="*/ 192388 w 558148"/>
                            <a:gd name="connsiteY9" fmla="*/ 50529 h 287263"/>
                            <a:gd name="connsiteX0" fmla="*/ 192388 w 558148"/>
                            <a:gd name="connsiteY0" fmla="*/ 50529 h 287263"/>
                            <a:gd name="connsiteX1" fmla="*/ 17128 w 558148"/>
                            <a:gd name="connsiteY1" fmla="*/ 126729 h 287263"/>
                            <a:gd name="connsiteX2" fmla="*/ 24748 w 558148"/>
                            <a:gd name="connsiteY2" fmla="*/ 256269 h 287263"/>
                            <a:gd name="connsiteX3" fmla="*/ 177148 w 558148"/>
                            <a:gd name="connsiteY3" fmla="*/ 286749 h 287263"/>
                            <a:gd name="connsiteX4" fmla="*/ 344788 w 558148"/>
                            <a:gd name="connsiteY4" fmla="*/ 241029 h 287263"/>
                            <a:gd name="connsiteX5" fmla="*/ 512428 w 558148"/>
                            <a:gd name="connsiteY5" fmla="*/ 119109 h 287263"/>
                            <a:gd name="connsiteX6" fmla="*/ 558148 w 558148"/>
                            <a:gd name="connsiteY6" fmla="*/ 35289 h 287263"/>
                            <a:gd name="connsiteX7" fmla="*/ 535288 w 558148"/>
                            <a:gd name="connsiteY7" fmla="*/ 4809 h 287263"/>
                            <a:gd name="connsiteX8" fmla="*/ 466708 w 558148"/>
                            <a:gd name="connsiteY8" fmla="*/ 4809 h 287263"/>
                            <a:gd name="connsiteX9" fmla="*/ 192388 w 558148"/>
                            <a:gd name="connsiteY9" fmla="*/ 50529 h 287263"/>
                            <a:gd name="connsiteX0" fmla="*/ 192388 w 564165"/>
                            <a:gd name="connsiteY0" fmla="*/ 50529 h 287263"/>
                            <a:gd name="connsiteX1" fmla="*/ 17128 w 564165"/>
                            <a:gd name="connsiteY1" fmla="*/ 126729 h 287263"/>
                            <a:gd name="connsiteX2" fmla="*/ 24748 w 564165"/>
                            <a:gd name="connsiteY2" fmla="*/ 256269 h 287263"/>
                            <a:gd name="connsiteX3" fmla="*/ 177148 w 564165"/>
                            <a:gd name="connsiteY3" fmla="*/ 286749 h 287263"/>
                            <a:gd name="connsiteX4" fmla="*/ 344788 w 564165"/>
                            <a:gd name="connsiteY4" fmla="*/ 241029 h 287263"/>
                            <a:gd name="connsiteX5" fmla="*/ 545402 w 564165"/>
                            <a:gd name="connsiteY5" fmla="*/ 181894 h 287263"/>
                            <a:gd name="connsiteX6" fmla="*/ 558148 w 564165"/>
                            <a:gd name="connsiteY6" fmla="*/ 35289 h 287263"/>
                            <a:gd name="connsiteX7" fmla="*/ 535288 w 564165"/>
                            <a:gd name="connsiteY7" fmla="*/ 4809 h 287263"/>
                            <a:gd name="connsiteX8" fmla="*/ 466708 w 564165"/>
                            <a:gd name="connsiteY8" fmla="*/ 4809 h 287263"/>
                            <a:gd name="connsiteX9" fmla="*/ 192388 w 564165"/>
                            <a:gd name="connsiteY9" fmla="*/ 50529 h 287263"/>
                            <a:gd name="connsiteX0" fmla="*/ 192388 w 564165"/>
                            <a:gd name="connsiteY0" fmla="*/ 50529 h 310225"/>
                            <a:gd name="connsiteX1" fmla="*/ 17128 w 564165"/>
                            <a:gd name="connsiteY1" fmla="*/ 126729 h 310225"/>
                            <a:gd name="connsiteX2" fmla="*/ 24748 w 564165"/>
                            <a:gd name="connsiteY2" fmla="*/ 256269 h 310225"/>
                            <a:gd name="connsiteX3" fmla="*/ 177148 w 564165"/>
                            <a:gd name="connsiteY3" fmla="*/ 286749 h 310225"/>
                            <a:gd name="connsiteX4" fmla="*/ 338214 w 564165"/>
                            <a:gd name="connsiteY4" fmla="*/ 301010 h 310225"/>
                            <a:gd name="connsiteX5" fmla="*/ 545402 w 564165"/>
                            <a:gd name="connsiteY5" fmla="*/ 181894 h 310225"/>
                            <a:gd name="connsiteX6" fmla="*/ 558148 w 564165"/>
                            <a:gd name="connsiteY6" fmla="*/ 35289 h 310225"/>
                            <a:gd name="connsiteX7" fmla="*/ 535288 w 564165"/>
                            <a:gd name="connsiteY7" fmla="*/ 4809 h 310225"/>
                            <a:gd name="connsiteX8" fmla="*/ 466708 w 564165"/>
                            <a:gd name="connsiteY8" fmla="*/ 4809 h 310225"/>
                            <a:gd name="connsiteX9" fmla="*/ 192388 w 564165"/>
                            <a:gd name="connsiteY9" fmla="*/ 50529 h 310225"/>
                            <a:gd name="connsiteX0" fmla="*/ 192388 w 564165"/>
                            <a:gd name="connsiteY0" fmla="*/ 50529 h 353427"/>
                            <a:gd name="connsiteX1" fmla="*/ 17128 w 564165"/>
                            <a:gd name="connsiteY1" fmla="*/ 126729 h 353427"/>
                            <a:gd name="connsiteX2" fmla="*/ 24748 w 564165"/>
                            <a:gd name="connsiteY2" fmla="*/ 256269 h 353427"/>
                            <a:gd name="connsiteX3" fmla="*/ 193096 w 564165"/>
                            <a:gd name="connsiteY3" fmla="*/ 353363 h 353427"/>
                            <a:gd name="connsiteX4" fmla="*/ 338214 w 564165"/>
                            <a:gd name="connsiteY4" fmla="*/ 301010 h 353427"/>
                            <a:gd name="connsiteX5" fmla="*/ 545402 w 564165"/>
                            <a:gd name="connsiteY5" fmla="*/ 181894 h 353427"/>
                            <a:gd name="connsiteX6" fmla="*/ 558148 w 564165"/>
                            <a:gd name="connsiteY6" fmla="*/ 35289 h 353427"/>
                            <a:gd name="connsiteX7" fmla="*/ 535288 w 564165"/>
                            <a:gd name="connsiteY7" fmla="*/ 4809 h 353427"/>
                            <a:gd name="connsiteX8" fmla="*/ 466708 w 564165"/>
                            <a:gd name="connsiteY8" fmla="*/ 4809 h 353427"/>
                            <a:gd name="connsiteX9" fmla="*/ 192388 w 564165"/>
                            <a:gd name="connsiteY9" fmla="*/ 50529 h 353427"/>
                            <a:gd name="connsiteX0" fmla="*/ 183456 w 555233"/>
                            <a:gd name="connsiteY0" fmla="*/ 50529 h 359674"/>
                            <a:gd name="connsiteX1" fmla="*/ 8196 w 555233"/>
                            <a:gd name="connsiteY1" fmla="*/ 126729 h 359674"/>
                            <a:gd name="connsiteX2" fmla="*/ 57235 w 555233"/>
                            <a:gd name="connsiteY2" fmla="*/ 343912 h 359674"/>
                            <a:gd name="connsiteX3" fmla="*/ 184164 w 555233"/>
                            <a:gd name="connsiteY3" fmla="*/ 353363 h 359674"/>
                            <a:gd name="connsiteX4" fmla="*/ 329282 w 555233"/>
                            <a:gd name="connsiteY4" fmla="*/ 301010 h 359674"/>
                            <a:gd name="connsiteX5" fmla="*/ 536470 w 555233"/>
                            <a:gd name="connsiteY5" fmla="*/ 181894 h 359674"/>
                            <a:gd name="connsiteX6" fmla="*/ 549216 w 555233"/>
                            <a:gd name="connsiteY6" fmla="*/ 35289 h 359674"/>
                            <a:gd name="connsiteX7" fmla="*/ 526356 w 555233"/>
                            <a:gd name="connsiteY7" fmla="*/ 4809 h 359674"/>
                            <a:gd name="connsiteX8" fmla="*/ 457776 w 555233"/>
                            <a:gd name="connsiteY8" fmla="*/ 4809 h 359674"/>
                            <a:gd name="connsiteX9" fmla="*/ 183456 w 555233"/>
                            <a:gd name="connsiteY9" fmla="*/ 50529 h 359674"/>
                            <a:gd name="connsiteX0" fmla="*/ 141822 w 513599"/>
                            <a:gd name="connsiteY0" fmla="*/ 50529 h 359674"/>
                            <a:gd name="connsiteX1" fmla="*/ 26880 w 513599"/>
                            <a:gd name="connsiteY1" fmla="*/ 162601 h 359674"/>
                            <a:gd name="connsiteX2" fmla="*/ 15601 w 513599"/>
                            <a:gd name="connsiteY2" fmla="*/ 343912 h 359674"/>
                            <a:gd name="connsiteX3" fmla="*/ 142530 w 513599"/>
                            <a:gd name="connsiteY3" fmla="*/ 353363 h 359674"/>
                            <a:gd name="connsiteX4" fmla="*/ 287648 w 513599"/>
                            <a:gd name="connsiteY4" fmla="*/ 301010 h 359674"/>
                            <a:gd name="connsiteX5" fmla="*/ 494836 w 513599"/>
                            <a:gd name="connsiteY5" fmla="*/ 181894 h 359674"/>
                            <a:gd name="connsiteX6" fmla="*/ 507582 w 513599"/>
                            <a:gd name="connsiteY6" fmla="*/ 35289 h 359674"/>
                            <a:gd name="connsiteX7" fmla="*/ 484722 w 513599"/>
                            <a:gd name="connsiteY7" fmla="*/ 4809 h 359674"/>
                            <a:gd name="connsiteX8" fmla="*/ 416142 w 513599"/>
                            <a:gd name="connsiteY8" fmla="*/ 4809 h 359674"/>
                            <a:gd name="connsiteX9" fmla="*/ 141822 w 513599"/>
                            <a:gd name="connsiteY9" fmla="*/ 50529 h 359674"/>
                            <a:gd name="connsiteX0" fmla="*/ 141822 w 530249"/>
                            <a:gd name="connsiteY0" fmla="*/ 50529 h 359674"/>
                            <a:gd name="connsiteX1" fmla="*/ 26880 w 530249"/>
                            <a:gd name="connsiteY1" fmla="*/ 162601 h 359674"/>
                            <a:gd name="connsiteX2" fmla="*/ 15601 w 530249"/>
                            <a:gd name="connsiteY2" fmla="*/ 343912 h 359674"/>
                            <a:gd name="connsiteX3" fmla="*/ 142530 w 530249"/>
                            <a:gd name="connsiteY3" fmla="*/ 353363 h 359674"/>
                            <a:gd name="connsiteX4" fmla="*/ 287648 w 530249"/>
                            <a:gd name="connsiteY4" fmla="*/ 301010 h 359674"/>
                            <a:gd name="connsiteX5" fmla="*/ 517239 w 530249"/>
                            <a:gd name="connsiteY5" fmla="*/ 238247 h 359674"/>
                            <a:gd name="connsiteX6" fmla="*/ 507582 w 530249"/>
                            <a:gd name="connsiteY6" fmla="*/ 35289 h 359674"/>
                            <a:gd name="connsiteX7" fmla="*/ 484722 w 530249"/>
                            <a:gd name="connsiteY7" fmla="*/ 4809 h 359674"/>
                            <a:gd name="connsiteX8" fmla="*/ 416142 w 530249"/>
                            <a:gd name="connsiteY8" fmla="*/ 4809 h 359674"/>
                            <a:gd name="connsiteX9" fmla="*/ 141822 w 530249"/>
                            <a:gd name="connsiteY9" fmla="*/ 50529 h 35967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47613 h 369288"/>
                            <a:gd name="connsiteX1" fmla="*/ 26880 w 530248"/>
                            <a:gd name="connsiteY1" fmla="*/ 159685 h 369288"/>
                            <a:gd name="connsiteX2" fmla="*/ 15601 w 530248"/>
                            <a:gd name="connsiteY2" fmla="*/ 340996 h 369288"/>
                            <a:gd name="connsiteX3" fmla="*/ 142530 w 530248"/>
                            <a:gd name="connsiteY3" fmla="*/ 350447 h 369288"/>
                            <a:gd name="connsiteX4" fmla="*/ 292200 w 530248"/>
                            <a:gd name="connsiteY4" fmla="*/ 359200 h 369288"/>
                            <a:gd name="connsiteX5" fmla="*/ 517239 w 530248"/>
                            <a:gd name="connsiteY5" fmla="*/ 235331 h 369288"/>
                            <a:gd name="connsiteX6" fmla="*/ 507582 w 530248"/>
                            <a:gd name="connsiteY6" fmla="*/ 32373 h 369288"/>
                            <a:gd name="connsiteX7" fmla="*/ 416142 w 530248"/>
                            <a:gd name="connsiteY7" fmla="*/ 1893 h 369288"/>
                            <a:gd name="connsiteX8" fmla="*/ 141822 w 530248"/>
                            <a:gd name="connsiteY8" fmla="*/ 47613 h 369288"/>
                            <a:gd name="connsiteX0" fmla="*/ 138197 w 526623"/>
                            <a:gd name="connsiteY0" fmla="*/ 47613 h 376324"/>
                            <a:gd name="connsiteX1" fmla="*/ 23255 w 526623"/>
                            <a:gd name="connsiteY1" fmla="*/ 159685 h 376324"/>
                            <a:gd name="connsiteX2" fmla="*/ 11976 w 526623"/>
                            <a:gd name="connsiteY2" fmla="*/ 340996 h 376324"/>
                            <a:gd name="connsiteX3" fmla="*/ 132119 w 526623"/>
                            <a:gd name="connsiteY3" fmla="*/ 374396 h 376324"/>
                            <a:gd name="connsiteX4" fmla="*/ 288575 w 526623"/>
                            <a:gd name="connsiteY4" fmla="*/ 359200 h 376324"/>
                            <a:gd name="connsiteX5" fmla="*/ 513614 w 526623"/>
                            <a:gd name="connsiteY5" fmla="*/ 235331 h 376324"/>
                            <a:gd name="connsiteX6" fmla="*/ 503957 w 526623"/>
                            <a:gd name="connsiteY6" fmla="*/ 32373 h 376324"/>
                            <a:gd name="connsiteX7" fmla="*/ 412517 w 526623"/>
                            <a:gd name="connsiteY7" fmla="*/ 1893 h 376324"/>
                            <a:gd name="connsiteX8" fmla="*/ 138197 w 526623"/>
                            <a:gd name="connsiteY8" fmla="*/ 47613 h 376324"/>
                            <a:gd name="connsiteX0" fmla="*/ 427441 w 541547"/>
                            <a:gd name="connsiteY0" fmla="*/ 10181 h 384611"/>
                            <a:gd name="connsiteX1" fmla="*/ 38179 w 541547"/>
                            <a:gd name="connsiteY1" fmla="*/ 167973 h 384611"/>
                            <a:gd name="connsiteX2" fmla="*/ 26900 w 541547"/>
                            <a:gd name="connsiteY2" fmla="*/ 349284 h 384611"/>
                            <a:gd name="connsiteX3" fmla="*/ 147043 w 541547"/>
                            <a:gd name="connsiteY3" fmla="*/ 382684 h 384611"/>
                            <a:gd name="connsiteX4" fmla="*/ 303499 w 541547"/>
                            <a:gd name="connsiteY4" fmla="*/ 367488 h 384611"/>
                            <a:gd name="connsiteX5" fmla="*/ 528538 w 541547"/>
                            <a:gd name="connsiteY5" fmla="*/ 243619 h 384611"/>
                            <a:gd name="connsiteX6" fmla="*/ 518881 w 541547"/>
                            <a:gd name="connsiteY6" fmla="*/ 40661 h 384611"/>
                            <a:gd name="connsiteX7" fmla="*/ 427441 w 541547"/>
                            <a:gd name="connsiteY7" fmla="*/ 10181 h 384611"/>
                            <a:gd name="connsiteX0" fmla="*/ 400497 w 514603"/>
                            <a:gd name="connsiteY0" fmla="*/ 10183 h 384613"/>
                            <a:gd name="connsiteX1" fmla="*/ 11235 w 514603"/>
                            <a:gd name="connsiteY1" fmla="*/ 167975 h 384613"/>
                            <a:gd name="connsiteX2" fmla="*/ 120099 w 514603"/>
                            <a:gd name="connsiteY2" fmla="*/ 382686 h 384613"/>
                            <a:gd name="connsiteX3" fmla="*/ 276555 w 514603"/>
                            <a:gd name="connsiteY3" fmla="*/ 367490 h 384613"/>
                            <a:gd name="connsiteX4" fmla="*/ 501594 w 514603"/>
                            <a:gd name="connsiteY4" fmla="*/ 243621 h 384613"/>
                            <a:gd name="connsiteX5" fmla="*/ 491937 w 514603"/>
                            <a:gd name="connsiteY5" fmla="*/ 40663 h 384613"/>
                            <a:gd name="connsiteX6" fmla="*/ 400497 w 514603"/>
                            <a:gd name="connsiteY6" fmla="*/ 10183 h 384613"/>
                            <a:gd name="connsiteX0" fmla="*/ 400497 w 514603"/>
                            <a:gd name="connsiteY0" fmla="*/ 10183 h 383828"/>
                            <a:gd name="connsiteX1" fmla="*/ 11235 w 514603"/>
                            <a:gd name="connsiteY1" fmla="*/ 167975 h 383828"/>
                            <a:gd name="connsiteX2" fmla="*/ 120099 w 514603"/>
                            <a:gd name="connsiteY2" fmla="*/ 382686 h 383828"/>
                            <a:gd name="connsiteX3" fmla="*/ 501594 w 514603"/>
                            <a:gd name="connsiteY3" fmla="*/ 243621 h 383828"/>
                            <a:gd name="connsiteX4" fmla="*/ 491937 w 514603"/>
                            <a:gd name="connsiteY4" fmla="*/ 40663 h 383828"/>
                            <a:gd name="connsiteX5" fmla="*/ 400497 w 514603"/>
                            <a:gd name="connsiteY5" fmla="*/ 10183 h 383828"/>
                            <a:gd name="connsiteX0" fmla="*/ 400497 w 517116"/>
                            <a:gd name="connsiteY0" fmla="*/ 1010 h 374655"/>
                            <a:gd name="connsiteX1" fmla="*/ 11235 w 517116"/>
                            <a:gd name="connsiteY1" fmla="*/ 158802 h 374655"/>
                            <a:gd name="connsiteX2" fmla="*/ 120099 w 517116"/>
                            <a:gd name="connsiteY2" fmla="*/ 373513 h 374655"/>
                            <a:gd name="connsiteX3" fmla="*/ 501594 w 517116"/>
                            <a:gd name="connsiteY3" fmla="*/ 234448 h 374655"/>
                            <a:gd name="connsiteX4" fmla="*/ 400497 w 517116"/>
                            <a:gd name="connsiteY4" fmla="*/ 1010 h 374655"/>
                            <a:gd name="connsiteX0" fmla="*/ 399682 w 516301"/>
                            <a:gd name="connsiteY0" fmla="*/ 1010 h 421254"/>
                            <a:gd name="connsiteX1" fmla="*/ 10420 w 516301"/>
                            <a:gd name="connsiteY1" fmla="*/ 158802 h 421254"/>
                            <a:gd name="connsiteX2" fmla="*/ 119284 w 516301"/>
                            <a:gd name="connsiteY2" fmla="*/ 373513 h 421254"/>
                            <a:gd name="connsiteX3" fmla="*/ 223300 w 516301"/>
                            <a:gd name="connsiteY3" fmla="*/ 412622 h 421254"/>
                            <a:gd name="connsiteX4" fmla="*/ 500779 w 516301"/>
                            <a:gd name="connsiteY4" fmla="*/ 234448 h 421254"/>
                            <a:gd name="connsiteX5" fmla="*/ 399682 w 516301"/>
                            <a:gd name="connsiteY5" fmla="*/ 1010 h 421254"/>
                            <a:gd name="connsiteX0" fmla="*/ 400635 w 517254"/>
                            <a:gd name="connsiteY0" fmla="*/ 1205 h 500568"/>
                            <a:gd name="connsiteX1" fmla="*/ 11373 w 517254"/>
                            <a:gd name="connsiteY1" fmla="*/ 158997 h 500568"/>
                            <a:gd name="connsiteX2" fmla="*/ 112660 w 517254"/>
                            <a:gd name="connsiteY2" fmla="*/ 492609 h 500568"/>
                            <a:gd name="connsiteX3" fmla="*/ 224253 w 517254"/>
                            <a:gd name="connsiteY3" fmla="*/ 412817 h 500568"/>
                            <a:gd name="connsiteX4" fmla="*/ 501732 w 517254"/>
                            <a:gd name="connsiteY4" fmla="*/ 234643 h 500568"/>
                            <a:gd name="connsiteX5" fmla="*/ 400635 w 517254"/>
                            <a:gd name="connsiteY5" fmla="*/ 1205 h 500568"/>
                            <a:gd name="connsiteX0" fmla="*/ 400635 w 517254"/>
                            <a:gd name="connsiteY0" fmla="*/ 1205 h 500507"/>
                            <a:gd name="connsiteX1" fmla="*/ 11373 w 517254"/>
                            <a:gd name="connsiteY1" fmla="*/ 158997 h 500507"/>
                            <a:gd name="connsiteX2" fmla="*/ 112660 w 517254"/>
                            <a:gd name="connsiteY2" fmla="*/ 492609 h 500507"/>
                            <a:gd name="connsiteX3" fmla="*/ 224253 w 517254"/>
                            <a:gd name="connsiteY3" fmla="*/ 412817 h 500507"/>
                            <a:gd name="connsiteX4" fmla="*/ 317232 w 517254"/>
                            <a:gd name="connsiteY4" fmla="*/ 297923 h 500507"/>
                            <a:gd name="connsiteX5" fmla="*/ 501732 w 517254"/>
                            <a:gd name="connsiteY5" fmla="*/ 234643 h 500507"/>
                            <a:gd name="connsiteX6" fmla="*/ 400635 w 517254"/>
                            <a:gd name="connsiteY6" fmla="*/ 1205 h 500507"/>
                            <a:gd name="connsiteX0" fmla="*/ 400635 w 504610"/>
                            <a:gd name="connsiteY0" fmla="*/ 170 h 499472"/>
                            <a:gd name="connsiteX1" fmla="*/ 11373 w 504610"/>
                            <a:gd name="connsiteY1" fmla="*/ 157962 h 499472"/>
                            <a:gd name="connsiteX2" fmla="*/ 112660 w 504610"/>
                            <a:gd name="connsiteY2" fmla="*/ 491574 h 499472"/>
                            <a:gd name="connsiteX3" fmla="*/ 224253 w 504610"/>
                            <a:gd name="connsiteY3" fmla="*/ 411782 h 499472"/>
                            <a:gd name="connsiteX4" fmla="*/ 317232 w 504610"/>
                            <a:gd name="connsiteY4" fmla="*/ 296888 h 499472"/>
                            <a:gd name="connsiteX5" fmla="*/ 501732 w 504610"/>
                            <a:gd name="connsiteY5" fmla="*/ 233608 h 499472"/>
                            <a:gd name="connsiteX6" fmla="*/ 306603 w 504610"/>
                            <a:gd name="connsiteY6" fmla="*/ 184221 h 499472"/>
                            <a:gd name="connsiteX7" fmla="*/ 400635 w 504610"/>
                            <a:gd name="connsiteY7" fmla="*/ 170 h 499472"/>
                            <a:gd name="connsiteX0" fmla="*/ 400635 w 504679"/>
                            <a:gd name="connsiteY0" fmla="*/ 170 h 499472"/>
                            <a:gd name="connsiteX1" fmla="*/ 11373 w 504679"/>
                            <a:gd name="connsiteY1" fmla="*/ 157962 h 499472"/>
                            <a:gd name="connsiteX2" fmla="*/ 112660 w 504679"/>
                            <a:gd name="connsiteY2" fmla="*/ 491574 h 499472"/>
                            <a:gd name="connsiteX3" fmla="*/ 224253 w 504679"/>
                            <a:gd name="connsiteY3" fmla="*/ 411782 h 499472"/>
                            <a:gd name="connsiteX4" fmla="*/ 317232 w 504679"/>
                            <a:gd name="connsiteY4" fmla="*/ 296888 h 499472"/>
                            <a:gd name="connsiteX5" fmla="*/ 311162 w 504679"/>
                            <a:gd name="connsiteY5" fmla="*/ 298968 h 499472"/>
                            <a:gd name="connsiteX6" fmla="*/ 501732 w 504679"/>
                            <a:gd name="connsiteY6" fmla="*/ 233608 h 499472"/>
                            <a:gd name="connsiteX7" fmla="*/ 306603 w 504679"/>
                            <a:gd name="connsiteY7" fmla="*/ 184221 h 499472"/>
                            <a:gd name="connsiteX8" fmla="*/ 400635 w 504679"/>
                            <a:gd name="connsiteY8" fmla="*/ 170 h 499472"/>
                            <a:gd name="connsiteX0" fmla="*/ 400635 w 411811"/>
                            <a:gd name="connsiteY0" fmla="*/ 170 h 499472"/>
                            <a:gd name="connsiteX1" fmla="*/ 11373 w 411811"/>
                            <a:gd name="connsiteY1" fmla="*/ 157962 h 499472"/>
                            <a:gd name="connsiteX2" fmla="*/ 112660 w 411811"/>
                            <a:gd name="connsiteY2" fmla="*/ 491574 h 499472"/>
                            <a:gd name="connsiteX3" fmla="*/ 224253 w 411811"/>
                            <a:gd name="connsiteY3" fmla="*/ 411782 h 499472"/>
                            <a:gd name="connsiteX4" fmla="*/ 317232 w 411811"/>
                            <a:gd name="connsiteY4" fmla="*/ 296888 h 499472"/>
                            <a:gd name="connsiteX5" fmla="*/ 311162 w 411811"/>
                            <a:gd name="connsiteY5" fmla="*/ 298968 h 499472"/>
                            <a:gd name="connsiteX6" fmla="*/ 306603 w 411811"/>
                            <a:gd name="connsiteY6" fmla="*/ 184221 h 499472"/>
                            <a:gd name="connsiteX7" fmla="*/ 400635 w 411811"/>
                            <a:gd name="connsiteY7" fmla="*/ 170 h 499472"/>
                            <a:gd name="connsiteX0" fmla="*/ 344675 w 361138"/>
                            <a:gd name="connsiteY0" fmla="*/ 231 h 473092"/>
                            <a:gd name="connsiteX1" fmla="*/ 8407 w 361138"/>
                            <a:gd name="connsiteY1" fmla="*/ 131582 h 473092"/>
                            <a:gd name="connsiteX2" fmla="*/ 109694 w 361138"/>
                            <a:gd name="connsiteY2" fmla="*/ 465194 h 473092"/>
                            <a:gd name="connsiteX3" fmla="*/ 221287 w 361138"/>
                            <a:gd name="connsiteY3" fmla="*/ 385402 h 473092"/>
                            <a:gd name="connsiteX4" fmla="*/ 314266 w 361138"/>
                            <a:gd name="connsiteY4" fmla="*/ 270508 h 473092"/>
                            <a:gd name="connsiteX5" fmla="*/ 308196 w 361138"/>
                            <a:gd name="connsiteY5" fmla="*/ 272588 h 473092"/>
                            <a:gd name="connsiteX6" fmla="*/ 303637 w 361138"/>
                            <a:gd name="connsiteY6" fmla="*/ 157841 h 473092"/>
                            <a:gd name="connsiteX7" fmla="*/ 344675 w 361138"/>
                            <a:gd name="connsiteY7" fmla="*/ 231 h 473092"/>
                            <a:gd name="connsiteX0" fmla="*/ 338258 w 341911"/>
                            <a:gd name="connsiteY0" fmla="*/ 2 h 472863"/>
                            <a:gd name="connsiteX1" fmla="*/ 199680 w 341911"/>
                            <a:gd name="connsiteY1" fmla="*/ 157767 h 472863"/>
                            <a:gd name="connsiteX2" fmla="*/ 1990 w 341911"/>
                            <a:gd name="connsiteY2" fmla="*/ 131353 h 472863"/>
                            <a:gd name="connsiteX3" fmla="*/ 103277 w 341911"/>
                            <a:gd name="connsiteY3" fmla="*/ 464965 h 472863"/>
                            <a:gd name="connsiteX4" fmla="*/ 214870 w 341911"/>
                            <a:gd name="connsiteY4" fmla="*/ 385173 h 472863"/>
                            <a:gd name="connsiteX5" fmla="*/ 307849 w 341911"/>
                            <a:gd name="connsiteY5" fmla="*/ 270279 h 472863"/>
                            <a:gd name="connsiteX6" fmla="*/ 301779 w 341911"/>
                            <a:gd name="connsiteY6" fmla="*/ 272359 h 472863"/>
                            <a:gd name="connsiteX7" fmla="*/ 297220 w 341911"/>
                            <a:gd name="connsiteY7" fmla="*/ 157612 h 472863"/>
                            <a:gd name="connsiteX8" fmla="*/ 338258 w 341911"/>
                            <a:gd name="connsiteY8" fmla="*/ 2 h 472863"/>
                            <a:gd name="connsiteX0" fmla="*/ 338258 w 341911"/>
                            <a:gd name="connsiteY0" fmla="*/ 2 h 472863"/>
                            <a:gd name="connsiteX1" fmla="*/ 199680 w 341911"/>
                            <a:gd name="connsiteY1" fmla="*/ 157767 h 472863"/>
                            <a:gd name="connsiteX2" fmla="*/ 1990 w 341911"/>
                            <a:gd name="connsiteY2" fmla="*/ 131353 h 472863"/>
                            <a:gd name="connsiteX3" fmla="*/ 103277 w 341911"/>
                            <a:gd name="connsiteY3" fmla="*/ 464965 h 472863"/>
                            <a:gd name="connsiteX4" fmla="*/ 214870 w 341911"/>
                            <a:gd name="connsiteY4" fmla="*/ 385173 h 472863"/>
                            <a:gd name="connsiteX5" fmla="*/ 307849 w 341911"/>
                            <a:gd name="connsiteY5" fmla="*/ 270279 h 472863"/>
                            <a:gd name="connsiteX6" fmla="*/ 301779 w 341911"/>
                            <a:gd name="connsiteY6" fmla="*/ 272359 h 472863"/>
                            <a:gd name="connsiteX7" fmla="*/ 297220 w 341911"/>
                            <a:gd name="connsiteY7" fmla="*/ 157612 h 472863"/>
                            <a:gd name="connsiteX8" fmla="*/ 338258 w 341911"/>
                            <a:gd name="connsiteY8" fmla="*/ 2 h 472863"/>
                            <a:gd name="connsiteX0" fmla="*/ 309825 w 313478"/>
                            <a:gd name="connsiteY0" fmla="*/ 2 h 472863"/>
                            <a:gd name="connsiteX1" fmla="*/ 171247 w 313478"/>
                            <a:gd name="connsiteY1" fmla="*/ 157767 h 472863"/>
                            <a:gd name="connsiteX2" fmla="*/ 2828 w 313478"/>
                            <a:gd name="connsiteY2" fmla="*/ 270869 h 472863"/>
                            <a:gd name="connsiteX3" fmla="*/ 74844 w 313478"/>
                            <a:gd name="connsiteY3" fmla="*/ 464965 h 472863"/>
                            <a:gd name="connsiteX4" fmla="*/ 186437 w 313478"/>
                            <a:gd name="connsiteY4" fmla="*/ 385173 h 472863"/>
                            <a:gd name="connsiteX5" fmla="*/ 279416 w 313478"/>
                            <a:gd name="connsiteY5" fmla="*/ 270279 h 472863"/>
                            <a:gd name="connsiteX6" fmla="*/ 273346 w 313478"/>
                            <a:gd name="connsiteY6" fmla="*/ 272359 h 472863"/>
                            <a:gd name="connsiteX7" fmla="*/ 268787 w 313478"/>
                            <a:gd name="connsiteY7" fmla="*/ 157612 h 472863"/>
                            <a:gd name="connsiteX8" fmla="*/ 309825 w 313478"/>
                            <a:gd name="connsiteY8" fmla="*/ 2 h 472863"/>
                            <a:gd name="connsiteX0" fmla="*/ 268787 w 297124"/>
                            <a:gd name="connsiteY0" fmla="*/ 14163 h 329414"/>
                            <a:gd name="connsiteX1" fmla="*/ 171247 w 297124"/>
                            <a:gd name="connsiteY1" fmla="*/ 14318 h 329414"/>
                            <a:gd name="connsiteX2" fmla="*/ 2828 w 297124"/>
                            <a:gd name="connsiteY2" fmla="*/ 127420 h 329414"/>
                            <a:gd name="connsiteX3" fmla="*/ 74844 w 297124"/>
                            <a:gd name="connsiteY3" fmla="*/ 321516 h 329414"/>
                            <a:gd name="connsiteX4" fmla="*/ 186437 w 297124"/>
                            <a:gd name="connsiteY4" fmla="*/ 241724 h 329414"/>
                            <a:gd name="connsiteX5" fmla="*/ 279416 w 297124"/>
                            <a:gd name="connsiteY5" fmla="*/ 126830 h 329414"/>
                            <a:gd name="connsiteX6" fmla="*/ 273346 w 297124"/>
                            <a:gd name="connsiteY6" fmla="*/ 128910 h 329414"/>
                            <a:gd name="connsiteX7" fmla="*/ 268787 w 297124"/>
                            <a:gd name="connsiteY7" fmla="*/ 14163 h 329414"/>
                            <a:gd name="connsiteX0" fmla="*/ 194771 w 297124"/>
                            <a:gd name="connsiteY0" fmla="*/ 54292 h 319287"/>
                            <a:gd name="connsiteX1" fmla="*/ 171247 w 297124"/>
                            <a:gd name="connsiteY1" fmla="*/ 4191 h 319287"/>
                            <a:gd name="connsiteX2" fmla="*/ 2828 w 297124"/>
                            <a:gd name="connsiteY2" fmla="*/ 117293 h 319287"/>
                            <a:gd name="connsiteX3" fmla="*/ 74844 w 297124"/>
                            <a:gd name="connsiteY3" fmla="*/ 311389 h 319287"/>
                            <a:gd name="connsiteX4" fmla="*/ 186437 w 297124"/>
                            <a:gd name="connsiteY4" fmla="*/ 231597 h 319287"/>
                            <a:gd name="connsiteX5" fmla="*/ 279416 w 297124"/>
                            <a:gd name="connsiteY5" fmla="*/ 116703 h 319287"/>
                            <a:gd name="connsiteX6" fmla="*/ 273346 w 297124"/>
                            <a:gd name="connsiteY6" fmla="*/ 118783 h 319287"/>
                            <a:gd name="connsiteX7" fmla="*/ 194771 w 297124"/>
                            <a:gd name="connsiteY7" fmla="*/ 54292 h 319287"/>
                            <a:gd name="connsiteX0" fmla="*/ 176997 w 297124"/>
                            <a:gd name="connsiteY0" fmla="*/ 92018 h 317703"/>
                            <a:gd name="connsiteX1" fmla="*/ 171247 w 297124"/>
                            <a:gd name="connsiteY1" fmla="*/ 2607 h 317703"/>
                            <a:gd name="connsiteX2" fmla="*/ 2828 w 297124"/>
                            <a:gd name="connsiteY2" fmla="*/ 115709 h 317703"/>
                            <a:gd name="connsiteX3" fmla="*/ 74844 w 297124"/>
                            <a:gd name="connsiteY3" fmla="*/ 309805 h 317703"/>
                            <a:gd name="connsiteX4" fmla="*/ 186437 w 297124"/>
                            <a:gd name="connsiteY4" fmla="*/ 230013 h 317703"/>
                            <a:gd name="connsiteX5" fmla="*/ 279416 w 297124"/>
                            <a:gd name="connsiteY5" fmla="*/ 115119 h 317703"/>
                            <a:gd name="connsiteX6" fmla="*/ 273346 w 297124"/>
                            <a:gd name="connsiteY6" fmla="*/ 117199 h 317703"/>
                            <a:gd name="connsiteX7" fmla="*/ 176997 w 297124"/>
                            <a:gd name="connsiteY7" fmla="*/ 92018 h 317703"/>
                            <a:gd name="connsiteX0" fmla="*/ 226739 w 297124"/>
                            <a:gd name="connsiteY0" fmla="*/ 51834 h 319465"/>
                            <a:gd name="connsiteX1" fmla="*/ 171247 w 297124"/>
                            <a:gd name="connsiteY1" fmla="*/ 4369 h 319465"/>
                            <a:gd name="connsiteX2" fmla="*/ 2828 w 297124"/>
                            <a:gd name="connsiteY2" fmla="*/ 117471 h 319465"/>
                            <a:gd name="connsiteX3" fmla="*/ 74844 w 297124"/>
                            <a:gd name="connsiteY3" fmla="*/ 311567 h 319465"/>
                            <a:gd name="connsiteX4" fmla="*/ 186437 w 297124"/>
                            <a:gd name="connsiteY4" fmla="*/ 231775 h 319465"/>
                            <a:gd name="connsiteX5" fmla="*/ 279416 w 297124"/>
                            <a:gd name="connsiteY5" fmla="*/ 116881 h 319465"/>
                            <a:gd name="connsiteX6" fmla="*/ 273346 w 297124"/>
                            <a:gd name="connsiteY6" fmla="*/ 118961 h 319465"/>
                            <a:gd name="connsiteX7" fmla="*/ 226739 w 297124"/>
                            <a:gd name="connsiteY7" fmla="*/ 51834 h 319465"/>
                            <a:gd name="connsiteX0" fmla="*/ 226739 w 289446"/>
                            <a:gd name="connsiteY0" fmla="*/ 51834 h 319465"/>
                            <a:gd name="connsiteX1" fmla="*/ 171247 w 289446"/>
                            <a:gd name="connsiteY1" fmla="*/ 4369 h 319465"/>
                            <a:gd name="connsiteX2" fmla="*/ 2828 w 289446"/>
                            <a:gd name="connsiteY2" fmla="*/ 117471 h 319465"/>
                            <a:gd name="connsiteX3" fmla="*/ 74844 w 289446"/>
                            <a:gd name="connsiteY3" fmla="*/ 311567 h 319465"/>
                            <a:gd name="connsiteX4" fmla="*/ 186437 w 289446"/>
                            <a:gd name="connsiteY4" fmla="*/ 231775 h 319465"/>
                            <a:gd name="connsiteX5" fmla="*/ 279416 w 289446"/>
                            <a:gd name="connsiteY5" fmla="*/ 116881 h 319465"/>
                            <a:gd name="connsiteX6" fmla="*/ 214719 w 289446"/>
                            <a:gd name="connsiteY6" fmla="*/ 180566 h 319465"/>
                            <a:gd name="connsiteX7" fmla="*/ 226739 w 289446"/>
                            <a:gd name="connsiteY7" fmla="*/ 51834 h 319465"/>
                            <a:gd name="connsiteX0" fmla="*/ 202461 w 289446"/>
                            <a:gd name="connsiteY0" fmla="*/ 59631 h 318953"/>
                            <a:gd name="connsiteX1" fmla="*/ 171247 w 289446"/>
                            <a:gd name="connsiteY1" fmla="*/ 3857 h 318953"/>
                            <a:gd name="connsiteX2" fmla="*/ 2828 w 289446"/>
                            <a:gd name="connsiteY2" fmla="*/ 116959 h 318953"/>
                            <a:gd name="connsiteX3" fmla="*/ 74844 w 289446"/>
                            <a:gd name="connsiteY3" fmla="*/ 311055 h 318953"/>
                            <a:gd name="connsiteX4" fmla="*/ 186437 w 289446"/>
                            <a:gd name="connsiteY4" fmla="*/ 231263 h 318953"/>
                            <a:gd name="connsiteX5" fmla="*/ 279416 w 289446"/>
                            <a:gd name="connsiteY5" fmla="*/ 116369 h 318953"/>
                            <a:gd name="connsiteX6" fmla="*/ 214719 w 289446"/>
                            <a:gd name="connsiteY6" fmla="*/ 180054 h 318953"/>
                            <a:gd name="connsiteX7" fmla="*/ 202461 w 289446"/>
                            <a:gd name="connsiteY7" fmla="*/ 59631 h 318953"/>
                            <a:gd name="connsiteX0" fmla="*/ 202461 w 216515"/>
                            <a:gd name="connsiteY0" fmla="*/ 59631 h 318929"/>
                            <a:gd name="connsiteX1" fmla="*/ 171247 w 216515"/>
                            <a:gd name="connsiteY1" fmla="*/ 3857 h 318929"/>
                            <a:gd name="connsiteX2" fmla="*/ 2828 w 216515"/>
                            <a:gd name="connsiteY2" fmla="*/ 116959 h 318929"/>
                            <a:gd name="connsiteX3" fmla="*/ 74844 w 216515"/>
                            <a:gd name="connsiteY3" fmla="*/ 311055 h 318929"/>
                            <a:gd name="connsiteX4" fmla="*/ 186437 w 216515"/>
                            <a:gd name="connsiteY4" fmla="*/ 231263 h 318929"/>
                            <a:gd name="connsiteX5" fmla="*/ 214719 w 216515"/>
                            <a:gd name="connsiteY5" fmla="*/ 180054 h 318929"/>
                            <a:gd name="connsiteX6" fmla="*/ 202461 w 216515"/>
                            <a:gd name="connsiteY6" fmla="*/ 59631 h 318929"/>
                            <a:gd name="connsiteX0" fmla="*/ 200078 w 214132"/>
                            <a:gd name="connsiteY0" fmla="*/ 113647 h 372945"/>
                            <a:gd name="connsiteX1" fmla="*/ 105135 w 214132"/>
                            <a:gd name="connsiteY1" fmla="*/ 2146 h 372945"/>
                            <a:gd name="connsiteX2" fmla="*/ 445 w 214132"/>
                            <a:gd name="connsiteY2" fmla="*/ 170975 h 372945"/>
                            <a:gd name="connsiteX3" fmla="*/ 72461 w 214132"/>
                            <a:gd name="connsiteY3" fmla="*/ 365071 h 372945"/>
                            <a:gd name="connsiteX4" fmla="*/ 184054 w 214132"/>
                            <a:gd name="connsiteY4" fmla="*/ 285279 h 372945"/>
                            <a:gd name="connsiteX5" fmla="*/ 212336 w 214132"/>
                            <a:gd name="connsiteY5" fmla="*/ 234070 h 372945"/>
                            <a:gd name="connsiteX6" fmla="*/ 200078 w 214132"/>
                            <a:gd name="connsiteY6" fmla="*/ 113647 h 372945"/>
                            <a:gd name="connsiteX0" fmla="*/ 171466 w 185520"/>
                            <a:gd name="connsiteY0" fmla="*/ 113647 h 372945"/>
                            <a:gd name="connsiteX1" fmla="*/ 76523 w 185520"/>
                            <a:gd name="connsiteY1" fmla="*/ 2146 h 372945"/>
                            <a:gd name="connsiteX2" fmla="*/ 1029 w 185520"/>
                            <a:gd name="connsiteY2" fmla="*/ 227444 h 372945"/>
                            <a:gd name="connsiteX3" fmla="*/ 43849 w 185520"/>
                            <a:gd name="connsiteY3" fmla="*/ 365071 h 372945"/>
                            <a:gd name="connsiteX4" fmla="*/ 155442 w 185520"/>
                            <a:gd name="connsiteY4" fmla="*/ 285279 h 372945"/>
                            <a:gd name="connsiteX5" fmla="*/ 183724 w 185520"/>
                            <a:gd name="connsiteY5" fmla="*/ 234070 h 372945"/>
                            <a:gd name="connsiteX6" fmla="*/ 171466 w 185520"/>
                            <a:gd name="connsiteY6" fmla="*/ 113647 h 372945"/>
                            <a:gd name="connsiteX0" fmla="*/ 171466 w 185520"/>
                            <a:gd name="connsiteY0" fmla="*/ 113647 h 396811"/>
                            <a:gd name="connsiteX1" fmla="*/ 76523 w 185520"/>
                            <a:gd name="connsiteY1" fmla="*/ 2146 h 396811"/>
                            <a:gd name="connsiteX2" fmla="*/ 1029 w 185520"/>
                            <a:gd name="connsiteY2" fmla="*/ 227444 h 396811"/>
                            <a:gd name="connsiteX3" fmla="*/ 43849 w 185520"/>
                            <a:gd name="connsiteY3" fmla="*/ 365071 h 396811"/>
                            <a:gd name="connsiteX4" fmla="*/ 158771 w 185520"/>
                            <a:gd name="connsiteY4" fmla="*/ 383831 h 396811"/>
                            <a:gd name="connsiteX5" fmla="*/ 183724 w 185520"/>
                            <a:gd name="connsiteY5" fmla="*/ 234070 h 396811"/>
                            <a:gd name="connsiteX6" fmla="*/ 171466 w 185520"/>
                            <a:gd name="connsiteY6" fmla="*/ 113647 h 396811"/>
                            <a:gd name="connsiteX0" fmla="*/ 170767 w 184821"/>
                            <a:gd name="connsiteY0" fmla="*/ 113647 h 387719"/>
                            <a:gd name="connsiteX1" fmla="*/ 75824 w 184821"/>
                            <a:gd name="connsiteY1" fmla="*/ 2146 h 387719"/>
                            <a:gd name="connsiteX2" fmla="*/ 330 w 184821"/>
                            <a:gd name="connsiteY2" fmla="*/ 227444 h 387719"/>
                            <a:gd name="connsiteX3" fmla="*/ 54416 w 184821"/>
                            <a:gd name="connsiteY3" fmla="*/ 294753 h 387719"/>
                            <a:gd name="connsiteX4" fmla="*/ 158072 w 184821"/>
                            <a:gd name="connsiteY4" fmla="*/ 383831 h 387719"/>
                            <a:gd name="connsiteX5" fmla="*/ 183025 w 184821"/>
                            <a:gd name="connsiteY5" fmla="*/ 234070 h 387719"/>
                            <a:gd name="connsiteX6" fmla="*/ 170767 w 184821"/>
                            <a:gd name="connsiteY6" fmla="*/ 113647 h 387719"/>
                            <a:gd name="connsiteX0" fmla="*/ 194313 w 208367"/>
                            <a:gd name="connsiteY0" fmla="*/ 113647 h 387719"/>
                            <a:gd name="connsiteX1" fmla="*/ 99370 w 208367"/>
                            <a:gd name="connsiteY1" fmla="*/ 2146 h 387719"/>
                            <a:gd name="connsiteX2" fmla="*/ 182 w 208367"/>
                            <a:gd name="connsiteY2" fmla="*/ 279863 h 387719"/>
                            <a:gd name="connsiteX3" fmla="*/ 77962 w 208367"/>
                            <a:gd name="connsiteY3" fmla="*/ 294753 h 387719"/>
                            <a:gd name="connsiteX4" fmla="*/ 181618 w 208367"/>
                            <a:gd name="connsiteY4" fmla="*/ 383831 h 387719"/>
                            <a:gd name="connsiteX5" fmla="*/ 206571 w 208367"/>
                            <a:gd name="connsiteY5" fmla="*/ 234070 h 387719"/>
                            <a:gd name="connsiteX6" fmla="*/ 194313 w 208367"/>
                            <a:gd name="connsiteY6" fmla="*/ 113647 h 387719"/>
                            <a:gd name="connsiteX0" fmla="*/ 207936 w 221990"/>
                            <a:gd name="connsiteY0" fmla="*/ 113647 h 400440"/>
                            <a:gd name="connsiteX1" fmla="*/ 112993 w 221990"/>
                            <a:gd name="connsiteY1" fmla="*/ 2146 h 400440"/>
                            <a:gd name="connsiteX2" fmla="*/ 13805 w 221990"/>
                            <a:gd name="connsiteY2" fmla="*/ 279863 h 400440"/>
                            <a:gd name="connsiteX3" fmla="*/ 21510 w 221990"/>
                            <a:gd name="connsiteY3" fmla="*/ 374120 h 400440"/>
                            <a:gd name="connsiteX4" fmla="*/ 195241 w 221990"/>
                            <a:gd name="connsiteY4" fmla="*/ 383831 h 400440"/>
                            <a:gd name="connsiteX5" fmla="*/ 220194 w 221990"/>
                            <a:gd name="connsiteY5" fmla="*/ 234070 h 400440"/>
                            <a:gd name="connsiteX6" fmla="*/ 207936 w 221990"/>
                            <a:gd name="connsiteY6" fmla="*/ 113647 h 400440"/>
                            <a:gd name="connsiteX0" fmla="*/ 207936 w 221990"/>
                            <a:gd name="connsiteY0" fmla="*/ 113647 h 384477"/>
                            <a:gd name="connsiteX1" fmla="*/ 112993 w 221990"/>
                            <a:gd name="connsiteY1" fmla="*/ 2146 h 384477"/>
                            <a:gd name="connsiteX2" fmla="*/ 13805 w 221990"/>
                            <a:gd name="connsiteY2" fmla="*/ 279863 h 384477"/>
                            <a:gd name="connsiteX3" fmla="*/ 21510 w 221990"/>
                            <a:gd name="connsiteY3" fmla="*/ 374120 h 384477"/>
                            <a:gd name="connsiteX4" fmla="*/ 113162 w 221990"/>
                            <a:gd name="connsiteY4" fmla="*/ 323303 h 384477"/>
                            <a:gd name="connsiteX5" fmla="*/ 220194 w 221990"/>
                            <a:gd name="connsiteY5" fmla="*/ 234070 h 384477"/>
                            <a:gd name="connsiteX6" fmla="*/ 207936 w 221990"/>
                            <a:gd name="connsiteY6" fmla="*/ 113647 h 384477"/>
                            <a:gd name="connsiteX0" fmla="*/ 207936 w 211307"/>
                            <a:gd name="connsiteY0" fmla="*/ 113647 h 384477"/>
                            <a:gd name="connsiteX1" fmla="*/ 112993 w 211307"/>
                            <a:gd name="connsiteY1" fmla="*/ 2146 h 384477"/>
                            <a:gd name="connsiteX2" fmla="*/ 13805 w 211307"/>
                            <a:gd name="connsiteY2" fmla="*/ 279863 h 384477"/>
                            <a:gd name="connsiteX3" fmla="*/ 21510 w 211307"/>
                            <a:gd name="connsiteY3" fmla="*/ 374120 h 384477"/>
                            <a:gd name="connsiteX4" fmla="*/ 113162 w 211307"/>
                            <a:gd name="connsiteY4" fmla="*/ 323303 h 384477"/>
                            <a:gd name="connsiteX5" fmla="*/ 169474 w 211307"/>
                            <a:gd name="connsiteY5" fmla="*/ 240351 h 384477"/>
                            <a:gd name="connsiteX6" fmla="*/ 207936 w 211307"/>
                            <a:gd name="connsiteY6" fmla="*/ 113647 h 384477"/>
                            <a:gd name="connsiteX0" fmla="*/ 173979 w 181017"/>
                            <a:gd name="connsiteY0" fmla="*/ 157929 h 383911"/>
                            <a:gd name="connsiteX1" fmla="*/ 112993 w 181017"/>
                            <a:gd name="connsiteY1" fmla="*/ 1580 h 383911"/>
                            <a:gd name="connsiteX2" fmla="*/ 13805 w 181017"/>
                            <a:gd name="connsiteY2" fmla="*/ 279297 h 383911"/>
                            <a:gd name="connsiteX3" fmla="*/ 21510 w 181017"/>
                            <a:gd name="connsiteY3" fmla="*/ 373554 h 383911"/>
                            <a:gd name="connsiteX4" fmla="*/ 113162 w 181017"/>
                            <a:gd name="connsiteY4" fmla="*/ 322737 h 383911"/>
                            <a:gd name="connsiteX5" fmla="*/ 169474 w 181017"/>
                            <a:gd name="connsiteY5" fmla="*/ 239785 h 383911"/>
                            <a:gd name="connsiteX6" fmla="*/ 173979 w 181017"/>
                            <a:gd name="connsiteY6" fmla="*/ 157929 h 383911"/>
                            <a:gd name="connsiteX0" fmla="*/ 173918 w 180956"/>
                            <a:gd name="connsiteY0" fmla="*/ 81382 h 307364"/>
                            <a:gd name="connsiteX1" fmla="*/ 111926 w 180956"/>
                            <a:gd name="connsiteY1" fmla="*/ 2917 h 307364"/>
                            <a:gd name="connsiteX2" fmla="*/ 13744 w 180956"/>
                            <a:gd name="connsiteY2" fmla="*/ 202750 h 307364"/>
                            <a:gd name="connsiteX3" fmla="*/ 21449 w 180956"/>
                            <a:gd name="connsiteY3" fmla="*/ 297007 h 307364"/>
                            <a:gd name="connsiteX4" fmla="*/ 113101 w 180956"/>
                            <a:gd name="connsiteY4" fmla="*/ 246190 h 307364"/>
                            <a:gd name="connsiteX5" fmla="*/ 169413 w 180956"/>
                            <a:gd name="connsiteY5" fmla="*/ 163238 h 307364"/>
                            <a:gd name="connsiteX6" fmla="*/ 173918 w 180956"/>
                            <a:gd name="connsiteY6" fmla="*/ 81382 h 307364"/>
                            <a:gd name="connsiteX0" fmla="*/ 163348 w 170386"/>
                            <a:gd name="connsiteY0" fmla="*/ 81382 h 251896"/>
                            <a:gd name="connsiteX1" fmla="*/ 101356 w 170386"/>
                            <a:gd name="connsiteY1" fmla="*/ 2917 h 251896"/>
                            <a:gd name="connsiteX2" fmla="*/ 3174 w 170386"/>
                            <a:gd name="connsiteY2" fmla="*/ 202750 h 251896"/>
                            <a:gd name="connsiteX3" fmla="*/ 39914 w 170386"/>
                            <a:gd name="connsiteY3" fmla="*/ 187378 h 251896"/>
                            <a:gd name="connsiteX4" fmla="*/ 102531 w 170386"/>
                            <a:gd name="connsiteY4" fmla="*/ 246190 h 251896"/>
                            <a:gd name="connsiteX5" fmla="*/ 158843 w 170386"/>
                            <a:gd name="connsiteY5" fmla="*/ 163238 h 251896"/>
                            <a:gd name="connsiteX6" fmla="*/ 163348 w 170386"/>
                            <a:gd name="connsiteY6" fmla="*/ 81382 h 251896"/>
                            <a:gd name="connsiteX0" fmla="*/ 161438 w 168476"/>
                            <a:gd name="connsiteY0" fmla="*/ 81382 h 251896"/>
                            <a:gd name="connsiteX1" fmla="*/ 99446 w 168476"/>
                            <a:gd name="connsiteY1" fmla="*/ 2917 h 251896"/>
                            <a:gd name="connsiteX2" fmla="*/ 1264 w 168476"/>
                            <a:gd name="connsiteY2" fmla="*/ 202750 h 251896"/>
                            <a:gd name="connsiteX3" fmla="*/ 38004 w 168476"/>
                            <a:gd name="connsiteY3" fmla="*/ 187378 h 251896"/>
                            <a:gd name="connsiteX4" fmla="*/ 100621 w 168476"/>
                            <a:gd name="connsiteY4" fmla="*/ 246190 h 251896"/>
                            <a:gd name="connsiteX5" fmla="*/ 156933 w 168476"/>
                            <a:gd name="connsiteY5" fmla="*/ 163238 h 251896"/>
                            <a:gd name="connsiteX6" fmla="*/ 161438 w 168476"/>
                            <a:gd name="connsiteY6" fmla="*/ 81382 h 251896"/>
                            <a:gd name="connsiteX0" fmla="*/ 123435 w 130473"/>
                            <a:gd name="connsiteY0" fmla="*/ 81079 h 251593"/>
                            <a:gd name="connsiteX1" fmla="*/ 61443 w 130473"/>
                            <a:gd name="connsiteY1" fmla="*/ 2614 h 251593"/>
                            <a:gd name="connsiteX2" fmla="*/ 1 w 130473"/>
                            <a:gd name="connsiteY2" fmla="*/ 187075 h 251593"/>
                            <a:gd name="connsiteX3" fmla="*/ 62618 w 130473"/>
                            <a:gd name="connsiteY3" fmla="*/ 245887 h 251593"/>
                            <a:gd name="connsiteX4" fmla="*/ 118930 w 130473"/>
                            <a:gd name="connsiteY4" fmla="*/ 162935 h 251593"/>
                            <a:gd name="connsiteX5" fmla="*/ 123435 w 130473"/>
                            <a:gd name="connsiteY5" fmla="*/ 81079 h 251593"/>
                            <a:gd name="connsiteX0" fmla="*/ 123435 w 130472"/>
                            <a:gd name="connsiteY0" fmla="*/ 81077 h 281983"/>
                            <a:gd name="connsiteX1" fmla="*/ 61443 w 130472"/>
                            <a:gd name="connsiteY1" fmla="*/ 2612 h 281983"/>
                            <a:gd name="connsiteX2" fmla="*/ 1 w 130472"/>
                            <a:gd name="connsiteY2" fmla="*/ 187073 h 281983"/>
                            <a:gd name="connsiteX3" fmla="*/ 59877 w 130472"/>
                            <a:gd name="connsiteY3" fmla="*/ 278178 h 281983"/>
                            <a:gd name="connsiteX4" fmla="*/ 118930 w 130472"/>
                            <a:gd name="connsiteY4" fmla="*/ 162933 h 281983"/>
                            <a:gd name="connsiteX5" fmla="*/ 123435 w 130472"/>
                            <a:gd name="connsiteY5" fmla="*/ 81077 h 281983"/>
                            <a:gd name="connsiteX0" fmla="*/ 134182 w 141219"/>
                            <a:gd name="connsiteY0" fmla="*/ 81077 h 287817"/>
                            <a:gd name="connsiteX1" fmla="*/ 72190 w 141219"/>
                            <a:gd name="connsiteY1" fmla="*/ 2612 h 287817"/>
                            <a:gd name="connsiteX2" fmla="*/ 0 w 141219"/>
                            <a:gd name="connsiteY2" fmla="*/ 247392 h 287817"/>
                            <a:gd name="connsiteX3" fmla="*/ 70624 w 141219"/>
                            <a:gd name="connsiteY3" fmla="*/ 278178 h 287817"/>
                            <a:gd name="connsiteX4" fmla="*/ 129677 w 141219"/>
                            <a:gd name="connsiteY4" fmla="*/ 162933 h 287817"/>
                            <a:gd name="connsiteX5" fmla="*/ 134182 w 141219"/>
                            <a:gd name="connsiteY5" fmla="*/ 81077 h 287817"/>
                            <a:gd name="connsiteX0" fmla="*/ 134182 w 153409"/>
                            <a:gd name="connsiteY0" fmla="*/ 81077 h 287819"/>
                            <a:gd name="connsiteX1" fmla="*/ 72190 w 153409"/>
                            <a:gd name="connsiteY1" fmla="*/ 2612 h 287819"/>
                            <a:gd name="connsiteX2" fmla="*/ 0 w 153409"/>
                            <a:gd name="connsiteY2" fmla="*/ 247392 h 287819"/>
                            <a:gd name="connsiteX3" fmla="*/ 70624 w 153409"/>
                            <a:gd name="connsiteY3" fmla="*/ 278178 h 287819"/>
                            <a:gd name="connsiteX4" fmla="*/ 152664 w 153409"/>
                            <a:gd name="connsiteY4" fmla="*/ 166785 h 287819"/>
                            <a:gd name="connsiteX5" fmla="*/ 134182 w 153409"/>
                            <a:gd name="connsiteY5" fmla="*/ 81077 h 287819"/>
                            <a:gd name="connsiteX0" fmla="*/ 134182 w 153409"/>
                            <a:gd name="connsiteY0" fmla="*/ 103875 h 310615"/>
                            <a:gd name="connsiteX1" fmla="*/ 67739 w 153409"/>
                            <a:gd name="connsiteY1" fmla="*/ 2075 h 310615"/>
                            <a:gd name="connsiteX2" fmla="*/ 0 w 153409"/>
                            <a:gd name="connsiteY2" fmla="*/ 270190 h 310615"/>
                            <a:gd name="connsiteX3" fmla="*/ 70624 w 153409"/>
                            <a:gd name="connsiteY3" fmla="*/ 300976 h 310615"/>
                            <a:gd name="connsiteX4" fmla="*/ 152664 w 153409"/>
                            <a:gd name="connsiteY4" fmla="*/ 189583 h 310615"/>
                            <a:gd name="connsiteX5" fmla="*/ 134182 w 153409"/>
                            <a:gd name="connsiteY5" fmla="*/ 103875 h 310615"/>
                            <a:gd name="connsiteX0" fmla="*/ 134870 w 154097"/>
                            <a:gd name="connsiteY0" fmla="*/ 103875 h 310617"/>
                            <a:gd name="connsiteX1" fmla="*/ 68427 w 154097"/>
                            <a:gd name="connsiteY1" fmla="*/ 2075 h 310617"/>
                            <a:gd name="connsiteX2" fmla="*/ 50547 w 154097"/>
                            <a:gd name="connsiteY2" fmla="*/ 129528 h 310617"/>
                            <a:gd name="connsiteX3" fmla="*/ 688 w 154097"/>
                            <a:gd name="connsiteY3" fmla="*/ 270190 h 310617"/>
                            <a:gd name="connsiteX4" fmla="*/ 71312 w 154097"/>
                            <a:gd name="connsiteY4" fmla="*/ 300976 h 310617"/>
                            <a:gd name="connsiteX5" fmla="*/ 153352 w 154097"/>
                            <a:gd name="connsiteY5" fmla="*/ 189583 h 310617"/>
                            <a:gd name="connsiteX6" fmla="*/ 134870 w 154097"/>
                            <a:gd name="connsiteY6" fmla="*/ 103875 h 31061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54097" h="310617">
                              <a:moveTo>
                                <a:pt x="134870" y="103875"/>
                              </a:moveTo>
                              <a:cubicBezTo>
                                <a:pt x="117854" y="84776"/>
                                <a:pt x="88999" y="-15591"/>
                                <a:pt x="68427" y="2075"/>
                              </a:cubicBezTo>
                              <a:cubicBezTo>
                                <a:pt x="51049" y="4476"/>
                                <a:pt x="61837" y="84842"/>
                                <a:pt x="50547" y="129528"/>
                              </a:cubicBezTo>
                              <a:cubicBezTo>
                                <a:pt x="39257" y="174214"/>
                                <a:pt x="-6097" y="239741"/>
                                <a:pt x="688" y="270190"/>
                              </a:cubicBezTo>
                              <a:cubicBezTo>
                                <a:pt x="32519" y="305434"/>
                                <a:pt x="48000" y="322809"/>
                                <a:pt x="71312" y="300976"/>
                              </a:cubicBezTo>
                              <a:cubicBezTo>
                                <a:pt x="94624" y="279143"/>
                                <a:pt x="150681" y="218188"/>
                                <a:pt x="153352" y="189583"/>
                              </a:cubicBezTo>
                              <a:cubicBezTo>
                                <a:pt x="156023" y="160978"/>
                                <a:pt x="151887" y="122974"/>
                                <a:pt x="134870" y="103875"/>
                              </a:cubicBez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anchor="ctr"/>
                        <a:lstStyle/>
                        <a:p>
                          <a:pPr algn="ctr">
                            <a:defRPr/>
                          </a:pPr>
                          <a:endParaRPr lang="pt-BR" sz="1100">
                            <a:solidFill>
                              <a:prstClr val="white"/>
                            </a:solidFill>
                          </a:endParaRPr>
                        </a:p>
                      </p:txBody>
                    </p:sp>
                    <p:sp>
                      <p:nvSpPr>
                        <p:cNvPr id="988" name="Freeform 286"/>
                        <p:cNvSpPr>
                          <a:spLocks noChangeAspect="1"/>
                        </p:cNvSpPr>
                        <p:nvPr/>
                      </p:nvSpPr>
                      <p:spPr>
                        <a:xfrm rot="11700000">
                          <a:off x="5138100" y="5468068"/>
                          <a:ext cx="125190" cy="163294"/>
                        </a:xfrm>
                        <a:custGeom>
                          <a:avLst/>
                          <a:gdLst>
                            <a:gd name="connsiteX0" fmla="*/ 175260 w 541020"/>
                            <a:gd name="connsiteY0" fmla="*/ 45720 h 281940"/>
                            <a:gd name="connsiteX1" fmla="*/ 0 w 541020"/>
                            <a:gd name="connsiteY1" fmla="*/ 121920 h 281940"/>
                            <a:gd name="connsiteX2" fmla="*/ 7620 w 541020"/>
                            <a:gd name="connsiteY2" fmla="*/ 251460 h 281940"/>
                            <a:gd name="connsiteX3" fmla="*/ 160020 w 541020"/>
                            <a:gd name="connsiteY3" fmla="*/ 281940 h 281940"/>
                            <a:gd name="connsiteX4" fmla="*/ 327660 w 541020"/>
                            <a:gd name="connsiteY4" fmla="*/ 236220 h 281940"/>
                            <a:gd name="connsiteX5" fmla="*/ 495300 w 541020"/>
                            <a:gd name="connsiteY5" fmla="*/ 114300 h 281940"/>
                            <a:gd name="connsiteX6" fmla="*/ 541020 w 541020"/>
                            <a:gd name="connsiteY6" fmla="*/ 30480 h 281940"/>
                            <a:gd name="connsiteX7" fmla="*/ 518160 w 541020"/>
                            <a:gd name="connsiteY7" fmla="*/ 0 h 281940"/>
                            <a:gd name="connsiteX8" fmla="*/ 449580 w 541020"/>
                            <a:gd name="connsiteY8" fmla="*/ 0 h 281940"/>
                            <a:gd name="connsiteX9" fmla="*/ 175260 w 541020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1940"/>
                            <a:gd name="connsiteX1" fmla="*/ 17128 w 558148"/>
                            <a:gd name="connsiteY1" fmla="*/ 121920 h 281940"/>
                            <a:gd name="connsiteX2" fmla="*/ 24748 w 558148"/>
                            <a:gd name="connsiteY2" fmla="*/ 251460 h 281940"/>
                            <a:gd name="connsiteX3" fmla="*/ 177148 w 558148"/>
                            <a:gd name="connsiteY3" fmla="*/ 281940 h 281940"/>
                            <a:gd name="connsiteX4" fmla="*/ 344788 w 558148"/>
                            <a:gd name="connsiteY4" fmla="*/ 236220 h 281940"/>
                            <a:gd name="connsiteX5" fmla="*/ 512428 w 558148"/>
                            <a:gd name="connsiteY5" fmla="*/ 114300 h 281940"/>
                            <a:gd name="connsiteX6" fmla="*/ 558148 w 558148"/>
                            <a:gd name="connsiteY6" fmla="*/ 30480 h 281940"/>
                            <a:gd name="connsiteX7" fmla="*/ 535288 w 558148"/>
                            <a:gd name="connsiteY7" fmla="*/ 0 h 281940"/>
                            <a:gd name="connsiteX8" fmla="*/ 466708 w 558148"/>
                            <a:gd name="connsiteY8" fmla="*/ 0 h 281940"/>
                            <a:gd name="connsiteX9" fmla="*/ 192388 w 558148"/>
                            <a:gd name="connsiteY9" fmla="*/ 45720 h 281940"/>
                            <a:gd name="connsiteX0" fmla="*/ 192388 w 558148"/>
                            <a:gd name="connsiteY0" fmla="*/ 45720 h 282454"/>
                            <a:gd name="connsiteX1" fmla="*/ 17128 w 558148"/>
                            <a:gd name="connsiteY1" fmla="*/ 121920 h 282454"/>
                            <a:gd name="connsiteX2" fmla="*/ 24748 w 558148"/>
                            <a:gd name="connsiteY2" fmla="*/ 251460 h 282454"/>
                            <a:gd name="connsiteX3" fmla="*/ 177148 w 558148"/>
                            <a:gd name="connsiteY3" fmla="*/ 281940 h 282454"/>
                            <a:gd name="connsiteX4" fmla="*/ 344788 w 558148"/>
                            <a:gd name="connsiteY4" fmla="*/ 236220 h 282454"/>
                            <a:gd name="connsiteX5" fmla="*/ 512428 w 558148"/>
                            <a:gd name="connsiteY5" fmla="*/ 114300 h 282454"/>
                            <a:gd name="connsiteX6" fmla="*/ 558148 w 558148"/>
                            <a:gd name="connsiteY6" fmla="*/ 30480 h 282454"/>
                            <a:gd name="connsiteX7" fmla="*/ 535288 w 558148"/>
                            <a:gd name="connsiteY7" fmla="*/ 0 h 282454"/>
                            <a:gd name="connsiteX8" fmla="*/ 466708 w 558148"/>
                            <a:gd name="connsiteY8" fmla="*/ 0 h 282454"/>
                            <a:gd name="connsiteX9" fmla="*/ 192388 w 558148"/>
                            <a:gd name="connsiteY9" fmla="*/ 45720 h 282454"/>
                            <a:gd name="connsiteX0" fmla="*/ 192388 w 558148"/>
                            <a:gd name="connsiteY0" fmla="*/ 45720 h 282454"/>
                            <a:gd name="connsiteX1" fmla="*/ 17128 w 558148"/>
                            <a:gd name="connsiteY1" fmla="*/ 121920 h 282454"/>
                            <a:gd name="connsiteX2" fmla="*/ 24748 w 558148"/>
                            <a:gd name="connsiteY2" fmla="*/ 251460 h 282454"/>
                            <a:gd name="connsiteX3" fmla="*/ 177148 w 558148"/>
                            <a:gd name="connsiteY3" fmla="*/ 281940 h 282454"/>
                            <a:gd name="connsiteX4" fmla="*/ 344788 w 558148"/>
                            <a:gd name="connsiteY4" fmla="*/ 236220 h 282454"/>
                            <a:gd name="connsiteX5" fmla="*/ 512428 w 558148"/>
                            <a:gd name="connsiteY5" fmla="*/ 114300 h 282454"/>
                            <a:gd name="connsiteX6" fmla="*/ 558148 w 558148"/>
                            <a:gd name="connsiteY6" fmla="*/ 30480 h 282454"/>
                            <a:gd name="connsiteX7" fmla="*/ 535288 w 558148"/>
                            <a:gd name="connsiteY7" fmla="*/ 0 h 282454"/>
                            <a:gd name="connsiteX8" fmla="*/ 466708 w 558148"/>
                            <a:gd name="connsiteY8" fmla="*/ 0 h 282454"/>
                            <a:gd name="connsiteX9" fmla="*/ 192388 w 558148"/>
                            <a:gd name="connsiteY9" fmla="*/ 45720 h 282454"/>
                            <a:gd name="connsiteX0" fmla="*/ 192388 w 558148"/>
                            <a:gd name="connsiteY0" fmla="*/ 50529 h 287263"/>
                            <a:gd name="connsiteX1" fmla="*/ 17128 w 558148"/>
                            <a:gd name="connsiteY1" fmla="*/ 126729 h 287263"/>
                            <a:gd name="connsiteX2" fmla="*/ 24748 w 558148"/>
                            <a:gd name="connsiteY2" fmla="*/ 256269 h 287263"/>
                            <a:gd name="connsiteX3" fmla="*/ 177148 w 558148"/>
                            <a:gd name="connsiteY3" fmla="*/ 286749 h 287263"/>
                            <a:gd name="connsiteX4" fmla="*/ 344788 w 558148"/>
                            <a:gd name="connsiteY4" fmla="*/ 241029 h 287263"/>
                            <a:gd name="connsiteX5" fmla="*/ 512428 w 558148"/>
                            <a:gd name="connsiteY5" fmla="*/ 119109 h 287263"/>
                            <a:gd name="connsiteX6" fmla="*/ 558148 w 558148"/>
                            <a:gd name="connsiteY6" fmla="*/ 35289 h 287263"/>
                            <a:gd name="connsiteX7" fmla="*/ 535288 w 558148"/>
                            <a:gd name="connsiteY7" fmla="*/ 4809 h 287263"/>
                            <a:gd name="connsiteX8" fmla="*/ 466708 w 558148"/>
                            <a:gd name="connsiteY8" fmla="*/ 4809 h 287263"/>
                            <a:gd name="connsiteX9" fmla="*/ 192388 w 558148"/>
                            <a:gd name="connsiteY9" fmla="*/ 50529 h 287263"/>
                            <a:gd name="connsiteX0" fmla="*/ 192388 w 558148"/>
                            <a:gd name="connsiteY0" fmla="*/ 50529 h 287263"/>
                            <a:gd name="connsiteX1" fmla="*/ 17128 w 558148"/>
                            <a:gd name="connsiteY1" fmla="*/ 126729 h 287263"/>
                            <a:gd name="connsiteX2" fmla="*/ 24748 w 558148"/>
                            <a:gd name="connsiteY2" fmla="*/ 256269 h 287263"/>
                            <a:gd name="connsiteX3" fmla="*/ 177148 w 558148"/>
                            <a:gd name="connsiteY3" fmla="*/ 286749 h 287263"/>
                            <a:gd name="connsiteX4" fmla="*/ 344788 w 558148"/>
                            <a:gd name="connsiteY4" fmla="*/ 241029 h 287263"/>
                            <a:gd name="connsiteX5" fmla="*/ 512428 w 558148"/>
                            <a:gd name="connsiteY5" fmla="*/ 119109 h 287263"/>
                            <a:gd name="connsiteX6" fmla="*/ 558148 w 558148"/>
                            <a:gd name="connsiteY6" fmla="*/ 35289 h 287263"/>
                            <a:gd name="connsiteX7" fmla="*/ 535288 w 558148"/>
                            <a:gd name="connsiteY7" fmla="*/ 4809 h 287263"/>
                            <a:gd name="connsiteX8" fmla="*/ 466708 w 558148"/>
                            <a:gd name="connsiteY8" fmla="*/ 4809 h 287263"/>
                            <a:gd name="connsiteX9" fmla="*/ 192388 w 558148"/>
                            <a:gd name="connsiteY9" fmla="*/ 50529 h 287263"/>
                            <a:gd name="connsiteX0" fmla="*/ 192388 w 564165"/>
                            <a:gd name="connsiteY0" fmla="*/ 50529 h 287263"/>
                            <a:gd name="connsiteX1" fmla="*/ 17128 w 564165"/>
                            <a:gd name="connsiteY1" fmla="*/ 126729 h 287263"/>
                            <a:gd name="connsiteX2" fmla="*/ 24748 w 564165"/>
                            <a:gd name="connsiteY2" fmla="*/ 256269 h 287263"/>
                            <a:gd name="connsiteX3" fmla="*/ 177148 w 564165"/>
                            <a:gd name="connsiteY3" fmla="*/ 286749 h 287263"/>
                            <a:gd name="connsiteX4" fmla="*/ 344788 w 564165"/>
                            <a:gd name="connsiteY4" fmla="*/ 241029 h 287263"/>
                            <a:gd name="connsiteX5" fmla="*/ 545402 w 564165"/>
                            <a:gd name="connsiteY5" fmla="*/ 181894 h 287263"/>
                            <a:gd name="connsiteX6" fmla="*/ 558148 w 564165"/>
                            <a:gd name="connsiteY6" fmla="*/ 35289 h 287263"/>
                            <a:gd name="connsiteX7" fmla="*/ 535288 w 564165"/>
                            <a:gd name="connsiteY7" fmla="*/ 4809 h 287263"/>
                            <a:gd name="connsiteX8" fmla="*/ 466708 w 564165"/>
                            <a:gd name="connsiteY8" fmla="*/ 4809 h 287263"/>
                            <a:gd name="connsiteX9" fmla="*/ 192388 w 564165"/>
                            <a:gd name="connsiteY9" fmla="*/ 50529 h 287263"/>
                            <a:gd name="connsiteX0" fmla="*/ 192388 w 564165"/>
                            <a:gd name="connsiteY0" fmla="*/ 50529 h 310225"/>
                            <a:gd name="connsiteX1" fmla="*/ 17128 w 564165"/>
                            <a:gd name="connsiteY1" fmla="*/ 126729 h 310225"/>
                            <a:gd name="connsiteX2" fmla="*/ 24748 w 564165"/>
                            <a:gd name="connsiteY2" fmla="*/ 256269 h 310225"/>
                            <a:gd name="connsiteX3" fmla="*/ 177148 w 564165"/>
                            <a:gd name="connsiteY3" fmla="*/ 286749 h 310225"/>
                            <a:gd name="connsiteX4" fmla="*/ 338214 w 564165"/>
                            <a:gd name="connsiteY4" fmla="*/ 301010 h 310225"/>
                            <a:gd name="connsiteX5" fmla="*/ 545402 w 564165"/>
                            <a:gd name="connsiteY5" fmla="*/ 181894 h 310225"/>
                            <a:gd name="connsiteX6" fmla="*/ 558148 w 564165"/>
                            <a:gd name="connsiteY6" fmla="*/ 35289 h 310225"/>
                            <a:gd name="connsiteX7" fmla="*/ 535288 w 564165"/>
                            <a:gd name="connsiteY7" fmla="*/ 4809 h 310225"/>
                            <a:gd name="connsiteX8" fmla="*/ 466708 w 564165"/>
                            <a:gd name="connsiteY8" fmla="*/ 4809 h 310225"/>
                            <a:gd name="connsiteX9" fmla="*/ 192388 w 564165"/>
                            <a:gd name="connsiteY9" fmla="*/ 50529 h 310225"/>
                            <a:gd name="connsiteX0" fmla="*/ 192388 w 564165"/>
                            <a:gd name="connsiteY0" fmla="*/ 50529 h 353427"/>
                            <a:gd name="connsiteX1" fmla="*/ 17128 w 564165"/>
                            <a:gd name="connsiteY1" fmla="*/ 126729 h 353427"/>
                            <a:gd name="connsiteX2" fmla="*/ 24748 w 564165"/>
                            <a:gd name="connsiteY2" fmla="*/ 256269 h 353427"/>
                            <a:gd name="connsiteX3" fmla="*/ 193096 w 564165"/>
                            <a:gd name="connsiteY3" fmla="*/ 353363 h 353427"/>
                            <a:gd name="connsiteX4" fmla="*/ 338214 w 564165"/>
                            <a:gd name="connsiteY4" fmla="*/ 301010 h 353427"/>
                            <a:gd name="connsiteX5" fmla="*/ 545402 w 564165"/>
                            <a:gd name="connsiteY5" fmla="*/ 181894 h 353427"/>
                            <a:gd name="connsiteX6" fmla="*/ 558148 w 564165"/>
                            <a:gd name="connsiteY6" fmla="*/ 35289 h 353427"/>
                            <a:gd name="connsiteX7" fmla="*/ 535288 w 564165"/>
                            <a:gd name="connsiteY7" fmla="*/ 4809 h 353427"/>
                            <a:gd name="connsiteX8" fmla="*/ 466708 w 564165"/>
                            <a:gd name="connsiteY8" fmla="*/ 4809 h 353427"/>
                            <a:gd name="connsiteX9" fmla="*/ 192388 w 564165"/>
                            <a:gd name="connsiteY9" fmla="*/ 50529 h 353427"/>
                            <a:gd name="connsiteX0" fmla="*/ 183456 w 555233"/>
                            <a:gd name="connsiteY0" fmla="*/ 50529 h 359674"/>
                            <a:gd name="connsiteX1" fmla="*/ 8196 w 555233"/>
                            <a:gd name="connsiteY1" fmla="*/ 126729 h 359674"/>
                            <a:gd name="connsiteX2" fmla="*/ 57235 w 555233"/>
                            <a:gd name="connsiteY2" fmla="*/ 343912 h 359674"/>
                            <a:gd name="connsiteX3" fmla="*/ 184164 w 555233"/>
                            <a:gd name="connsiteY3" fmla="*/ 353363 h 359674"/>
                            <a:gd name="connsiteX4" fmla="*/ 329282 w 555233"/>
                            <a:gd name="connsiteY4" fmla="*/ 301010 h 359674"/>
                            <a:gd name="connsiteX5" fmla="*/ 536470 w 555233"/>
                            <a:gd name="connsiteY5" fmla="*/ 181894 h 359674"/>
                            <a:gd name="connsiteX6" fmla="*/ 549216 w 555233"/>
                            <a:gd name="connsiteY6" fmla="*/ 35289 h 359674"/>
                            <a:gd name="connsiteX7" fmla="*/ 526356 w 555233"/>
                            <a:gd name="connsiteY7" fmla="*/ 4809 h 359674"/>
                            <a:gd name="connsiteX8" fmla="*/ 457776 w 555233"/>
                            <a:gd name="connsiteY8" fmla="*/ 4809 h 359674"/>
                            <a:gd name="connsiteX9" fmla="*/ 183456 w 555233"/>
                            <a:gd name="connsiteY9" fmla="*/ 50529 h 359674"/>
                            <a:gd name="connsiteX0" fmla="*/ 141822 w 513599"/>
                            <a:gd name="connsiteY0" fmla="*/ 50529 h 359674"/>
                            <a:gd name="connsiteX1" fmla="*/ 26880 w 513599"/>
                            <a:gd name="connsiteY1" fmla="*/ 162601 h 359674"/>
                            <a:gd name="connsiteX2" fmla="*/ 15601 w 513599"/>
                            <a:gd name="connsiteY2" fmla="*/ 343912 h 359674"/>
                            <a:gd name="connsiteX3" fmla="*/ 142530 w 513599"/>
                            <a:gd name="connsiteY3" fmla="*/ 353363 h 359674"/>
                            <a:gd name="connsiteX4" fmla="*/ 287648 w 513599"/>
                            <a:gd name="connsiteY4" fmla="*/ 301010 h 359674"/>
                            <a:gd name="connsiteX5" fmla="*/ 494836 w 513599"/>
                            <a:gd name="connsiteY5" fmla="*/ 181894 h 359674"/>
                            <a:gd name="connsiteX6" fmla="*/ 507582 w 513599"/>
                            <a:gd name="connsiteY6" fmla="*/ 35289 h 359674"/>
                            <a:gd name="connsiteX7" fmla="*/ 484722 w 513599"/>
                            <a:gd name="connsiteY7" fmla="*/ 4809 h 359674"/>
                            <a:gd name="connsiteX8" fmla="*/ 416142 w 513599"/>
                            <a:gd name="connsiteY8" fmla="*/ 4809 h 359674"/>
                            <a:gd name="connsiteX9" fmla="*/ 141822 w 513599"/>
                            <a:gd name="connsiteY9" fmla="*/ 50529 h 359674"/>
                            <a:gd name="connsiteX0" fmla="*/ 141822 w 530249"/>
                            <a:gd name="connsiteY0" fmla="*/ 50529 h 359674"/>
                            <a:gd name="connsiteX1" fmla="*/ 26880 w 530249"/>
                            <a:gd name="connsiteY1" fmla="*/ 162601 h 359674"/>
                            <a:gd name="connsiteX2" fmla="*/ 15601 w 530249"/>
                            <a:gd name="connsiteY2" fmla="*/ 343912 h 359674"/>
                            <a:gd name="connsiteX3" fmla="*/ 142530 w 530249"/>
                            <a:gd name="connsiteY3" fmla="*/ 353363 h 359674"/>
                            <a:gd name="connsiteX4" fmla="*/ 287648 w 530249"/>
                            <a:gd name="connsiteY4" fmla="*/ 301010 h 359674"/>
                            <a:gd name="connsiteX5" fmla="*/ 517239 w 530249"/>
                            <a:gd name="connsiteY5" fmla="*/ 238247 h 359674"/>
                            <a:gd name="connsiteX6" fmla="*/ 507582 w 530249"/>
                            <a:gd name="connsiteY6" fmla="*/ 35289 h 359674"/>
                            <a:gd name="connsiteX7" fmla="*/ 484722 w 530249"/>
                            <a:gd name="connsiteY7" fmla="*/ 4809 h 359674"/>
                            <a:gd name="connsiteX8" fmla="*/ 416142 w 530249"/>
                            <a:gd name="connsiteY8" fmla="*/ 4809 h 359674"/>
                            <a:gd name="connsiteX9" fmla="*/ 141822 w 530249"/>
                            <a:gd name="connsiteY9" fmla="*/ 50529 h 35967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50529 h 372204"/>
                            <a:gd name="connsiteX1" fmla="*/ 26880 w 530248"/>
                            <a:gd name="connsiteY1" fmla="*/ 162601 h 372204"/>
                            <a:gd name="connsiteX2" fmla="*/ 15601 w 530248"/>
                            <a:gd name="connsiteY2" fmla="*/ 343912 h 372204"/>
                            <a:gd name="connsiteX3" fmla="*/ 142530 w 530248"/>
                            <a:gd name="connsiteY3" fmla="*/ 353363 h 372204"/>
                            <a:gd name="connsiteX4" fmla="*/ 292200 w 530248"/>
                            <a:gd name="connsiteY4" fmla="*/ 362116 h 372204"/>
                            <a:gd name="connsiteX5" fmla="*/ 517239 w 530248"/>
                            <a:gd name="connsiteY5" fmla="*/ 238247 h 372204"/>
                            <a:gd name="connsiteX6" fmla="*/ 507582 w 530248"/>
                            <a:gd name="connsiteY6" fmla="*/ 35289 h 372204"/>
                            <a:gd name="connsiteX7" fmla="*/ 484722 w 530248"/>
                            <a:gd name="connsiteY7" fmla="*/ 4809 h 372204"/>
                            <a:gd name="connsiteX8" fmla="*/ 416142 w 530248"/>
                            <a:gd name="connsiteY8" fmla="*/ 4809 h 372204"/>
                            <a:gd name="connsiteX9" fmla="*/ 141822 w 530248"/>
                            <a:gd name="connsiteY9" fmla="*/ 50529 h 372204"/>
                            <a:gd name="connsiteX0" fmla="*/ 141822 w 530248"/>
                            <a:gd name="connsiteY0" fmla="*/ 47613 h 369288"/>
                            <a:gd name="connsiteX1" fmla="*/ 26880 w 530248"/>
                            <a:gd name="connsiteY1" fmla="*/ 159685 h 369288"/>
                            <a:gd name="connsiteX2" fmla="*/ 15601 w 530248"/>
                            <a:gd name="connsiteY2" fmla="*/ 340996 h 369288"/>
                            <a:gd name="connsiteX3" fmla="*/ 142530 w 530248"/>
                            <a:gd name="connsiteY3" fmla="*/ 350447 h 369288"/>
                            <a:gd name="connsiteX4" fmla="*/ 292200 w 530248"/>
                            <a:gd name="connsiteY4" fmla="*/ 359200 h 369288"/>
                            <a:gd name="connsiteX5" fmla="*/ 517239 w 530248"/>
                            <a:gd name="connsiteY5" fmla="*/ 235331 h 369288"/>
                            <a:gd name="connsiteX6" fmla="*/ 507582 w 530248"/>
                            <a:gd name="connsiteY6" fmla="*/ 32373 h 369288"/>
                            <a:gd name="connsiteX7" fmla="*/ 416142 w 530248"/>
                            <a:gd name="connsiteY7" fmla="*/ 1893 h 369288"/>
                            <a:gd name="connsiteX8" fmla="*/ 141822 w 530248"/>
                            <a:gd name="connsiteY8" fmla="*/ 47613 h 369288"/>
                            <a:gd name="connsiteX0" fmla="*/ 138197 w 526623"/>
                            <a:gd name="connsiteY0" fmla="*/ 47613 h 376324"/>
                            <a:gd name="connsiteX1" fmla="*/ 23255 w 526623"/>
                            <a:gd name="connsiteY1" fmla="*/ 159685 h 376324"/>
                            <a:gd name="connsiteX2" fmla="*/ 11976 w 526623"/>
                            <a:gd name="connsiteY2" fmla="*/ 340996 h 376324"/>
                            <a:gd name="connsiteX3" fmla="*/ 132119 w 526623"/>
                            <a:gd name="connsiteY3" fmla="*/ 374396 h 376324"/>
                            <a:gd name="connsiteX4" fmla="*/ 288575 w 526623"/>
                            <a:gd name="connsiteY4" fmla="*/ 359200 h 376324"/>
                            <a:gd name="connsiteX5" fmla="*/ 513614 w 526623"/>
                            <a:gd name="connsiteY5" fmla="*/ 235331 h 376324"/>
                            <a:gd name="connsiteX6" fmla="*/ 503957 w 526623"/>
                            <a:gd name="connsiteY6" fmla="*/ 32373 h 376324"/>
                            <a:gd name="connsiteX7" fmla="*/ 412517 w 526623"/>
                            <a:gd name="connsiteY7" fmla="*/ 1893 h 376324"/>
                            <a:gd name="connsiteX8" fmla="*/ 138197 w 526623"/>
                            <a:gd name="connsiteY8" fmla="*/ 47613 h 376324"/>
                            <a:gd name="connsiteX0" fmla="*/ 427441 w 541547"/>
                            <a:gd name="connsiteY0" fmla="*/ 10181 h 384611"/>
                            <a:gd name="connsiteX1" fmla="*/ 38179 w 541547"/>
                            <a:gd name="connsiteY1" fmla="*/ 167973 h 384611"/>
                            <a:gd name="connsiteX2" fmla="*/ 26900 w 541547"/>
                            <a:gd name="connsiteY2" fmla="*/ 349284 h 384611"/>
                            <a:gd name="connsiteX3" fmla="*/ 147043 w 541547"/>
                            <a:gd name="connsiteY3" fmla="*/ 382684 h 384611"/>
                            <a:gd name="connsiteX4" fmla="*/ 303499 w 541547"/>
                            <a:gd name="connsiteY4" fmla="*/ 367488 h 384611"/>
                            <a:gd name="connsiteX5" fmla="*/ 528538 w 541547"/>
                            <a:gd name="connsiteY5" fmla="*/ 243619 h 384611"/>
                            <a:gd name="connsiteX6" fmla="*/ 518881 w 541547"/>
                            <a:gd name="connsiteY6" fmla="*/ 40661 h 384611"/>
                            <a:gd name="connsiteX7" fmla="*/ 427441 w 541547"/>
                            <a:gd name="connsiteY7" fmla="*/ 10181 h 384611"/>
                            <a:gd name="connsiteX0" fmla="*/ 400497 w 514603"/>
                            <a:gd name="connsiteY0" fmla="*/ 10183 h 384613"/>
                            <a:gd name="connsiteX1" fmla="*/ 11235 w 514603"/>
                            <a:gd name="connsiteY1" fmla="*/ 167975 h 384613"/>
                            <a:gd name="connsiteX2" fmla="*/ 120099 w 514603"/>
                            <a:gd name="connsiteY2" fmla="*/ 382686 h 384613"/>
                            <a:gd name="connsiteX3" fmla="*/ 276555 w 514603"/>
                            <a:gd name="connsiteY3" fmla="*/ 367490 h 384613"/>
                            <a:gd name="connsiteX4" fmla="*/ 501594 w 514603"/>
                            <a:gd name="connsiteY4" fmla="*/ 243621 h 384613"/>
                            <a:gd name="connsiteX5" fmla="*/ 491937 w 514603"/>
                            <a:gd name="connsiteY5" fmla="*/ 40663 h 384613"/>
                            <a:gd name="connsiteX6" fmla="*/ 400497 w 514603"/>
                            <a:gd name="connsiteY6" fmla="*/ 10183 h 384613"/>
                            <a:gd name="connsiteX0" fmla="*/ 400497 w 514603"/>
                            <a:gd name="connsiteY0" fmla="*/ 10183 h 383828"/>
                            <a:gd name="connsiteX1" fmla="*/ 11235 w 514603"/>
                            <a:gd name="connsiteY1" fmla="*/ 167975 h 383828"/>
                            <a:gd name="connsiteX2" fmla="*/ 120099 w 514603"/>
                            <a:gd name="connsiteY2" fmla="*/ 382686 h 383828"/>
                            <a:gd name="connsiteX3" fmla="*/ 501594 w 514603"/>
                            <a:gd name="connsiteY3" fmla="*/ 243621 h 383828"/>
                            <a:gd name="connsiteX4" fmla="*/ 491937 w 514603"/>
                            <a:gd name="connsiteY4" fmla="*/ 40663 h 383828"/>
                            <a:gd name="connsiteX5" fmla="*/ 400497 w 514603"/>
                            <a:gd name="connsiteY5" fmla="*/ 10183 h 383828"/>
                            <a:gd name="connsiteX0" fmla="*/ 400497 w 517116"/>
                            <a:gd name="connsiteY0" fmla="*/ 1010 h 374655"/>
                            <a:gd name="connsiteX1" fmla="*/ 11235 w 517116"/>
                            <a:gd name="connsiteY1" fmla="*/ 158802 h 374655"/>
                            <a:gd name="connsiteX2" fmla="*/ 120099 w 517116"/>
                            <a:gd name="connsiteY2" fmla="*/ 373513 h 374655"/>
                            <a:gd name="connsiteX3" fmla="*/ 501594 w 517116"/>
                            <a:gd name="connsiteY3" fmla="*/ 234448 h 374655"/>
                            <a:gd name="connsiteX4" fmla="*/ 400497 w 517116"/>
                            <a:gd name="connsiteY4" fmla="*/ 1010 h 374655"/>
                            <a:gd name="connsiteX0" fmla="*/ 399682 w 516301"/>
                            <a:gd name="connsiteY0" fmla="*/ 1010 h 421254"/>
                            <a:gd name="connsiteX1" fmla="*/ 10420 w 516301"/>
                            <a:gd name="connsiteY1" fmla="*/ 158802 h 421254"/>
                            <a:gd name="connsiteX2" fmla="*/ 119284 w 516301"/>
                            <a:gd name="connsiteY2" fmla="*/ 373513 h 421254"/>
                            <a:gd name="connsiteX3" fmla="*/ 223300 w 516301"/>
                            <a:gd name="connsiteY3" fmla="*/ 412622 h 421254"/>
                            <a:gd name="connsiteX4" fmla="*/ 500779 w 516301"/>
                            <a:gd name="connsiteY4" fmla="*/ 234448 h 421254"/>
                            <a:gd name="connsiteX5" fmla="*/ 399682 w 516301"/>
                            <a:gd name="connsiteY5" fmla="*/ 1010 h 421254"/>
                            <a:gd name="connsiteX0" fmla="*/ 400635 w 517254"/>
                            <a:gd name="connsiteY0" fmla="*/ 1205 h 500568"/>
                            <a:gd name="connsiteX1" fmla="*/ 11373 w 517254"/>
                            <a:gd name="connsiteY1" fmla="*/ 158997 h 500568"/>
                            <a:gd name="connsiteX2" fmla="*/ 112660 w 517254"/>
                            <a:gd name="connsiteY2" fmla="*/ 492609 h 500568"/>
                            <a:gd name="connsiteX3" fmla="*/ 224253 w 517254"/>
                            <a:gd name="connsiteY3" fmla="*/ 412817 h 500568"/>
                            <a:gd name="connsiteX4" fmla="*/ 501732 w 517254"/>
                            <a:gd name="connsiteY4" fmla="*/ 234643 h 500568"/>
                            <a:gd name="connsiteX5" fmla="*/ 400635 w 517254"/>
                            <a:gd name="connsiteY5" fmla="*/ 1205 h 500568"/>
                            <a:gd name="connsiteX0" fmla="*/ 400635 w 517254"/>
                            <a:gd name="connsiteY0" fmla="*/ 1205 h 500507"/>
                            <a:gd name="connsiteX1" fmla="*/ 11373 w 517254"/>
                            <a:gd name="connsiteY1" fmla="*/ 158997 h 500507"/>
                            <a:gd name="connsiteX2" fmla="*/ 112660 w 517254"/>
                            <a:gd name="connsiteY2" fmla="*/ 492609 h 500507"/>
                            <a:gd name="connsiteX3" fmla="*/ 224253 w 517254"/>
                            <a:gd name="connsiteY3" fmla="*/ 412817 h 500507"/>
                            <a:gd name="connsiteX4" fmla="*/ 317232 w 517254"/>
                            <a:gd name="connsiteY4" fmla="*/ 297923 h 500507"/>
                            <a:gd name="connsiteX5" fmla="*/ 501732 w 517254"/>
                            <a:gd name="connsiteY5" fmla="*/ 234643 h 500507"/>
                            <a:gd name="connsiteX6" fmla="*/ 400635 w 517254"/>
                            <a:gd name="connsiteY6" fmla="*/ 1205 h 500507"/>
                            <a:gd name="connsiteX0" fmla="*/ 400635 w 504610"/>
                            <a:gd name="connsiteY0" fmla="*/ 170 h 499472"/>
                            <a:gd name="connsiteX1" fmla="*/ 11373 w 504610"/>
                            <a:gd name="connsiteY1" fmla="*/ 157962 h 499472"/>
                            <a:gd name="connsiteX2" fmla="*/ 112660 w 504610"/>
                            <a:gd name="connsiteY2" fmla="*/ 491574 h 499472"/>
                            <a:gd name="connsiteX3" fmla="*/ 224253 w 504610"/>
                            <a:gd name="connsiteY3" fmla="*/ 411782 h 499472"/>
                            <a:gd name="connsiteX4" fmla="*/ 317232 w 504610"/>
                            <a:gd name="connsiteY4" fmla="*/ 296888 h 499472"/>
                            <a:gd name="connsiteX5" fmla="*/ 501732 w 504610"/>
                            <a:gd name="connsiteY5" fmla="*/ 233608 h 499472"/>
                            <a:gd name="connsiteX6" fmla="*/ 306603 w 504610"/>
                            <a:gd name="connsiteY6" fmla="*/ 184221 h 499472"/>
                            <a:gd name="connsiteX7" fmla="*/ 400635 w 504610"/>
                            <a:gd name="connsiteY7" fmla="*/ 170 h 499472"/>
                            <a:gd name="connsiteX0" fmla="*/ 400635 w 504679"/>
                            <a:gd name="connsiteY0" fmla="*/ 170 h 499472"/>
                            <a:gd name="connsiteX1" fmla="*/ 11373 w 504679"/>
                            <a:gd name="connsiteY1" fmla="*/ 157962 h 499472"/>
                            <a:gd name="connsiteX2" fmla="*/ 112660 w 504679"/>
                            <a:gd name="connsiteY2" fmla="*/ 491574 h 499472"/>
                            <a:gd name="connsiteX3" fmla="*/ 224253 w 504679"/>
                            <a:gd name="connsiteY3" fmla="*/ 411782 h 499472"/>
                            <a:gd name="connsiteX4" fmla="*/ 317232 w 504679"/>
                            <a:gd name="connsiteY4" fmla="*/ 296888 h 499472"/>
                            <a:gd name="connsiteX5" fmla="*/ 311162 w 504679"/>
                            <a:gd name="connsiteY5" fmla="*/ 298968 h 499472"/>
                            <a:gd name="connsiteX6" fmla="*/ 501732 w 504679"/>
                            <a:gd name="connsiteY6" fmla="*/ 233608 h 499472"/>
                            <a:gd name="connsiteX7" fmla="*/ 306603 w 504679"/>
                            <a:gd name="connsiteY7" fmla="*/ 184221 h 499472"/>
                            <a:gd name="connsiteX8" fmla="*/ 400635 w 504679"/>
                            <a:gd name="connsiteY8" fmla="*/ 170 h 499472"/>
                            <a:gd name="connsiteX0" fmla="*/ 400635 w 411811"/>
                            <a:gd name="connsiteY0" fmla="*/ 170 h 499472"/>
                            <a:gd name="connsiteX1" fmla="*/ 11373 w 411811"/>
                            <a:gd name="connsiteY1" fmla="*/ 157962 h 499472"/>
                            <a:gd name="connsiteX2" fmla="*/ 112660 w 411811"/>
                            <a:gd name="connsiteY2" fmla="*/ 491574 h 499472"/>
                            <a:gd name="connsiteX3" fmla="*/ 224253 w 411811"/>
                            <a:gd name="connsiteY3" fmla="*/ 411782 h 499472"/>
                            <a:gd name="connsiteX4" fmla="*/ 317232 w 411811"/>
                            <a:gd name="connsiteY4" fmla="*/ 296888 h 499472"/>
                            <a:gd name="connsiteX5" fmla="*/ 311162 w 411811"/>
                            <a:gd name="connsiteY5" fmla="*/ 298968 h 499472"/>
                            <a:gd name="connsiteX6" fmla="*/ 306603 w 411811"/>
                            <a:gd name="connsiteY6" fmla="*/ 184221 h 499472"/>
                            <a:gd name="connsiteX7" fmla="*/ 400635 w 411811"/>
                            <a:gd name="connsiteY7" fmla="*/ 170 h 499472"/>
                            <a:gd name="connsiteX0" fmla="*/ 344675 w 361138"/>
                            <a:gd name="connsiteY0" fmla="*/ 231 h 473092"/>
                            <a:gd name="connsiteX1" fmla="*/ 8407 w 361138"/>
                            <a:gd name="connsiteY1" fmla="*/ 131582 h 473092"/>
                            <a:gd name="connsiteX2" fmla="*/ 109694 w 361138"/>
                            <a:gd name="connsiteY2" fmla="*/ 465194 h 473092"/>
                            <a:gd name="connsiteX3" fmla="*/ 221287 w 361138"/>
                            <a:gd name="connsiteY3" fmla="*/ 385402 h 473092"/>
                            <a:gd name="connsiteX4" fmla="*/ 314266 w 361138"/>
                            <a:gd name="connsiteY4" fmla="*/ 270508 h 473092"/>
                            <a:gd name="connsiteX5" fmla="*/ 308196 w 361138"/>
                            <a:gd name="connsiteY5" fmla="*/ 272588 h 473092"/>
                            <a:gd name="connsiteX6" fmla="*/ 303637 w 361138"/>
                            <a:gd name="connsiteY6" fmla="*/ 157841 h 473092"/>
                            <a:gd name="connsiteX7" fmla="*/ 344675 w 361138"/>
                            <a:gd name="connsiteY7" fmla="*/ 231 h 473092"/>
                            <a:gd name="connsiteX0" fmla="*/ 338258 w 341911"/>
                            <a:gd name="connsiteY0" fmla="*/ 2 h 472863"/>
                            <a:gd name="connsiteX1" fmla="*/ 199680 w 341911"/>
                            <a:gd name="connsiteY1" fmla="*/ 157767 h 472863"/>
                            <a:gd name="connsiteX2" fmla="*/ 1990 w 341911"/>
                            <a:gd name="connsiteY2" fmla="*/ 131353 h 472863"/>
                            <a:gd name="connsiteX3" fmla="*/ 103277 w 341911"/>
                            <a:gd name="connsiteY3" fmla="*/ 464965 h 472863"/>
                            <a:gd name="connsiteX4" fmla="*/ 214870 w 341911"/>
                            <a:gd name="connsiteY4" fmla="*/ 385173 h 472863"/>
                            <a:gd name="connsiteX5" fmla="*/ 307849 w 341911"/>
                            <a:gd name="connsiteY5" fmla="*/ 270279 h 472863"/>
                            <a:gd name="connsiteX6" fmla="*/ 301779 w 341911"/>
                            <a:gd name="connsiteY6" fmla="*/ 272359 h 472863"/>
                            <a:gd name="connsiteX7" fmla="*/ 297220 w 341911"/>
                            <a:gd name="connsiteY7" fmla="*/ 157612 h 472863"/>
                            <a:gd name="connsiteX8" fmla="*/ 338258 w 341911"/>
                            <a:gd name="connsiteY8" fmla="*/ 2 h 472863"/>
                            <a:gd name="connsiteX0" fmla="*/ 338258 w 341911"/>
                            <a:gd name="connsiteY0" fmla="*/ 2 h 472863"/>
                            <a:gd name="connsiteX1" fmla="*/ 199680 w 341911"/>
                            <a:gd name="connsiteY1" fmla="*/ 157767 h 472863"/>
                            <a:gd name="connsiteX2" fmla="*/ 1990 w 341911"/>
                            <a:gd name="connsiteY2" fmla="*/ 131353 h 472863"/>
                            <a:gd name="connsiteX3" fmla="*/ 103277 w 341911"/>
                            <a:gd name="connsiteY3" fmla="*/ 464965 h 472863"/>
                            <a:gd name="connsiteX4" fmla="*/ 214870 w 341911"/>
                            <a:gd name="connsiteY4" fmla="*/ 385173 h 472863"/>
                            <a:gd name="connsiteX5" fmla="*/ 307849 w 341911"/>
                            <a:gd name="connsiteY5" fmla="*/ 270279 h 472863"/>
                            <a:gd name="connsiteX6" fmla="*/ 301779 w 341911"/>
                            <a:gd name="connsiteY6" fmla="*/ 272359 h 472863"/>
                            <a:gd name="connsiteX7" fmla="*/ 297220 w 341911"/>
                            <a:gd name="connsiteY7" fmla="*/ 157612 h 472863"/>
                            <a:gd name="connsiteX8" fmla="*/ 338258 w 341911"/>
                            <a:gd name="connsiteY8" fmla="*/ 2 h 472863"/>
                            <a:gd name="connsiteX0" fmla="*/ 309825 w 313478"/>
                            <a:gd name="connsiteY0" fmla="*/ 2 h 472863"/>
                            <a:gd name="connsiteX1" fmla="*/ 171247 w 313478"/>
                            <a:gd name="connsiteY1" fmla="*/ 157767 h 472863"/>
                            <a:gd name="connsiteX2" fmla="*/ 2828 w 313478"/>
                            <a:gd name="connsiteY2" fmla="*/ 270869 h 472863"/>
                            <a:gd name="connsiteX3" fmla="*/ 74844 w 313478"/>
                            <a:gd name="connsiteY3" fmla="*/ 464965 h 472863"/>
                            <a:gd name="connsiteX4" fmla="*/ 186437 w 313478"/>
                            <a:gd name="connsiteY4" fmla="*/ 385173 h 472863"/>
                            <a:gd name="connsiteX5" fmla="*/ 279416 w 313478"/>
                            <a:gd name="connsiteY5" fmla="*/ 270279 h 472863"/>
                            <a:gd name="connsiteX6" fmla="*/ 273346 w 313478"/>
                            <a:gd name="connsiteY6" fmla="*/ 272359 h 472863"/>
                            <a:gd name="connsiteX7" fmla="*/ 268787 w 313478"/>
                            <a:gd name="connsiteY7" fmla="*/ 157612 h 472863"/>
                            <a:gd name="connsiteX8" fmla="*/ 309825 w 313478"/>
                            <a:gd name="connsiteY8" fmla="*/ 2 h 472863"/>
                            <a:gd name="connsiteX0" fmla="*/ 268787 w 297124"/>
                            <a:gd name="connsiteY0" fmla="*/ 14163 h 329414"/>
                            <a:gd name="connsiteX1" fmla="*/ 171247 w 297124"/>
                            <a:gd name="connsiteY1" fmla="*/ 14318 h 329414"/>
                            <a:gd name="connsiteX2" fmla="*/ 2828 w 297124"/>
                            <a:gd name="connsiteY2" fmla="*/ 127420 h 329414"/>
                            <a:gd name="connsiteX3" fmla="*/ 74844 w 297124"/>
                            <a:gd name="connsiteY3" fmla="*/ 321516 h 329414"/>
                            <a:gd name="connsiteX4" fmla="*/ 186437 w 297124"/>
                            <a:gd name="connsiteY4" fmla="*/ 241724 h 329414"/>
                            <a:gd name="connsiteX5" fmla="*/ 279416 w 297124"/>
                            <a:gd name="connsiteY5" fmla="*/ 126830 h 329414"/>
                            <a:gd name="connsiteX6" fmla="*/ 273346 w 297124"/>
                            <a:gd name="connsiteY6" fmla="*/ 128910 h 329414"/>
                            <a:gd name="connsiteX7" fmla="*/ 268787 w 297124"/>
                            <a:gd name="connsiteY7" fmla="*/ 14163 h 329414"/>
                            <a:gd name="connsiteX0" fmla="*/ 194771 w 297124"/>
                            <a:gd name="connsiteY0" fmla="*/ 54292 h 319287"/>
                            <a:gd name="connsiteX1" fmla="*/ 171247 w 297124"/>
                            <a:gd name="connsiteY1" fmla="*/ 4191 h 319287"/>
                            <a:gd name="connsiteX2" fmla="*/ 2828 w 297124"/>
                            <a:gd name="connsiteY2" fmla="*/ 117293 h 319287"/>
                            <a:gd name="connsiteX3" fmla="*/ 74844 w 297124"/>
                            <a:gd name="connsiteY3" fmla="*/ 311389 h 319287"/>
                            <a:gd name="connsiteX4" fmla="*/ 186437 w 297124"/>
                            <a:gd name="connsiteY4" fmla="*/ 231597 h 319287"/>
                            <a:gd name="connsiteX5" fmla="*/ 279416 w 297124"/>
                            <a:gd name="connsiteY5" fmla="*/ 116703 h 319287"/>
                            <a:gd name="connsiteX6" fmla="*/ 273346 w 297124"/>
                            <a:gd name="connsiteY6" fmla="*/ 118783 h 319287"/>
                            <a:gd name="connsiteX7" fmla="*/ 194771 w 297124"/>
                            <a:gd name="connsiteY7" fmla="*/ 54292 h 319287"/>
                            <a:gd name="connsiteX0" fmla="*/ 176997 w 297124"/>
                            <a:gd name="connsiteY0" fmla="*/ 92018 h 317703"/>
                            <a:gd name="connsiteX1" fmla="*/ 171247 w 297124"/>
                            <a:gd name="connsiteY1" fmla="*/ 2607 h 317703"/>
                            <a:gd name="connsiteX2" fmla="*/ 2828 w 297124"/>
                            <a:gd name="connsiteY2" fmla="*/ 115709 h 317703"/>
                            <a:gd name="connsiteX3" fmla="*/ 74844 w 297124"/>
                            <a:gd name="connsiteY3" fmla="*/ 309805 h 317703"/>
                            <a:gd name="connsiteX4" fmla="*/ 186437 w 297124"/>
                            <a:gd name="connsiteY4" fmla="*/ 230013 h 317703"/>
                            <a:gd name="connsiteX5" fmla="*/ 279416 w 297124"/>
                            <a:gd name="connsiteY5" fmla="*/ 115119 h 317703"/>
                            <a:gd name="connsiteX6" fmla="*/ 273346 w 297124"/>
                            <a:gd name="connsiteY6" fmla="*/ 117199 h 317703"/>
                            <a:gd name="connsiteX7" fmla="*/ 176997 w 297124"/>
                            <a:gd name="connsiteY7" fmla="*/ 92018 h 317703"/>
                            <a:gd name="connsiteX0" fmla="*/ 226739 w 297124"/>
                            <a:gd name="connsiteY0" fmla="*/ 51834 h 319465"/>
                            <a:gd name="connsiteX1" fmla="*/ 171247 w 297124"/>
                            <a:gd name="connsiteY1" fmla="*/ 4369 h 319465"/>
                            <a:gd name="connsiteX2" fmla="*/ 2828 w 297124"/>
                            <a:gd name="connsiteY2" fmla="*/ 117471 h 319465"/>
                            <a:gd name="connsiteX3" fmla="*/ 74844 w 297124"/>
                            <a:gd name="connsiteY3" fmla="*/ 311567 h 319465"/>
                            <a:gd name="connsiteX4" fmla="*/ 186437 w 297124"/>
                            <a:gd name="connsiteY4" fmla="*/ 231775 h 319465"/>
                            <a:gd name="connsiteX5" fmla="*/ 279416 w 297124"/>
                            <a:gd name="connsiteY5" fmla="*/ 116881 h 319465"/>
                            <a:gd name="connsiteX6" fmla="*/ 273346 w 297124"/>
                            <a:gd name="connsiteY6" fmla="*/ 118961 h 319465"/>
                            <a:gd name="connsiteX7" fmla="*/ 226739 w 297124"/>
                            <a:gd name="connsiteY7" fmla="*/ 51834 h 319465"/>
                            <a:gd name="connsiteX0" fmla="*/ 226739 w 289446"/>
                            <a:gd name="connsiteY0" fmla="*/ 51834 h 319465"/>
                            <a:gd name="connsiteX1" fmla="*/ 171247 w 289446"/>
                            <a:gd name="connsiteY1" fmla="*/ 4369 h 319465"/>
                            <a:gd name="connsiteX2" fmla="*/ 2828 w 289446"/>
                            <a:gd name="connsiteY2" fmla="*/ 117471 h 319465"/>
                            <a:gd name="connsiteX3" fmla="*/ 74844 w 289446"/>
                            <a:gd name="connsiteY3" fmla="*/ 311567 h 319465"/>
                            <a:gd name="connsiteX4" fmla="*/ 186437 w 289446"/>
                            <a:gd name="connsiteY4" fmla="*/ 231775 h 319465"/>
                            <a:gd name="connsiteX5" fmla="*/ 279416 w 289446"/>
                            <a:gd name="connsiteY5" fmla="*/ 116881 h 319465"/>
                            <a:gd name="connsiteX6" fmla="*/ 214719 w 289446"/>
                            <a:gd name="connsiteY6" fmla="*/ 180566 h 319465"/>
                            <a:gd name="connsiteX7" fmla="*/ 226739 w 289446"/>
                            <a:gd name="connsiteY7" fmla="*/ 51834 h 319465"/>
                            <a:gd name="connsiteX0" fmla="*/ 202461 w 289446"/>
                            <a:gd name="connsiteY0" fmla="*/ 59631 h 318953"/>
                            <a:gd name="connsiteX1" fmla="*/ 171247 w 289446"/>
                            <a:gd name="connsiteY1" fmla="*/ 3857 h 318953"/>
                            <a:gd name="connsiteX2" fmla="*/ 2828 w 289446"/>
                            <a:gd name="connsiteY2" fmla="*/ 116959 h 318953"/>
                            <a:gd name="connsiteX3" fmla="*/ 74844 w 289446"/>
                            <a:gd name="connsiteY3" fmla="*/ 311055 h 318953"/>
                            <a:gd name="connsiteX4" fmla="*/ 186437 w 289446"/>
                            <a:gd name="connsiteY4" fmla="*/ 231263 h 318953"/>
                            <a:gd name="connsiteX5" fmla="*/ 279416 w 289446"/>
                            <a:gd name="connsiteY5" fmla="*/ 116369 h 318953"/>
                            <a:gd name="connsiteX6" fmla="*/ 214719 w 289446"/>
                            <a:gd name="connsiteY6" fmla="*/ 180054 h 318953"/>
                            <a:gd name="connsiteX7" fmla="*/ 202461 w 289446"/>
                            <a:gd name="connsiteY7" fmla="*/ 59631 h 318953"/>
                            <a:gd name="connsiteX0" fmla="*/ 202461 w 216515"/>
                            <a:gd name="connsiteY0" fmla="*/ 59631 h 318929"/>
                            <a:gd name="connsiteX1" fmla="*/ 171247 w 216515"/>
                            <a:gd name="connsiteY1" fmla="*/ 3857 h 318929"/>
                            <a:gd name="connsiteX2" fmla="*/ 2828 w 216515"/>
                            <a:gd name="connsiteY2" fmla="*/ 116959 h 318929"/>
                            <a:gd name="connsiteX3" fmla="*/ 74844 w 216515"/>
                            <a:gd name="connsiteY3" fmla="*/ 311055 h 318929"/>
                            <a:gd name="connsiteX4" fmla="*/ 186437 w 216515"/>
                            <a:gd name="connsiteY4" fmla="*/ 231263 h 318929"/>
                            <a:gd name="connsiteX5" fmla="*/ 214719 w 216515"/>
                            <a:gd name="connsiteY5" fmla="*/ 180054 h 318929"/>
                            <a:gd name="connsiteX6" fmla="*/ 202461 w 216515"/>
                            <a:gd name="connsiteY6" fmla="*/ 59631 h 318929"/>
                            <a:gd name="connsiteX0" fmla="*/ 200078 w 214132"/>
                            <a:gd name="connsiteY0" fmla="*/ 113647 h 372945"/>
                            <a:gd name="connsiteX1" fmla="*/ 105135 w 214132"/>
                            <a:gd name="connsiteY1" fmla="*/ 2146 h 372945"/>
                            <a:gd name="connsiteX2" fmla="*/ 445 w 214132"/>
                            <a:gd name="connsiteY2" fmla="*/ 170975 h 372945"/>
                            <a:gd name="connsiteX3" fmla="*/ 72461 w 214132"/>
                            <a:gd name="connsiteY3" fmla="*/ 365071 h 372945"/>
                            <a:gd name="connsiteX4" fmla="*/ 184054 w 214132"/>
                            <a:gd name="connsiteY4" fmla="*/ 285279 h 372945"/>
                            <a:gd name="connsiteX5" fmla="*/ 212336 w 214132"/>
                            <a:gd name="connsiteY5" fmla="*/ 234070 h 372945"/>
                            <a:gd name="connsiteX6" fmla="*/ 200078 w 214132"/>
                            <a:gd name="connsiteY6" fmla="*/ 113647 h 372945"/>
                            <a:gd name="connsiteX0" fmla="*/ 171466 w 185520"/>
                            <a:gd name="connsiteY0" fmla="*/ 113647 h 372945"/>
                            <a:gd name="connsiteX1" fmla="*/ 76523 w 185520"/>
                            <a:gd name="connsiteY1" fmla="*/ 2146 h 372945"/>
                            <a:gd name="connsiteX2" fmla="*/ 1029 w 185520"/>
                            <a:gd name="connsiteY2" fmla="*/ 227444 h 372945"/>
                            <a:gd name="connsiteX3" fmla="*/ 43849 w 185520"/>
                            <a:gd name="connsiteY3" fmla="*/ 365071 h 372945"/>
                            <a:gd name="connsiteX4" fmla="*/ 155442 w 185520"/>
                            <a:gd name="connsiteY4" fmla="*/ 285279 h 372945"/>
                            <a:gd name="connsiteX5" fmla="*/ 183724 w 185520"/>
                            <a:gd name="connsiteY5" fmla="*/ 234070 h 372945"/>
                            <a:gd name="connsiteX6" fmla="*/ 171466 w 185520"/>
                            <a:gd name="connsiteY6" fmla="*/ 113647 h 372945"/>
                            <a:gd name="connsiteX0" fmla="*/ 171466 w 185520"/>
                            <a:gd name="connsiteY0" fmla="*/ 113647 h 396811"/>
                            <a:gd name="connsiteX1" fmla="*/ 76523 w 185520"/>
                            <a:gd name="connsiteY1" fmla="*/ 2146 h 396811"/>
                            <a:gd name="connsiteX2" fmla="*/ 1029 w 185520"/>
                            <a:gd name="connsiteY2" fmla="*/ 227444 h 396811"/>
                            <a:gd name="connsiteX3" fmla="*/ 43849 w 185520"/>
                            <a:gd name="connsiteY3" fmla="*/ 365071 h 396811"/>
                            <a:gd name="connsiteX4" fmla="*/ 158771 w 185520"/>
                            <a:gd name="connsiteY4" fmla="*/ 383831 h 396811"/>
                            <a:gd name="connsiteX5" fmla="*/ 183724 w 185520"/>
                            <a:gd name="connsiteY5" fmla="*/ 234070 h 396811"/>
                            <a:gd name="connsiteX6" fmla="*/ 171466 w 185520"/>
                            <a:gd name="connsiteY6" fmla="*/ 113647 h 396811"/>
                            <a:gd name="connsiteX0" fmla="*/ 170767 w 184821"/>
                            <a:gd name="connsiteY0" fmla="*/ 113647 h 387719"/>
                            <a:gd name="connsiteX1" fmla="*/ 75824 w 184821"/>
                            <a:gd name="connsiteY1" fmla="*/ 2146 h 387719"/>
                            <a:gd name="connsiteX2" fmla="*/ 330 w 184821"/>
                            <a:gd name="connsiteY2" fmla="*/ 227444 h 387719"/>
                            <a:gd name="connsiteX3" fmla="*/ 54416 w 184821"/>
                            <a:gd name="connsiteY3" fmla="*/ 294753 h 387719"/>
                            <a:gd name="connsiteX4" fmla="*/ 158072 w 184821"/>
                            <a:gd name="connsiteY4" fmla="*/ 383831 h 387719"/>
                            <a:gd name="connsiteX5" fmla="*/ 183025 w 184821"/>
                            <a:gd name="connsiteY5" fmla="*/ 234070 h 387719"/>
                            <a:gd name="connsiteX6" fmla="*/ 170767 w 184821"/>
                            <a:gd name="connsiteY6" fmla="*/ 113647 h 387719"/>
                            <a:gd name="connsiteX0" fmla="*/ 194313 w 208367"/>
                            <a:gd name="connsiteY0" fmla="*/ 113647 h 387719"/>
                            <a:gd name="connsiteX1" fmla="*/ 99370 w 208367"/>
                            <a:gd name="connsiteY1" fmla="*/ 2146 h 387719"/>
                            <a:gd name="connsiteX2" fmla="*/ 182 w 208367"/>
                            <a:gd name="connsiteY2" fmla="*/ 279863 h 387719"/>
                            <a:gd name="connsiteX3" fmla="*/ 77962 w 208367"/>
                            <a:gd name="connsiteY3" fmla="*/ 294753 h 387719"/>
                            <a:gd name="connsiteX4" fmla="*/ 181618 w 208367"/>
                            <a:gd name="connsiteY4" fmla="*/ 383831 h 387719"/>
                            <a:gd name="connsiteX5" fmla="*/ 206571 w 208367"/>
                            <a:gd name="connsiteY5" fmla="*/ 234070 h 387719"/>
                            <a:gd name="connsiteX6" fmla="*/ 194313 w 208367"/>
                            <a:gd name="connsiteY6" fmla="*/ 113647 h 387719"/>
                            <a:gd name="connsiteX0" fmla="*/ 207936 w 221990"/>
                            <a:gd name="connsiteY0" fmla="*/ 113647 h 400440"/>
                            <a:gd name="connsiteX1" fmla="*/ 112993 w 221990"/>
                            <a:gd name="connsiteY1" fmla="*/ 2146 h 400440"/>
                            <a:gd name="connsiteX2" fmla="*/ 13805 w 221990"/>
                            <a:gd name="connsiteY2" fmla="*/ 279863 h 400440"/>
                            <a:gd name="connsiteX3" fmla="*/ 21510 w 221990"/>
                            <a:gd name="connsiteY3" fmla="*/ 374120 h 400440"/>
                            <a:gd name="connsiteX4" fmla="*/ 195241 w 221990"/>
                            <a:gd name="connsiteY4" fmla="*/ 383831 h 400440"/>
                            <a:gd name="connsiteX5" fmla="*/ 220194 w 221990"/>
                            <a:gd name="connsiteY5" fmla="*/ 234070 h 400440"/>
                            <a:gd name="connsiteX6" fmla="*/ 207936 w 221990"/>
                            <a:gd name="connsiteY6" fmla="*/ 113647 h 400440"/>
                            <a:gd name="connsiteX0" fmla="*/ 207936 w 221990"/>
                            <a:gd name="connsiteY0" fmla="*/ 113647 h 384477"/>
                            <a:gd name="connsiteX1" fmla="*/ 112993 w 221990"/>
                            <a:gd name="connsiteY1" fmla="*/ 2146 h 384477"/>
                            <a:gd name="connsiteX2" fmla="*/ 13805 w 221990"/>
                            <a:gd name="connsiteY2" fmla="*/ 279863 h 384477"/>
                            <a:gd name="connsiteX3" fmla="*/ 21510 w 221990"/>
                            <a:gd name="connsiteY3" fmla="*/ 374120 h 384477"/>
                            <a:gd name="connsiteX4" fmla="*/ 113162 w 221990"/>
                            <a:gd name="connsiteY4" fmla="*/ 323303 h 384477"/>
                            <a:gd name="connsiteX5" fmla="*/ 220194 w 221990"/>
                            <a:gd name="connsiteY5" fmla="*/ 234070 h 384477"/>
                            <a:gd name="connsiteX6" fmla="*/ 207936 w 221990"/>
                            <a:gd name="connsiteY6" fmla="*/ 113647 h 384477"/>
                            <a:gd name="connsiteX0" fmla="*/ 207936 w 211307"/>
                            <a:gd name="connsiteY0" fmla="*/ 113647 h 384477"/>
                            <a:gd name="connsiteX1" fmla="*/ 112993 w 211307"/>
                            <a:gd name="connsiteY1" fmla="*/ 2146 h 384477"/>
                            <a:gd name="connsiteX2" fmla="*/ 13805 w 211307"/>
                            <a:gd name="connsiteY2" fmla="*/ 279863 h 384477"/>
                            <a:gd name="connsiteX3" fmla="*/ 21510 w 211307"/>
                            <a:gd name="connsiteY3" fmla="*/ 374120 h 384477"/>
                            <a:gd name="connsiteX4" fmla="*/ 113162 w 211307"/>
                            <a:gd name="connsiteY4" fmla="*/ 323303 h 384477"/>
                            <a:gd name="connsiteX5" fmla="*/ 169474 w 211307"/>
                            <a:gd name="connsiteY5" fmla="*/ 240351 h 384477"/>
                            <a:gd name="connsiteX6" fmla="*/ 207936 w 211307"/>
                            <a:gd name="connsiteY6" fmla="*/ 113647 h 384477"/>
                            <a:gd name="connsiteX0" fmla="*/ 173979 w 181017"/>
                            <a:gd name="connsiteY0" fmla="*/ 157929 h 383911"/>
                            <a:gd name="connsiteX1" fmla="*/ 112993 w 181017"/>
                            <a:gd name="connsiteY1" fmla="*/ 1580 h 383911"/>
                            <a:gd name="connsiteX2" fmla="*/ 13805 w 181017"/>
                            <a:gd name="connsiteY2" fmla="*/ 279297 h 383911"/>
                            <a:gd name="connsiteX3" fmla="*/ 21510 w 181017"/>
                            <a:gd name="connsiteY3" fmla="*/ 373554 h 383911"/>
                            <a:gd name="connsiteX4" fmla="*/ 113162 w 181017"/>
                            <a:gd name="connsiteY4" fmla="*/ 322737 h 383911"/>
                            <a:gd name="connsiteX5" fmla="*/ 169474 w 181017"/>
                            <a:gd name="connsiteY5" fmla="*/ 239785 h 383911"/>
                            <a:gd name="connsiteX6" fmla="*/ 173979 w 181017"/>
                            <a:gd name="connsiteY6" fmla="*/ 157929 h 383911"/>
                            <a:gd name="connsiteX0" fmla="*/ 173918 w 180956"/>
                            <a:gd name="connsiteY0" fmla="*/ 81382 h 307364"/>
                            <a:gd name="connsiteX1" fmla="*/ 111926 w 180956"/>
                            <a:gd name="connsiteY1" fmla="*/ 2917 h 307364"/>
                            <a:gd name="connsiteX2" fmla="*/ 13744 w 180956"/>
                            <a:gd name="connsiteY2" fmla="*/ 202750 h 307364"/>
                            <a:gd name="connsiteX3" fmla="*/ 21449 w 180956"/>
                            <a:gd name="connsiteY3" fmla="*/ 297007 h 307364"/>
                            <a:gd name="connsiteX4" fmla="*/ 113101 w 180956"/>
                            <a:gd name="connsiteY4" fmla="*/ 246190 h 307364"/>
                            <a:gd name="connsiteX5" fmla="*/ 169413 w 180956"/>
                            <a:gd name="connsiteY5" fmla="*/ 163238 h 307364"/>
                            <a:gd name="connsiteX6" fmla="*/ 173918 w 180956"/>
                            <a:gd name="connsiteY6" fmla="*/ 81382 h 307364"/>
                            <a:gd name="connsiteX0" fmla="*/ 163348 w 170386"/>
                            <a:gd name="connsiteY0" fmla="*/ 81382 h 251896"/>
                            <a:gd name="connsiteX1" fmla="*/ 101356 w 170386"/>
                            <a:gd name="connsiteY1" fmla="*/ 2917 h 251896"/>
                            <a:gd name="connsiteX2" fmla="*/ 3174 w 170386"/>
                            <a:gd name="connsiteY2" fmla="*/ 202750 h 251896"/>
                            <a:gd name="connsiteX3" fmla="*/ 39914 w 170386"/>
                            <a:gd name="connsiteY3" fmla="*/ 187378 h 251896"/>
                            <a:gd name="connsiteX4" fmla="*/ 102531 w 170386"/>
                            <a:gd name="connsiteY4" fmla="*/ 246190 h 251896"/>
                            <a:gd name="connsiteX5" fmla="*/ 158843 w 170386"/>
                            <a:gd name="connsiteY5" fmla="*/ 163238 h 251896"/>
                            <a:gd name="connsiteX6" fmla="*/ 163348 w 170386"/>
                            <a:gd name="connsiteY6" fmla="*/ 81382 h 251896"/>
                            <a:gd name="connsiteX0" fmla="*/ 161438 w 168476"/>
                            <a:gd name="connsiteY0" fmla="*/ 81382 h 251896"/>
                            <a:gd name="connsiteX1" fmla="*/ 99446 w 168476"/>
                            <a:gd name="connsiteY1" fmla="*/ 2917 h 251896"/>
                            <a:gd name="connsiteX2" fmla="*/ 1264 w 168476"/>
                            <a:gd name="connsiteY2" fmla="*/ 202750 h 251896"/>
                            <a:gd name="connsiteX3" fmla="*/ 38004 w 168476"/>
                            <a:gd name="connsiteY3" fmla="*/ 187378 h 251896"/>
                            <a:gd name="connsiteX4" fmla="*/ 100621 w 168476"/>
                            <a:gd name="connsiteY4" fmla="*/ 246190 h 251896"/>
                            <a:gd name="connsiteX5" fmla="*/ 156933 w 168476"/>
                            <a:gd name="connsiteY5" fmla="*/ 163238 h 251896"/>
                            <a:gd name="connsiteX6" fmla="*/ 161438 w 168476"/>
                            <a:gd name="connsiteY6" fmla="*/ 81382 h 251896"/>
                            <a:gd name="connsiteX0" fmla="*/ 123435 w 130473"/>
                            <a:gd name="connsiteY0" fmla="*/ 81079 h 251593"/>
                            <a:gd name="connsiteX1" fmla="*/ 61443 w 130473"/>
                            <a:gd name="connsiteY1" fmla="*/ 2614 h 251593"/>
                            <a:gd name="connsiteX2" fmla="*/ 1 w 130473"/>
                            <a:gd name="connsiteY2" fmla="*/ 187075 h 251593"/>
                            <a:gd name="connsiteX3" fmla="*/ 62618 w 130473"/>
                            <a:gd name="connsiteY3" fmla="*/ 245887 h 251593"/>
                            <a:gd name="connsiteX4" fmla="*/ 118930 w 130473"/>
                            <a:gd name="connsiteY4" fmla="*/ 162935 h 251593"/>
                            <a:gd name="connsiteX5" fmla="*/ 123435 w 130473"/>
                            <a:gd name="connsiteY5" fmla="*/ 81079 h 251593"/>
                            <a:gd name="connsiteX0" fmla="*/ 123435 w 130472"/>
                            <a:gd name="connsiteY0" fmla="*/ 81077 h 281983"/>
                            <a:gd name="connsiteX1" fmla="*/ 61443 w 130472"/>
                            <a:gd name="connsiteY1" fmla="*/ 2612 h 281983"/>
                            <a:gd name="connsiteX2" fmla="*/ 1 w 130472"/>
                            <a:gd name="connsiteY2" fmla="*/ 187073 h 281983"/>
                            <a:gd name="connsiteX3" fmla="*/ 59877 w 130472"/>
                            <a:gd name="connsiteY3" fmla="*/ 278178 h 281983"/>
                            <a:gd name="connsiteX4" fmla="*/ 118930 w 130472"/>
                            <a:gd name="connsiteY4" fmla="*/ 162933 h 281983"/>
                            <a:gd name="connsiteX5" fmla="*/ 123435 w 130472"/>
                            <a:gd name="connsiteY5" fmla="*/ 81077 h 281983"/>
                            <a:gd name="connsiteX0" fmla="*/ 134182 w 141219"/>
                            <a:gd name="connsiteY0" fmla="*/ 81077 h 287817"/>
                            <a:gd name="connsiteX1" fmla="*/ 72190 w 141219"/>
                            <a:gd name="connsiteY1" fmla="*/ 2612 h 287817"/>
                            <a:gd name="connsiteX2" fmla="*/ 0 w 141219"/>
                            <a:gd name="connsiteY2" fmla="*/ 247392 h 287817"/>
                            <a:gd name="connsiteX3" fmla="*/ 70624 w 141219"/>
                            <a:gd name="connsiteY3" fmla="*/ 278178 h 287817"/>
                            <a:gd name="connsiteX4" fmla="*/ 129677 w 141219"/>
                            <a:gd name="connsiteY4" fmla="*/ 162933 h 287817"/>
                            <a:gd name="connsiteX5" fmla="*/ 134182 w 141219"/>
                            <a:gd name="connsiteY5" fmla="*/ 81077 h 287817"/>
                            <a:gd name="connsiteX0" fmla="*/ 134182 w 153409"/>
                            <a:gd name="connsiteY0" fmla="*/ 81077 h 287819"/>
                            <a:gd name="connsiteX1" fmla="*/ 72190 w 153409"/>
                            <a:gd name="connsiteY1" fmla="*/ 2612 h 287819"/>
                            <a:gd name="connsiteX2" fmla="*/ 0 w 153409"/>
                            <a:gd name="connsiteY2" fmla="*/ 247392 h 287819"/>
                            <a:gd name="connsiteX3" fmla="*/ 70624 w 153409"/>
                            <a:gd name="connsiteY3" fmla="*/ 278178 h 287819"/>
                            <a:gd name="connsiteX4" fmla="*/ 152664 w 153409"/>
                            <a:gd name="connsiteY4" fmla="*/ 166785 h 287819"/>
                            <a:gd name="connsiteX5" fmla="*/ 134182 w 153409"/>
                            <a:gd name="connsiteY5" fmla="*/ 81077 h 287819"/>
                            <a:gd name="connsiteX0" fmla="*/ 134182 w 153409"/>
                            <a:gd name="connsiteY0" fmla="*/ 103875 h 310615"/>
                            <a:gd name="connsiteX1" fmla="*/ 67739 w 153409"/>
                            <a:gd name="connsiteY1" fmla="*/ 2075 h 310615"/>
                            <a:gd name="connsiteX2" fmla="*/ 0 w 153409"/>
                            <a:gd name="connsiteY2" fmla="*/ 270190 h 310615"/>
                            <a:gd name="connsiteX3" fmla="*/ 70624 w 153409"/>
                            <a:gd name="connsiteY3" fmla="*/ 300976 h 310615"/>
                            <a:gd name="connsiteX4" fmla="*/ 152664 w 153409"/>
                            <a:gd name="connsiteY4" fmla="*/ 189583 h 310615"/>
                            <a:gd name="connsiteX5" fmla="*/ 134182 w 153409"/>
                            <a:gd name="connsiteY5" fmla="*/ 103875 h 310615"/>
                            <a:gd name="connsiteX0" fmla="*/ 134870 w 154097"/>
                            <a:gd name="connsiteY0" fmla="*/ 103875 h 310617"/>
                            <a:gd name="connsiteX1" fmla="*/ 68427 w 154097"/>
                            <a:gd name="connsiteY1" fmla="*/ 2075 h 310617"/>
                            <a:gd name="connsiteX2" fmla="*/ 50547 w 154097"/>
                            <a:gd name="connsiteY2" fmla="*/ 129528 h 310617"/>
                            <a:gd name="connsiteX3" fmla="*/ 688 w 154097"/>
                            <a:gd name="connsiteY3" fmla="*/ 270190 h 310617"/>
                            <a:gd name="connsiteX4" fmla="*/ 71312 w 154097"/>
                            <a:gd name="connsiteY4" fmla="*/ 300976 h 310617"/>
                            <a:gd name="connsiteX5" fmla="*/ 153352 w 154097"/>
                            <a:gd name="connsiteY5" fmla="*/ 189583 h 310617"/>
                            <a:gd name="connsiteX6" fmla="*/ 134870 w 154097"/>
                            <a:gd name="connsiteY6" fmla="*/ 103875 h 310617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154097" h="310617">
                              <a:moveTo>
                                <a:pt x="134870" y="103875"/>
                              </a:moveTo>
                              <a:cubicBezTo>
                                <a:pt x="117854" y="84776"/>
                                <a:pt x="88999" y="-15591"/>
                                <a:pt x="68427" y="2075"/>
                              </a:cubicBezTo>
                              <a:cubicBezTo>
                                <a:pt x="51049" y="4476"/>
                                <a:pt x="61837" y="84842"/>
                                <a:pt x="50547" y="129528"/>
                              </a:cubicBezTo>
                              <a:cubicBezTo>
                                <a:pt x="39257" y="174214"/>
                                <a:pt x="-6097" y="239741"/>
                                <a:pt x="688" y="270190"/>
                              </a:cubicBezTo>
                              <a:cubicBezTo>
                                <a:pt x="32519" y="305434"/>
                                <a:pt x="48000" y="322809"/>
                                <a:pt x="71312" y="300976"/>
                              </a:cubicBezTo>
                              <a:cubicBezTo>
                                <a:pt x="94624" y="279143"/>
                                <a:pt x="150681" y="218188"/>
                                <a:pt x="153352" y="189583"/>
                              </a:cubicBezTo>
                              <a:cubicBezTo>
                                <a:pt x="156023" y="160978"/>
                                <a:pt x="151887" y="122974"/>
                                <a:pt x="134870" y="103875"/>
                              </a:cubicBezTo>
                              <a:close/>
                            </a:path>
                          </a:pathLst>
                        </a:custGeom>
                        <a:grpFill/>
                        <a:ln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anchor="ctr"/>
                        <a:lstStyle/>
                        <a:p>
                          <a:pPr algn="ctr">
                            <a:defRPr/>
                          </a:pPr>
                          <a:endParaRPr lang="pt-BR" sz="1100">
                            <a:solidFill>
                              <a:prstClr val="white"/>
                            </a:solidFill>
                          </a:endParaRPr>
                        </a:p>
                      </p:txBody>
                    </p:sp>
                  </p:grpSp>
                  <p:sp>
                    <p:nvSpPr>
                      <p:cNvPr id="982" name="Freeform 280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5174352" y="5172978"/>
                        <a:ext cx="140184" cy="194754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399682 w 516301"/>
                          <a:gd name="connsiteY0" fmla="*/ 1010 h 421254"/>
                          <a:gd name="connsiteX1" fmla="*/ 10420 w 516301"/>
                          <a:gd name="connsiteY1" fmla="*/ 158802 h 421254"/>
                          <a:gd name="connsiteX2" fmla="*/ 119284 w 516301"/>
                          <a:gd name="connsiteY2" fmla="*/ 373513 h 421254"/>
                          <a:gd name="connsiteX3" fmla="*/ 223300 w 516301"/>
                          <a:gd name="connsiteY3" fmla="*/ 412622 h 421254"/>
                          <a:gd name="connsiteX4" fmla="*/ 500779 w 516301"/>
                          <a:gd name="connsiteY4" fmla="*/ 234448 h 421254"/>
                          <a:gd name="connsiteX5" fmla="*/ 399682 w 516301"/>
                          <a:gd name="connsiteY5" fmla="*/ 1010 h 421254"/>
                          <a:gd name="connsiteX0" fmla="*/ 400635 w 517254"/>
                          <a:gd name="connsiteY0" fmla="*/ 1205 h 500568"/>
                          <a:gd name="connsiteX1" fmla="*/ 11373 w 517254"/>
                          <a:gd name="connsiteY1" fmla="*/ 158997 h 500568"/>
                          <a:gd name="connsiteX2" fmla="*/ 112660 w 517254"/>
                          <a:gd name="connsiteY2" fmla="*/ 492609 h 500568"/>
                          <a:gd name="connsiteX3" fmla="*/ 224253 w 517254"/>
                          <a:gd name="connsiteY3" fmla="*/ 412817 h 500568"/>
                          <a:gd name="connsiteX4" fmla="*/ 501732 w 517254"/>
                          <a:gd name="connsiteY4" fmla="*/ 234643 h 500568"/>
                          <a:gd name="connsiteX5" fmla="*/ 400635 w 517254"/>
                          <a:gd name="connsiteY5" fmla="*/ 1205 h 500568"/>
                          <a:gd name="connsiteX0" fmla="*/ 400635 w 517254"/>
                          <a:gd name="connsiteY0" fmla="*/ 1205 h 500507"/>
                          <a:gd name="connsiteX1" fmla="*/ 11373 w 517254"/>
                          <a:gd name="connsiteY1" fmla="*/ 158997 h 500507"/>
                          <a:gd name="connsiteX2" fmla="*/ 112660 w 517254"/>
                          <a:gd name="connsiteY2" fmla="*/ 492609 h 500507"/>
                          <a:gd name="connsiteX3" fmla="*/ 224253 w 517254"/>
                          <a:gd name="connsiteY3" fmla="*/ 412817 h 500507"/>
                          <a:gd name="connsiteX4" fmla="*/ 317232 w 517254"/>
                          <a:gd name="connsiteY4" fmla="*/ 297923 h 500507"/>
                          <a:gd name="connsiteX5" fmla="*/ 501732 w 517254"/>
                          <a:gd name="connsiteY5" fmla="*/ 234643 h 500507"/>
                          <a:gd name="connsiteX6" fmla="*/ 400635 w 517254"/>
                          <a:gd name="connsiteY6" fmla="*/ 1205 h 500507"/>
                          <a:gd name="connsiteX0" fmla="*/ 400635 w 504610"/>
                          <a:gd name="connsiteY0" fmla="*/ 170 h 499472"/>
                          <a:gd name="connsiteX1" fmla="*/ 11373 w 504610"/>
                          <a:gd name="connsiteY1" fmla="*/ 157962 h 499472"/>
                          <a:gd name="connsiteX2" fmla="*/ 112660 w 504610"/>
                          <a:gd name="connsiteY2" fmla="*/ 491574 h 499472"/>
                          <a:gd name="connsiteX3" fmla="*/ 224253 w 504610"/>
                          <a:gd name="connsiteY3" fmla="*/ 411782 h 499472"/>
                          <a:gd name="connsiteX4" fmla="*/ 317232 w 504610"/>
                          <a:gd name="connsiteY4" fmla="*/ 296888 h 499472"/>
                          <a:gd name="connsiteX5" fmla="*/ 501732 w 504610"/>
                          <a:gd name="connsiteY5" fmla="*/ 233608 h 499472"/>
                          <a:gd name="connsiteX6" fmla="*/ 306603 w 504610"/>
                          <a:gd name="connsiteY6" fmla="*/ 184221 h 499472"/>
                          <a:gd name="connsiteX7" fmla="*/ 400635 w 504610"/>
                          <a:gd name="connsiteY7" fmla="*/ 170 h 499472"/>
                          <a:gd name="connsiteX0" fmla="*/ 400635 w 504679"/>
                          <a:gd name="connsiteY0" fmla="*/ 170 h 499472"/>
                          <a:gd name="connsiteX1" fmla="*/ 11373 w 504679"/>
                          <a:gd name="connsiteY1" fmla="*/ 157962 h 499472"/>
                          <a:gd name="connsiteX2" fmla="*/ 112660 w 504679"/>
                          <a:gd name="connsiteY2" fmla="*/ 491574 h 499472"/>
                          <a:gd name="connsiteX3" fmla="*/ 224253 w 504679"/>
                          <a:gd name="connsiteY3" fmla="*/ 411782 h 499472"/>
                          <a:gd name="connsiteX4" fmla="*/ 317232 w 504679"/>
                          <a:gd name="connsiteY4" fmla="*/ 296888 h 499472"/>
                          <a:gd name="connsiteX5" fmla="*/ 311162 w 504679"/>
                          <a:gd name="connsiteY5" fmla="*/ 298968 h 499472"/>
                          <a:gd name="connsiteX6" fmla="*/ 501732 w 504679"/>
                          <a:gd name="connsiteY6" fmla="*/ 233608 h 499472"/>
                          <a:gd name="connsiteX7" fmla="*/ 306603 w 504679"/>
                          <a:gd name="connsiteY7" fmla="*/ 184221 h 499472"/>
                          <a:gd name="connsiteX8" fmla="*/ 400635 w 504679"/>
                          <a:gd name="connsiteY8" fmla="*/ 170 h 499472"/>
                          <a:gd name="connsiteX0" fmla="*/ 400635 w 411811"/>
                          <a:gd name="connsiteY0" fmla="*/ 170 h 499472"/>
                          <a:gd name="connsiteX1" fmla="*/ 11373 w 411811"/>
                          <a:gd name="connsiteY1" fmla="*/ 157962 h 499472"/>
                          <a:gd name="connsiteX2" fmla="*/ 112660 w 411811"/>
                          <a:gd name="connsiteY2" fmla="*/ 491574 h 499472"/>
                          <a:gd name="connsiteX3" fmla="*/ 224253 w 411811"/>
                          <a:gd name="connsiteY3" fmla="*/ 411782 h 499472"/>
                          <a:gd name="connsiteX4" fmla="*/ 317232 w 411811"/>
                          <a:gd name="connsiteY4" fmla="*/ 296888 h 499472"/>
                          <a:gd name="connsiteX5" fmla="*/ 311162 w 411811"/>
                          <a:gd name="connsiteY5" fmla="*/ 298968 h 499472"/>
                          <a:gd name="connsiteX6" fmla="*/ 306603 w 411811"/>
                          <a:gd name="connsiteY6" fmla="*/ 184221 h 499472"/>
                          <a:gd name="connsiteX7" fmla="*/ 400635 w 411811"/>
                          <a:gd name="connsiteY7" fmla="*/ 170 h 499472"/>
                          <a:gd name="connsiteX0" fmla="*/ 344675 w 361138"/>
                          <a:gd name="connsiteY0" fmla="*/ 231 h 473092"/>
                          <a:gd name="connsiteX1" fmla="*/ 8407 w 361138"/>
                          <a:gd name="connsiteY1" fmla="*/ 131582 h 473092"/>
                          <a:gd name="connsiteX2" fmla="*/ 109694 w 361138"/>
                          <a:gd name="connsiteY2" fmla="*/ 465194 h 473092"/>
                          <a:gd name="connsiteX3" fmla="*/ 221287 w 361138"/>
                          <a:gd name="connsiteY3" fmla="*/ 385402 h 473092"/>
                          <a:gd name="connsiteX4" fmla="*/ 314266 w 361138"/>
                          <a:gd name="connsiteY4" fmla="*/ 270508 h 473092"/>
                          <a:gd name="connsiteX5" fmla="*/ 308196 w 361138"/>
                          <a:gd name="connsiteY5" fmla="*/ 272588 h 473092"/>
                          <a:gd name="connsiteX6" fmla="*/ 303637 w 361138"/>
                          <a:gd name="connsiteY6" fmla="*/ 157841 h 473092"/>
                          <a:gd name="connsiteX7" fmla="*/ 344675 w 361138"/>
                          <a:gd name="connsiteY7" fmla="*/ 231 h 473092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09825 w 313478"/>
                          <a:gd name="connsiteY0" fmla="*/ 2 h 472863"/>
                          <a:gd name="connsiteX1" fmla="*/ 171247 w 313478"/>
                          <a:gd name="connsiteY1" fmla="*/ 157767 h 472863"/>
                          <a:gd name="connsiteX2" fmla="*/ 2828 w 313478"/>
                          <a:gd name="connsiteY2" fmla="*/ 270869 h 472863"/>
                          <a:gd name="connsiteX3" fmla="*/ 74844 w 313478"/>
                          <a:gd name="connsiteY3" fmla="*/ 464965 h 472863"/>
                          <a:gd name="connsiteX4" fmla="*/ 186437 w 313478"/>
                          <a:gd name="connsiteY4" fmla="*/ 385173 h 472863"/>
                          <a:gd name="connsiteX5" fmla="*/ 279416 w 313478"/>
                          <a:gd name="connsiteY5" fmla="*/ 270279 h 472863"/>
                          <a:gd name="connsiteX6" fmla="*/ 273346 w 313478"/>
                          <a:gd name="connsiteY6" fmla="*/ 272359 h 472863"/>
                          <a:gd name="connsiteX7" fmla="*/ 268787 w 313478"/>
                          <a:gd name="connsiteY7" fmla="*/ 157612 h 472863"/>
                          <a:gd name="connsiteX8" fmla="*/ 309825 w 313478"/>
                          <a:gd name="connsiteY8" fmla="*/ 2 h 472863"/>
                          <a:gd name="connsiteX0" fmla="*/ 268787 w 297124"/>
                          <a:gd name="connsiteY0" fmla="*/ 14163 h 329414"/>
                          <a:gd name="connsiteX1" fmla="*/ 171247 w 297124"/>
                          <a:gd name="connsiteY1" fmla="*/ 14318 h 329414"/>
                          <a:gd name="connsiteX2" fmla="*/ 2828 w 297124"/>
                          <a:gd name="connsiteY2" fmla="*/ 127420 h 329414"/>
                          <a:gd name="connsiteX3" fmla="*/ 74844 w 297124"/>
                          <a:gd name="connsiteY3" fmla="*/ 321516 h 329414"/>
                          <a:gd name="connsiteX4" fmla="*/ 186437 w 297124"/>
                          <a:gd name="connsiteY4" fmla="*/ 241724 h 329414"/>
                          <a:gd name="connsiteX5" fmla="*/ 279416 w 297124"/>
                          <a:gd name="connsiteY5" fmla="*/ 126830 h 329414"/>
                          <a:gd name="connsiteX6" fmla="*/ 273346 w 297124"/>
                          <a:gd name="connsiteY6" fmla="*/ 128910 h 329414"/>
                          <a:gd name="connsiteX7" fmla="*/ 268787 w 297124"/>
                          <a:gd name="connsiteY7" fmla="*/ 14163 h 329414"/>
                          <a:gd name="connsiteX0" fmla="*/ 194771 w 297124"/>
                          <a:gd name="connsiteY0" fmla="*/ 54292 h 319287"/>
                          <a:gd name="connsiteX1" fmla="*/ 171247 w 297124"/>
                          <a:gd name="connsiteY1" fmla="*/ 4191 h 319287"/>
                          <a:gd name="connsiteX2" fmla="*/ 2828 w 297124"/>
                          <a:gd name="connsiteY2" fmla="*/ 117293 h 319287"/>
                          <a:gd name="connsiteX3" fmla="*/ 74844 w 297124"/>
                          <a:gd name="connsiteY3" fmla="*/ 311389 h 319287"/>
                          <a:gd name="connsiteX4" fmla="*/ 186437 w 297124"/>
                          <a:gd name="connsiteY4" fmla="*/ 231597 h 319287"/>
                          <a:gd name="connsiteX5" fmla="*/ 279416 w 297124"/>
                          <a:gd name="connsiteY5" fmla="*/ 116703 h 319287"/>
                          <a:gd name="connsiteX6" fmla="*/ 273346 w 297124"/>
                          <a:gd name="connsiteY6" fmla="*/ 118783 h 319287"/>
                          <a:gd name="connsiteX7" fmla="*/ 194771 w 297124"/>
                          <a:gd name="connsiteY7" fmla="*/ 54292 h 319287"/>
                          <a:gd name="connsiteX0" fmla="*/ 176997 w 297124"/>
                          <a:gd name="connsiteY0" fmla="*/ 92018 h 317703"/>
                          <a:gd name="connsiteX1" fmla="*/ 171247 w 297124"/>
                          <a:gd name="connsiteY1" fmla="*/ 2607 h 317703"/>
                          <a:gd name="connsiteX2" fmla="*/ 2828 w 297124"/>
                          <a:gd name="connsiteY2" fmla="*/ 115709 h 317703"/>
                          <a:gd name="connsiteX3" fmla="*/ 74844 w 297124"/>
                          <a:gd name="connsiteY3" fmla="*/ 309805 h 317703"/>
                          <a:gd name="connsiteX4" fmla="*/ 186437 w 297124"/>
                          <a:gd name="connsiteY4" fmla="*/ 230013 h 317703"/>
                          <a:gd name="connsiteX5" fmla="*/ 279416 w 297124"/>
                          <a:gd name="connsiteY5" fmla="*/ 115119 h 317703"/>
                          <a:gd name="connsiteX6" fmla="*/ 273346 w 297124"/>
                          <a:gd name="connsiteY6" fmla="*/ 117199 h 317703"/>
                          <a:gd name="connsiteX7" fmla="*/ 176997 w 297124"/>
                          <a:gd name="connsiteY7" fmla="*/ 92018 h 317703"/>
                          <a:gd name="connsiteX0" fmla="*/ 226739 w 297124"/>
                          <a:gd name="connsiteY0" fmla="*/ 51834 h 319465"/>
                          <a:gd name="connsiteX1" fmla="*/ 171247 w 297124"/>
                          <a:gd name="connsiteY1" fmla="*/ 4369 h 319465"/>
                          <a:gd name="connsiteX2" fmla="*/ 2828 w 297124"/>
                          <a:gd name="connsiteY2" fmla="*/ 117471 h 319465"/>
                          <a:gd name="connsiteX3" fmla="*/ 74844 w 297124"/>
                          <a:gd name="connsiteY3" fmla="*/ 311567 h 319465"/>
                          <a:gd name="connsiteX4" fmla="*/ 186437 w 297124"/>
                          <a:gd name="connsiteY4" fmla="*/ 231775 h 319465"/>
                          <a:gd name="connsiteX5" fmla="*/ 279416 w 297124"/>
                          <a:gd name="connsiteY5" fmla="*/ 116881 h 319465"/>
                          <a:gd name="connsiteX6" fmla="*/ 273346 w 297124"/>
                          <a:gd name="connsiteY6" fmla="*/ 118961 h 319465"/>
                          <a:gd name="connsiteX7" fmla="*/ 226739 w 297124"/>
                          <a:gd name="connsiteY7" fmla="*/ 51834 h 319465"/>
                          <a:gd name="connsiteX0" fmla="*/ 226739 w 289446"/>
                          <a:gd name="connsiteY0" fmla="*/ 51834 h 319465"/>
                          <a:gd name="connsiteX1" fmla="*/ 171247 w 289446"/>
                          <a:gd name="connsiteY1" fmla="*/ 4369 h 319465"/>
                          <a:gd name="connsiteX2" fmla="*/ 2828 w 289446"/>
                          <a:gd name="connsiteY2" fmla="*/ 117471 h 319465"/>
                          <a:gd name="connsiteX3" fmla="*/ 74844 w 289446"/>
                          <a:gd name="connsiteY3" fmla="*/ 311567 h 319465"/>
                          <a:gd name="connsiteX4" fmla="*/ 186437 w 289446"/>
                          <a:gd name="connsiteY4" fmla="*/ 231775 h 319465"/>
                          <a:gd name="connsiteX5" fmla="*/ 279416 w 289446"/>
                          <a:gd name="connsiteY5" fmla="*/ 116881 h 319465"/>
                          <a:gd name="connsiteX6" fmla="*/ 214719 w 289446"/>
                          <a:gd name="connsiteY6" fmla="*/ 180566 h 319465"/>
                          <a:gd name="connsiteX7" fmla="*/ 226739 w 289446"/>
                          <a:gd name="connsiteY7" fmla="*/ 51834 h 319465"/>
                          <a:gd name="connsiteX0" fmla="*/ 202461 w 289446"/>
                          <a:gd name="connsiteY0" fmla="*/ 59631 h 318953"/>
                          <a:gd name="connsiteX1" fmla="*/ 171247 w 289446"/>
                          <a:gd name="connsiteY1" fmla="*/ 3857 h 318953"/>
                          <a:gd name="connsiteX2" fmla="*/ 2828 w 289446"/>
                          <a:gd name="connsiteY2" fmla="*/ 116959 h 318953"/>
                          <a:gd name="connsiteX3" fmla="*/ 74844 w 289446"/>
                          <a:gd name="connsiteY3" fmla="*/ 311055 h 318953"/>
                          <a:gd name="connsiteX4" fmla="*/ 186437 w 289446"/>
                          <a:gd name="connsiteY4" fmla="*/ 231263 h 318953"/>
                          <a:gd name="connsiteX5" fmla="*/ 279416 w 289446"/>
                          <a:gd name="connsiteY5" fmla="*/ 116369 h 318953"/>
                          <a:gd name="connsiteX6" fmla="*/ 214719 w 289446"/>
                          <a:gd name="connsiteY6" fmla="*/ 180054 h 318953"/>
                          <a:gd name="connsiteX7" fmla="*/ 202461 w 289446"/>
                          <a:gd name="connsiteY7" fmla="*/ 59631 h 318953"/>
                          <a:gd name="connsiteX0" fmla="*/ 202461 w 216515"/>
                          <a:gd name="connsiteY0" fmla="*/ 59631 h 318929"/>
                          <a:gd name="connsiteX1" fmla="*/ 171247 w 216515"/>
                          <a:gd name="connsiteY1" fmla="*/ 3857 h 318929"/>
                          <a:gd name="connsiteX2" fmla="*/ 2828 w 216515"/>
                          <a:gd name="connsiteY2" fmla="*/ 116959 h 318929"/>
                          <a:gd name="connsiteX3" fmla="*/ 74844 w 216515"/>
                          <a:gd name="connsiteY3" fmla="*/ 311055 h 318929"/>
                          <a:gd name="connsiteX4" fmla="*/ 186437 w 216515"/>
                          <a:gd name="connsiteY4" fmla="*/ 231263 h 318929"/>
                          <a:gd name="connsiteX5" fmla="*/ 214719 w 216515"/>
                          <a:gd name="connsiteY5" fmla="*/ 180054 h 318929"/>
                          <a:gd name="connsiteX6" fmla="*/ 202461 w 216515"/>
                          <a:gd name="connsiteY6" fmla="*/ 59631 h 318929"/>
                          <a:gd name="connsiteX0" fmla="*/ 200078 w 214132"/>
                          <a:gd name="connsiteY0" fmla="*/ 113647 h 372945"/>
                          <a:gd name="connsiteX1" fmla="*/ 105135 w 214132"/>
                          <a:gd name="connsiteY1" fmla="*/ 2146 h 372945"/>
                          <a:gd name="connsiteX2" fmla="*/ 445 w 214132"/>
                          <a:gd name="connsiteY2" fmla="*/ 170975 h 372945"/>
                          <a:gd name="connsiteX3" fmla="*/ 72461 w 214132"/>
                          <a:gd name="connsiteY3" fmla="*/ 365071 h 372945"/>
                          <a:gd name="connsiteX4" fmla="*/ 184054 w 214132"/>
                          <a:gd name="connsiteY4" fmla="*/ 285279 h 372945"/>
                          <a:gd name="connsiteX5" fmla="*/ 212336 w 214132"/>
                          <a:gd name="connsiteY5" fmla="*/ 234070 h 372945"/>
                          <a:gd name="connsiteX6" fmla="*/ 200078 w 214132"/>
                          <a:gd name="connsiteY6" fmla="*/ 113647 h 372945"/>
                          <a:gd name="connsiteX0" fmla="*/ 171466 w 185520"/>
                          <a:gd name="connsiteY0" fmla="*/ 113647 h 372945"/>
                          <a:gd name="connsiteX1" fmla="*/ 76523 w 185520"/>
                          <a:gd name="connsiteY1" fmla="*/ 2146 h 372945"/>
                          <a:gd name="connsiteX2" fmla="*/ 1029 w 185520"/>
                          <a:gd name="connsiteY2" fmla="*/ 227444 h 372945"/>
                          <a:gd name="connsiteX3" fmla="*/ 43849 w 185520"/>
                          <a:gd name="connsiteY3" fmla="*/ 365071 h 372945"/>
                          <a:gd name="connsiteX4" fmla="*/ 155442 w 185520"/>
                          <a:gd name="connsiteY4" fmla="*/ 285279 h 372945"/>
                          <a:gd name="connsiteX5" fmla="*/ 183724 w 185520"/>
                          <a:gd name="connsiteY5" fmla="*/ 234070 h 372945"/>
                          <a:gd name="connsiteX6" fmla="*/ 171466 w 185520"/>
                          <a:gd name="connsiteY6" fmla="*/ 113647 h 372945"/>
                          <a:gd name="connsiteX0" fmla="*/ 171466 w 185520"/>
                          <a:gd name="connsiteY0" fmla="*/ 113647 h 396811"/>
                          <a:gd name="connsiteX1" fmla="*/ 76523 w 185520"/>
                          <a:gd name="connsiteY1" fmla="*/ 2146 h 396811"/>
                          <a:gd name="connsiteX2" fmla="*/ 1029 w 185520"/>
                          <a:gd name="connsiteY2" fmla="*/ 227444 h 396811"/>
                          <a:gd name="connsiteX3" fmla="*/ 43849 w 185520"/>
                          <a:gd name="connsiteY3" fmla="*/ 365071 h 396811"/>
                          <a:gd name="connsiteX4" fmla="*/ 158771 w 185520"/>
                          <a:gd name="connsiteY4" fmla="*/ 383831 h 396811"/>
                          <a:gd name="connsiteX5" fmla="*/ 183724 w 185520"/>
                          <a:gd name="connsiteY5" fmla="*/ 234070 h 396811"/>
                          <a:gd name="connsiteX6" fmla="*/ 171466 w 185520"/>
                          <a:gd name="connsiteY6" fmla="*/ 113647 h 396811"/>
                          <a:gd name="connsiteX0" fmla="*/ 170767 w 184821"/>
                          <a:gd name="connsiteY0" fmla="*/ 113647 h 387719"/>
                          <a:gd name="connsiteX1" fmla="*/ 75824 w 184821"/>
                          <a:gd name="connsiteY1" fmla="*/ 2146 h 387719"/>
                          <a:gd name="connsiteX2" fmla="*/ 330 w 184821"/>
                          <a:gd name="connsiteY2" fmla="*/ 227444 h 387719"/>
                          <a:gd name="connsiteX3" fmla="*/ 54416 w 184821"/>
                          <a:gd name="connsiteY3" fmla="*/ 294753 h 387719"/>
                          <a:gd name="connsiteX4" fmla="*/ 158072 w 184821"/>
                          <a:gd name="connsiteY4" fmla="*/ 383831 h 387719"/>
                          <a:gd name="connsiteX5" fmla="*/ 183025 w 184821"/>
                          <a:gd name="connsiteY5" fmla="*/ 234070 h 387719"/>
                          <a:gd name="connsiteX6" fmla="*/ 170767 w 184821"/>
                          <a:gd name="connsiteY6" fmla="*/ 113647 h 387719"/>
                          <a:gd name="connsiteX0" fmla="*/ 194313 w 208367"/>
                          <a:gd name="connsiteY0" fmla="*/ 113647 h 387719"/>
                          <a:gd name="connsiteX1" fmla="*/ 99370 w 208367"/>
                          <a:gd name="connsiteY1" fmla="*/ 2146 h 387719"/>
                          <a:gd name="connsiteX2" fmla="*/ 182 w 208367"/>
                          <a:gd name="connsiteY2" fmla="*/ 279863 h 387719"/>
                          <a:gd name="connsiteX3" fmla="*/ 77962 w 208367"/>
                          <a:gd name="connsiteY3" fmla="*/ 294753 h 387719"/>
                          <a:gd name="connsiteX4" fmla="*/ 181618 w 208367"/>
                          <a:gd name="connsiteY4" fmla="*/ 383831 h 387719"/>
                          <a:gd name="connsiteX5" fmla="*/ 206571 w 208367"/>
                          <a:gd name="connsiteY5" fmla="*/ 234070 h 387719"/>
                          <a:gd name="connsiteX6" fmla="*/ 194313 w 208367"/>
                          <a:gd name="connsiteY6" fmla="*/ 113647 h 387719"/>
                          <a:gd name="connsiteX0" fmla="*/ 207936 w 221990"/>
                          <a:gd name="connsiteY0" fmla="*/ 113647 h 400440"/>
                          <a:gd name="connsiteX1" fmla="*/ 112993 w 221990"/>
                          <a:gd name="connsiteY1" fmla="*/ 2146 h 400440"/>
                          <a:gd name="connsiteX2" fmla="*/ 13805 w 221990"/>
                          <a:gd name="connsiteY2" fmla="*/ 279863 h 400440"/>
                          <a:gd name="connsiteX3" fmla="*/ 21510 w 221990"/>
                          <a:gd name="connsiteY3" fmla="*/ 374120 h 400440"/>
                          <a:gd name="connsiteX4" fmla="*/ 195241 w 221990"/>
                          <a:gd name="connsiteY4" fmla="*/ 383831 h 400440"/>
                          <a:gd name="connsiteX5" fmla="*/ 220194 w 221990"/>
                          <a:gd name="connsiteY5" fmla="*/ 234070 h 400440"/>
                          <a:gd name="connsiteX6" fmla="*/ 207936 w 221990"/>
                          <a:gd name="connsiteY6" fmla="*/ 113647 h 400440"/>
                          <a:gd name="connsiteX0" fmla="*/ 207936 w 221990"/>
                          <a:gd name="connsiteY0" fmla="*/ 113647 h 384477"/>
                          <a:gd name="connsiteX1" fmla="*/ 112993 w 221990"/>
                          <a:gd name="connsiteY1" fmla="*/ 2146 h 384477"/>
                          <a:gd name="connsiteX2" fmla="*/ 13805 w 221990"/>
                          <a:gd name="connsiteY2" fmla="*/ 279863 h 384477"/>
                          <a:gd name="connsiteX3" fmla="*/ 21510 w 221990"/>
                          <a:gd name="connsiteY3" fmla="*/ 374120 h 384477"/>
                          <a:gd name="connsiteX4" fmla="*/ 113162 w 221990"/>
                          <a:gd name="connsiteY4" fmla="*/ 323303 h 384477"/>
                          <a:gd name="connsiteX5" fmla="*/ 220194 w 221990"/>
                          <a:gd name="connsiteY5" fmla="*/ 234070 h 384477"/>
                          <a:gd name="connsiteX6" fmla="*/ 207936 w 221990"/>
                          <a:gd name="connsiteY6" fmla="*/ 113647 h 384477"/>
                          <a:gd name="connsiteX0" fmla="*/ 207936 w 211307"/>
                          <a:gd name="connsiteY0" fmla="*/ 113647 h 384477"/>
                          <a:gd name="connsiteX1" fmla="*/ 112993 w 211307"/>
                          <a:gd name="connsiteY1" fmla="*/ 2146 h 384477"/>
                          <a:gd name="connsiteX2" fmla="*/ 13805 w 211307"/>
                          <a:gd name="connsiteY2" fmla="*/ 279863 h 384477"/>
                          <a:gd name="connsiteX3" fmla="*/ 21510 w 211307"/>
                          <a:gd name="connsiteY3" fmla="*/ 374120 h 384477"/>
                          <a:gd name="connsiteX4" fmla="*/ 113162 w 211307"/>
                          <a:gd name="connsiteY4" fmla="*/ 323303 h 384477"/>
                          <a:gd name="connsiteX5" fmla="*/ 169474 w 211307"/>
                          <a:gd name="connsiteY5" fmla="*/ 240351 h 384477"/>
                          <a:gd name="connsiteX6" fmla="*/ 207936 w 211307"/>
                          <a:gd name="connsiteY6" fmla="*/ 113647 h 384477"/>
                          <a:gd name="connsiteX0" fmla="*/ 173979 w 181017"/>
                          <a:gd name="connsiteY0" fmla="*/ 157929 h 383911"/>
                          <a:gd name="connsiteX1" fmla="*/ 112993 w 181017"/>
                          <a:gd name="connsiteY1" fmla="*/ 1580 h 383911"/>
                          <a:gd name="connsiteX2" fmla="*/ 13805 w 181017"/>
                          <a:gd name="connsiteY2" fmla="*/ 279297 h 383911"/>
                          <a:gd name="connsiteX3" fmla="*/ 21510 w 181017"/>
                          <a:gd name="connsiteY3" fmla="*/ 373554 h 383911"/>
                          <a:gd name="connsiteX4" fmla="*/ 113162 w 181017"/>
                          <a:gd name="connsiteY4" fmla="*/ 322737 h 383911"/>
                          <a:gd name="connsiteX5" fmla="*/ 169474 w 181017"/>
                          <a:gd name="connsiteY5" fmla="*/ 239785 h 383911"/>
                          <a:gd name="connsiteX6" fmla="*/ 173979 w 181017"/>
                          <a:gd name="connsiteY6" fmla="*/ 157929 h 383911"/>
                          <a:gd name="connsiteX0" fmla="*/ 173918 w 180956"/>
                          <a:gd name="connsiteY0" fmla="*/ 81382 h 307364"/>
                          <a:gd name="connsiteX1" fmla="*/ 111926 w 180956"/>
                          <a:gd name="connsiteY1" fmla="*/ 2917 h 307364"/>
                          <a:gd name="connsiteX2" fmla="*/ 13744 w 180956"/>
                          <a:gd name="connsiteY2" fmla="*/ 202750 h 307364"/>
                          <a:gd name="connsiteX3" fmla="*/ 21449 w 180956"/>
                          <a:gd name="connsiteY3" fmla="*/ 297007 h 307364"/>
                          <a:gd name="connsiteX4" fmla="*/ 113101 w 180956"/>
                          <a:gd name="connsiteY4" fmla="*/ 246190 h 307364"/>
                          <a:gd name="connsiteX5" fmla="*/ 169413 w 180956"/>
                          <a:gd name="connsiteY5" fmla="*/ 163238 h 307364"/>
                          <a:gd name="connsiteX6" fmla="*/ 173918 w 180956"/>
                          <a:gd name="connsiteY6" fmla="*/ 81382 h 307364"/>
                          <a:gd name="connsiteX0" fmla="*/ 163348 w 170386"/>
                          <a:gd name="connsiteY0" fmla="*/ 81382 h 251896"/>
                          <a:gd name="connsiteX1" fmla="*/ 101356 w 170386"/>
                          <a:gd name="connsiteY1" fmla="*/ 2917 h 251896"/>
                          <a:gd name="connsiteX2" fmla="*/ 3174 w 170386"/>
                          <a:gd name="connsiteY2" fmla="*/ 202750 h 251896"/>
                          <a:gd name="connsiteX3" fmla="*/ 39914 w 170386"/>
                          <a:gd name="connsiteY3" fmla="*/ 187378 h 251896"/>
                          <a:gd name="connsiteX4" fmla="*/ 102531 w 170386"/>
                          <a:gd name="connsiteY4" fmla="*/ 246190 h 251896"/>
                          <a:gd name="connsiteX5" fmla="*/ 158843 w 170386"/>
                          <a:gd name="connsiteY5" fmla="*/ 163238 h 251896"/>
                          <a:gd name="connsiteX6" fmla="*/ 163348 w 170386"/>
                          <a:gd name="connsiteY6" fmla="*/ 81382 h 251896"/>
                          <a:gd name="connsiteX0" fmla="*/ 161438 w 168476"/>
                          <a:gd name="connsiteY0" fmla="*/ 81382 h 251896"/>
                          <a:gd name="connsiteX1" fmla="*/ 99446 w 168476"/>
                          <a:gd name="connsiteY1" fmla="*/ 2917 h 251896"/>
                          <a:gd name="connsiteX2" fmla="*/ 1264 w 168476"/>
                          <a:gd name="connsiteY2" fmla="*/ 202750 h 251896"/>
                          <a:gd name="connsiteX3" fmla="*/ 38004 w 168476"/>
                          <a:gd name="connsiteY3" fmla="*/ 187378 h 251896"/>
                          <a:gd name="connsiteX4" fmla="*/ 100621 w 168476"/>
                          <a:gd name="connsiteY4" fmla="*/ 246190 h 251896"/>
                          <a:gd name="connsiteX5" fmla="*/ 156933 w 168476"/>
                          <a:gd name="connsiteY5" fmla="*/ 163238 h 251896"/>
                          <a:gd name="connsiteX6" fmla="*/ 161438 w 168476"/>
                          <a:gd name="connsiteY6" fmla="*/ 81382 h 251896"/>
                          <a:gd name="connsiteX0" fmla="*/ 123435 w 130473"/>
                          <a:gd name="connsiteY0" fmla="*/ 81079 h 251593"/>
                          <a:gd name="connsiteX1" fmla="*/ 61443 w 130473"/>
                          <a:gd name="connsiteY1" fmla="*/ 2614 h 251593"/>
                          <a:gd name="connsiteX2" fmla="*/ 1 w 130473"/>
                          <a:gd name="connsiteY2" fmla="*/ 187075 h 251593"/>
                          <a:gd name="connsiteX3" fmla="*/ 62618 w 130473"/>
                          <a:gd name="connsiteY3" fmla="*/ 245887 h 251593"/>
                          <a:gd name="connsiteX4" fmla="*/ 118930 w 130473"/>
                          <a:gd name="connsiteY4" fmla="*/ 162935 h 251593"/>
                          <a:gd name="connsiteX5" fmla="*/ 123435 w 130473"/>
                          <a:gd name="connsiteY5" fmla="*/ 81079 h 251593"/>
                          <a:gd name="connsiteX0" fmla="*/ 123435 w 130472"/>
                          <a:gd name="connsiteY0" fmla="*/ 81077 h 281983"/>
                          <a:gd name="connsiteX1" fmla="*/ 61443 w 130472"/>
                          <a:gd name="connsiteY1" fmla="*/ 2612 h 281983"/>
                          <a:gd name="connsiteX2" fmla="*/ 1 w 130472"/>
                          <a:gd name="connsiteY2" fmla="*/ 187073 h 281983"/>
                          <a:gd name="connsiteX3" fmla="*/ 59877 w 130472"/>
                          <a:gd name="connsiteY3" fmla="*/ 278178 h 281983"/>
                          <a:gd name="connsiteX4" fmla="*/ 118930 w 130472"/>
                          <a:gd name="connsiteY4" fmla="*/ 162933 h 281983"/>
                          <a:gd name="connsiteX5" fmla="*/ 123435 w 130472"/>
                          <a:gd name="connsiteY5" fmla="*/ 81077 h 281983"/>
                          <a:gd name="connsiteX0" fmla="*/ 134182 w 141219"/>
                          <a:gd name="connsiteY0" fmla="*/ 81077 h 287817"/>
                          <a:gd name="connsiteX1" fmla="*/ 72190 w 141219"/>
                          <a:gd name="connsiteY1" fmla="*/ 2612 h 287817"/>
                          <a:gd name="connsiteX2" fmla="*/ 0 w 141219"/>
                          <a:gd name="connsiteY2" fmla="*/ 247392 h 287817"/>
                          <a:gd name="connsiteX3" fmla="*/ 70624 w 141219"/>
                          <a:gd name="connsiteY3" fmla="*/ 278178 h 287817"/>
                          <a:gd name="connsiteX4" fmla="*/ 129677 w 141219"/>
                          <a:gd name="connsiteY4" fmla="*/ 162933 h 287817"/>
                          <a:gd name="connsiteX5" fmla="*/ 134182 w 141219"/>
                          <a:gd name="connsiteY5" fmla="*/ 81077 h 287817"/>
                          <a:gd name="connsiteX0" fmla="*/ 134182 w 153409"/>
                          <a:gd name="connsiteY0" fmla="*/ 81077 h 287819"/>
                          <a:gd name="connsiteX1" fmla="*/ 72190 w 153409"/>
                          <a:gd name="connsiteY1" fmla="*/ 2612 h 287819"/>
                          <a:gd name="connsiteX2" fmla="*/ 0 w 153409"/>
                          <a:gd name="connsiteY2" fmla="*/ 247392 h 287819"/>
                          <a:gd name="connsiteX3" fmla="*/ 70624 w 153409"/>
                          <a:gd name="connsiteY3" fmla="*/ 278178 h 287819"/>
                          <a:gd name="connsiteX4" fmla="*/ 152664 w 153409"/>
                          <a:gd name="connsiteY4" fmla="*/ 166785 h 287819"/>
                          <a:gd name="connsiteX5" fmla="*/ 134182 w 153409"/>
                          <a:gd name="connsiteY5" fmla="*/ 81077 h 287819"/>
                          <a:gd name="connsiteX0" fmla="*/ 134182 w 153409"/>
                          <a:gd name="connsiteY0" fmla="*/ 103875 h 310615"/>
                          <a:gd name="connsiteX1" fmla="*/ 67739 w 153409"/>
                          <a:gd name="connsiteY1" fmla="*/ 2075 h 310615"/>
                          <a:gd name="connsiteX2" fmla="*/ 0 w 153409"/>
                          <a:gd name="connsiteY2" fmla="*/ 270190 h 310615"/>
                          <a:gd name="connsiteX3" fmla="*/ 70624 w 153409"/>
                          <a:gd name="connsiteY3" fmla="*/ 300976 h 310615"/>
                          <a:gd name="connsiteX4" fmla="*/ 152664 w 153409"/>
                          <a:gd name="connsiteY4" fmla="*/ 189583 h 310615"/>
                          <a:gd name="connsiteX5" fmla="*/ 134182 w 153409"/>
                          <a:gd name="connsiteY5" fmla="*/ 103875 h 310615"/>
                          <a:gd name="connsiteX0" fmla="*/ 134870 w 154097"/>
                          <a:gd name="connsiteY0" fmla="*/ 103875 h 310617"/>
                          <a:gd name="connsiteX1" fmla="*/ 68427 w 154097"/>
                          <a:gd name="connsiteY1" fmla="*/ 2075 h 310617"/>
                          <a:gd name="connsiteX2" fmla="*/ 50547 w 154097"/>
                          <a:gd name="connsiteY2" fmla="*/ 129528 h 310617"/>
                          <a:gd name="connsiteX3" fmla="*/ 688 w 154097"/>
                          <a:gd name="connsiteY3" fmla="*/ 270190 h 310617"/>
                          <a:gd name="connsiteX4" fmla="*/ 71312 w 154097"/>
                          <a:gd name="connsiteY4" fmla="*/ 300976 h 310617"/>
                          <a:gd name="connsiteX5" fmla="*/ 153352 w 154097"/>
                          <a:gd name="connsiteY5" fmla="*/ 189583 h 310617"/>
                          <a:gd name="connsiteX6" fmla="*/ 134870 w 154097"/>
                          <a:gd name="connsiteY6" fmla="*/ 103875 h 310617"/>
                          <a:gd name="connsiteX0" fmla="*/ 134870 w 154097"/>
                          <a:gd name="connsiteY0" fmla="*/ 81391 h 288132"/>
                          <a:gd name="connsiteX1" fmla="*/ 72817 w 154097"/>
                          <a:gd name="connsiteY1" fmla="*/ 2602 h 288132"/>
                          <a:gd name="connsiteX2" fmla="*/ 50547 w 154097"/>
                          <a:gd name="connsiteY2" fmla="*/ 107044 h 288132"/>
                          <a:gd name="connsiteX3" fmla="*/ 688 w 154097"/>
                          <a:gd name="connsiteY3" fmla="*/ 247706 h 288132"/>
                          <a:gd name="connsiteX4" fmla="*/ 71312 w 154097"/>
                          <a:gd name="connsiteY4" fmla="*/ 278492 h 288132"/>
                          <a:gd name="connsiteX5" fmla="*/ 153352 w 154097"/>
                          <a:gd name="connsiteY5" fmla="*/ 167099 h 288132"/>
                          <a:gd name="connsiteX6" fmla="*/ 134870 w 154097"/>
                          <a:gd name="connsiteY6" fmla="*/ 81391 h 288132"/>
                          <a:gd name="connsiteX0" fmla="*/ 134870 w 154097"/>
                          <a:gd name="connsiteY0" fmla="*/ 81391 h 279711"/>
                          <a:gd name="connsiteX1" fmla="*/ 72817 w 154097"/>
                          <a:gd name="connsiteY1" fmla="*/ 2602 h 279711"/>
                          <a:gd name="connsiteX2" fmla="*/ 50547 w 154097"/>
                          <a:gd name="connsiteY2" fmla="*/ 107044 h 279711"/>
                          <a:gd name="connsiteX3" fmla="*/ 688 w 154097"/>
                          <a:gd name="connsiteY3" fmla="*/ 247706 h 279711"/>
                          <a:gd name="connsiteX4" fmla="*/ 74111 w 154097"/>
                          <a:gd name="connsiteY4" fmla="*/ 266868 h 279711"/>
                          <a:gd name="connsiteX5" fmla="*/ 153352 w 154097"/>
                          <a:gd name="connsiteY5" fmla="*/ 167099 h 279711"/>
                          <a:gd name="connsiteX6" fmla="*/ 134870 w 154097"/>
                          <a:gd name="connsiteY6" fmla="*/ 81391 h 279711"/>
                          <a:gd name="connsiteX0" fmla="*/ 123379 w 142606"/>
                          <a:gd name="connsiteY0" fmla="*/ 81391 h 278335"/>
                          <a:gd name="connsiteX1" fmla="*/ 61326 w 142606"/>
                          <a:gd name="connsiteY1" fmla="*/ 2602 h 278335"/>
                          <a:gd name="connsiteX2" fmla="*/ 39056 w 142606"/>
                          <a:gd name="connsiteY2" fmla="*/ 107044 h 278335"/>
                          <a:gd name="connsiteX3" fmla="*/ 896 w 142606"/>
                          <a:gd name="connsiteY3" fmla="*/ 243303 h 278335"/>
                          <a:gd name="connsiteX4" fmla="*/ 62620 w 142606"/>
                          <a:gd name="connsiteY4" fmla="*/ 266868 h 278335"/>
                          <a:gd name="connsiteX5" fmla="*/ 141861 w 142606"/>
                          <a:gd name="connsiteY5" fmla="*/ 167099 h 278335"/>
                          <a:gd name="connsiteX6" fmla="*/ 123379 w 142606"/>
                          <a:gd name="connsiteY6" fmla="*/ 81391 h 27833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142606" h="278335">
                            <a:moveTo>
                              <a:pt x="123379" y="81391"/>
                            </a:moveTo>
                            <a:cubicBezTo>
                              <a:pt x="106363" y="62292"/>
                              <a:pt x="81898" y="-15064"/>
                              <a:pt x="61326" y="2602"/>
                            </a:cubicBezTo>
                            <a:cubicBezTo>
                              <a:pt x="43948" y="5003"/>
                              <a:pt x="50346" y="62358"/>
                              <a:pt x="39056" y="107044"/>
                            </a:cubicBezTo>
                            <a:cubicBezTo>
                              <a:pt x="27766" y="151730"/>
                              <a:pt x="-5889" y="212854"/>
                              <a:pt x="896" y="243303"/>
                            </a:cubicBezTo>
                            <a:cubicBezTo>
                              <a:pt x="32727" y="278547"/>
                              <a:pt x="39308" y="288701"/>
                              <a:pt x="62620" y="266868"/>
                            </a:cubicBezTo>
                            <a:cubicBezTo>
                              <a:pt x="85932" y="245035"/>
                              <a:pt x="139190" y="195704"/>
                              <a:pt x="141861" y="167099"/>
                            </a:cubicBezTo>
                            <a:cubicBezTo>
                              <a:pt x="144532" y="138494"/>
                              <a:pt x="140396" y="100490"/>
                              <a:pt x="123379" y="81391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983" name="Freeform 281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5387929" y="4892485"/>
                        <a:ext cx="322519" cy="239932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399682 w 516301"/>
                          <a:gd name="connsiteY0" fmla="*/ 1010 h 421254"/>
                          <a:gd name="connsiteX1" fmla="*/ 10420 w 516301"/>
                          <a:gd name="connsiteY1" fmla="*/ 158802 h 421254"/>
                          <a:gd name="connsiteX2" fmla="*/ 119284 w 516301"/>
                          <a:gd name="connsiteY2" fmla="*/ 373513 h 421254"/>
                          <a:gd name="connsiteX3" fmla="*/ 223300 w 516301"/>
                          <a:gd name="connsiteY3" fmla="*/ 412622 h 421254"/>
                          <a:gd name="connsiteX4" fmla="*/ 500779 w 516301"/>
                          <a:gd name="connsiteY4" fmla="*/ 234448 h 421254"/>
                          <a:gd name="connsiteX5" fmla="*/ 399682 w 516301"/>
                          <a:gd name="connsiteY5" fmla="*/ 1010 h 421254"/>
                          <a:gd name="connsiteX0" fmla="*/ 400635 w 517254"/>
                          <a:gd name="connsiteY0" fmla="*/ 1205 h 500568"/>
                          <a:gd name="connsiteX1" fmla="*/ 11373 w 517254"/>
                          <a:gd name="connsiteY1" fmla="*/ 158997 h 500568"/>
                          <a:gd name="connsiteX2" fmla="*/ 112660 w 517254"/>
                          <a:gd name="connsiteY2" fmla="*/ 492609 h 500568"/>
                          <a:gd name="connsiteX3" fmla="*/ 224253 w 517254"/>
                          <a:gd name="connsiteY3" fmla="*/ 412817 h 500568"/>
                          <a:gd name="connsiteX4" fmla="*/ 501732 w 517254"/>
                          <a:gd name="connsiteY4" fmla="*/ 234643 h 500568"/>
                          <a:gd name="connsiteX5" fmla="*/ 400635 w 517254"/>
                          <a:gd name="connsiteY5" fmla="*/ 1205 h 500568"/>
                          <a:gd name="connsiteX0" fmla="*/ 400635 w 517254"/>
                          <a:gd name="connsiteY0" fmla="*/ 1205 h 500507"/>
                          <a:gd name="connsiteX1" fmla="*/ 11373 w 517254"/>
                          <a:gd name="connsiteY1" fmla="*/ 158997 h 500507"/>
                          <a:gd name="connsiteX2" fmla="*/ 112660 w 517254"/>
                          <a:gd name="connsiteY2" fmla="*/ 492609 h 500507"/>
                          <a:gd name="connsiteX3" fmla="*/ 224253 w 517254"/>
                          <a:gd name="connsiteY3" fmla="*/ 412817 h 500507"/>
                          <a:gd name="connsiteX4" fmla="*/ 317232 w 517254"/>
                          <a:gd name="connsiteY4" fmla="*/ 297923 h 500507"/>
                          <a:gd name="connsiteX5" fmla="*/ 501732 w 517254"/>
                          <a:gd name="connsiteY5" fmla="*/ 234643 h 500507"/>
                          <a:gd name="connsiteX6" fmla="*/ 400635 w 517254"/>
                          <a:gd name="connsiteY6" fmla="*/ 1205 h 500507"/>
                          <a:gd name="connsiteX0" fmla="*/ 400635 w 504610"/>
                          <a:gd name="connsiteY0" fmla="*/ 170 h 499472"/>
                          <a:gd name="connsiteX1" fmla="*/ 11373 w 504610"/>
                          <a:gd name="connsiteY1" fmla="*/ 157962 h 499472"/>
                          <a:gd name="connsiteX2" fmla="*/ 112660 w 504610"/>
                          <a:gd name="connsiteY2" fmla="*/ 491574 h 499472"/>
                          <a:gd name="connsiteX3" fmla="*/ 224253 w 504610"/>
                          <a:gd name="connsiteY3" fmla="*/ 411782 h 499472"/>
                          <a:gd name="connsiteX4" fmla="*/ 317232 w 504610"/>
                          <a:gd name="connsiteY4" fmla="*/ 296888 h 499472"/>
                          <a:gd name="connsiteX5" fmla="*/ 501732 w 504610"/>
                          <a:gd name="connsiteY5" fmla="*/ 233608 h 499472"/>
                          <a:gd name="connsiteX6" fmla="*/ 306603 w 504610"/>
                          <a:gd name="connsiteY6" fmla="*/ 184221 h 499472"/>
                          <a:gd name="connsiteX7" fmla="*/ 400635 w 504610"/>
                          <a:gd name="connsiteY7" fmla="*/ 170 h 499472"/>
                          <a:gd name="connsiteX0" fmla="*/ 400635 w 504679"/>
                          <a:gd name="connsiteY0" fmla="*/ 170 h 499472"/>
                          <a:gd name="connsiteX1" fmla="*/ 11373 w 504679"/>
                          <a:gd name="connsiteY1" fmla="*/ 157962 h 499472"/>
                          <a:gd name="connsiteX2" fmla="*/ 112660 w 504679"/>
                          <a:gd name="connsiteY2" fmla="*/ 491574 h 499472"/>
                          <a:gd name="connsiteX3" fmla="*/ 224253 w 504679"/>
                          <a:gd name="connsiteY3" fmla="*/ 411782 h 499472"/>
                          <a:gd name="connsiteX4" fmla="*/ 317232 w 504679"/>
                          <a:gd name="connsiteY4" fmla="*/ 296888 h 499472"/>
                          <a:gd name="connsiteX5" fmla="*/ 311162 w 504679"/>
                          <a:gd name="connsiteY5" fmla="*/ 298968 h 499472"/>
                          <a:gd name="connsiteX6" fmla="*/ 501732 w 504679"/>
                          <a:gd name="connsiteY6" fmla="*/ 233608 h 499472"/>
                          <a:gd name="connsiteX7" fmla="*/ 306603 w 504679"/>
                          <a:gd name="connsiteY7" fmla="*/ 184221 h 499472"/>
                          <a:gd name="connsiteX8" fmla="*/ 400635 w 504679"/>
                          <a:gd name="connsiteY8" fmla="*/ 170 h 499472"/>
                          <a:gd name="connsiteX0" fmla="*/ 400635 w 411811"/>
                          <a:gd name="connsiteY0" fmla="*/ 170 h 499472"/>
                          <a:gd name="connsiteX1" fmla="*/ 11373 w 411811"/>
                          <a:gd name="connsiteY1" fmla="*/ 157962 h 499472"/>
                          <a:gd name="connsiteX2" fmla="*/ 112660 w 411811"/>
                          <a:gd name="connsiteY2" fmla="*/ 491574 h 499472"/>
                          <a:gd name="connsiteX3" fmla="*/ 224253 w 411811"/>
                          <a:gd name="connsiteY3" fmla="*/ 411782 h 499472"/>
                          <a:gd name="connsiteX4" fmla="*/ 317232 w 411811"/>
                          <a:gd name="connsiteY4" fmla="*/ 296888 h 499472"/>
                          <a:gd name="connsiteX5" fmla="*/ 311162 w 411811"/>
                          <a:gd name="connsiteY5" fmla="*/ 298968 h 499472"/>
                          <a:gd name="connsiteX6" fmla="*/ 306603 w 411811"/>
                          <a:gd name="connsiteY6" fmla="*/ 184221 h 499472"/>
                          <a:gd name="connsiteX7" fmla="*/ 400635 w 411811"/>
                          <a:gd name="connsiteY7" fmla="*/ 170 h 499472"/>
                          <a:gd name="connsiteX0" fmla="*/ 344675 w 361138"/>
                          <a:gd name="connsiteY0" fmla="*/ 231 h 473092"/>
                          <a:gd name="connsiteX1" fmla="*/ 8407 w 361138"/>
                          <a:gd name="connsiteY1" fmla="*/ 131582 h 473092"/>
                          <a:gd name="connsiteX2" fmla="*/ 109694 w 361138"/>
                          <a:gd name="connsiteY2" fmla="*/ 465194 h 473092"/>
                          <a:gd name="connsiteX3" fmla="*/ 221287 w 361138"/>
                          <a:gd name="connsiteY3" fmla="*/ 385402 h 473092"/>
                          <a:gd name="connsiteX4" fmla="*/ 314266 w 361138"/>
                          <a:gd name="connsiteY4" fmla="*/ 270508 h 473092"/>
                          <a:gd name="connsiteX5" fmla="*/ 308196 w 361138"/>
                          <a:gd name="connsiteY5" fmla="*/ 272588 h 473092"/>
                          <a:gd name="connsiteX6" fmla="*/ 303637 w 361138"/>
                          <a:gd name="connsiteY6" fmla="*/ 157841 h 473092"/>
                          <a:gd name="connsiteX7" fmla="*/ 344675 w 361138"/>
                          <a:gd name="connsiteY7" fmla="*/ 231 h 473092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09825 w 313478"/>
                          <a:gd name="connsiteY0" fmla="*/ 2 h 472863"/>
                          <a:gd name="connsiteX1" fmla="*/ 171247 w 313478"/>
                          <a:gd name="connsiteY1" fmla="*/ 157767 h 472863"/>
                          <a:gd name="connsiteX2" fmla="*/ 2828 w 313478"/>
                          <a:gd name="connsiteY2" fmla="*/ 270869 h 472863"/>
                          <a:gd name="connsiteX3" fmla="*/ 74844 w 313478"/>
                          <a:gd name="connsiteY3" fmla="*/ 464965 h 472863"/>
                          <a:gd name="connsiteX4" fmla="*/ 186437 w 313478"/>
                          <a:gd name="connsiteY4" fmla="*/ 385173 h 472863"/>
                          <a:gd name="connsiteX5" fmla="*/ 279416 w 313478"/>
                          <a:gd name="connsiteY5" fmla="*/ 270279 h 472863"/>
                          <a:gd name="connsiteX6" fmla="*/ 273346 w 313478"/>
                          <a:gd name="connsiteY6" fmla="*/ 272359 h 472863"/>
                          <a:gd name="connsiteX7" fmla="*/ 268787 w 313478"/>
                          <a:gd name="connsiteY7" fmla="*/ 157612 h 472863"/>
                          <a:gd name="connsiteX8" fmla="*/ 309825 w 313478"/>
                          <a:gd name="connsiteY8" fmla="*/ 2 h 472863"/>
                          <a:gd name="connsiteX0" fmla="*/ 268787 w 297124"/>
                          <a:gd name="connsiteY0" fmla="*/ 14163 h 329414"/>
                          <a:gd name="connsiteX1" fmla="*/ 171247 w 297124"/>
                          <a:gd name="connsiteY1" fmla="*/ 14318 h 329414"/>
                          <a:gd name="connsiteX2" fmla="*/ 2828 w 297124"/>
                          <a:gd name="connsiteY2" fmla="*/ 127420 h 329414"/>
                          <a:gd name="connsiteX3" fmla="*/ 74844 w 297124"/>
                          <a:gd name="connsiteY3" fmla="*/ 321516 h 329414"/>
                          <a:gd name="connsiteX4" fmla="*/ 186437 w 297124"/>
                          <a:gd name="connsiteY4" fmla="*/ 241724 h 329414"/>
                          <a:gd name="connsiteX5" fmla="*/ 279416 w 297124"/>
                          <a:gd name="connsiteY5" fmla="*/ 126830 h 329414"/>
                          <a:gd name="connsiteX6" fmla="*/ 273346 w 297124"/>
                          <a:gd name="connsiteY6" fmla="*/ 128910 h 329414"/>
                          <a:gd name="connsiteX7" fmla="*/ 268787 w 297124"/>
                          <a:gd name="connsiteY7" fmla="*/ 14163 h 329414"/>
                          <a:gd name="connsiteX0" fmla="*/ 194771 w 297124"/>
                          <a:gd name="connsiteY0" fmla="*/ 54292 h 319287"/>
                          <a:gd name="connsiteX1" fmla="*/ 171247 w 297124"/>
                          <a:gd name="connsiteY1" fmla="*/ 4191 h 319287"/>
                          <a:gd name="connsiteX2" fmla="*/ 2828 w 297124"/>
                          <a:gd name="connsiteY2" fmla="*/ 117293 h 319287"/>
                          <a:gd name="connsiteX3" fmla="*/ 74844 w 297124"/>
                          <a:gd name="connsiteY3" fmla="*/ 311389 h 319287"/>
                          <a:gd name="connsiteX4" fmla="*/ 186437 w 297124"/>
                          <a:gd name="connsiteY4" fmla="*/ 231597 h 319287"/>
                          <a:gd name="connsiteX5" fmla="*/ 279416 w 297124"/>
                          <a:gd name="connsiteY5" fmla="*/ 116703 h 319287"/>
                          <a:gd name="connsiteX6" fmla="*/ 273346 w 297124"/>
                          <a:gd name="connsiteY6" fmla="*/ 118783 h 319287"/>
                          <a:gd name="connsiteX7" fmla="*/ 194771 w 297124"/>
                          <a:gd name="connsiteY7" fmla="*/ 54292 h 319287"/>
                          <a:gd name="connsiteX0" fmla="*/ 176997 w 297124"/>
                          <a:gd name="connsiteY0" fmla="*/ 92018 h 317703"/>
                          <a:gd name="connsiteX1" fmla="*/ 171247 w 297124"/>
                          <a:gd name="connsiteY1" fmla="*/ 2607 h 317703"/>
                          <a:gd name="connsiteX2" fmla="*/ 2828 w 297124"/>
                          <a:gd name="connsiteY2" fmla="*/ 115709 h 317703"/>
                          <a:gd name="connsiteX3" fmla="*/ 74844 w 297124"/>
                          <a:gd name="connsiteY3" fmla="*/ 309805 h 317703"/>
                          <a:gd name="connsiteX4" fmla="*/ 186437 w 297124"/>
                          <a:gd name="connsiteY4" fmla="*/ 230013 h 317703"/>
                          <a:gd name="connsiteX5" fmla="*/ 279416 w 297124"/>
                          <a:gd name="connsiteY5" fmla="*/ 115119 h 317703"/>
                          <a:gd name="connsiteX6" fmla="*/ 273346 w 297124"/>
                          <a:gd name="connsiteY6" fmla="*/ 117199 h 317703"/>
                          <a:gd name="connsiteX7" fmla="*/ 176997 w 297124"/>
                          <a:gd name="connsiteY7" fmla="*/ 92018 h 317703"/>
                          <a:gd name="connsiteX0" fmla="*/ 226739 w 297124"/>
                          <a:gd name="connsiteY0" fmla="*/ 51834 h 319465"/>
                          <a:gd name="connsiteX1" fmla="*/ 171247 w 297124"/>
                          <a:gd name="connsiteY1" fmla="*/ 4369 h 319465"/>
                          <a:gd name="connsiteX2" fmla="*/ 2828 w 297124"/>
                          <a:gd name="connsiteY2" fmla="*/ 117471 h 319465"/>
                          <a:gd name="connsiteX3" fmla="*/ 74844 w 297124"/>
                          <a:gd name="connsiteY3" fmla="*/ 311567 h 319465"/>
                          <a:gd name="connsiteX4" fmla="*/ 186437 w 297124"/>
                          <a:gd name="connsiteY4" fmla="*/ 231775 h 319465"/>
                          <a:gd name="connsiteX5" fmla="*/ 279416 w 297124"/>
                          <a:gd name="connsiteY5" fmla="*/ 116881 h 319465"/>
                          <a:gd name="connsiteX6" fmla="*/ 273346 w 297124"/>
                          <a:gd name="connsiteY6" fmla="*/ 118961 h 319465"/>
                          <a:gd name="connsiteX7" fmla="*/ 226739 w 297124"/>
                          <a:gd name="connsiteY7" fmla="*/ 51834 h 319465"/>
                          <a:gd name="connsiteX0" fmla="*/ 226739 w 289446"/>
                          <a:gd name="connsiteY0" fmla="*/ 51834 h 319465"/>
                          <a:gd name="connsiteX1" fmla="*/ 171247 w 289446"/>
                          <a:gd name="connsiteY1" fmla="*/ 4369 h 319465"/>
                          <a:gd name="connsiteX2" fmla="*/ 2828 w 289446"/>
                          <a:gd name="connsiteY2" fmla="*/ 117471 h 319465"/>
                          <a:gd name="connsiteX3" fmla="*/ 74844 w 289446"/>
                          <a:gd name="connsiteY3" fmla="*/ 311567 h 319465"/>
                          <a:gd name="connsiteX4" fmla="*/ 186437 w 289446"/>
                          <a:gd name="connsiteY4" fmla="*/ 231775 h 319465"/>
                          <a:gd name="connsiteX5" fmla="*/ 279416 w 289446"/>
                          <a:gd name="connsiteY5" fmla="*/ 116881 h 319465"/>
                          <a:gd name="connsiteX6" fmla="*/ 214719 w 289446"/>
                          <a:gd name="connsiteY6" fmla="*/ 180566 h 319465"/>
                          <a:gd name="connsiteX7" fmla="*/ 226739 w 289446"/>
                          <a:gd name="connsiteY7" fmla="*/ 51834 h 319465"/>
                          <a:gd name="connsiteX0" fmla="*/ 202461 w 289446"/>
                          <a:gd name="connsiteY0" fmla="*/ 59631 h 318953"/>
                          <a:gd name="connsiteX1" fmla="*/ 171247 w 289446"/>
                          <a:gd name="connsiteY1" fmla="*/ 3857 h 318953"/>
                          <a:gd name="connsiteX2" fmla="*/ 2828 w 289446"/>
                          <a:gd name="connsiteY2" fmla="*/ 116959 h 318953"/>
                          <a:gd name="connsiteX3" fmla="*/ 74844 w 289446"/>
                          <a:gd name="connsiteY3" fmla="*/ 311055 h 318953"/>
                          <a:gd name="connsiteX4" fmla="*/ 186437 w 289446"/>
                          <a:gd name="connsiteY4" fmla="*/ 231263 h 318953"/>
                          <a:gd name="connsiteX5" fmla="*/ 279416 w 289446"/>
                          <a:gd name="connsiteY5" fmla="*/ 116369 h 318953"/>
                          <a:gd name="connsiteX6" fmla="*/ 214719 w 289446"/>
                          <a:gd name="connsiteY6" fmla="*/ 180054 h 318953"/>
                          <a:gd name="connsiteX7" fmla="*/ 202461 w 289446"/>
                          <a:gd name="connsiteY7" fmla="*/ 59631 h 318953"/>
                          <a:gd name="connsiteX0" fmla="*/ 202461 w 216515"/>
                          <a:gd name="connsiteY0" fmla="*/ 59631 h 318929"/>
                          <a:gd name="connsiteX1" fmla="*/ 171247 w 216515"/>
                          <a:gd name="connsiteY1" fmla="*/ 3857 h 318929"/>
                          <a:gd name="connsiteX2" fmla="*/ 2828 w 216515"/>
                          <a:gd name="connsiteY2" fmla="*/ 116959 h 318929"/>
                          <a:gd name="connsiteX3" fmla="*/ 74844 w 216515"/>
                          <a:gd name="connsiteY3" fmla="*/ 311055 h 318929"/>
                          <a:gd name="connsiteX4" fmla="*/ 186437 w 216515"/>
                          <a:gd name="connsiteY4" fmla="*/ 231263 h 318929"/>
                          <a:gd name="connsiteX5" fmla="*/ 214719 w 216515"/>
                          <a:gd name="connsiteY5" fmla="*/ 180054 h 318929"/>
                          <a:gd name="connsiteX6" fmla="*/ 202461 w 216515"/>
                          <a:gd name="connsiteY6" fmla="*/ 59631 h 318929"/>
                          <a:gd name="connsiteX0" fmla="*/ 200078 w 214132"/>
                          <a:gd name="connsiteY0" fmla="*/ 113647 h 372945"/>
                          <a:gd name="connsiteX1" fmla="*/ 105135 w 214132"/>
                          <a:gd name="connsiteY1" fmla="*/ 2146 h 372945"/>
                          <a:gd name="connsiteX2" fmla="*/ 445 w 214132"/>
                          <a:gd name="connsiteY2" fmla="*/ 170975 h 372945"/>
                          <a:gd name="connsiteX3" fmla="*/ 72461 w 214132"/>
                          <a:gd name="connsiteY3" fmla="*/ 365071 h 372945"/>
                          <a:gd name="connsiteX4" fmla="*/ 184054 w 214132"/>
                          <a:gd name="connsiteY4" fmla="*/ 285279 h 372945"/>
                          <a:gd name="connsiteX5" fmla="*/ 212336 w 214132"/>
                          <a:gd name="connsiteY5" fmla="*/ 234070 h 372945"/>
                          <a:gd name="connsiteX6" fmla="*/ 200078 w 214132"/>
                          <a:gd name="connsiteY6" fmla="*/ 113647 h 372945"/>
                          <a:gd name="connsiteX0" fmla="*/ 171466 w 185520"/>
                          <a:gd name="connsiteY0" fmla="*/ 113647 h 372945"/>
                          <a:gd name="connsiteX1" fmla="*/ 76523 w 185520"/>
                          <a:gd name="connsiteY1" fmla="*/ 2146 h 372945"/>
                          <a:gd name="connsiteX2" fmla="*/ 1029 w 185520"/>
                          <a:gd name="connsiteY2" fmla="*/ 227444 h 372945"/>
                          <a:gd name="connsiteX3" fmla="*/ 43849 w 185520"/>
                          <a:gd name="connsiteY3" fmla="*/ 365071 h 372945"/>
                          <a:gd name="connsiteX4" fmla="*/ 155442 w 185520"/>
                          <a:gd name="connsiteY4" fmla="*/ 285279 h 372945"/>
                          <a:gd name="connsiteX5" fmla="*/ 183724 w 185520"/>
                          <a:gd name="connsiteY5" fmla="*/ 234070 h 372945"/>
                          <a:gd name="connsiteX6" fmla="*/ 171466 w 185520"/>
                          <a:gd name="connsiteY6" fmla="*/ 113647 h 372945"/>
                          <a:gd name="connsiteX0" fmla="*/ 171466 w 185520"/>
                          <a:gd name="connsiteY0" fmla="*/ 113647 h 396811"/>
                          <a:gd name="connsiteX1" fmla="*/ 76523 w 185520"/>
                          <a:gd name="connsiteY1" fmla="*/ 2146 h 396811"/>
                          <a:gd name="connsiteX2" fmla="*/ 1029 w 185520"/>
                          <a:gd name="connsiteY2" fmla="*/ 227444 h 396811"/>
                          <a:gd name="connsiteX3" fmla="*/ 43849 w 185520"/>
                          <a:gd name="connsiteY3" fmla="*/ 365071 h 396811"/>
                          <a:gd name="connsiteX4" fmla="*/ 158771 w 185520"/>
                          <a:gd name="connsiteY4" fmla="*/ 383831 h 396811"/>
                          <a:gd name="connsiteX5" fmla="*/ 183724 w 185520"/>
                          <a:gd name="connsiteY5" fmla="*/ 234070 h 396811"/>
                          <a:gd name="connsiteX6" fmla="*/ 171466 w 185520"/>
                          <a:gd name="connsiteY6" fmla="*/ 113647 h 396811"/>
                          <a:gd name="connsiteX0" fmla="*/ 170767 w 184821"/>
                          <a:gd name="connsiteY0" fmla="*/ 113647 h 387719"/>
                          <a:gd name="connsiteX1" fmla="*/ 75824 w 184821"/>
                          <a:gd name="connsiteY1" fmla="*/ 2146 h 387719"/>
                          <a:gd name="connsiteX2" fmla="*/ 330 w 184821"/>
                          <a:gd name="connsiteY2" fmla="*/ 227444 h 387719"/>
                          <a:gd name="connsiteX3" fmla="*/ 54416 w 184821"/>
                          <a:gd name="connsiteY3" fmla="*/ 294753 h 387719"/>
                          <a:gd name="connsiteX4" fmla="*/ 158072 w 184821"/>
                          <a:gd name="connsiteY4" fmla="*/ 383831 h 387719"/>
                          <a:gd name="connsiteX5" fmla="*/ 183025 w 184821"/>
                          <a:gd name="connsiteY5" fmla="*/ 234070 h 387719"/>
                          <a:gd name="connsiteX6" fmla="*/ 170767 w 184821"/>
                          <a:gd name="connsiteY6" fmla="*/ 113647 h 387719"/>
                          <a:gd name="connsiteX0" fmla="*/ 194313 w 208367"/>
                          <a:gd name="connsiteY0" fmla="*/ 113647 h 387719"/>
                          <a:gd name="connsiteX1" fmla="*/ 99370 w 208367"/>
                          <a:gd name="connsiteY1" fmla="*/ 2146 h 387719"/>
                          <a:gd name="connsiteX2" fmla="*/ 182 w 208367"/>
                          <a:gd name="connsiteY2" fmla="*/ 279863 h 387719"/>
                          <a:gd name="connsiteX3" fmla="*/ 77962 w 208367"/>
                          <a:gd name="connsiteY3" fmla="*/ 294753 h 387719"/>
                          <a:gd name="connsiteX4" fmla="*/ 181618 w 208367"/>
                          <a:gd name="connsiteY4" fmla="*/ 383831 h 387719"/>
                          <a:gd name="connsiteX5" fmla="*/ 206571 w 208367"/>
                          <a:gd name="connsiteY5" fmla="*/ 234070 h 387719"/>
                          <a:gd name="connsiteX6" fmla="*/ 194313 w 208367"/>
                          <a:gd name="connsiteY6" fmla="*/ 113647 h 387719"/>
                          <a:gd name="connsiteX0" fmla="*/ 207936 w 221990"/>
                          <a:gd name="connsiteY0" fmla="*/ 113647 h 400440"/>
                          <a:gd name="connsiteX1" fmla="*/ 112993 w 221990"/>
                          <a:gd name="connsiteY1" fmla="*/ 2146 h 400440"/>
                          <a:gd name="connsiteX2" fmla="*/ 13805 w 221990"/>
                          <a:gd name="connsiteY2" fmla="*/ 279863 h 400440"/>
                          <a:gd name="connsiteX3" fmla="*/ 21510 w 221990"/>
                          <a:gd name="connsiteY3" fmla="*/ 374120 h 400440"/>
                          <a:gd name="connsiteX4" fmla="*/ 195241 w 221990"/>
                          <a:gd name="connsiteY4" fmla="*/ 383831 h 400440"/>
                          <a:gd name="connsiteX5" fmla="*/ 220194 w 221990"/>
                          <a:gd name="connsiteY5" fmla="*/ 234070 h 400440"/>
                          <a:gd name="connsiteX6" fmla="*/ 207936 w 221990"/>
                          <a:gd name="connsiteY6" fmla="*/ 113647 h 400440"/>
                          <a:gd name="connsiteX0" fmla="*/ 207936 w 221990"/>
                          <a:gd name="connsiteY0" fmla="*/ 113647 h 384477"/>
                          <a:gd name="connsiteX1" fmla="*/ 112993 w 221990"/>
                          <a:gd name="connsiteY1" fmla="*/ 2146 h 384477"/>
                          <a:gd name="connsiteX2" fmla="*/ 13805 w 221990"/>
                          <a:gd name="connsiteY2" fmla="*/ 279863 h 384477"/>
                          <a:gd name="connsiteX3" fmla="*/ 21510 w 221990"/>
                          <a:gd name="connsiteY3" fmla="*/ 374120 h 384477"/>
                          <a:gd name="connsiteX4" fmla="*/ 113162 w 221990"/>
                          <a:gd name="connsiteY4" fmla="*/ 323303 h 384477"/>
                          <a:gd name="connsiteX5" fmla="*/ 220194 w 221990"/>
                          <a:gd name="connsiteY5" fmla="*/ 234070 h 384477"/>
                          <a:gd name="connsiteX6" fmla="*/ 207936 w 221990"/>
                          <a:gd name="connsiteY6" fmla="*/ 113647 h 384477"/>
                          <a:gd name="connsiteX0" fmla="*/ 207936 w 211307"/>
                          <a:gd name="connsiteY0" fmla="*/ 113647 h 384477"/>
                          <a:gd name="connsiteX1" fmla="*/ 112993 w 211307"/>
                          <a:gd name="connsiteY1" fmla="*/ 2146 h 384477"/>
                          <a:gd name="connsiteX2" fmla="*/ 13805 w 211307"/>
                          <a:gd name="connsiteY2" fmla="*/ 279863 h 384477"/>
                          <a:gd name="connsiteX3" fmla="*/ 21510 w 211307"/>
                          <a:gd name="connsiteY3" fmla="*/ 374120 h 384477"/>
                          <a:gd name="connsiteX4" fmla="*/ 113162 w 211307"/>
                          <a:gd name="connsiteY4" fmla="*/ 323303 h 384477"/>
                          <a:gd name="connsiteX5" fmla="*/ 169474 w 211307"/>
                          <a:gd name="connsiteY5" fmla="*/ 240351 h 384477"/>
                          <a:gd name="connsiteX6" fmla="*/ 207936 w 211307"/>
                          <a:gd name="connsiteY6" fmla="*/ 113647 h 384477"/>
                          <a:gd name="connsiteX0" fmla="*/ 173979 w 181017"/>
                          <a:gd name="connsiteY0" fmla="*/ 157929 h 383911"/>
                          <a:gd name="connsiteX1" fmla="*/ 112993 w 181017"/>
                          <a:gd name="connsiteY1" fmla="*/ 1580 h 383911"/>
                          <a:gd name="connsiteX2" fmla="*/ 13805 w 181017"/>
                          <a:gd name="connsiteY2" fmla="*/ 279297 h 383911"/>
                          <a:gd name="connsiteX3" fmla="*/ 21510 w 181017"/>
                          <a:gd name="connsiteY3" fmla="*/ 373554 h 383911"/>
                          <a:gd name="connsiteX4" fmla="*/ 113162 w 181017"/>
                          <a:gd name="connsiteY4" fmla="*/ 322737 h 383911"/>
                          <a:gd name="connsiteX5" fmla="*/ 169474 w 181017"/>
                          <a:gd name="connsiteY5" fmla="*/ 239785 h 383911"/>
                          <a:gd name="connsiteX6" fmla="*/ 173979 w 181017"/>
                          <a:gd name="connsiteY6" fmla="*/ 157929 h 383911"/>
                          <a:gd name="connsiteX0" fmla="*/ 173918 w 180956"/>
                          <a:gd name="connsiteY0" fmla="*/ 81382 h 307364"/>
                          <a:gd name="connsiteX1" fmla="*/ 111926 w 180956"/>
                          <a:gd name="connsiteY1" fmla="*/ 2917 h 307364"/>
                          <a:gd name="connsiteX2" fmla="*/ 13744 w 180956"/>
                          <a:gd name="connsiteY2" fmla="*/ 202750 h 307364"/>
                          <a:gd name="connsiteX3" fmla="*/ 21449 w 180956"/>
                          <a:gd name="connsiteY3" fmla="*/ 297007 h 307364"/>
                          <a:gd name="connsiteX4" fmla="*/ 113101 w 180956"/>
                          <a:gd name="connsiteY4" fmla="*/ 246190 h 307364"/>
                          <a:gd name="connsiteX5" fmla="*/ 169413 w 180956"/>
                          <a:gd name="connsiteY5" fmla="*/ 163238 h 307364"/>
                          <a:gd name="connsiteX6" fmla="*/ 173918 w 180956"/>
                          <a:gd name="connsiteY6" fmla="*/ 81382 h 307364"/>
                          <a:gd name="connsiteX0" fmla="*/ 163348 w 170386"/>
                          <a:gd name="connsiteY0" fmla="*/ 81382 h 251896"/>
                          <a:gd name="connsiteX1" fmla="*/ 101356 w 170386"/>
                          <a:gd name="connsiteY1" fmla="*/ 2917 h 251896"/>
                          <a:gd name="connsiteX2" fmla="*/ 3174 w 170386"/>
                          <a:gd name="connsiteY2" fmla="*/ 202750 h 251896"/>
                          <a:gd name="connsiteX3" fmla="*/ 39914 w 170386"/>
                          <a:gd name="connsiteY3" fmla="*/ 187378 h 251896"/>
                          <a:gd name="connsiteX4" fmla="*/ 102531 w 170386"/>
                          <a:gd name="connsiteY4" fmla="*/ 246190 h 251896"/>
                          <a:gd name="connsiteX5" fmla="*/ 158843 w 170386"/>
                          <a:gd name="connsiteY5" fmla="*/ 163238 h 251896"/>
                          <a:gd name="connsiteX6" fmla="*/ 163348 w 170386"/>
                          <a:gd name="connsiteY6" fmla="*/ 81382 h 251896"/>
                          <a:gd name="connsiteX0" fmla="*/ 161438 w 168476"/>
                          <a:gd name="connsiteY0" fmla="*/ 81382 h 251896"/>
                          <a:gd name="connsiteX1" fmla="*/ 99446 w 168476"/>
                          <a:gd name="connsiteY1" fmla="*/ 2917 h 251896"/>
                          <a:gd name="connsiteX2" fmla="*/ 1264 w 168476"/>
                          <a:gd name="connsiteY2" fmla="*/ 202750 h 251896"/>
                          <a:gd name="connsiteX3" fmla="*/ 38004 w 168476"/>
                          <a:gd name="connsiteY3" fmla="*/ 187378 h 251896"/>
                          <a:gd name="connsiteX4" fmla="*/ 100621 w 168476"/>
                          <a:gd name="connsiteY4" fmla="*/ 246190 h 251896"/>
                          <a:gd name="connsiteX5" fmla="*/ 156933 w 168476"/>
                          <a:gd name="connsiteY5" fmla="*/ 163238 h 251896"/>
                          <a:gd name="connsiteX6" fmla="*/ 161438 w 168476"/>
                          <a:gd name="connsiteY6" fmla="*/ 81382 h 251896"/>
                          <a:gd name="connsiteX0" fmla="*/ 123435 w 130473"/>
                          <a:gd name="connsiteY0" fmla="*/ 81079 h 251593"/>
                          <a:gd name="connsiteX1" fmla="*/ 61443 w 130473"/>
                          <a:gd name="connsiteY1" fmla="*/ 2614 h 251593"/>
                          <a:gd name="connsiteX2" fmla="*/ 1 w 130473"/>
                          <a:gd name="connsiteY2" fmla="*/ 187075 h 251593"/>
                          <a:gd name="connsiteX3" fmla="*/ 62618 w 130473"/>
                          <a:gd name="connsiteY3" fmla="*/ 245887 h 251593"/>
                          <a:gd name="connsiteX4" fmla="*/ 118930 w 130473"/>
                          <a:gd name="connsiteY4" fmla="*/ 162935 h 251593"/>
                          <a:gd name="connsiteX5" fmla="*/ 123435 w 130473"/>
                          <a:gd name="connsiteY5" fmla="*/ 81079 h 251593"/>
                          <a:gd name="connsiteX0" fmla="*/ 123435 w 130472"/>
                          <a:gd name="connsiteY0" fmla="*/ 81077 h 281983"/>
                          <a:gd name="connsiteX1" fmla="*/ 61443 w 130472"/>
                          <a:gd name="connsiteY1" fmla="*/ 2612 h 281983"/>
                          <a:gd name="connsiteX2" fmla="*/ 1 w 130472"/>
                          <a:gd name="connsiteY2" fmla="*/ 187073 h 281983"/>
                          <a:gd name="connsiteX3" fmla="*/ 59877 w 130472"/>
                          <a:gd name="connsiteY3" fmla="*/ 278178 h 281983"/>
                          <a:gd name="connsiteX4" fmla="*/ 118930 w 130472"/>
                          <a:gd name="connsiteY4" fmla="*/ 162933 h 281983"/>
                          <a:gd name="connsiteX5" fmla="*/ 123435 w 130472"/>
                          <a:gd name="connsiteY5" fmla="*/ 81077 h 281983"/>
                          <a:gd name="connsiteX0" fmla="*/ 134182 w 141219"/>
                          <a:gd name="connsiteY0" fmla="*/ 81077 h 287817"/>
                          <a:gd name="connsiteX1" fmla="*/ 72190 w 141219"/>
                          <a:gd name="connsiteY1" fmla="*/ 2612 h 287817"/>
                          <a:gd name="connsiteX2" fmla="*/ 0 w 141219"/>
                          <a:gd name="connsiteY2" fmla="*/ 247392 h 287817"/>
                          <a:gd name="connsiteX3" fmla="*/ 70624 w 141219"/>
                          <a:gd name="connsiteY3" fmla="*/ 278178 h 287817"/>
                          <a:gd name="connsiteX4" fmla="*/ 129677 w 141219"/>
                          <a:gd name="connsiteY4" fmla="*/ 162933 h 287817"/>
                          <a:gd name="connsiteX5" fmla="*/ 134182 w 141219"/>
                          <a:gd name="connsiteY5" fmla="*/ 81077 h 287817"/>
                          <a:gd name="connsiteX0" fmla="*/ 134182 w 153409"/>
                          <a:gd name="connsiteY0" fmla="*/ 81077 h 287819"/>
                          <a:gd name="connsiteX1" fmla="*/ 72190 w 153409"/>
                          <a:gd name="connsiteY1" fmla="*/ 2612 h 287819"/>
                          <a:gd name="connsiteX2" fmla="*/ 0 w 153409"/>
                          <a:gd name="connsiteY2" fmla="*/ 247392 h 287819"/>
                          <a:gd name="connsiteX3" fmla="*/ 70624 w 153409"/>
                          <a:gd name="connsiteY3" fmla="*/ 278178 h 287819"/>
                          <a:gd name="connsiteX4" fmla="*/ 152664 w 153409"/>
                          <a:gd name="connsiteY4" fmla="*/ 166785 h 287819"/>
                          <a:gd name="connsiteX5" fmla="*/ 134182 w 153409"/>
                          <a:gd name="connsiteY5" fmla="*/ 81077 h 287819"/>
                          <a:gd name="connsiteX0" fmla="*/ 134182 w 153409"/>
                          <a:gd name="connsiteY0" fmla="*/ 103875 h 310615"/>
                          <a:gd name="connsiteX1" fmla="*/ 67739 w 153409"/>
                          <a:gd name="connsiteY1" fmla="*/ 2075 h 310615"/>
                          <a:gd name="connsiteX2" fmla="*/ 0 w 153409"/>
                          <a:gd name="connsiteY2" fmla="*/ 270190 h 310615"/>
                          <a:gd name="connsiteX3" fmla="*/ 70624 w 153409"/>
                          <a:gd name="connsiteY3" fmla="*/ 300976 h 310615"/>
                          <a:gd name="connsiteX4" fmla="*/ 152664 w 153409"/>
                          <a:gd name="connsiteY4" fmla="*/ 189583 h 310615"/>
                          <a:gd name="connsiteX5" fmla="*/ 134182 w 153409"/>
                          <a:gd name="connsiteY5" fmla="*/ 103875 h 310615"/>
                          <a:gd name="connsiteX0" fmla="*/ 134870 w 154097"/>
                          <a:gd name="connsiteY0" fmla="*/ 103875 h 310617"/>
                          <a:gd name="connsiteX1" fmla="*/ 68427 w 154097"/>
                          <a:gd name="connsiteY1" fmla="*/ 2075 h 310617"/>
                          <a:gd name="connsiteX2" fmla="*/ 50547 w 154097"/>
                          <a:gd name="connsiteY2" fmla="*/ 129528 h 310617"/>
                          <a:gd name="connsiteX3" fmla="*/ 688 w 154097"/>
                          <a:gd name="connsiteY3" fmla="*/ 270190 h 310617"/>
                          <a:gd name="connsiteX4" fmla="*/ 71312 w 154097"/>
                          <a:gd name="connsiteY4" fmla="*/ 300976 h 310617"/>
                          <a:gd name="connsiteX5" fmla="*/ 153352 w 154097"/>
                          <a:gd name="connsiteY5" fmla="*/ 189583 h 310617"/>
                          <a:gd name="connsiteX6" fmla="*/ 134870 w 154097"/>
                          <a:gd name="connsiteY6" fmla="*/ 103875 h 310617"/>
                          <a:gd name="connsiteX0" fmla="*/ 286319 w 305546"/>
                          <a:gd name="connsiteY0" fmla="*/ 103875 h 316422"/>
                          <a:gd name="connsiteX1" fmla="*/ 219876 w 305546"/>
                          <a:gd name="connsiteY1" fmla="*/ 2075 h 316422"/>
                          <a:gd name="connsiteX2" fmla="*/ 201996 w 305546"/>
                          <a:gd name="connsiteY2" fmla="*/ 129528 h 316422"/>
                          <a:gd name="connsiteX3" fmla="*/ 170 w 305546"/>
                          <a:gd name="connsiteY3" fmla="*/ 288640 h 316422"/>
                          <a:gd name="connsiteX4" fmla="*/ 222761 w 305546"/>
                          <a:gd name="connsiteY4" fmla="*/ 300976 h 316422"/>
                          <a:gd name="connsiteX5" fmla="*/ 304801 w 305546"/>
                          <a:gd name="connsiteY5" fmla="*/ 189583 h 316422"/>
                          <a:gd name="connsiteX6" fmla="*/ 286319 w 305546"/>
                          <a:gd name="connsiteY6" fmla="*/ 103875 h 316422"/>
                          <a:gd name="connsiteX0" fmla="*/ 286434 w 305661"/>
                          <a:gd name="connsiteY0" fmla="*/ 127077 h 339624"/>
                          <a:gd name="connsiteX1" fmla="*/ 219991 w 305661"/>
                          <a:gd name="connsiteY1" fmla="*/ 25277 h 339624"/>
                          <a:gd name="connsiteX2" fmla="*/ 121169 w 305661"/>
                          <a:gd name="connsiteY2" fmla="*/ 17606 h 339624"/>
                          <a:gd name="connsiteX3" fmla="*/ 285 w 305661"/>
                          <a:gd name="connsiteY3" fmla="*/ 311842 h 339624"/>
                          <a:gd name="connsiteX4" fmla="*/ 222876 w 305661"/>
                          <a:gd name="connsiteY4" fmla="*/ 324178 h 339624"/>
                          <a:gd name="connsiteX5" fmla="*/ 304916 w 305661"/>
                          <a:gd name="connsiteY5" fmla="*/ 212785 h 339624"/>
                          <a:gd name="connsiteX6" fmla="*/ 286434 w 305661"/>
                          <a:gd name="connsiteY6" fmla="*/ 127077 h 339624"/>
                          <a:gd name="connsiteX0" fmla="*/ 312003 w 331230"/>
                          <a:gd name="connsiteY0" fmla="*/ 127077 h 339624"/>
                          <a:gd name="connsiteX1" fmla="*/ 245560 w 331230"/>
                          <a:gd name="connsiteY1" fmla="*/ 25277 h 339624"/>
                          <a:gd name="connsiteX2" fmla="*/ 146738 w 331230"/>
                          <a:gd name="connsiteY2" fmla="*/ 17606 h 339624"/>
                          <a:gd name="connsiteX3" fmla="*/ 11423 w 331230"/>
                          <a:gd name="connsiteY3" fmla="*/ 244058 h 339624"/>
                          <a:gd name="connsiteX4" fmla="*/ 25854 w 331230"/>
                          <a:gd name="connsiteY4" fmla="*/ 311842 h 339624"/>
                          <a:gd name="connsiteX5" fmla="*/ 248445 w 331230"/>
                          <a:gd name="connsiteY5" fmla="*/ 324178 h 339624"/>
                          <a:gd name="connsiteX6" fmla="*/ 330485 w 331230"/>
                          <a:gd name="connsiteY6" fmla="*/ 212785 h 339624"/>
                          <a:gd name="connsiteX7" fmla="*/ 312003 w 331230"/>
                          <a:gd name="connsiteY7" fmla="*/ 127077 h 339624"/>
                          <a:gd name="connsiteX0" fmla="*/ 308864 w 328091"/>
                          <a:gd name="connsiteY0" fmla="*/ 127077 h 331225"/>
                          <a:gd name="connsiteX1" fmla="*/ 242421 w 328091"/>
                          <a:gd name="connsiteY1" fmla="*/ 25277 h 331225"/>
                          <a:gd name="connsiteX2" fmla="*/ 143599 w 328091"/>
                          <a:gd name="connsiteY2" fmla="*/ 17606 h 331225"/>
                          <a:gd name="connsiteX3" fmla="*/ 8284 w 328091"/>
                          <a:gd name="connsiteY3" fmla="*/ 244058 h 331225"/>
                          <a:gd name="connsiteX4" fmla="*/ 22715 w 328091"/>
                          <a:gd name="connsiteY4" fmla="*/ 311842 h 331225"/>
                          <a:gd name="connsiteX5" fmla="*/ 96661 w 328091"/>
                          <a:gd name="connsiteY5" fmla="*/ 312963 h 331225"/>
                          <a:gd name="connsiteX6" fmla="*/ 245306 w 328091"/>
                          <a:gd name="connsiteY6" fmla="*/ 324178 h 331225"/>
                          <a:gd name="connsiteX7" fmla="*/ 327346 w 328091"/>
                          <a:gd name="connsiteY7" fmla="*/ 212785 h 331225"/>
                          <a:gd name="connsiteX8" fmla="*/ 308864 w 328091"/>
                          <a:gd name="connsiteY8" fmla="*/ 127077 h 331225"/>
                          <a:gd name="connsiteX0" fmla="*/ 308864 w 328091"/>
                          <a:gd name="connsiteY0" fmla="*/ 127077 h 327926"/>
                          <a:gd name="connsiteX1" fmla="*/ 242421 w 328091"/>
                          <a:gd name="connsiteY1" fmla="*/ 25277 h 327926"/>
                          <a:gd name="connsiteX2" fmla="*/ 143599 w 328091"/>
                          <a:gd name="connsiteY2" fmla="*/ 17606 h 327926"/>
                          <a:gd name="connsiteX3" fmla="*/ 8284 w 328091"/>
                          <a:gd name="connsiteY3" fmla="*/ 244058 h 327926"/>
                          <a:gd name="connsiteX4" fmla="*/ 22715 w 328091"/>
                          <a:gd name="connsiteY4" fmla="*/ 311842 h 327926"/>
                          <a:gd name="connsiteX5" fmla="*/ 96661 w 328091"/>
                          <a:gd name="connsiteY5" fmla="*/ 312963 h 327926"/>
                          <a:gd name="connsiteX6" fmla="*/ 118178 w 328091"/>
                          <a:gd name="connsiteY6" fmla="*/ 294294 h 327926"/>
                          <a:gd name="connsiteX7" fmla="*/ 245306 w 328091"/>
                          <a:gd name="connsiteY7" fmla="*/ 324178 h 327926"/>
                          <a:gd name="connsiteX8" fmla="*/ 327346 w 328091"/>
                          <a:gd name="connsiteY8" fmla="*/ 212785 h 327926"/>
                          <a:gd name="connsiteX9" fmla="*/ 308864 w 328091"/>
                          <a:gd name="connsiteY9" fmla="*/ 127077 h 327926"/>
                          <a:gd name="connsiteX0" fmla="*/ 308864 w 328091"/>
                          <a:gd name="connsiteY0" fmla="*/ 127077 h 342899"/>
                          <a:gd name="connsiteX1" fmla="*/ 242421 w 328091"/>
                          <a:gd name="connsiteY1" fmla="*/ 25277 h 342899"/>
                          <a:gd name="connsiteX2" fmla="*/ 143599 w 328091"/>
                          <a:gd name="connsiteY2" fmla="*/ 17606 h 342899"/>
                          <a:gd name="connsiteX3" fmla="*/ 8284 w 328091"/>
                          <a:gd name="connsiteY3" fmla="*/ 244058 h 342899"/>
                          <a:gd name="connsiteX4" fmla="*/ 22715 w 328091"/>
                          <a:gd name="connsiteY4" fmla="*/ 311842 h 342899"/>
                          <a:gd name="connsiteX5" fmla="*/ 96661 w 328091"/>
                          <a:gd name="connsiteY5" fmla="*/ 312963 h 342899"/>
                          <a:gd name="connsiteX6" fmla="*/ 118178 w 328091"/>
                          <a:gd name="connsiteY6" fmla="*/ 294294 h 342899"/>
                          <a:gd name="connsiteX7" fmla="*/ 162221 w 328091"/>
                          <a:gd name="connsiteY7" fmla="*/ 341133 h 342899"/>
                          <a:gd name="connsiteX8" fmla="*/ 245306 w 328091"/>
                          <a:gd name="connsiteY8" fmla="*/ 324178 h 342899"/>
                          <a:gd name="connsiteX9" fmla="*/ 327346 w 328091"/>
                          <a:gd name="connsiteY9" fmla="*/ 212785 h 342899"/>
                          <a:gd name="connsiteX10" fmla="*/ 308864 w 328091"/>
                          <a:gd name="connsiteY10" fmla="*/ 127077 h 342899"/>
                          <a:gd name="connsiteX0" fmla="*/ 308864 w 328091"/>
                          <a:gd name="connsiteY0" fmla="*/ 127077 h 342900"/>
                          <a:gd name="connsiteX1" fmla="*/ 242421 w 328091"/>
                          <a:gd name="connsiteY1" fmla="*/ 25277 h 342900"/>
                          <a:gd name="connsiteX2" fmla="*/ 143599 w 328091"/>
                          <a:gd name="connsiteY2" fmla="*/ 17606 h 342900"/>
                          <a:gd name="connsiteX3" fmla="*/ 8284 w 328091"/>
                          <a:gd name="connsiteY3" fmla="*/ 244058 h 342900"/>
                          <a:gd name="connsiteX4" fmla="*/ 22715 w 328091"/>
                          <a:gd name="connsiteY4" fmla="*/ 311842 h 342900"/>
                          <a:gd name="connsiteX5" fmla="*/ 85253 w 328091"/>
                          <a:gd name="connsiteY5" fmla="*/ 292593 h 342900"/>
                          <a:gd name="connsiteX6" fmla="*/ 118178 w 328091"/>
                          <a:gd name="connsiteY6" fmla="*/ 294294 h 342900"/>
                          <a:gd name="connsiteX7" fmla="*/ 162221 w 328091"/>
                          <a:gd name="connsiteY7" fmla="*/ 341133 h 342900"/>
                          <a:gd name="connsiteX8" fmla="*/ 245306 w 328091"/>
                          <a:gd name="connsiteY8" fmla="*/ 324178 h 342900"/>
                          <a:gd name="connsiteX9" fmla="*/ 327346 w 328091"/>
                          <a:gd name="connsiteY9" fmla="*/ 212785 h 342900"/>
                          <a:gd name="connsiteX10" fmla="*/ 308864 w 328091"/>
                          <a:gd name="connsiteY10" fmla="*/ 127077 h 342900"/>
                          <a:gd name="connsiteX0" fmla="*/ 308864 w 328091"/>
                          <a:gd name="connsiteY0" fmla="*/ 127077 h 342900"/>
                          <a:gd name="connsiteX1" fmla="*/ 242421 w 328091"/>
                          <a:gd name="connsiteY1" fmla="*/ 25277 h 342900"/>
                          <a:gd name="connsiteX2" fmla="*/ 143599 w 328091"/>
                          <a:gd name="connsiteY2" fmla="*/ 17606 h 342900"/>
                          <a:gd name="connsiteX3" fmla="*/ 8284 w 328091"/>
                          <a:gd name="connsiteY3" fmla="*/ 244058 h 342900"/>
                          <a:gd name="connsiteX4" fmla="*/ 22715 w 328091"/>
                          <a:gd name="connsiteY4" fmla="*/ 311842 h 342900"/>
                          <a:gd name="connsiteX5" fmla="*/ 85253 w 328091"/>
                          <a:gd name="connsiteY5" fmla="*/ 292593 h 342900"/>
                          <a:gd name="connsiteX6" fmla="*/ 118178 w 328091"/>
                          <a:gd name="connsiteY6" fmla="*/ 294294 h 342900"/>
                          <a:gd name="connsiteX7" fmla="*/ 162221 w 328091"/>
                          <a:gd name="connsiteY7" fmla="*/ 341133 h 342900"/>
                          <a:gd name="connsiteX8" fmla="*/ 245306 w 328091"/>
                          <a:gd name="connsiteY8" fmla="*/ 324178 h 342900"/>
                          <a:gd name="connsiteX9" fmla="*/ 327346 w 328091"/>
                          <a:gd name="connsiteY9" fmla="*/ 212785 h 342900"/>
                          <a:gd name="connsiteX10" fmla="*/ 308864 w 328091"/>
                          <a:gd name="connsiteY10" fmla="*/ 127077 h 3429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328091" h="342900">
                            <a:moveTo>
                              <a:pt x="308864" y="127077"/>
                            </a:moveTo>
                            <a:cubicBezTo>
                              <a:pt x="291848" y="107978"/>
                              <a:pt x="262993" y="7611"/>
                              <a:pt x="242421" y="25277"/>
                            </a:cubicBezTo>
                            <a:cubicBezTo>
                              <a:pt x="225043" y="27678"/>
                              <a:pt x="154889" y="-27080"/>
                              <a:pt x="143599" y="17606"/>
                            </a:cubicBezTo>
                            <a:cubicBezTo>
                              <a:pt x="117048" y="40566"/>
                              <a:pt x="28431" y="195019"/>
                              <a:pt x="8284" y="244058"/>
                            </a:cubicBezTo>
                            <a:cubicBezTo>
                              <a:pt x="-11863" y="293097"/>
                              <a:pt x="9413" y="296885"/>
                              <a:pt x="22715" y="311842"/>
                            </a:cubicBezTo>
                            <a:cubicBezTo>
                              <a:pt x="36017" y="326799"/>
                              <a:pt x="77345" y="317754"/>
                              <a:pt x="85253" y="292593"/>
                            </a:cubicBezTo>
                            <a:cubicBezTo>
                              <a:pt x="100516" y="292848"/>
                              <a:pt x="106527" y="294569"/>
                              <a:pt x="118178" y="294294"/>
                            </a:cubicBezTo>
                            <a:cubicBezTo>
                              <a:pt x="129829" y="294019"/>
                              <a:pt x="141033" y="336152"/>
                              <a:pt x="162221" y="341133"/>
                            </a:cubicBezTo>
                            <a:cubicBezTo>
                              <a:pt x="183409" y="346114"/>
                              <a:pt x="218509" y="340599"/>
                              <a:pt x="245306" y="324178"/>
                            </a:cubicBezTo>
                            <a:cubicBezTo>
                              <a:pt x="272103" y="307757"/>
                              <a:pt x="324675" y="241390"/>
                              <a:pt x="327346" y="212785"/>
                            </a:cubicBezTo>
                            <a:cubicBezTo>
                              <a:pt x="330017" y="184180"/>
                              <a:pt x="325881" y="146176"/>
                              <a:pt x="308864" y="127077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984" name="Freeform 282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5833698" y="4832562"/>
                        <a:ext cx="167875" cy="161174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399682 w 516301"/>
                          <a:gd name="connsiteY0" fmla="*/ 1010 h 421254"/>
                          <a:gd name="connsiteX1" fmla="*/ 10420 w 516301"/>
                          <a:gd name="connsiteY1" fmla="*/ 158802 h 421254"/>
                          <a:gd name="connsiteX2" fmla="*/ 119284 w 516301"/>
                          <a:gd name="connsiteY2" fmla="*/ 373513 h 421254"/>
                          <a:gd name="connsiteX3" fmla="*/ 223300 w 516301"/>
                          <a:gd name="connsiteY3" fmla="*/ 412622 h 421254"/>
                          <a:gd name="connsiteX4" fmla="*/ 500779 w 516301"/>
                          <a:gd name="connsiteY4" fmla="*/ 234448 h 421254"/>
                          <a:gd name="connsiteX5" fmla="*/ 399682 w 516301"/>
                          <a:gd name="connsiteY5" fmla="*/ 1010 h 421254"/>
                          <a:gd name="connsiteX0" fmla="*/ 400635 w 517254"/>
                          <a:gd name="connsiteY0" fmla="*/ 1205 h 500568"/>
                          <a:gd name="connsiteX1" fmla="*/ 11373 w 517254"/>
                          <a:gd name="connsiteY1" fmla="*/ 158997 h 500568"/>
                          <a:gd name="connsiteX2" fmla="*/ 112660 w 517254"/>
                          <a:gd name="connsiteY2" fmla="*/ 492609 h 500568"/>
                          <a:gd name="connsiteX3" fmla="*/ 224253 w 517254"/>
                          <a:gd name="connsiteY3" fmla="*/ 412817 h 500568"/>
                          <a:gd name="connsiteX4" fmla="*/ 501732 w 517254"/>
                          <a:gd name="connsiteY4" fmla="*/ 234643 h 500568"/>
                          <a:gd name="connsiteX5" fmla="*/ 400635 w 517254"/>
                          <a:gd name="connsiteY5" fmla="*/ 1205 h 500568"/>
                          <a:gd name="connsiteX0" fmla="*/ 400635 w 517254"/>
                          <a:gd name="connsiteY0" fmla="*/ 1205 h 500507"/>
                          <a:gd name="connsiteX1" fmla="*/ 11373 w 517254"/>
                          <a:gd name="connsiteY1" fmla="*/ 158997 h 500507"/>
                          <a:gd name="connsiteX2" fmla="*/ 112660 w 517254"/>
                          <a:gd name="connsiteY2" fmla="*/ 492609 h 500507"/>
                          <a:gd name="connsiteX3" fmla="*/ 224253 w 517254"/>
                          <a:gd name="connsiteY3" fmla="*/ 412817 h 500507"/>
                          <a:gd name="connsiteX4" fmla="*/ 317232 w 517254"/>
                          <a:gd name="connsiteY4" fmla="*/ 297923 h 500507"/>
                          <a:gd name="connsiteX5" fmla="*/ 501732 w 517254"/>
                          <a:gd name="connsiteY5" fmla="*/ 234643 h 500507"/>
                          <a:gd name="connsiteX6" fmla="*/ 400635 w 517254"/>
                          <a:gd name="connsiteY6" fmla="*/ 1205 h 500507"/>
                          <a:gd name="connsiteX0" fmla="*/ 400635 w 504610"/>
                          <a:gd name="connsiteY0" fmla="*/ 170 h 499472"/>
                          <a:gd name="connsiteX1" fmla="*/ 11373 w 504610"/>
                          <a:gd name="connsiteY1" fmla="*/ 157962 h 499472"/>
                          <a:gd name="connsiteX2" fmla="*/ 112660 w 504610"/>
                          <a:gd name="connsiteY2" fmla="*/ 491574 h 499472"/>
                          <a:gd name="connsiteX3" fmla="*/ 224253 w 504610"/>
                          <a:gd name="connsiteY3" fmla="*/ 411782 h 499472"/>
                          <a:gd name="connsiteX4" fmla="*/ 317232 w 504610"/>
                          <a:gd name="connsiteY4" fmla="*/ 296888 h 499472"/>
                          <a:gd name="connsiteX5" fmla="*/ 501732 w 504610"/>
                          <a:gd name="connsiteY5" fmla="*/ 233608 h 499472"/>
                          <a:gd name="connsiteX6" fmla="*/ 306603 w 504610"/>
                          <a:gd name="connsiteY6" fmla="*/ 184221 h 499472"/>
                          <a:gd name="connsiteX7" fmla="*/ 400635 w 504610"/>
                          <a:gd name="connsiteY7" fmla="*/ 170 h 499472"/>
                          <a:gd name="connsiteX0" fmla="*/ 400635 w 504679"/>
                          <a:gd name="connsiteY0" fmla="*/ 170 h 499472"/>
                          <a:gd name="connsiteX1" fmla="*/ 11373 w 504679"/>
                          <a:gd name="connsiteY1" fmla="*/ 157962 h 499472"/>
                          <a:gd name="connsiteX2" fmla="*/ 112660 w 504679"/>
                          <a:gd name="connsiteY2" fmla="*/ 491574 h 499472"/>
                          <a:gd name="connsiteX3" fmla="*/ 224253 w 504679"/>
                          <a:gd name="connsiteY3" fmla="*/ 411782 h 499472"/>
                          <a:gd name="connsiteX4" fmla="*/ 317232 w 504679"/>
                          <a:gd name="connsiteY4" fmla="*/ 296888 h 499472"/>
                          <a:gd name="connsiteX5" fmla="*/ 311162 w 504679"/>
                          <a:gd name="connsiteY5" fmla="*/ 298968 h 499472"/>
                          <a:gd name="connsiteX6" fmla="*/ 501732 w 504679"/>
                          <a:gd name="connsiteY6" fmla="*/ 233608 h 499472"/>
                          <a:gd name="connsiteX7" fmla="*/ 306603 w 504679"/>
                          <a:gd name="connsiteY7" fmla="*/ 184221 h 499472"/>
                          <a:gd name="connsiteX8" fmla="*/ 400635 w 504679"/>
                          <a:gd name="connsiteY8" fmla="*/ 170 h 499472"/>
                          <a:gd name="connsiteX0" fmla="*/ 400635 w 411811"/>
                          <a:gd name="connsiteY0" fmla="*/ 170 h 499472"/>
                          <a:gd name="connsiteX1" fmla="*/ 11373 w 411811"/>
                          <a:gd name="connsiteY1" fmla="*/ 157962 h 499472"/>
                          <a:gd name="connsiteX2" fmla="*/ 112660 w 411811"/>
                          <a:gd name="connsiteY2" fmla="*/ 491574 h 499472"/>
                          <a:gd name="connsiteX3" fmla="*/ 224253 w 411811"/>
                          <a:gd name="connsiteY3" fmla="*/ 411782 h 499472"/>
                          <a:gd name="connsiteX4" fmla="*/ 317232 w 411811"/>
                          <a:gd name="connsiteY4" fmla="*/ 296888 h 499472"/>
                          <a:gd name="connsiteX5" fmla="*/ 311162 w 411811"/>
                          <a:gd name="connsiteY5" fmla="*/ 298968 h 499472"/>
                          <a:gd name="connsiteX6" fmla="*/ 306603 w 411811"/>
                          <a:gd name="connsiteY6" fmla="*/ 184221 h 499472"/>
                          <a:gd name="connsiteX7" fmla="*/ 400635 w 411811"/>
                          <a:gd name="connsiteY7" fmla="*/ 170 h 499472"/>
                          <a:gd name="connsiteX0" fmla="*/ 344675 w 361138"/>
                          <a:gd name="connsiteY0" fmla="*/ 231 h 473092"/>
                          <a:gd name="connsiteX1" fmla="*/ 8407 w 361138"/>
                          <a:gd name="connsiteY1" fmla="*/ 131582 h 473092"/>
                          <a:gd name="connsiteX2" fmla="*/ 109694 w 361138"/>
                          <a:gd name="connsiteY2" fmla="*/ 465194 h 473092"/>
                          <a:gd name="connsiteX3" fmla="*/ 221287 w 361138"/>
                          <a:gd name="connsiteY3" fmla="*/ 385402 h 473092"/>
                          <a:gd name="connsiteX4" fmla="*/ 314266 w 361138"/>
                          <a:gd name="connsiteY4" fmla="*/ 270508 h 473092"/>
                          <a:gd name="connsiteX5" fmla="*/ 308196 w 361138"/>
                          <a:gd name="connsiteY5" fmla="*/ 272588 h 473092"/>
                          <a:gd name="connsiteX6" fmla="*/ 303637 w 361138"/>
                          <a:gd name="connsiteY6" fmla="*/ 157841 h 473092"/>
                          <a:gd name="connsiteX7" fmla="*/ 344675 w 361138"/>
                          <a:gd name="connsiteY7" fmla="*/ 231 h 473092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38258 w 341911"/>
                          <a:gd name="connsiteY0" fmla="*/ 2 h 472863"/>
                          <a:gd name="connsiteX1" fmla="*/ 199680 w 341911"/>
                          <a:gd name="connsiteY1" fmla="*/ 157767 h 472863"/>
                          <a:gd name="connsiteX2" fmla="*/ 1990 w 341911"/>
                          <a:gd name="connsiteY2" fmla="*/ 131353 h 472863"/>
                          <a:gd name="connsiteX3" fmla="*/ 103277 w 341911"/>
                          <a:gd name="connsiteY3" fmla="*/ 464965 h 472863"/>
                          <a:gd name="connsiteX4" fmla="*/ 214870 w 341911"/>
                          <a:gd name="connsiteY4" fmla="*/ 385173 h 472863"/>
                          <a:gd name="connsiteX5" fmla="*/ 307849 w 341911"/>
                          <a:gd name="connsiteY5" fmla="*/ 270279 h 472863"/>
                          <a:gd name="connsiteX6" fmla="*/ 301779 w 341911"/>
                          <a:gd name="connsiteY6" fmla="*/ 272359 h 472863"/>
                          <a:gd name="connsiteX7" fmla="*/ 297220 w 341911"/>
                          <a:gd name="connsiteY7" fmla="*/ 157612 h 472863"/>
                          <a:gd name="connsiteX8" fmla="*/ 338258 w 341911"/>
                          <a:gd name="connsiteY8" fmla="*/ 2 h 472863"/>
                          <a:gd name="connsiteX0" fmla="*/ 309825 w 313478"/>
                          <a:gd name="connsiteY0" fmla="*/ 2 h 472863"/>
                          <a:gd name="connsiteX1" fmla="*/ 171247 w 313478"/>
                          <a:gd name="connsiteY1" fmla="*/ 157767 h 472863"/>
                          <a:gd name="connsiteX2" fmla="*/ 2828 w 313478"/>
                          <a:gd name="connsiteY2" fmla="*/ 270869 h 472863"/>
                          <a:gd name="connsiteX3" fmla="*/ 74844 w 313478"/>
                          <a:gd name="connsiteY3" fmla="*/ 464965 h 472863"/>
                          <a:gd name="connsiteX4" fmla="*/ 186437 w 313478"/>
                          <a:gd name="connsiteY4" fmla="*/ 385173 h 472863"/>
                          <a:gd name="connsiteX5" fmla="*/ 279416 w 313478"/>
                          <a:gd name="connsiteY5" fmla="*/ 270279 h 472863"/>
                          <a:gd name="connsiteX6" fmla="*/ 273346 w 313478"/>
                          <a:gd name="connsiteY6" fmla="*/ 272359 h 472863"/>
                          <a:gd name="connsiteX7" fmla="*/ 268787 w 313478"/>
                          <a:gd name="connsiteY7" fmla="*/ 157612 h 472863"/>
                          <a:gd name="connsiteX8" fmla="*/ 309825 w 313478"/>
                          <a:gd name="connsiteY8" fmla="*/ 2 h 472863"/>
                          <a:gd name="connsiteX0" fmla="*/ 268787 w 297124"/>
                          <a:gd name="connsiteY0" fmla="*/ 14163 h 329414"/>
                          <a:gd name="connsiteX1" fmla="*/ 171247 w 297124"/>
                          <a:gd name="connsiteY1" fmla="*/ 14318 h 329414"/>
                          <a:gd name="connsiteX2" fmla="*/ 2828 w 297124"/>
                          <a:gd name="connsiteY2" fmla="*/ 127420 h 329414"/>
                          <a:gd name="connsiteX3" fmla="*/ 74844 w 297124"/>
                          <a:gd name="connsiteY3" fmla="*/ 321516 h 329414"/>
                          <a:gd name="connsiteX4" fmla="*/ 186437 w 297124"/>
                          <a:gd name="connsiteY4" fmla="*/ 241724 h 329414"/>
                          <a:gd name="connsiteX5" fmla="*/ 279416 w 297124"/>
                          <a:gd name="connsiteY5" fmla="*/ 126830 h 329414"/>
                          <a:gd name="connsiteX6" fmla="*/ 273346 w 297124"/>
                          <a:gd name="connsiteY6" fmla="*/ 128910 h 329414"/>
                          <a:gd name="connsiteX7" fmla="*/ 268787 w 297124"/>
                          <a:gd name="connsiteY7" fmla="*/ 14163 h 329414"/>
                          <a:gd name="connsiteX0" fmla="*/ 194771 w 297124"/>
                          <a:gd name="connsiteY0" fmla="*/ 54292 h 319287"/>
                          <a:gd name="connsiteX1" fmla="*/ 171247 w 297124"/>
                          <a:gd name="connsiteY1" fmla="*/ 4191 h 319287"/>
                          <a:gd name="connsiteX2" fmla="*/ 2828 w 297124"/>
                          <a:gd name="connsiteY2" fmla="*/ 117293 h 319287"/>
                          <a:gd name="connsiteX3" fmla="*/ 74844 w 297124"/>
                          <a:gd name="connsiteY3" fmla="*/ 311389 h 319287"/>
                          <a:gd name="connsiteX4" fmla="*/ 186437 w 297124"/>
                          <a:gd name="connsiteY4" fmla="*/ 231597 h 319287"/>
                          <a:gd name="connsiteX5" fmla="*/ 279416 w 297124"/>
                          <a:gd name="connsiteY5" fmla="*/ 116703 h 319287"/>
                          <a:gd name="connsiteX6" fmla="*/ 273346 w 297124"/>
                          <a:gd name="connsiteY6" fmla="*/ 118783 h 319287"/>
                          <a:gd name="connsiteX7" fmla="*/ 194771 w 297124"/>
                          <a:gd name="connsiteY7" fmla="*/ 54292 h 319287"/>
                          <a:gd name="connsiteX0" fmla="*/ 176997 w 297124"/>
                          <a:gd name="connsiteY0" fmla="*/ 92018 h 317703"/>
                          <a:gd name="connsiteX1" fmla="*/ 171247 w 297124"/>
                          <a:gd name="connsiteY1" fmla="*/ 2607 h 317703"/>
                          <a:gd name="connsiteX2" fmla="*/ 2828 w 297124"/>
                          <a:gd name="connsiteY2" fmla="*/ 115709 h 317703"/>
                          <a:gd name="connsiteX3" fmla="*/ 74844 w 297124"/>
                          <a:gd name="connsiteY3" fmla="*/ 309805 h 317703"/>
                          <a:gd name="connsiteX4" fmla="*/ 186437 w 297124"/>
                          <a:gd name="connsiteY4" fmla="*/ 230013 h 317703"/>
                          <a:gd name="connsiteX5" fmla="*/ 279416 w 297124"/>
                          <a:gd name="connsiteY5" fmla="*/ 115119 h 317703"/>
                          <a:gd name="connsiteX6" fmla="*/ 273346 w 297124"/>
                          <a:gd name="connsiteY6" fmla="*/ 117199 h 317703"/>
                          <a:gd name="connsiteX7" fmla="*/ 176997 w 297124"/>
                          <a:gd name="connsiteY7" fmla="*/ 92018 h 317703"/>
                          <a:gd name="connsiteX0" fmla="*/ 226739 w 297124"/>
                          <a:gd name="connsiteY0" fmla="*/ 51834 h 319465"/>
                          <a:gd name="connsiteX1" fmla="*/ 171247 w 297124"/>
                          <a:gd name="connsiteY1" fmla="*/ 4369 h 319465"/>
                          <a:gd name="connsiteX2" fmla="*/ 2828 w 297124"/>
                          <a:gd name="connsiteY2" fmla="*/ 117471 h 319465"/>
                          <a:gd name="connsiteX3" fmla="*/ 74844 w 297124"/>
                          <a:gd name="connsiteY3" fmla="*/ 311567 h 319465"/>
                          <a:gd name="connsiteX4" fmla="*/ 186437 w 297124"/>
                          <a:gd name="connsiteY4" fmla="*/ 231775 h 319465"/>
                          <a:gd name="connsiteX5" fmla="*/ 279416 w 297124"/>
                          <a:gd name="connsiteY5" fmla="*/ 116881 h 319465"/>
                          <a:gd name="connsiteX6" fmla="*/ 273346 w 297124"/>
                          <a:gd name="connsiteY6" fmla="*/ 118961 h 319465"/>
                          <a:gd name="connsiteX7" fmla="*/ 226739 w 297124"/>
                          <a:gd name="connsiteY7" fmla="*/ 51834 h 319465"/>
                          <a:gd name="connsiteX0" fmla="*/ 226739 w 289446"/>
                          <a:gd name="connsiteY0" fmla="*/ 51834 h 319465"/>
                          <a:gd name="connsiteX1" fmla="*/ 171247 w 289446"/>
                          <a:gd name="connsiteY1" fmla="*/ 4369 h 319465"/>
                          <a:gd name="connsiteX2" fmla="*/ 2828 w 289446"/>
                          <a:gd name="connsiteY2" fmla="*/ 117471 h 319465"/>
                          <a:gd name="connsiteX3" fmla="*/ 74844 w 289446"/>
                          <a:gd name="connsiteY3" fmla="*/ 311567 h 319465"/>
                          <a:gd name="connsiteX4" fmla="*/ 186437 w 289446"/>
                          <a:gd name="connsiteY4" fmla="*/ 231775 h 319465"/>
                          <a:gd name="connsiteX5" fmla="*/ 279416 w 289446"/>
                          <a:gd name="connsiteY5" fmla="*/ 116881 h 319465"/>
                          <a:gd name="connsiteX6" fmla="*/ 214719 w 289446"/>
                          <a:gd name="connsiteY6" fmla="*/ 180566 h 319465"/>
                          <a:gd name="connsiteX7" fmla="*/ 226739 w 289446"/>
                          <a:gd name="connsiteY7" fmla="*/ 51834 h 319465"/>
                          <a:gd name="connsiteX0" fmla="*/ 202461 w 289446"/>
                          <a:gd name="connsiteY0" fmla="*/ 59631 h 318953"/>
                          <a:gd name="connsiteX1" fmla="*/ 171247 w 289446"/>
                          <a:gd name="connsiteY1" fmla="*/ 3857 h 318953"/>
                          <a:gd name="connsiteX2" fmla="*/ 2828 w 289446"/>
                          <a:gd name="connsiteY2" fmla="*/ 116959 h 318953"/>
                          <a:gd name="connsiteX3" fmla="*/ 74844 w 289446"/>
                          <a:gd name="connsiteY3" fmla="*/ 311055 h 318953"/>
                          <a:gd name="connsiteX4" fmla="*/ 186437 w 289446"/>
                          <a:gd name="connsiteY4" fmla="*/ 231263 h 318953"/>
                          <a:gd name="connsiteX5" fmla="*/ 279416 w 289446"/>
                          <a:gd name="connsiteY5" fmla="*/ 116369 h 318953"/>
                          <a:gd name="connsiteX6" fmla="*/ 214719 w 289446"/>
                          <a:gd name="connsiteY6" fmla="*/ 180054 h 318953"/>
                          <a:gd name="connsiteX7" fmla="*/ 202461 w 289446"/>
                          <a:gd name="connsiteY7" fmla="*/ 59631 h 318953"/>
                          <a:gd name="connsiteX0" fmla="*/ 202461 w 216515"/>
                          <a:gd name="connsiteY0" fmla="*/ 59631 h 318929"/>
                          <a:gd name="connsiteX1" fmla="*/ 171247 w 216515"/>
                          <a:gd name="connsiteY1" fmla="*/ 3857 h 318929"/>
                          <a:gd name="connsiteX2" fmla="*/ 2828 w 216515"/>
                          <a:gd name="connsiteY2" fmla="*/ 116959 h 318929"/>
                          <a:gd name="connsiteX3" fmla="*/ 74844 w 216515"/>
                          <a:gd name="connsiteY3" fmla="*/ 311055 h 318929"/>
                          <a:gd name="connsiteX4" fmla="*/ 186437 w 216515"/>
                          <a:gd name="connsiteY4" fmla="*/ 231263 h 318929"/>
                          <a:gd name="connsiteX5" fmla="*/ 214719 w 216515"/>
                          <a:gd name="connsiteY5" fmla="*/ 180054 h 318929"/>
                          <a:gd name="connsiteX6" fmla="*/ 202461 w 216515"/>
                          <a:gd name="connsiteY6" fmla="*/ 59631 h 318929"/>
                          <a:gd name="connsiteX0" fmla="*/ 200078 w 214132"/>
                          <a:gd name="connsiteY0" fmla="*/ 113647 h 372945"/>
                          <a:gd name="connsiteX1" fmla="*/ 105135 w 214132"/>
                          <a:gd name="connsiteY1" fmla="*/ 2146 h 372945"/>
                          <a:gd name="connsiteX2" fmla="*/ 445 w 214132"/>
                          <a:gd name="connsiteY2" fmla="*/ 170975 h 372945"/>
                          <a:gd name="connsiteX3" fmla="*/ 72461 w 214132"/>
                          <a:gd name="connsiteY3" fmla="*/ 365071 h 372945"/>
                          <a:gd name="connsiteX4" fmla="*/ 184054 w 214132"/>
                          <a:gd name="connsiteY4" fmla="*/ 285279 h 372945"/>
                          <a:gd name="connsiteX5" fmla="*/ 212336 w 214132"/>
                          <a:gd name="connsiteY5" fmla="*/ 234070 h 372945"/>
                          <a:gd name="connsiteX6" fmla="*/ 200078 w 214132"/>
                          <a:gd name="connsiteY6" fmla="*/ 113647 h 372945"/>
                          <a:gd name="connsiteX0" fmla="*/ 171466 w 185520"/>
                          <a:gd name="connsiteY0" fmla="*/ 113647 h 372945"/>
                          <a:gd name="connsiteX1" fmla="*/ 76523 w 185520"/>
                          <a:gd name="connsiteY1" fmla="*/ 2146 h 372945"/>
                          <a:gd name="connsiteX2" fmla="*/ 1029 w 185520"/>
                          <a:gd name="connsiteY2" fmla="*/ 227444 h 372945"/>
                          <a:gd name="connsiteX3" fmla="*/ 43849 w 185520"/>
                          <a:gd name="connsiteY3" fmla="*/ 365071 h 372945"/>
                          <a:gd name="connsiteX4" fmla="*/ 155442 w 185520"/>
                          <a:gd name="connsiteY4" fmla="*/ 285279 h 372945"/>
                          <a:gd name="connsiteX5" fmla="*/ 183724 w 185520"/>
                          <a:gd name="connsiteY5" fmla="*/ 234070 h 372945"/>
                          <a:gd name="connsiteX6" fmla="*/ 171466 w 185520"/>
                          <a:gd name="connsiteY6" fmla="*/ 113647 h 372945"/>
                          <a:gd name="connsiteX0" fmla="*/ 171466 w 185520"/>
                          <a:gd name="connsiteY0" fmla="*/ 113647 h 396811"/>
                          <a:gd name="connsiteX1" fmla="*/ 76523 w 185520"/>
                          <a:gd name="connsiteY1" fmla="*/ 2146 h 396811"/>
                          <a:gd name="connsiteX2" fmla="*/ 1029 w 185520"/>
                          <a:gd name="connsiteY2" fmla="*/ 227444 h 396811"/>
                          <a:gd name="connsiteX3" fmla="*/ 43849 w 185520"/>
                          <a:gd name="connsiteY3" fmla="*/ 365071 h 396811"/>
                          <a:gd name="connsiteX4" fmla="*/ 158771 w 185520"/>
                          <a:gd name="connsiteY4" fmla="*/ 383831 h 396811"/>
                          <a:gd name="connsiteX5" fmla="*/ 183724 w 185520"/>
                          <a:gd name="connsiteY5" fmla="*/ 234070 h 396811"/>
                          <a:gd name="connsiteX6" fmla="*/ 171466 w 185520"/>
                          <a:gd name="connsiteY6" fmla="*/ 113647 h 396811"/>
                          <a:gd name="connsiteX0" fmla="*/ 170767 w 184821"/>
                          <a:gd name="connsiteY0" fmla="*/ 113647 h 387719"/>
                          <a:gd name="connsiteX1" fmla="*/ 75824 w 184821"/>
                          <a:gd name="connsiteY1" fmla="*/ 2146 h 387719"/>
                          <a:gd name="connsiteX2" fmla="*/ 330 w 184821"/>
                          <a:gd name="connsiteY2" fmla="*/ 227444 h 387719"/>
                          <a:gd name="connsiteX3" fmla="*/ 54416 w 184821"/>
                          <a:gd name="connsiteY3" fmla="*/ 294753 h 387719"/>
                          <a:gd name="connsiteX4" fmla="*/ 158072 w 184821"/>
                          <a:gd name="connsiteY4" fmla="*/ 383831 h 387719"/>
                          <a:gd name="connsiteX5" fmla="*/ 183025 w 184821"/>
                          <a:gd name="connsiteY5" fmla="*/ 234070 h 387719"/>
                          <a:gd name="connsiteX6" fmla="*/ 170767 w 184821"/>
                          <a:gd name="connsiteY6" fmla="*/ 113647 h 387719"/>
                          <a:gd name="connsiteX0" fmla="*/ 194313 w 208367"/>
                          <a:gd name="connsiteY0" fmla="*/ 113647 h 387719"/>
                          <a:gd name="connsiteX1" fmla="*/ 99370 w 208367"/>
                          <a:gd name="connsiteY1" fmla="*/ 2146 h 387719"/>
                          <a:gd name="connsiteX2" fmla="*/ 182 w 208367"/>
                          <a:gd name="connsiteY2" fmla="*/ 279863 h 387719"/>
                          <a:gd name="connsiteX3" fmla="*/ 77962 w 208367"/>
                          <a:gd name="connsiteY3" fmla="*/ 294753 h 387719"/>
                          <a:gd name="connsiteX4" fmla="*/ 181618 w 208367"/>
                          <a:gd name="connsiteY4" fmla="*/ 383831 h 387719"/>
                          <a:gd name="connsiteX5" fmla="*/ 206571 w 208367"/>
                          <a:gd name="connsiteY5" fmla="*/ 234070 h 387719"/>
                          <a:gd name="connsiteX6" fmla="*/ 194313 w 208367"/>
                          <a:gd name="connsiteY6" fmla="*/ 113647 h 387719"/>
                          <a:gd name="connsiteX0" fmla="*/ 207936 w 221990"/>
                          <a:gd name="connsiteY0" fmla="*/ 113647 h 400440"/>
                          <a:gd name="connsiteX1" fmla="*/ 112993 w 221990"/>
                          <a:gd name="connsiteY1" fmla="*/ 2146 h 400440"/>
                          <a:gd name="connsiteX2" fmla="*/ 13805 w 221990"/>
                          <a:gd name="connsiteY2" fmla="*/ 279863 h 400440"/>
                          <a:gd name="connsiteX3" fmla="*/ 21510 w 221990"/>
                          <a:gd name="connsiteY3" fmla="*/ 374120 h 400440"/>
                          <a:gd name="connsiteX4" fmla="*/ 195241 w 221990"/>
                          <a:gd name="connsiteY4" fmla="*/ 383831 h 400440"/>
                          <a:gd name="connsiteX5" fmla="*/ 220194 w 221990"/>
                          <a:gd name="connsiteY5" fmla="*/ 234070 h 400440"/>
                          <a:gd name="connsiteX6" fmla="*/ 207936 w 221990"/>
                          <a:gd name="connsiteY6" fmla="*/ 113647 h 400440"/>
                          <a:gd name="connsiteX0" fmla="*/ 207936 w 221990"/>
                          <a:gd name="connsiteY0" fmla="*/ 113647 h 384477"/>
                          <a:gd name="connsiteX1" fmla="*/ 112993 w 221990"/>
                          <a:gd name="connsiteY1" fmla="*/ 2146 h 384477"/>
                          <a:gd name="connsiteX2" fmla="*/ 13805 w 221990"/>
                          <a:gd name="connsiteY2" fmla="*/ 279863 h 384477"/>
                          <a:gd name="connsiteX3" fmla="*/ 21510 w 221990"/>
                          <a:gd name="connsiteY3" fmla="*/ 374120 h 384477"/>
                          <a:gd name="connsiteX4" fmla="*/ 113162 w 221990"/>
                          <a:gd name="connsiteY4" fmla="*/ 323303 h 384477"/>
                          <a:gd name="connsiteX5" fmla="*/ 220194 w 221990"/>
                          <a:gd name="connsiteY5" fmla="*/ 234070 h 384477"/>
                          <a:gd name="connsiteX6" fmla="*/ 207936 w 221990"/>
                          <a:gd name="connsiteY6" fmla="*/ 113647 h 384477"/>
                          <a:gd name="connsiteX0" fmla="*/ 207936 w 211307"/>
                          <a:gd name="connsiteY0" fmla="*/ 113647 h 384477"/>
                          <a:gd name="connsiteX1" fmla="*/ 112993 w 211307"/>
                          <a:gd name="connsiteY1" fmla="*/ 2146 h 384477"/>
                          <a:gd name="connsiteX2" fmla="*/ 13805 w 211307"/>
                          <a:gd name="connsiteY2" fmla="*/ 279863 h 384477"/>
                          <a:gd name="connsiteX3" fmla="*/ 21510 w 211307"/>
                          <a:gd name="connsiteY3" fmla="*/ 374120 h 384477"/>
                          <a:gd name="connsiteX4" fmla="*/ 113162 w 211307"/>
                          <a:gd name="connsiteY4" fmla="*/ 323303 h 384477"/>
                          <a:gd name="connsiteX5" fmla="*/ 169474 w 211307"/>
                          <a:gd name="connsiteY5" fmla="*/ 240351 h 384477"/>
                          <a:gd name="connsiteX6" fmla="*/ 207936 w 211307"/>
                          <a:gd name="connsiteY6" fmla="*/ 113647 h 384477"/>
                          <a:gd name="connsiteX0" fmla="*/ 173979 w 181017"/>
                          <a:gd name="connsiteY0" fmla="*/ 157929 h 383911"/>
                          <a:gd name="connsiteX1" fmla="*/ 112993 w 181017"/>
                          <a:gd name="connsiteY1" fmla="*/ 1580 h 383911"/>
                          <a:gd name="connsiteX2" fmla="*/ 13805 w 181017"/>
                          <a:gd name="connsiteY2" fmla="*/ 279297 h 383911"/>
                          <a:gd name="connsiteX3" fmla="*/ 21510 w 181017"/>
                          <a:gd name="connsiteY3" fmla="*/ 373554 h 383911"/>
                          <a:gd name="connsiteX4" fmla="*/ 113162 w 181017"/>
                          <a:gd name="connsiteY4" fmla="*/ 322737 h 383911"/>
                          <a:gd name="connsiteX5" fmla="*/ 169474 w 181017"/>
                          <a:gd name="connsiteY5" fmla="*/ 239785 h 383911"/>
                          <a:gd name="connsiteX6" fmla="*/ 173979 w 181017"/>
                          <a:gd name="connsiteY6" fmla="*/ 157929 h 383911"/>
                          <a:gd name="connsiteX0" fmla="*/ 173918 w 180956"/>
                          <a:gd name="connsiteY0" fmla="*/ 81382 h 307364"/>
                          <a:gd name="connsiteX1" fmla="*/ 111926 w 180956"/>
                          <a:gd name="connsiteY1" fmla="*/ 2917 h 307364"/>
                          <a:gd name="connsiteX2" fmla="*/ 13744 w 180956"/>
                          <a:gd name="connsiteY2" fmla="*/ 202750 h 307364"/>
                          <a:gd name="connsiteX3" fmla="*/ 21449 w 180956"/>
                          <a:gd name="connsiteY3" fmla="*/ 297007 h 307364"/>
                          <a:gd name="connsiteX4" fmla="*/ 113101 w 180956"/>
                          <a:gd name="connsiteY4" fmla="*/ 246190 h 307364"/>
                          <a:gd name="connsiteX5" fmla="*/ 169413 w 180956"/>
                          <a:gd name="connsiteY5" fmla="*/ 163238 h 307364"/>
                          <a:gd name="connsiteX6" fmla="*/ 173918 w 180956"/>
                          <a:gd name="connsiteY6" fmla="*/ 81382 h 307364"/>
                          <a:gd name="connsiteX0" fmla="*/ 163348 w 170386"/>
                          <a:gd name="connsiteY0" fmla="*/ 81382 h 251896"/>
                          <a:gd name="connsiteX1" fmla="*/ 101356 w 170386"/>
                          <a:gd name="connsiteY1" fmla="*/ 2917 h 251896"/>
                          <a:gd name="connsiteX2" fmla="*/ 3174 w 170386"/>
                          <a:gd name="connsiteY2" fmla="*/ 202750 h 251896"/>
                          <a:gd name="connsiteX3" fmla="*/ 39914 w 170386"/>
                          <a:gd name="connsiteY3" fmla="*/ 187378 h 251896"/>
                          <a:gd name="connsiteX4" fmla="*/ 102531 w 170386"/>
                          <a:gd name="connsiteY4" fmla="*/ 246190 h 251896"/>
                          <a:gd name="connsiteX5" fmla="*/ 158843 w 170386"/>
                          <a:gd name="connsiteY5" fmla="*/ 163238 h 251896"/>
                          <a:gd name="connsiteX6" fmla="*/ 163348 w 170386"/>
                          <a:gd name="connsiteY6" fmla="*/ 81382 h 251896"/>
                          <a:gd name="connsiteX0" fmla="*/ 161438 w 168476"/>
                          <a:gd name="connsiteY0" fmla="*/ 81382 h 251896"/>
                          <a:gd name="connsiteX1" fmla="*/ 99446 w 168476"/>
                          <a:gd name="connsiteY1" fmla="*/ 2917 h 251896"/>
                          <a:gd name="connsiteX2" fmla="*/ 1264 w 168476"/>
                          <a:gd name="connsiteY2" fmla="*/ 202750 h 251896"/>
                          <a:gd name="connsiteX3" fmla="*/ 38004 w 168476"/>
                          <a:gd name="connsiteY3" fmla="*/ 187378 h 251896"/>
                          <a:gd name="connsiteX4" fmla="*/ 100621 w 168476"/>
                          <a:gd name="connsiteY4" fmla="*/ 246190 h 251896"/>
                          <a:gd name="connsiteX5" fmla="*/ 156933 w 168476"/>
                          <a:gd name="connsiteY5" fmla="*/ 163238 h 251896"/>
                          <a:gd name="connsiteX6" fmla="*/ 161438 w 168476"/>
                          <a:gd name="connsiteY6" fmla="*/ 81382 h 251896"/>
                          <a:gd name="connsiteX0" fmla="*/ 123435 w 130473"/>
                          <a:gd name="connsiteY0" fmla="*/ 81079 h 251593"/>
                          <a:gd name="connsiteX1" fmla="*/ 61443 w 130473"/>
                          <a:gd name="connsiteY1" fmla="*/ 2614 h 251593"/>
                          <a:gd name="connsiteX2" fmla="*/ 1 w 130473"/>
                          <a:gd name="connsiteY2" fmla="*/ 187075 h 251593"/>
                          <a:gd name="connsiteX3" fmla="*/ 62618 w 130473"/>
                          <a:gd name="connsiteY3" fmla="*/ 245887 h 251593"/>
                          <a:gd name="connsiteX4" fmla="*/ 118930 w 130473"/>
                          <a:gd name="connsiteY4" fmla="*/ 162935 h 251593"/>
                          <a:gd name="connsiteX5" fmla="*/ 123435 w 130473"/>
                          <a:gd name="connsiteY5" fmla="*/ 81079 h 251593"/>
                          <a:gd name="connsiteX0" fmla="*/ 123435 w 130472"/>
                          <a:gd name="connsiteY0" fmla="*/ 81077 h 281983"/>
                          <a:gd name="connsiteX1" fmla="*/ 61443 w 130472"/>
                          <a:gd name="connsiteY1" fmla="*/ 2612 h 281983"/>
                          <a:gd name="connsiteX2" fmla="*/ 1 w 130472"/>
                          <a:gd name="connsiteY2" fmla="*/ 187073 h 281983"/>
                          <a:gd name="connsiteX3" fmla="*/ 59877 w 130472"/>
                          <a:gd name="connsiteY3" fmla="*/ 278178 h 281983"/>
                          <a:gd name="connsiteX4" fmla="*/ 118930 w 130472"/>
                          <a:gd name="connsiteY4" fmla="*/ 162933 h 281983"/>
                          <a:gd name="connsiteX5" fmla="*/ 123435 w 130472"/>
                          <a:gd name="connsiteY5" fmla="*/ 81077 h 281983"/>
                          <a:gd name="connsiteX0" fmla="*/ 134182 w 141219"/>
                          <a:gd name="connsiteY0" fmla="*/ 81077 h 287817"/>
                          <a:gd name="connsiteX1" fmla="*/ 72190 w 141219"/>
                          <a:gd name="connsiteY1" fmla="*/ 2612 h 287817"/>
                          <a:gd name="connsiteX2" fmla="*/ 0 w 141219"/>
                          <a:gd name="connsiteY2" fmla="*/ 247392 h 287817"/>
                          <a:gd name="connsiteX3" fmla="*/ 70624 w 141219"/>
                          <a:gd name="connsiteY3" fmla="*/ 278178 h 287817"/>
                          <a:gd name="connsiteX4" fmla="*/ 129677 w 141219"/>
                          <a:gd name="connsiteY4" fmla="*/ 162933 h 287817"/>
                          <a:gd name="connsiteX5" fmla="*/ 134182 w 141219"/>
                          <a:gd name="connsiteY5" fmla="*/ 81077 h 287817"/>
                          <a:gd name="connsiteX0" fmla="*/ 134182 w 153409"/>
                          <a:gd name="connsiteY0" fmla="*/ 81077 h 287819"/>
                          <a:gd name="connsiteX1" fmla="*/ 72190 w 153409"/>
                          <a:gd name="connsiteY1" fmla="*/ 2612 h 287819"/>
                          <a:gd name="connsiteX2" fmla="*/ 0 w 153409"/>
                          <a:gd name="connsiteY2" fmla="*/ 247392 h 287819"/>
                          <a:gd name="connsiteX3" fmla="*/ 70624 w 153409"/>
                          <a:gd name="connsiteY3" fmla="*/ 278178 h 287819"/>
                          <a:gd name="connsiteX4" fmla="*/ 152664 w 153409"/>
                          <a:gd name="connsiteY4" fmla="*/ 166785 h 287819"/>
                          <a:gd name="connsiteX5" fmla="*/ 134182 w 153409"/>
                          <a:gd name="connsiteY5" fmla="*/ 81077 h 287819"/>
                          <a:gd name="connsiteX0" fmla="*/ 134182 w 153409"/>
                          <a:gd name="connsiteY0" fmla="*/ 103875 h 310615"/>
                          <a:gd name="connsiteX1" fmla="*/ 67739 w 153409"/>
                          <a:gd name="connsiteY1" fmla="*/ 2075 h 310615"/>
                          <a:gd name="connsiteX2" fmla="*/ 0 w 153409"/>
                          <a:gd name="connsiteY2" fmla="*/ 270190 h 310615"/>
                          <a:gd name="connsiteX3" fmla="*/ 70624 w 153409"/>
                          <a:gd name="connsiteY3" fmla="*/ 300976 h 310615"/>
                          <a:gd name="connsiteX4" fmla="*/ 152664 w 153409"/>
                          <a:gd name="connsiteY4" fmla="*/ 189583 h 310615"/>
                          <a:gd name="connsiteX5" fmla="*/ 134182 w 153409"/>
                          <a:gd name="connsiteY5" fmla="*/ 103875 h 310615"/>
                          <a:gd name="connsiteX0" fmla="*/ 134870 w 154097"/>
                          <a:gd name="connsiteY0" fmla="*/ 103875 h 310617"/>
                          <a:gd name="connsiteX1" fmla="*/ 68427 w 154097"/>
                          <a:gd name="connsiteY1" fmla="*/ 2075 h 310617"/>
                          <a:gd name="connsiteX2" fmla="*/ 50547 w 154097"/>
                          <a:gd name="connsiteY2" fmla="*/ 129528 h 310617"/>
                          <a:gd name="connsiteX3" fmla="*/ 688 w 154097"/>
                          <a:gd name="connsiteY3" fmla="*/ 270190 h 310617"/>
                          <a:gd name="connsiteX4" fmla="*/ 71312 w 154097"/>
                          <a:gd name="connsiteY4" fmla="*/ 300976 h 310617"/>
                          <a:gd name="connsiteX5" fmla="*/ 153352 w 154097"/>
                          <a:gd name="connsiteY5" fmla="*/ 189583 h 310617"/>
                          <a:gd name="connsiteX6" fmla="*/ 134870 w 154097"/>
                          <a:gd name="connsiteY6" fmla="*/ 103875 h 310617"/>
                          <a:gd name="connsiteX0" fmla="*/ 286319 w 305546"/>
                          <a:gd name="connsiteY0" fmla="*/ 103875 h 316422"/>
                          <a:gd name="connsiteX1" fmla="*/ 219876 w 305546"/>
                          <a:gd name="connsiteY1" fmla="*/ 2075 h 316422"/>
                          <a:gd name="connsiteX2" fmla="*/ 201996 w 305546"/>
                          <a:gd name="connsiteY2" fmla="*/ 129528 h 316422"/>
                          <a:gd name="connsiteX3" fmla="*/ 170 w 305546"/>
                          <a:gd name="connsiteY3" fmla="*/ 288640 h 316422"/>
                          <a:gd name="connsiteX4" fmla="*/ 222761 w 305546"/>
                          <a:gd name="connsiteY4" fmla="*/ 300976 h 316422"/>
                          <a:gd name="connsiteX5" fmla="*/ 304801 w 305546"/>
                          <a:gd name="connsiteY5" fmla="*/ 189583 h 316422"/>
                          <a:gd name="connsiteX6" fmla="*/ 286319 w 305546"/>
                          <a:gd name="connsiteY6" fmla="*/ 103875 h 316422"/>
                          <a:gd name="connsiteX0" fmla="*/ 286434 w 305661"/>
                          <a:gd name="connsiteY0" fmla="*/ 127077 h 339624"/>
                          <a:gd name="connsiteX1" fmla="*/ 219991 w 305661"/>
                          <a:gd name="connsiteY1" fmla="*/ 25277 h 339624"/>
                          <a:gd name="connsiteX2" fmla="*/ 121169 w 305661"/>
                          <a:gd name="connsiteY2" fmla="*/ 17606 h 339624"/>
                          <a:gd name="connsiteX3" fmla="*/ 285 w 305661"/>
                          <a:gd name="connsiteY3" fmla="*/ 311842 h 339624"/>
                          <a:gd name="connsiteX4" fmla="*/ 222876 w 305661"/>
                          <a:gd name="connsiteY4" fmla="*/ 324178 h 339624"/>
                          <a:gd name="connsiteX5" fmla="*/ 304916 w 305661"/>
                          <a:gd name="connsiteY5" fmla="*/ 212785 h 339624"/>
                          <a:gd name="connsiteX6" fmla="*/ 286434 w 305661"/>
                          <a:gd name="connsiteY6" fmla="*/ 127077 h 339624"/>
                          <a:gd name="connsiteX0" fmla="*/ 312003 w 331230"/>
                          <a:gd name="connsiteY0" fmla="*/ 127077 h 339624"/>
                          <a:gd name="connsiteX1" fmla="*/ 245560 w 331230"/>
                          <a:gd name="connsiteY1" fmla="*/ 25277 h 339624"/>
                          <a:gd name="connsiteX2" fmla="*/ 146738 w 331230"/>
                          <a:gd name="connsiteY2" fmla="*/ 17606 h 339624"/>
                          <a:gd name="connsiteX3" fmla="*/ 11423 w 331230"/>
                          <a:gd name="connsiteY3" fmla="*/ 244058 h 339624"/>
                          <a:gd name="connsiteX4" fmla="*/ 25854 w 331230"/>
                          <a:gd name="connsiteY4" fmla="*/ 311842 h 339624"/>
                          <a:gd name="connsiteX5" fmla="*/ 248445 w 331230"/>
                          <a:gd name="connsiteY5" fmla="*/ 324178 h 339624"/>
                          <a:gd name="connsiteX6" fmla="*/ 330485 w 331230"/>
                          <a:gd name="connsiteY6" fmla="*/ 212785 h 339624"/>
                          <a:gd name="connsiteX7" fmla="*/ 312003 w 331230"/>
                          <a:gd name="connsiteY7" fmla="*/ 127077 h 339624"/>
                          <a:gd name="connsiteX0" fmla="*/ 312003 w 331230"/>
                          <a:gd name="connsiteY0" fmla="*/ 129967 h 342514"/>
                          <a:gd name="connsiteX1" fmla="*/ 245560 w 331230"/>
                          <a:gd name="connsiteY1" fmla="*/ 28167 h 342514"/>
                          <a:gd name="connsiteX2" fmla="*/ 229520 w 331230"/>
                          <a:gd name="connsiteY2" fmla="*/ 9825 h 342514"/>
                          <a:gd name="connsiteX3" fmla="*/ 146738 w 331230"/>
                          <a:gd name="connsiteY3" fmla="*/ 20496 h 342514"/>
                          <a:gd name="connsiteX4" fmla="*/ 11423 w 331230"/>
                          <a:gd name="connsiteY4" fmla="*/ 246948 h 342514"/>
                          <a:gd name="connsiteX5" fmla="*/ 25854 w 331230"/>
                          <a:gd name="connsiteY5" fmla="*/ 314732 h 342514"/>
                          <a:gd name="connsiteX6" fmla="*/ 248445 w 331230"/>
                          <a:gd name="connsiteY6" fmla="*/ 327068 h 342514"/>
                          <a:gd name="connsiteX7" fmla="*/ 330485 w 331230"/>
                          <a:gd name="connsiteY7" fmla="*/ 215675 h 342514"/>
                          <a:gd name="connsiteX8" fmla="*/ 312003 w 331230"/>
                          <a:gd name="connsiteY8" fmla="*/ 129967 h 342514"/>
                          <a:gd name="connsiteX0" fmla="*/ 312003 w 331230"/>
                          <a:gd name="connsiteY0" fmla="*/ 120233 h 332780"/>
                          <a:gd name="connsiteX1" fmla="*/ 245560 w 331230"/>
                          <a:gd name="connsiteY1" fmla="*/ 18433 h 332780"/>
                          <a:gd name="connsiteX2" fmla="*/ 229520 w 331230"/>
                          <a:gd name="connsiteY2" fmla="*/ 91 h 332780"/>
                          <a:gd name="connsiteX3" fmla="*/ 148955 w 331230"/>
                          <a:gd name="connsiteY3" fmla="*/ 48683 h 332780"/>
                          <a:gd name="connsiteX4" fmla="*/ 11423 w 331230"/>
                          <a:gd name="connsiteY4" fmla="*/ 237214 h 332780"/>
                          <a:gd name="connsiteX5" fmla="*/ 25854 w 331230"/>
                          <a:gd name="connsiteY5" fmla="*/ 304998 h 332780"/>
                          <a:gd name="connsiteX6" fmla="*/ 248445 w 331230"/>
                          <a:gd name="connsiteY6" fmla="*/ 317334 h 332780"/>
                          <a:gd name="connsiteX7" fmla="*/ 330485 w 331230"/>
                          <a:gd name="connsiteY7" fmla="*/ 205941 h 332780"/>
                          <a:gd name="connsiteX8" fmla="*/ 312003 w 331230"/>
                          <a:gd name="connsiteY8" fmla="*/ 120233 h 332780"/>
                          <a:gd name="connsiteX0" fmla="*/ 312003 w 331230"/>
                          <a:gd name="connsiteY0" fmla="*/ 120163 h 332710"/>
                          <a:gd name="connsiteX1" fmla="*/ 245560 w 331230"/>
                          <a:gd name="connsiteY1" fmla="*/ 18363 h 332710"/>
                          <a:gd name="connsiteX2" fmla="*/ 229520 w 331230"/>
                          <a:gd name="connsiteY2" fmla="*/ 21 h 332710"/>
                          <a:gd name="connsiteX3" fmla="*/ 148955 w 331230"/>
                          <a:gd name="connsiteY3" fmla="*/ 48613 h 332710"/>
                          <a:gd name="connsiteX4" fmla="*/ 11423 w 331230"/>
                          <a:gd name="connsiteY4" fmla="*/ 237144 h 332710"/>
                          <a:gd name="connsiteX5" fmla="*/ 25854 w 331230"/>
                          <a:gd name="connsiteY5" fmla="*/ 304928 h 332710"/>
                          <a:gd name="connsiteX6" fmla="*/ 248445 w 331230"/>
                          <a:gd name="connsiteY6" fmla="*/ 317264 h 332710"/>
                          <a:gd name="connsiteX7" fmla="*/ 330485 w 331230"/>
                          <a:gd name="connsiteY7" fmla="*/ 205871 h 332710"/>
                          <a:gd name="connsiteX8" fmla="*/ 312003 w 331230"/>
                          <a:gd name="connsiteY8" fmla="*/ 120163 h 332710"/>
                          <a:gd name="connsiteX0" fmla="*/ 307579 w 326806"/>
                          <a:gd name="connsiteY0" fmla="*/ 120182 h 332729"/>
                          <a:gd name="connsiteX1" fmla="*/ 241136 w 326806"/>
                          <a:gd name="connsiteY1" fmla="*/ 18382 h 332729"/>
                          <a:gd name="connsiteX2" fmla="*/ 225096 w 326806"/>
                          <a:gd name="connsiteY2" fmla="*/ 40 h 332729"/>
                          <a:gd name="connsiteX3" fmla="*/ 144531 w 326806"/>
                          <a:gd name="connsiteY3" fmla="*/ 48632 h 332729"/>
                          <a:gd name="connsiteX4" fmla="*/ 75222 w 326806"/>
                          <a:gd name="connsiteY4" fmla="*/ 95215 h 332729"/>
                          <a:gd name="connsiteX5" fmla="*/ 6999 w 326806"/>
                          <a:gd name="connsiteY5" fmla="*/ 237163 h 332729"/>
                          <a:gd name="connsiteX6" fmla="*/ 21430 w 326806"/>
                          <a:gd name="connsiteY6" fmla="*/ 304947 h 332729"/>
                          <a:gd name="connsiteX7" fmla="*/ 244021 w 326806"/>
                          <a:gd name="connsiteY7" fmla="*/ 317283 h 332729"/>
                          <a:gd name="connsiteX8" fmla="*/ 326061 w 326806"/>
                          <a:gd name="connsiteY8" fmla="*/ 205890 h 332729"/>
                          <a:gd name="connsiteX9" fmla="*/ 307579 w 326806"/>
                          <a:gd name="connsiteY9" fmla="*/ 120182 h 332729"/>
                          <a:gd name="connsiteX0" fmla="*/ 307579 w 326806"/>
                          <a:gd name="connsiteY0" fmla="*/ 120168 h 332715"/>
                          <a:gd name="connsiteX1" fmla="*/ 241136 w 326806"/>
                          <a:gd name="connsiteY1" fmla="*/ 18368 h 332715"/>
                          <a:gd name="connsiteX2" fmla="*/ 225096 w 326806"/>
                          <a:gd name="connsiteY2" fmla="*/ 26 h 332715"/>
                          <a:gd name="connsiteX3" fmla="*/ 158280 w 326806"/>
                          <a:gd name="connsiteY3" fmla="*/ 68106 h 332715"/>
                          <a:gd name="connsiteX4" fmla="*/ 75222 w 326806"/>
                          <a:gd name="connsiteY4" fmla="*/ 95201 h 332715"/>
                          <a:gd name="connsiteX5" fmla="*/ 6999 w 326806"/>
                          <a:gd name="connsiteY5" fmla="*/ 237149 h 332715"/>
                          <a:gd name="connsiteX6" fmla="*/ 21430 w 326806"/>
                          <a:gd name="connsiteY6" fmla="*/ 304933 h 332715"/>
                          <a:gd name="connsiteX7" fmla="*/ 244021 w 326806"/>
                          <a:gd name="connsiteY7" fmla="*/ 317269 h 332715"/>
                          <a:gd name="connsiteX8" fmla="*/ 326061 w 326806"/>
                          <a:gd name="connsiteY8" fmla="*/ 205876 h 332715"/>
                          <a:gd name="connsiteX9" fmla="*/ 307579 w 326806"/>
                          <a:gd name="connsiteY9" fmla="*/ 120168 h 332715"/>
                          <a:gd name="connsiteX0" fmla="*/ 294262 w 313489"/>
                          <a:gd name="connsiteY0" fmla="*/ 120167 h 332714"/>
                          <a:gd name="connsiteX1" fmla="*/ 227819 w 313489"/>
                          <a:gd name="connsiteY1" fmla="*/ 18367 h 332714"/>
                          <a:gd name="connsiteX2" fmla="*/ 211779 w 313489"/>
                          <a:gd name="connsiteY2" fmla="*/ 25 h 332714"/>
                          <a:gd name="connsiteX3" fmla="*/ 144963 w 313489"/>
                          <a:gd name="connsiteY3" fmla="*/ 68105 h 332714"/>
                          <a:gd name="connsiteX4" fmla="*/ 61905 w 313489"/>
                          <a:gd name="connsiteY4" fmla="*/ 95200 h 332714"/>
                          <a:gd name="connsiteX5" fmla="*/ 39349 w 313489"/>
                          <a:gd name="connsiteY5" fmla="*/ 174157 h 332714"/>
                          <a:gd name="connsiteX6" fmla="*/ 8113 w 313489"/>
                          <a:gd name="connsiteY6" fmla="*/ 304932 h 332714"/>
                          <a:gd name="connsiteX7" fmla="*/ 230704 w 313489"/>
                          <a:gd name="connsiteY7" fmla="*/ 317268 h 332714"/>
                          <a:gd name="connsiteX8" fmla="*/ 312744 w 313489"/>
                          <a:gd name="connsiteY8" fmla="*/ 205875 h 332714"/>
                          <a:gd name="connsiteX9" fmla="*/ 294262 w 313489"/>
                          <a:gd name="connsiteY9" fmla="*/ 120167 h 332714"/>
                          <a:gd name="connsiteX0" fmla="*/ 256217 w 275444"/>
                          <a:gd name="connsiteY0" fmla="*/ 120167 h 321536"/>
                          <a:gd name="connsiteX1" fmla="*/ 189774 w 275444"/>
                          <a:gd name="connsiteY1" fmla="*/ 18367 h 321536"/>
                          <a:gd name="connsiteX2" fmla="*/ 173734 w 275444"/>
                          <a:gd name="connsiteY2" fmla="*/ 25 h 321536"/>
                          <a:gd name="connsiteX3" fmla="*/ 106918 w 275444"/>
                          <a:gd name="connsiteY3" fmla="*/ 68105 h 321536"/>
                          <a:gd name="connsiteX4" fmla="*/ 23860 w 275444"/>
                          <a:gd name="connsiteY4" fmla="*/ 95200 h 321536"/>
                          <a:gd name="connsiteX5" fmla="*/ 1304 w 275444"/>
                          <a:gd name="connsiteY5" fmla="*/ 174157 h 321536"/>
                          <a:gd name="connsiteX6" fmla="*/ 67379 w 275444"/>
                          <a:gd name="connsiteY6" fmla="*/ 236591 h 321536"/>
                          <a:gd name="connsiteX7" fmla="*/ 192659 w 275444"/>
                          <a:gd name="connsiteY7" fmla="*/ 317268 h 321536"/>
                          <a:gd name="connsiteX8" fmla="*/ 274699 w 275444"/>
                          <a:gd name="connsiteY8" fmla="*/ 205875 h 321536"/>
                          <a:gd name="connsiteX9" fmla="*/ 256217 w 275444"/>
                          <a:gd name="connsiteY9" fmla="*/ 120167 h 321536"/>
                          <a:gd name="connsiteX0" fmla="*/ 239854 w 259081"/>
                          <a:gd name="connsiteY0" fmla="*/ 120167 h 321536"/>
                          <a:gd name="connsiteX1" fmla="*/ 173411 w 259081"/>
                          <a:gd name="connsiteY1" fmla="*/ 18367 h 321536"/>
                          <a:gd name="connsiteX2" fmla="*/ 157371 w 259081"/>
                          <a:gd name="connsiteY2" fmla="*/ 25 h 321536"/>
                          <a:gd name="connsiteX3" fmla="*/ 90555 w 259081"/>
                          <a:gd name="connsiteY3" fmla="*/ 68105 h 321536"/>
                          <a:gd name="connsiteX4" fmla="*/ 7497 w 259081"/>
                          <a:gd name="connsiteY4" fmla="*/ 95200 h 321536"/>
                          <a:gd name="connsiteX5" fmla="*/ 12561 w 259081"/>
                          <a:gd name="connsiteY5" fmla="*/ 174329 h 321536"/>
                          <a:gd name="connsiteX6" fmla="*/ 51016 w 259081"/>
                          <a:gd name="connsiteY6" fmla="*/ 236591 h 321536"/>
                          <a:gd name="connsiteX7" fmla="*/ 176296 w 259081"/>
                          <a:gd name="connsiteY7" fmla="*/ 317268 h 321536"/>
                          <a:gd name="connsiteX8" fmla="*/ 258336 w 259081"/>
                          <a:gd name="connsiteY8" fmla="*/ 205875 h 321536"/>
                          <a:gd name="connsiteX9" fmla="*/ 239854 w 259081"/>
                          <a:gd name="connsiteY9" fmla="*/ 120167 h 321536"/>
                          <a:gd name="connsiteX0" fmla="*/ 239854 w 259081"/>
                          <a:gd name="connsiteY0" fmla="*/ 120167 h 321536"/>
                          <a:gd name="connsiteX1" fmla="*/ 173411 w 259081"/>
                          <a:gd name="connsiteY1" fmla="*/ 18367 h 321536"/>
                          <a:gd name="connsiteX2" fmla="*/ 157371 w 259081"/>
                          <a:gd name="connsiteY2" fmla="*/ 25 h 321536"/>
                          <a:gd name="connsiteX3" fmla="*/ 90555 w 259081"/>
                          <a:gd name="connsiteY3" fmla="*/ 68105 h 321536"/>
                          <a:gd name="connsiteX4" fmla="*/ 7497 w 259081"/>
                          <a:gd name="connsiteY4" fmla="*/ 95200 h 321536"/>
                          <a:gd name="connsiteX5" fmla="*/ 12561 w 259081"/>
                          <a:gd name="connsiteY5" fmla="*/ 174329 h 321536"/>
                          <a:gd name="connsiteX6" fmla="*/ 51016 w 259081"/>
                          <a:gd name="connsiteY6" fmla="*/ 236591 h 321536"/>
                          <a:gd name="connsiteX7" fmla="*/ 176296 w 259081"/>
                          <a:gd name="connsiteY7" fmla="*/ 317268 h 321536"/>
                          <a:gd name="connsiteX8" fmla="*/ 258336 w 259081"/>
                          <a:gd name="connsiteY8" fmla="*/ 205875 h 321536"/>
                          <a:gd name="connsiteX9" fmla="*/ 239854 w 259081"/>
                          <a:gd name="connsiteY9" fmla="*/ 120167 h 321536"/>
                          <a:gd name="connsiteX0" fmla="*/ 239854 w 259081"/>
                          <a:gd name="connsiteY0" fmla="*/ 120167 h 254595"/>
                          <a:gd name="connsiteX1" fmla="*/ 173411 w 259081"/>
                          <a:gd name="connsiteY1" fmla="*/ 18367 h 254595"/>
                          <a:gd name="connsiteX2" fmla="*/ 157371 w 259081"/>
                          <a:gd name="connsiteY2" fmla="*/ 25 h 254595"/>
                          <a:gd name="connsiteX3" fmla="*/ 90555 w 259081"/>
                          <a:gd name="connsiteY3" fmla="*/ 68105 h 254595"/>
                          <a:gd name="connsiteX4" fmla="*/ 7497 w 259081"/>
                          <a:gd name="connsiteY4" fmla="*/ 95200 h 254595"/>
                          <a:gd name="connsiteX5" fmla="*/ 12561 w 259081"/>
                          <a:gd name="connsiteY5" fmla="*/ 174329 h 254595"/>
                          <a:gd name="connsiteX6" fmla="*/ 51016 w 259081"/>
                          <a:gd name="connsiteY6" fmla="*/ 236591 h 254595"/>
                          <a:gd name="connsiteX7" fmla="*/ 146415 w 259081"/>
                          <a:gd name="connsiteY7" fmla="*/ 226344 h 254595"/>
                          <a:gd name="connsiteX8" fmla="*/ 258336 w 259081"/>
                          <a:gd name="connsiteY8" fmla="*/ 205875 h 254595"/>
                          <a:gd name="connsiteX9" fmla="*/ 239854 w 259081"/>
                          <a:gd name="connsiteY9" fmla="*/ 120167 h 254595"/>
                          <a:gd name="connsiteX0" fmla="*/ 239854 w 242526"/>
                          <a:gd name="connsiteY0" fmla="*/ 120167 h 254596"/>
                          <a:gd name="connsiteX1" fmla="*/ 173411 w 242526"/>
                          <a:gd name="connsiteY1" fmla="*/ 18367 h 254596"/>
                          <a:gd name="connsiteX2" fmla="*/ 157371 w 242526"/>
                          <a:gd name="connsiteY2" fmla="*/ 25 h 254596"/>
                          <a:gd name="connsiteX3" fmla="*/ 90555 w 242526"/>
                          <a:gd name="connsiteY3" fmla="*/ 68105 h 254596"/>
                          <a:gd name="connsiteX4" fmla="*/ 7497 w 242526"/>
                          <a:gd name="connsiteY4" fmla="*/ 95200 h 254596"/>
                          <a:gd name="connsiteX5" fmla="*/ 12561 w 242526"/>
                          <a:gd name="connsiteY5" fmla="*/ 174329 h 254596"/>
                          <a:gd name="connsiteX6" fmla="*/ 51016 w 242526"/>
                          <a:gd name="connsiteY6" fmla="*/ 236591 h 254596"/>
                          <a:gd name="connsiteX7" fmla="*/ 146415 w 242526"/>
                          <a:gd name="connsiteY7" fmla="*/ 226344 h 254596"/>
                          <a:gd name="connsiteX8" fmla="*/ 184503 w 242526"/>
                          <a:gd name="connsiteY8" fmla="*/ 173775 h 254596"/>
                          <a:gd name="connsiteX9" fmla="*/ 239854 w 242526"/>
                          <a:gd name="connsiteY9" fmla="*/ 120167 h 254596"/>
                          <a:gd name="connsiteX0" fmla="*/ 239854 w 241066"/>
                          <a:gd name="connsiteY0" fmla="*/ 120167 h 254596"/>
                          <a:gd name="connsiteX1" fmla="*/ 173411 w 241066"/>
                          <a:gd name="connsiteY1" fmla="*/ 18367 h 254596"/>
                          <a:gd name="connsiteX2" fmla="*/ 157371 w 241066"/>
                          <a:gd name="connsiteY2" fmla="*/ 25 h 254596"/>
                          <a:gd name="connsiteX3" fmla="*/ 90555 w 241066"/>
                          <a:gd name="connsiteY3" fmla="*/ 68105 h 254596"/>
                          <a:gd name="connsiteX4" fmla="*/ 7497 w 241066"/>
                          <a:gd name="connsiteY4" fmla="*/ 95200 h 254596"/>
                          <a:gd name="connsiteX5" fmla="*/ 12561 w 241066"/>
                          <a:gd name="connsiteY5" fmla="*/ 174329 h 254596"/>
                          <a:gd name="connsiteX6" fmla="*/ 51016 w 241066"/>
                          <a:gd name="connsiteY6" fmla="*/ 236591 h 254596"/>
                          <a:gd name="connsiteX7" fmla="*/ 146415 w 241066"/>
                          <a:gd name="connsiteY7" fmla="*/ 226344 h 254596"/>
                          <a:gd name="connsiteX8" fmla="*/ 184503 w 241066"/>
                          <a:gd name="connsiteY8" fmla="*/ 173775 h 254596"/>
                          <a:gd name="connsiteX9" fmla="*/ 187588 w 241066"/>
                          <a:gd name="connsiteY9" fmla="*/ 119007 h 254596"/>
                          <a:gd name="connsiteX10" fmla="*/ 239854 w 241066"/>
                          <a:gd name="connsiteY10" fmla="*/ 120167 h 254596"/>
                          <a:gd name="connsiteX0" fmla="*/ 195978 w 200246"/>
                          <a:gd name="connsiteY0" fmla="*/ 87358 h 254596"/>
                          <a:gd name="connsiteX1" fmla="*/ 173411 w 200246"/>
                          <a:gd name="connsiteY1" fmla="*/ 18367 h 254596"/>
                          <a:gd name="connsiteX2" fmla="*/ 157371 w 200246"/>
                          <a:gd name="connsiteY2" fmla="*/ 25 h 254596"/>
                          <a:gd name="connsiteX3" fmla="*/ 90555 w 200246"/>
                          <a:gd name="connsiteY3" fmla="*/ 68105 h 254596"/>
                          <a:gd name="connsiteX4" fmla="*/ 7497 w 200246"/>
                          <a:gd name="connsiteY4" fmla="*/ 95200 h 254596"/>
                          <a:gd name="connsiteX5" fmla="*/ 12561 w 200246"/>
                          <a:gd name="connsiteY5" fmla="*/ 174329 h 254596"/>
                          <a:gd name="connsiteX6" fmla="*/ 51016 w 200246"/>
                          <a:gd name="connsiteY6" fmla="*/ 236591 h 254596"/>
                          <a:gd name="connsiteX7" fmla="*/ 146415 w 200246"/>
                          <a:gd name="connsiteY7" fmla="*/ 226344 h 254596"/>
                          <a:gd name="connsiteX8" fmla="*/ 184503 w 200246"/>
                          <a:gd name="connsiteY8" fmla="*/ 173775 h 254596"/>
                          <a:gd name="connsiteX9" fmla="*/ 187588 w 200246"/>
                          <a:gd name="connsiteY9" fmla="*/ 119007 h 254596"/>
                          <a:gd name="connsiteX10" fmla="*/ 195978 w 200246"/>
                          <a:gd name="connsiteY10" fmla="*/ 87358 h 254596"/>
                          <a:gd name="connsiteX0" fmla="*/ 195978 w 198011"/>
                          <a:gd name="connsiteY0" fmla="*/ 87358 h 254596"/>
                          <a:gd name="connsiteX1" fmla="*/ 173411 w 198011"/>
                          <a:gd name="connsiteY1" fmla="*/ 18367 h 254596"/>
                          <a:gd name="connsiteX2" fmla="*/ 157371 w 198011"/>
                          <a:gd name="connsiteY2" fmla="*/ 25 h 254596"/>
                          <a:gd name="connsiteX3" fmla="*/ 90555 w 198011"/>
                          <a:gd name="connsiteY3" fmla="*/ 68105 h 254596"/>
                          <a:gd name="connsiteX4" fmla="*/ 7497 w 198011"/>
                          <a:gd name="connsiteY4" fmla="*/ 95200 h 254596"/>
                          <a:gd name="connsiteX5" fmla="*/ 12561 w 198011"/>
                          <a:gd name="connsiteY5" fmla="*/ 174329 h 254596"/>
                          <a:gd name="connsiteX6" fmla="*/ 51016 w 198011"/>
                          <a:gd name="connsiteY6" fmla="*/ 236591 h 254596"/>
                          <a:gd name="connsiteX7" fmla="*/ 146415 w 198011"/>
                          <a:gd name="connsiteY7" fmla="*/ 226344 h 254596"/>
                          <a:gd name="connsiteX8" fmla="*/ 184503 w 198011"/>
                          <a:gd name="connsiteY8" fmla="*/ 173775 h 254596"/>
                          <a:gd name="connsiteX9" fmla="*/ 168074 w 198011"/>
                          <a:gd name="connsiteY9" fmla="*/ 108738 h 254596"/>
                          <a:gd name="connsiteX10" fmla="*/ 195978 w 198011"/>
                          <a:gd name="connsiteY10" fmla="*/ 87358 h 254596"/>
                          <a:gd name="connsiteX0" fmla="*/ 187078 w 189765"/>
                          <a:gd name="connsiteY0" fmla="*/ 80140 h 254596"/>
                          <a:gd name="connsiteX1" fmla="*/ 173411 w 189765"/>
                          <a:gd name="connsiteY1" fmla="*/ 18367 h 254596"/>
                          <a:gd name="connsiteX2" fmla="*/ 157371 w 189765"/>
                          <a:gd name="connsiteY2" fmla="*/ 25 h 254596"/>
                          <a:gd name="connsiteX3" fmla="*/ 90555 w 189765"/>
                          <a:gd name="connsiteY3" fmla="*/ 68105 h 254596"/>
                          <a:gd name="connsiteX4" fmla="*/ 7497 w 189765"/>
                          <a:gd name="connsiteY4" fmla="*/ 95200 h 254596"/>
                          <a:gd name="connsiteX5" fmla="*/ 12561 w 189765"/>
                          <a:gd name="connsiteY5" fmla="*/ 174329 h 254596"/>
                          <a:gd name="connsiteX6" fmla="*/ 51016 w 189765"/>
                          <a:gd name="connsiteY6" fmla="*/ 236591 h 254596"/>
                          <a:gd name="connsiteX7" fmla="*/ 146415 w 189765"/>
                          <a:gd name="connsiteY7" fmla="*/ 226344 h 254596"/>
                          <a:gd name="connsiteX8" fmla="*/ 184503 w 189765"/>
                          <a:gd name="connsiteY8" fmla="*/ 173775 h 254596"/>
                          <a:gd name="connsiteX9" fmla="*/ 168074 w 189765"/>
                          <a:gd name="connsiteY9" fmla="*/ 108738 h 254596"/>
                          <a:gd name="connsiteX10" fmla="*/ 187078 w 189765"/>
                          <a:gd name="connsiteY10" fmla="*/ 80140 h 254596"/>
                          <a:gd name="connsiteX0" fmla="*/ 175837 w 187636"/>
                          <a:gd name="connsiteY0" fmla="*/ 73802 h 254596"/>
                          <a:gd name="connsiteX1" fmla="*/ 173411 w 187636"/>
                          <a:gd name="connsiteY1" fmla="*/ 18367 h 254596"/>
                          <a:gd name="connsiteX2" fmla="*/ 157371 w 187636"/>
                          <a:gd name="connsiteY2" fmla="*/ 25 h 254596"/>
                          <a:gd name="connsiteX3" fmla="*/ 90555 w 187636"/>
                          <a:gd name="connsiteY3" fmla="*/ 68105 h 254596"/>
                          <a:gd name="connsiteX4" fmla="*/ 7497 w 187636"/>
                          <a:gd name="connsiteY4" fmla="*/ 95200 h 254596"/>
                          <a:gd name="connsiteX5" fmla="*/ 12561 w 187636"/>
                          <a:gd name="connsiteY5" fmla="*/ 174329 h 254596"/>
                          <a:gd name="connsiteX6" fmla="*/ 51016 w 187636"/>
                          <a:gd name="connsiteY6" fmla="*/ 236591 h 254596"/>
                          <a:gd name="connsiteX7" fmla="*/ 146415 w 187636"/>
                          <a:gd name="connsiteY7" fmla="*/ 226344 h 254596"/>
                          <a:gd name="connsiteX8" fmla="*/ 184503 w 187636"/>
                          <a:gd name="connsiteY8" fmla="*/ 173775 h 254596"/>
                          <a:gd name="connsiteX9" fmla="*/ 168074 w 187636"/>
                          <a:gd name="connsiteY9" fmla="*/ 108738 h 254596"/>
                          <a:gd name="connsiteX10" fmla="*/ 175837 w 187636"/>
                          <a:gd name="connsiteY10" fmla="*/ 73802 h 254596"/>
                          <a:gd name="connsiteX0" fmla="*/ 168074 w 188474"/>
                          <a:gd name="connsiteY0" fmla="*/ 108738 h 254596"/>
                          <a:gd name="connsiteX1" fmla="*/ 173411 w 188474"/>
                          <a:gd name="connsiteY1" fmla="*/ 18367 h 254596"/>
                          <a:gd name="connsiteX2" fmla="*/ 157371 w 188474"/>
                          <a:gd name="connsiteY2" fmla="*/ 25 h 254596"/>
                          <a:gd name="connsiteX3" fmla="*/ 90555 w 188474"/>
                          <a:gd name="connsiteY3" fmla="*/ 68105 h 254596"/>
                          <a:gd name="connsiteX4" fmla="*/ 7497 w 188474"/>
                          <a:gd name="connsiteY4" fmla="*/ 95200 h 254596"/>
                          <a:gd name="connsiteX5" fmla="*/ 12561 w 188474"/>
                          <a:gd name="connsiteY5" fmla="*/ 174329 h 254596"/>
                          <a:gd name="connsiteX6" fmla="*/ 51016 w 188474"/>
                          <a:gd name="connsiteY6" fmla="*/ 236591 h 254596"/>
                          <a:gd name="connsiteX7" fmla="*/ 146415 w 188474"/>
                          <a:gd name="connsiteY7" fmla="*/ 226344 h 254596"/>
                          <a:gd name="connsiteX8" fmla="*/ 184503 w 188474"/>
                          <a:gd name="connsiteY8" fmla="*/ 173775 h 254596"/>
                          <a:gd name="connsiteX9" fmla="*/ 168074 w 188474"/>
                          <a:gd name="connsiteY9" fmla="*/ 108738 h 254596"/>
                          <a:gd name="connsiteX0" fmla="*/ 168074 w 188474"/>
                          <a:gd name="connsiteY0" fmla="*/ 108738 h 254596"/>
                          <a:gd name="connsiteX1" fmla="*/ 178258 w 188474"/>
                          <a:gd name="connsiteY1" fmla="*/ 30636 h 254596"/>
                          <a:gd name="connsiteX2" fmla="*/ 157371 w 188474"/>
                          <a:gd name="connsiteY2" fmla="*/ 25 h 254596"/>
                          <a:gd name="connsiteX3" fmla="*/ 90555 w 188474"/>
                          <a:gd name="connsiteY3" fmla="*/ 68105 h 254596"/>
                          <a:gd name="connsiteX4" fmla="*/ 7497 w 188474"/>
                          <a:gd name="connsiteY4" fmla="*/ 95200 h 254596"/>
                          <a:gd name="connsiteX5" fmla="*/ 12561 w 188474"/>
                          <a:gd name="connsiteY5" fmla="*/ 174329 h 254596"/>
                          <a:gd name="connsiteX6" fmla="*/ 51016 w 188474"/>
                          <a:gd name="connsiteY6" fmla="*/ 236591 h 254596"/>
                          <a:gd name="connsiteX7" fmla="*/ 146415 w 188474"/>
                          <a:gd name="connsiteY7" fmla="*/ 226344 h 254596"/>
                          <a:gd name="connsiteX8" fmla="*/ 184503 w 188474"/>
                          <a:gd name="connsiteY8" fmla="*/ 173775 h 254596"/>
                          <a:gd name="connsiteX9" fmla="*/ 168074 w 188474"/>
                          <a:gd name="connsiteY9" fmla="*/ 108738 h 254596"/>
                          <a:gd name="connsiteX0" fmla="*/ 168074 w 188474"/>
                          <a:gd name="connsiteY0" fmla="*/ 87861 h 233719"/>
                          <a:gd name="connsiteX1" fmla="*/ 178258 w 188474"/>
                          <a:gd name="connsiteY1" fmla="*/ 9759 h 233719"/>
                          <a:gd name="connsiteX2" fmla="*/ 149432 w 188474"/>
                          <a:gd name="connsiteY2" fmla="*/ 3274 h 233719"/>
                          <a:gd name="connsiteX3" fmla="*/ 90555 w 188474"/>
                          <a:gd name="connsiteY3" fmla="*/ 47228 h 233719"/>
                          <a:gd name="connsiteX4" fmla="*/ 7497 w 188474"/>
                          <a:gd name="connsiteY4" fmla="*/ 74323 h 233719"/>
                          <a:gd name="connsiteX5" fmla="*/ 12561 w 188474"/>
                          <a:gd name="connsiteY5" fmla="*/ 153452 h 233719"/>
                          <a:gd name="connsiteX6" fmla="*/ 51016 w 188474"/>
                          <a:gd name="connsiteY6" fmla="*/ 215714 h 233719"/>
                          <a:gd name="connsiteX7" fmla="*/ 146415 w 188474"/>
                          <a:gd name="connsiteY7" fmla="*/ 205467 h 233719"/>
                          <a:gd name="connsiteX8" fmla="*/ 184503 w 188474"/>
                          <a:gd name="connsiteY8" fmla="*/ 152898 h 233719"/>
                          <a:gd name="connsiteX9" fmla="*/ 168074 w 188474"/>
                          <a:gd name="connsiteY9" fmla="*/ 87861 h 233719"/>
                          <a:gd name="connsiteX0" fmla="*/ 168074 w 188474"/>
                          <a:gd name="connsiteY0" fmla="*/ 88957 h 234815"/>
                          <a:gd name="connsiteX1" fmla="*/ 178258 w 188474"/>
                          <a:gd name="connsiteY1" fmla="*/ 10855 h 234815"/>
                          <a:gd name="connsiteX2" fmla="*/ 149432 w 188474"/>
                          <a:gd name="connsiteY2" fmla="*/ 4370 h 234815"/>
                          <a:gd name="connsiteX3" fmla="*/ 129338 w 188474"/>
                          <a:gd name="connsiteY3" fmla="*/ 43643 h 234815"/>
                          <a:gd name="connsiteX4" fmla="*/ 90555 w 188474"/>
                          <a:gd name="connsiteY4" fmla="*/ 48324 h 234815"/>
                          <a:gd name="connsiteX5" fmla="*/ 7497 w 188474"/>
                          <a:gd name="connsiteY5" fmla="*/ 75419 h 234815"/>
                          <a:gd name="connsiteX6" fmla="*/ 12561 w 188474"/>
                          <a:gd name="connsiteY6" fmla="*/ 154548 h 234815"/>
                          <a:gd name="connsiteX7" fmla="*/ 51016 w 188474"/>
                          <a:gd name="connsiteY7" fmla="*/ 216810 h 234815"/>
                          <a:gd name="connsiteX8" fmla="*/ 146415 w 188474"/>
                          <a:gd name="connsiteY8" fmla="*/ 206563 h 234815"/>
                          <a:gd name="connsiteX9" fmla="*/ 184503 w 188474"/>
                          <a:gd name="connsiteY9" fmla="*/ 153994 h 234815"/>
                          <a:gd name="connsiteX10" fmla="*/ 168074 w 188474"/>
                          <a:gd name="connsiteY10" fmla="*/ 88957 h 234815"/>
                          <a:gd name="connsiteX0" fmla="*/ 168074 w 188474"/>
                          <a:gd name="connsiteY0" fmla="*/ 84485 h 230343"/>
                          <a:gd name="connsiteX1" fmla="*/ 178258 w 188474"/>
                          <a:gd name="connsiteY1" fmla="*/ 6383 h 230343"/>
                          <a:gd name="connsiteX2" fmla="*/ 152568 w 188474"/>
                          <a:gd name="connsiteY2" fmla="*/ 16334 h 230343"/>
                          <a:gd name="connsiteX3" fmla="*/ 129338 w 188474"/>
                          <a:gd name="connsiteY3" fmla="*/ 39171 h 230343"/>
                          <a:gd name="connsiteX4" fmla="*/ 90555 w 188474"/>
                          <a:gd name="connsiteY4" fmla="*/ 43852 h 230343"/>
                          <a:gd name="connsiteX5" fmla="*/ 7497 w 188474"/>
                          <a:gd name="connsiteY5" fmla="*/ 70947 h 230343"/>
                          <a:gd name="connsiteX6" fmla="*/ 12561 w 188474"/>
                          <a:gd name="connsiteY6" fmla="*/ 150076 h 230343"/>
                          <a:gd name="connsiteX7" fmla="*/ 51016 w 188474"/>
                          <a:gd name="connsiteY7" fmla="*/ 212338 h 230343"/>
                          <a:gd name="connsiteX8" fmla="*/ 146415 w 188474"/>
                          <a:gd name="connsiteY8" fmla="*/ 202091 h 230343"/>
                          <a:gd name="connsiteX9" fmla="*/ 184503 w 188474"/>
                          <a:gd name="connsiteY9" fmla="*/ 149522 h 230343"/>
                          <a:gd name="connsiteX10" fmla="*/ 168074 w 188474"/>
                          <a:gd name="connsiteY10" fmla="*/ 84485 h 230343"/>
                          <a:gd name="connsiteX0" fmla="*/ 168074 w 188474"/>
                          <a:gd name="connsiteY0" fmla="*/ 84485 h 230343"/>
                          <a:gd name="connsiteX1" fmla="*/ 178258 w 188474"/>
                          <a:gd name="connsiteY1" fmla="*/ 6383 h 230343"/>
                          <a:gd name="connsiteX2" fmla="*/ 152568 w 188474"/>
                          <a:gd name="connsiteY2" fmla="*/ 16334 h 230343"/>
                          <a:gd name="connsiteX3" fmla="*/ 129338 w 188474"/>
                          <a:gd name="connsiteY3" fmla="*/ 39171 h 230343"/>
                          <a:gd name="connsiteX4" fmla="*/ 106644 w 188474"/>
                          <a:gd name="connsiteY4" fmla="*/ 62458 h 230343"/>
                          <a:gd name="connsiteX5" fmla="*/ 7497 w 188474"/>
                          <a:gd name="connsiteY5" fmla="*/ 70947 h 230343"/>
                          <a:gd name="connsiteX6" fmla="*/ 12561 w 188474"/>
                          <a:gd name="connsiteY6" fmla="*/ 150076 h 230343"/>
                          <a:gd name="connsiteX7" fmla="*/ 51016 w 188474"/>
                          <a:gd name="connsiteY7" fmla="*/ 212338 h 230343"/>
                          <a:gd name="connsiteX8" fmla="*/ 146415 w 188474"/>
                          <a:gd name="connsiteY8" fmla="*/ 202091 h 230343"/>
                          <a:gd name="connsiteX9" fmla="*/ 184503 w 188474"/>
                          <a:gd name="connsiteY9" fmla="*/ 149522 h 230343"/>
                          <a:gd name="connsiteX10" fmla="*/ 168074 w 188474"/>
                          <a:gd name="connsiteY10" fmla="*/ 84485 h 230343"/>
                          <a:gd name="connsiteX0" fmla="*/ 168074 w 188474"/>
                          <a:gd name="connsiteY0" fmla="*/ 84485 h 230343"/>
                          <a:gd name="connsiteX1" fmla="*/ 178258 w 188474"/>
                          <a:gd name="connsiteY1" fmla="*/ 6383 h 230343"/>
                          <a:gd name="connsiteX2" fmla="*/ 152568 w 188474"/>
                          <a:gd name="connsiteY2" fmla="*/ 16334 h 230343"/>
                          <a:gd name="connsiteX3" fmla="*/ 134645 w 188474"/>
                          <a:gd name="connsiteY3" fmla="*/ 40696 h 230343"/>
                          <a:gd name="connsiteX4" fmla="*/ 106644 w 188474"/>
                          <a:gd name="connsiteY4" fmla="*/ 62458 h 230343"/>
                          <a:gd name="connsiteX5" fmla="*/ 7497 w 188474"/>
                          <a:gd name="connsiteY5" fmla="*/ 70947 h 230343"/>
                          <a:gd name="connsiteX6" fmla="*/ 12561 w 188474"/>
                          <a:gd name="connsiteY6" fmla="*/ 150076 h 230343"/>
                          <a:gd name="connsiteX7" fmla="*/ 51016 w 188474"/>
                          <a:gd name="connsiteY7" fmla="*/ 212338 h 230343"/>
                          <a:gd name="connsiteX8" fmla="*/ 146415 w 188474"/>
                          <a:gd name="connsiteY8" fmla="*/ 202091 h 230343"/>
                          <a:gd name="connsiteX9" fmla="*/ 184503 w 188474"/>
                          <a:gd name="connsiteY9" fmla="*/ 149522 h 230343"/>
                          <a:gd name="connsiteX10" fmla="*/ 168074 w 188474"/>
                          <a:gd name="connsiteY10" fmla="*/ 84485 h 230343"/>
                          <a:gd name="connsiteX0" fmla="*/ 160026 w 180426"/>
                          <a:gd name="connsiteY0" fmla="*/ 84485 h 230343"/>
                          <a:gd name="connsiteX1" fmla="*/ 170210 w 180426"/>
                          <a:gd name="connsiteY1" fmla="*/ 6383 h 230343"/>
                          <a:gd name="connsiteX2" fmla="*/ 144520 w 180426"/>
                          <a:gd name="connsiteY2" fmla="*/ 16334 h 230343"/>
                          <a:gd name="connsiteX3" fmla="*/ 126597 w 180426"/>
                          <a:gd name="connsiteY3" fmla="*/ 40696 h 230343"/>
                          <a:gd name="connsiteX4" fmla="*/ 98596 w 180426"/>
                          <a:gd name="connsiteY4" fmla="*/ 62458 h 230343"/>
                          <a:gd name="connsiteX5" fmla="*/ 9267 w 180426"/>
                          <a:gd name="connsiteY5" fmla="*/ 56682 h 230343"/>
                          <a:gd name="connsiteX6" fmla="*/ 4513 w 180426"/>
                          <a:gd name="connsiteY6" fmla="*/ 150076 h 230343"/>
                          <a:gd name="connsiteX7" fmla="*/ 42968 w 180426"/>
                          <a:gd name="connsiteY7" fmla="*/ 212338 h 230343"/>
                          <a:gd name="connsiteX8" fmla="*/ 138367 w 180426"/>
                          <a:gd name="connsiteY8" fmla="*/ 202091 h 230343"/>
                          <a:gd name="connsiteX9" fmla="*/ 176455 w 180426"/>
                          <a:gd name="connsiteY9" fmla="*/ 149522 h 230343"/>
                          <a:gd name="connsiteX10" fmla="*/ 160026 w 180426"/>
                          <a:gd name="connsiteY10" fmla="*/ 84485 h 230343"/>
                          <a:gd name="connsiteX0" fmla="*/ 160026 w 170775"/>
                          <a:gd name="connsiteY0" fmla="*/ 84485 h 230343"/>
                          <a:gd name="connsiteX1" fmla="*/ 170210 w 170775"/>
                          <a:gd name="connsiteY1" fmla="*/ 6383 h 230343"/>
                          <a:gd name="connsiteX2" fmla="*/ 144520 w 170775"/>
                          <a:gd name="connsiteY2" fmla="*/ 16334 h 230343"/>
                          <a:gd name="connsiteX3" fmla="*/ 126597 w 170775"/>
                          <a:gd name="connsiteY3" fmla="*/ 40696 h 230343"/>
                          <a:gd name="connsiteX4" fmla="*/ 98596 w 170775"/>
                          <a:gd name="connsiteY4" fmla="*/ 62458 h 230343"/>
                          <a:gd name="connsiteX5" fmla="*/ 9267 w 170775"/>
                          <a:gd name="connsiteY5" fmla="*/ 56682 h 230343"/>
                          <a:gd name="connsiteX6" fmla="*/ 4513 w 170775"/>
                          <a:gd name="connsiteY6" fmla="*/ 150076 h 230343"/>
                          <a:gd name="connsiteX7" fmla="*/ 42968 w 170775"/>
                          <a:gd name="connsiteY7" fmla="*/ 212338 h 230343"/>
                          <a:gd name="connsiteX8" fmla="*/ 138367 w 170775"/>
                          <a:gd name="connsiteY8" fmla="*/ 202091 h 230343"/>
                          <a:gd name="connsiteX9" fmla="*/ 165215 w 170775"/>
                          <a:gd name="connsiteY9" fmla="*/ 143182 h 230343"/>
                          <a:gd name="connsiteX10" fmla="*/ 160026 w 170775"/>
                          <a:gd name="connsiteY10" fmla="*/ 84485 h 23034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  <a:cxn ang="0">
                            <a:pos x="connsiteX8" y="connsiteY8"/>
                          </a:cxn>
                          <a:cxn ang="0">
                            <a:pos x="connsiteX9" y="connsiteY9"/>
                          </a:cxn>
                          <a:cxn ang="0">
                            <a:pos x="connsiteX10" y="connsiteY10"/>
                          </a:cxn>
                        </a:cxnLst>
                        <a:rect l="l" t="t" r="r" b="b"/>
                        <a:pathLst>
                          <a:path w="170775" h="230343">
                            <a:moveTo>
                              <a:pt x="160026" y="84485"/>
                            </a:moveTo>
                            <a:cubicBezTo>
                              <a:pt x="158177" y="58584"/>
                              <a:pt x="171994" y="24502"/>
                              <a:pt x="170210" y="6383"/>
                            </a:cubicBezTo>
                            <a:cubicBezTo>
                              <a:pt x="168426" y="-11736"/>
                              <a:pt x="154575" y="14264"/>
                              <a:pt x="144520" y="16334"/>
                            </a:cubicBezTo>
                            <a:cubicBezTo>
                              <a:pt x="134465" y="18404"/>
                              <a:pt x="136410" y="33370"/>
                              <a:pt x="126597" y="40696"/>
                            </a:cubicBezTo>
                            <a:cubicBezTo>
                              <a:pt x="116784" y="48022"/>
                              <a:pt x="117002" y="53767"/>
                              <a:pt x="98596" y="62458"/>
                            </a:cubicBezTo>
                            <a:cubicBezTo>
                              <a:pt x="80191" y="71149"/>
                              <a:pt x="32189" y="25260"/>
                              <a:pt x="9267" y="56682"/>
                            </a:cubicBezTo>
                            <a:cubicBezTo>
                              <a:pt x="-13655" y="88104"/>
                              <a:pt x="14419" y="120052"/>
                              <a:pt x="4513" y="150076"/>
                            </a:cubicBezTo>
                            <a:cubicBezTo>
                              <a:pt x="28787" y="188375"/>
                              <a:pt x="15936" y="185482"/>
                              <a:pt x="42968" y="212338"/>
                            </a:cubicBezTo>
                            <a:cubicBezTo>
                              <a:pt x="74799" y="247582"/>
                              <a:pt x="115055" y="223924"/>
                              <a:pt x="138367" y="202091"/>
                            </a:cubicBezTo>
                            <a:cubicBezTo>
                              <a:pt x="161679" y="180258"/>
                              <a:pt x="150887" y="159184"/>
                              <a:pt x="165215" y="143182"/>
                            </a:cubicBezTo>
                            <a:cubicBezTo>
                              <a:pt x="179543" y="127180"/>
                              <a:pt x="161875" y="110386"/>
                              <a:pt x="160026" y="84485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985" name="Freeform 283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5805834" y="4531088"/>
                        <a:ext cx="195987" cy="147978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517116" h="374655">
                            <a:moveTo>
                              <a:pt x="400497" y="1010"/>
                            </a:moveTo>
                            <a:cubicBezTo>
                              <a:pt x="318771" y="-11598"/>
                              <a:pt x="57968" y="96718"/>
                              <a:pt x="11235" y="158802"/>
                            </a:cubicBezTo>
                            <a:cubicBezTo>
                              <a:pt x="-35498" y="220886"/>
                              <a:pt x="75879" y="340261"/>
                              <a:pt x="120099" y="373513"/>
                            </a:cubicBezTo>
                            <a:cubicBezTo>
                              <a:pt x="201826" y="386121"/>
                              <a:pt x="439621" y="291452"/>
                              <a:pt x="501594" y="234448"/>
                            </a:cubicBezTo>
                            <a:cubicBezTo>
                              <a:pt x="548327" y="172364"/>
                              <a:pt x="482224" y="13618"/>
                              <a:pt x="400497" y="1010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  <p:sp>
                    <p:nvSpPr>
                      <p:cNvPr id="986" name="Freeform 284"/>
                      <p:cNvSpPr>
                        <a:spLocks noChangeAspect="1"/>
                      </p:cNvSpPr>
                      <p:nvPr/>
                    </p:nvSpPr>
                    <p:spPr>
                      <a:xfrm rot="11700000">
                        <a:off x="6686044" y="3577632"/>
                        <a:ext cx="110907" cy="97980"/>
                      </a:xfrm>
                      <a:custGeom>
                        <a:avLst/>
                        <a:gdLst>
                          <a:gd name="connsiteX0" fmla="*/ 175260 w 541020"/>
                          <a:gd name="connsiteY0" fmla="*/ 45720 h 281940"/>
                          <a:gd name="connsiteX1" fmla="*/ 0 w 541020"/>
                          <a:gd name="connsiteY1" fmla="*/ 121920 h 281940"/>
                          <a:gd name="connsiteX2" fmla="*/ 7620 w 541020"/>
                          <a:gd name="connsiteY2" fmla="*/ 251460 h 281940"/>
                          <a:gd name="connsiteX3" fmla="*/ 160020 w 541020"/>
                          <a:gd name="connsiteY3" fmla="*/ 281940 h 281940"/>
                          <a:gd name="connsiteX4" fmla="*/ 327660 w 541020"/>
                          <a:gd name="connsiteY4" fmla="*/ 236220 h 281940"/>
                          <a:gd name="connsiteX5" fmla="*/ 495300 w 541020"/>
                          <a:gd name="connsiteY5" fmla="*/ 114300 h 281940"/>
                          <a:gd name="connsiteX6" fmla="*/ 541020 w 541020"/>
                          <a:gd name="connsiteY6" fmla="*/ 30480 h 281940"/>
                          <a:gd name="connsiteX7" fmla="*/ 518160 w 541020"/>
                          <a:gd name="connsiteY7" fmla="*/ 0 h 281940"/>
                          <a:gd name="connsiteX8" fmla="*/ 449580 w 541020"/>
                          <a:gd name="connsiteY8" fmla="*/ 0 h 281940"/>
                          <a:gd name="connsiteX9" fmla="*/ 175260 w 541020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1940"/>
                          <a:gd name="connsiteX1" fmla="*/ 17128 w 558148"/>
                          <a:gd name="connsiteY1" fmla="*/ 121920 h 281940"/>
                          <a:gd name="connsiteX2" fmla="*/ 24748 w 558148"/>
                          <a:gd name="connsiteY2" fmla="*/ 251460 h 281940"/>
                          <a:gd name="connsiteX3" fmla="*/ 177148 w 558148"/>
                          <a:gd name="connsiteY3" fmla="*/ 281940 h 281940"/>
                          <a:gd name="connsiteX4" fmla="*/ 344788 w 558148"/>
                          <a:gd name="connsiteY4" fmla="*/ 236220 h 281940"/>
                          <a:gd name="connsiteX5" fmla="*/ 512428 w 558148"/>
                          <a:gd name="connsiteY5" fmla="*/ 114300 h 281940"/>
                          <a:gd name="connsiteX6" fmla="*/ 558148 w 558148"/>
                          <a:gd name="connsiteY6" fmla="*/ 30480 h 281940"/>
                          <a:gd name="connsiteX7" fmla="*/ 535288 w 558148"/>
                          <a:gd name="connsiteY7" fmla="*/ 0 h 281940"/>
                          <a:gd name="connsiteX8" fmla="*/ 466708 w 558148"/>
                          <a:gd name="connsiteY8" fmla="*/ 0 h 281940"/>
                          <a:gd name="connsiteX9" fmla="*/ 192388 w 558148"/>
                          <a:gd name="connsiteY9" fmla="*/ 45720 h 281940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45720 h 282454"/>
                          <a:gd name="connsiteX1" fmla="*/ 17128 w 558148"/>
                          <a:gd name="connsiteY1" fmla="*/ 121920 h 282454"/>
                          <a:gd name="connsiteX2" fmla="*/ 24748 w 558148"/>
                          <a:gd name="connsiteY2" fmla="*/ 251460 h 282454"/>
                          <a:gd name="connsiteX3" fmla="*/ 177148 w 558148"/>
                          <a:gd name="connsiteY3" fmla="*/ 281940 h 282454"/>
                          <a:gd name="connsiteX4" fmla="*/ 344788 w 558148"/>
                          <a:gd name="connsiteY4" fmla="*/ 236220 h 282454"/>
                          <a:gd name="connsiteX5" fmla="*/ 512428 w 558148"/>
                          <a:gd name="connsiteY5" fmla="*/ 114300 h 282454"/>
                          <a:gd name="connsiteX6" fmla="*/ 558148 w 558148"/>
                          <a:gd name="connsiteY6" fmla="*/ 30480 h 282454"/>
                          <a:gd name="connsiteX7" fmla="*/ 535288 w 558148"/>
                          <a:gd name="connsiteY7" fmla="*/ 0 h 282454"/>
                          <a:gd name="connsiteX8" fmla="*/ 466708 w 558148"/>
                          <a:gd name="connsiteY8" fmla="*/ 0 h 282454"/>
                          <a:gd name="connsiteX9" fmla="*/ 192388 w 558148"/>
                          <a:gd name="connsiteY9" fmla="*/ 45720 h 282454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58148"/>
                          <a:gd name="connsiteY0" fmla="*/ 50529 h 287263"/>
                          <a:gd name="connsiteX1" fmla="*/ 17128 w 558148"/>
                          <a:gd name="connsiteY1" fmla="*/ 126729 h 287263"/>
                          <a:gd name="connsiteX2" fmla="*/ 24748 w 558148"/>
                          <a:gd name="connsiteY2" fmla="*/ 256269 h 287263"/>
                          <a:gd name="connsiteX3" fmla="*/ 177148 w 558148"/>
                          <a:gd name="connsiteY3" fmla="*/ 286749 h 287263"/>
                          <a:gd name="connsiteX4" fmla="*/ 344788 w 558148"/>
                          <a:gd name="connsiteY4" fmla="*/ 241029 h 287263"/>
                          <a:gd name="connsiteX5" fmla="*/ 512428 w 558148"/>
                          <a:gd name="connsiteY5" fmla="*/ 119109 h 287263"/>
                          <a:gd name="connsiteX6" fmla="*/ 558148 w 558148"/>
                          <a:gd name="connsiteY6" fmla="*/ 35289 h 287263"/>
                          <a:gd name="connsiteX7" fmla="*/ 535288 w 558148"/>
                          <a:gd name="connsiteY7" fmla="*/ 4809 h 287263"/>
                          <a:gd name="connsiteX8" fmla="*/ 466708 w 558148"/>
                          <a:gd name="connsiteY8" fmla="*/ 4809 h 287263"/>
                          <a:gd name="connsiteX9" fmla="*/ 192388 w 558148"/>
                          <a:gd name="connsiteY9" fmla="*/ 50529 h 287263"/>
                          <a:gd name="connsiteX0" fmla="*/ 192388 w 564165"/>
                          <a:gd name="connsiteY0" fmla="*/ 50529 h 287263"/>
                          <a:gd name="connsiteX1" fmla="*/ 17128 w 564165"/>
                          <a:gd name="connsiteY1" fmla="*/ 126729 h 287263"/>
                          <a:gd name="connsiteX2" fmla="*/ 24748 w 564165"/>
                          <a:gd name="connsiteY2" fmla="*/ 256269 h 287263"/>
                          <a:gd name="connsiteX3" fmla="*/ 177148 w 564165"/>
                          <a:gd name="connsiteY3" fmla="*/ 286749 h 287263"/>
                          <a:gd name="connsiteX4" fmla="*/ 344788 w 564165"/>
                          <a:gd name="connsiteY4" fmla="*/ 241029 h 287263"/>
                          <a:gd name="connsiteX5" fmla="*/ 545402 w 564165"/>
                          <a:gd name="connsiteY5" fmla="*/ 181894 h 287263"/>
                          <a:gd name="connsiteX6" fmla="*/ 558148 w 564165"/>
                          <a:gd name="connsiteY6" fmla="*/ 35289 h 287263"/>
                          <a:gd name="connsiteX7" fmla="*/ 535288 w 564165"/>
                          <a:gd name="connsiteY7" fmla="*/ 4809 h 287263"/>
                          <a:gd name="connsiteX8" fmla="*/ 466708 w 564165"/>
                          <a:gd name="connsiteY8" fmla="*/ 4809 h 287263"/>
                          <a:gd name="connsiteX9" fmla="*/ 192388 w 564165"/>
                          <a:gd name="connsiteY9" fmla="*/ 50529 h 287263"/>
                          <a:gd name="connsiteX0" fmla="*/ 192388 w 564165"/>
                          <a:gd name="connsiteY0" fmla="*/ 50529 h 310225"/>
                          <a:gd name="connsiteX1" fmla="*/ 17128 w 564165"/>
                          <a:gd name="connsiteY1" fmla="*/ 126729 h 310225"/>
                          <a:gd name="connsiteX2" fmla="*/ 24748 w 564165"/>
                          <a:gd name="connsiteY2" fmla="*/ 256269 h 310225"/>
                          <a:gd name="connsiteX3" fmla="*/ 177148 w 564165"/>
                          <a:gd name="connsiteY3" fmla="*/ 286749 h 310225"/>
                          <a:gd name="connsiteX4" fmla="*/ 338214 w 564165"/>
                          <a:gd name="connsiteY4" fmla="*/ 301010 h 310225"/>
                          <a:gd name="connsiteX5" fmla="*/ 545402 w 564165"/>
                          <a:gd name="connsiteY5" fmla="*/ 181894 h 310225"/>
                          <a:gd name="connsiteX6" fmla="*/ 558148 w 564165"/>
                          <a:gd name="connsiteY6" fmla="*/ 35289 h 310225"/>
                          <a:gd name="connsiteX7" fmla="*/ 535288 w 564165"/>
                          <a:gd name="connsiteY7" fmla="*/ 4809 h 310225"/>
                          <a:gd name="connsiteX8" fmla="*/ 466708 w 564165"/>
                          <a:gd name="connsiteY8" fmla="*/ 4809 h 310225"/>
                          <a:gd name="connsiteX9" fmla="*/ 192388 w 564165"/>
                          <a:gd name="connsiteY9" fmla="*/ 50529 h 310225"/>
                          <a:gd name="connsiteX0" fmla="*/ 192388 w 564165"/>
                          <a:gd name="connsiteY0" fmla="*/ 50529 h 353427"/>
                          <a:gd name="connsiteX1" fmla="*/ 17128 w 564165"/>
                          <a:gd name="connsiteY1" fmla="*/ 126729 h 353427"/>
                          <a:gd name="connsiteX2" fmla="*/ 24748 w 564165"/>
                          <a:gd name="connsiteY2" fmla="*/ 256269 h 353427"/>
                          <a:gd name="connsiteX3" fmla="*/ 193096 w 564165"/>
                          <a:gd name="connsiteY3" fmla="*/ 353363 h 353427"/>
                          <a:gd name="connsiteX4" fmla="*/ 338214 w 564165"/>
                          <a:gd name="connsiteY4" fmla="*/ 301010 h 353427"/>
                          <a:gd name="connsiteX5" fmla="*/ 545402 w 564165"/>
                          <a:gd name="connsiteY5" fmla="*/ 181894 h 353427"/>
                          <a:gd name="connsiteX6" fmla="*/ 558148 w 564165"/>
                          <a:gd name="connsiteY6" fmla="*/ 35289 h 353427"/>
                          <a:gd name="connsiteX7" fmla="*/ 535288 w 564165"/>
                          <a:gd name="connsiteY7" fmla="*/ 4809 h 353427"/>
                          <a:gd name="connsiteX8" fmla="*/ 466708 w 564165"/>
                          <a:gd name="connsiteY8" fmla="*/ 4809 h 353427"/>
                          <a:gd name="connsiteX9" fmla="*/ 192388 w 564165"/>
                          <a:gd name="connsiteY9" fmla="*/ 50529 h 353427"/>
                          <a:gd name="connsiteX0" fmla="*/ 183456 w 555233"/>
                          <a:gd name="connsiteY0" fmla="*/ 50529 h 359674"/>
                          <a:gd name="connsiteX1" fmla="*/ 8196 w 555233"/>
                          <a:gd name="connsiteY1" fmla="*/ 126729 h 359674"/>
                          <a:gd name="connsiteX2" fmla="*/ 57235 w 555233"/>
                          <a:gd name="connsiteY2" fmla="*/ 343912 h 359674"/>
                          <a:gd name="connsiteX3" fmla="*/ 184164 w 555233"/>
                          <a:gd name="connsiteY3" fmla="*/ 353363 h 359674"/>
                          <a:gd name="connsiteX4" fmla="*/ 329282 w 555233"/>
                          <a:gd name="connsiteY4" fmla="*/ 301010 h 359674"/>
                          <a:gd name="connsiteX5" fmla="*/ 536470 w 555233"/>
                          <a:gd name="connsiteY5" fmla="*/ 181894 h 359674"/>
                          <a:gd name="connsiteX6" fmla="*/ 549216 w 555233"/>
                          <a:gd name="connsiteY6" fmla="*/ 35289 h 359674"/>
                          <a:gd name="connsiteX7" fmla="*/ 526356 w 555233"/>
                          <a:gd name="connsiteY7" fmla="*/ 4809 h 359674"/>
                          <a:gd name="connsiteX8" fmla="*/ 457776 w 555233"/>
                          <a:gd name="connsiteY8" fmla="*/ 4809 h 359674"/>
                          <a:gd name="connsiteX9" fmla="*/ 183456 w 555233"/>
                          <a:gd name="connsiteY9" fmla="*/ 50529 h 359674"/>
                          <a:gd name="connsiteX0" fmla="*/ 141822 w 513599"/>
                          <a:gd name="connsiteY0" fmla="*/ 50529 h 359674"/>
                          <a:gd name="connsiteX1" fmla="*/ 26880 w 513599"/>
                          <a:gd name="connsiteY1" fmla="*/ 162601 h 359674"/>
                          <a:gd name="connsiteX2" fmla="*/ 15601 w 513599"/>
                          <a:gd name="connsiteY2" fmla="*/ 343912 h 359674"/>
                          <a:gd name="connsiteX3" fmla="*/ 142530 w 513599"/>
                          <a:gd name="connsiteY3" fmla="*/ 353363 h 359674"/>
                          <a:gd name="connsiteX4" fmla="*/ 287648 w 513599"/>
                          <a:gd name="connsiteY4" fmla="*/ 301010 h 359674"/>
                          <a:gd name="connsiteX5" fmla="*/ 494836 w 513599"/>
                          <a:gd name="connsiteY5" fmla="*/ 181894 h 359674"/>
                          <a:gd name="connsiteX6" fmla="*/ 507582 w 513599"/>
                          <a:gd name="connsiteY6" fmla="*/ 35289 h 359674"/>
                          <a:gd name="connsiteX7" fmla="*/ 484722 w 513599"/>
                          <a:gd name="connsiteY7" fmla="*/ 4809 h 359674"/>
                          <a:gd name="connsiteX8" fmla="*/ 416142 w 513599"/>
                          <a:gd name="connsiteY8" fmla="*/ 4809 h 359674"/>
                          <a:gd name="connsiteX9" fmla="*/ 141822 w 513599"/>
                          <a:gd name="connsiteY9" fmla="*/ 50529 h 359674"/>
                          <a:gd name="connsiteX0" fmla="*/ 141822 w 530249"/>
                          <a:gd name="connsiteY0" fmla="*/ 50529 h 359674"/>
                          <a:gd name="connsiteX1" fmla="*/ 26880 w 530249"/>
                          <a:gd name="connsiteY1" fmla="*/ 162601 h 359674"/>
                          <a:gd name="connsiteX2" fmla="*/ 15601 w 530249"/>
                          <a:gd name="connsiteY2" fmla="*/ 343912 h 359674"/>
                          <a:gd name="connsiteX3" fmla="*/ 142530 w 530249"/>
                          <a:gd name="connsiteY3" fmla="*/ 353363 h 359674"/>
                          <a:gd name="connsiteX4" fmla="*/ 287648 w 530249"/>
                          <a:gd name="connsiteY4" fmla="*/ 301010 h 359674"/>
                          <a:gd name="connsiteX5" fmla="*/ 517239 w 530249"/>
                          <a:gd name="connsiteY5" fmla="*/ 238247 h 359674"/>
                          <a:gd name="connsiteX6" fmla="*/ 507582 w 530249"/>
                          <a:gd name="connsiteY6" fmla="*/ 35289 h 359674"/>
                          <a:gd name="connsiteX7" fmla="*/ 484722 w 530249"/>
                          <a:gd name="connsiteY7" fmla="*/ 4809 h 359674"/>
                          <a:gd name="connsiteX8" fmla="*/ 416142 w 530249"/>
                          <a:gd name="connsiteY8" fmla="*/ 4809 h 359674"/>
                          <a:gd name="connsiteX9" fmla="*/ 141822 w 530249"/>
                          <a:gd name="connsiteY9" fmla="*/ 50529 h 35967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50529 h 372204"/>
                          <a:gd name="connsiteX1" fmla="*/ 26880 w 530248"/>
                          <a:gd name="connsiteY1" fmla="*/ 162601 h 372204"/>
                          <a:gd name="connsiteX2" fmla="*/ 15601 w 530248"/>
                          <a:gd name="connsiteY2" fmla="*/ 343912 h 372204"/>
                          <a:gd name="connsiteX3" fmla="*/ 142530 w 530248"/>
                          <a:gd name="connsiteY3" fmla="*/ 353363 h 372204"/>
                          <a:gd name="connsiteX4" fmla="*/ 292200 w 530248"/>
                          <a:gd name="connsiteY4" fmla="*/ 362116 h 372204"/>
                          <a:gd name="connsiteX5" fmla="*/ 517239 w 530248"/>
                          <a:gd name="connsiteY5" fmla="*/ 238247 h 372204"/>
                          <a:gd name="connsiteX6" fmla="*/ 507582 w 530248"/>
                          <a:gd name="connsiteY6" fmla="*/ 35289 h 372204"/>
                          <a:gd name="connsiteX7" fmla="*/ 484722 w 530248"/>
                          <a:gd name="connsiteY7" fmla="*/ 4809 h 372204"/>
                          <a:gd name="connsiteX8" fmla="*/ 416142 w 530248"/>
                          <a:gd name="connsiteY8" fmla="*/ 4809 h 372204"/>
                          <a:gd name="connsiteX9" fmla="*/ 141822 w 530248"/>
                          <a:gd name="connsiteY9" fmla="*/ 50529 h 372204"/>
                          <a:gd name="connsiteX0" fmla="*/ 141822 w 530248"/>
                          <a:gd name="connsiteY0" fmla="*/ 47613 h 369288"/>
                          <a:gd name="connsiteX1" fmla="*/ 26880 w 530248"/>
                          <a:gd name="connsiteY1" fmla="*/ 159685 h 369288"/>
                          <a:gd name="connsiteX2" fmla="*/ 15601 w 530248"/>
                          <a:gd name="connsiteY2" fmla="*/ 340996 h 369288"/>
                          <a:gd name="connsiteX3" fmla="*/ 142530 w 530248"/>
                          <a:gd name="connsiteY3" fmla="*/ 350447 h 369288"/>
                          <a:gd name="connsiteX4" fmla="*/ 292200 w 530248"/>
                          <a:gd name="connsiteY4" fmla="*/ 359200 h 369288"/>
                          <a:gd name="connsiteX5" fmla="*/ 517239 w 530248"/>
                          <a:gd name="connsiteY5" fmla="*/ 235331 h 369288"/>
                          <a:gd name="connsiteX6" fmla="*/ 507582 w 530248"/>
                          <a:gd name="connsiteY6" fmla="*/ 32373 h 369288"/>
                          <a:gd name="connsiteX7" fmla="*/ 416142 w 530248"/>
                          <a:gd name="connsiteY7" fmla="*/ 1893 h 369288"/>
                          <a:gd name="connsiteX8" fmla="*/ 141822 w 530248"/>
                          <a:gd name="connsiteY8" fmla="*/ 47613 h 369288"/>
                          <a:gd name="connsiteX0" fmla="*/ 138197 w 526623"/>
                          <a:gd name="connsiteY0" fmla="*/ 47613 h 376324"/>
                          <a:gd name="connsiteX1" fmla="*/ 23255 w 526623"/>
                          <a:gd name="connsiteY1" fmla="*/ 159685 h 376324"/>
                          <a:gd name="connsiteX2" fmla="*/ 11976 w 526623"/>
                          <a:gd name="connsiteY2" fmla="*/ 340996 h 376324"/>
                          <a:gd name="connsiteX3" fmla="*/ 132119 w 526623"/>
                          <a:gd name="connsiteY3" fmla="*/ 374396 h 376324"/>
                          <a:gd name="connsiteX4" fmla="*/ 288575 w 526623"/>
                          <a:gd name="connsiteY4" fmla="*/ 359200 h 376324"/>
                          <a:gd name="connsiteX5" fmla="*/ 513614 w 526623"/>
                          <a:gd name="connsiteY5" fmla="*/ 235331 h 376324"/>
                          <a:gd name="connsiteX6" fmla="*/ 503957 w 526623"/>
                          <a:gd name="connsiteY6" fmla="*/ 32373 h 376324"/>
                          <a:gd name="connsiteX7" fmla="*/ 412517 w 526623"/>
                          <a:gd name="connsiteY7" fmla="*/ 1893 h 376324"/>
                          <a:gd name="connsiteX8" fmla="*/ 138197 w 526623"/>
                          <a:gd name="connsiteY8" fmla="*/ 47613 h 376324"/>
                          <a:gd name="connsiteX0" fmla="*/ 427441 w 541547"/>
                          <a:gd name="connsiteY0" fmla="*/ 10181 h 384611"/>
                          <a:gd name="connsiteX1" fmla="*/ 38179 w 541547"/>
                          <a:gd name="connsiteY1" fmla="*/ 167973 h 384611"/>
                          <a:gd name="connsiteX2" fmla="*/ 26900 w 541547"/>
                          <a:gd name="connsiteY2" fmla="*/ 349284 h 384611"/>
                          <a:gd name="connsiteX3" fmla="*/ 147043 w 541547"/>
                          <a:gd name="connsiteY3" fmla="*/ 382684 h 384611"/>
                          <a:gd name="connsiteX4" fmla="*/ 303499 w 541547"/>
                          <a:gd name="connsiteY4" fmla="*/ 367488 h 384611"/>
                          <a:gd name="connsiteX5" fmla="*/ 528538 w 541547"/>
                          <a:gd name="connsiteY5" fmla="*/ 243619 h 384611"/>
                          <a:gd name="connsiteX6" fmla="*/ 518881 w 541547"/>
                          <a:gd name="connsiteY6" fmla="*/ 40661 h 384611"/>
                          <a:gd name="connsiteX7" fmla="*/ 427441 w 541547"/>
                          <a:gd name="connsiteY7" fmla="*/ 10181 h 384611"/>
                          <a:gd name="connsiteX0" fmla="*/ 400497 w 514603"/>
                          <a:gd name="connsiteY0" fmla="*/ 10183 h 384613"/>
                          <a:gd name="connsiteX1" fmla="*/ 11235 w 514603"/>
                          <a:gd name="connsiteY1" fmla="*/ 167975 h 384613"/>
                          <a:gd name="connsiteX2" fmla="*/ 120099 w 514603"/>
                          <a:gd name="connsiteY2" fmla="*/ 382686 h 384613"/>
                          <a:gd name="connsiteX3" fmla="*/ 276555 w 514603"/>
                          <a:gd name="connsiteY3" fmla="*/ 367490 h 384613"/>
                          <a:gd name="connsiteX4" fmla="*/ 501594 w 514603"/>
                          <a:gd name="connsiteY4" fmla="*/ 243621 h 384613"/>
                          <a:gd name="connsiteX5" fmla="*/ 491937 w 514603"/>
                          <a:gd name="connsiteY5" fmla="*/ 40663 h 384613"/>
                          <a:gd name="connsiteX6" fmla="*/ 400497 w 514603"/>
                          <a:gd name="connsiteY6" fmla="*/ 10183 h 384613"/>
                          <a:gd name="connsiteX0" fmla="*/ 400497 w 514603"/>
                          <a:gd name="connsiteY0" fmla="*/ 10183 h 383828"/>
                          <a:gd name="connsiteX1" fmla="*/ 11235 w 514603"/>
                          <a:gd name="connsiteY1" fmla="*/ 167975 h 383828"/>
                          <a:gd name="connsiteX2" fmla="*/ 120099 w 514603"/>
                          <a:gd name="connsiteY2" fmla="*/ 382686 h 383828"/>
                          <a:gd name="connsiteX3" fmla="*/ 501594 w 514603"/>
                          <a:gd name="connsiteY3" fmla="*/ 243621 h 383828"/>
                          <a:gd name="connsiteX4" fmla="*/ 491937 w 514603"/>
                          <a:gd name="connsiteY4" fmla="*/ 40663 h 383828"/>
                          <a:gd name="connsiteX5" fmla="*/ 400497 w 514603"/>
                          <a:gd name="connsiteY5" fmla="*/ 10183 h 383828"/>
                          <a:gd name="connsiteX0" fmla="*/ 400497 w 517116"/>
                          <a:gd name="connsiteY0" fmla="*/ 1010 h 374655"/>
                          <a:gd name="connsiteX1" fmla="*/ 11235 w 517116"/>
                          <a:gd name="connsiteY1" fmla="*/ 158802 h 374655"/>
                          <a:gd name="connsiteX2" fmla="*/ 120099 w 517116"/>
                          <a:gd name="connsiteY2" fmla="*/ 373513 h 374655"/>
                          <a:gd name="connsiteX3" fmla="*/ 501594 w 517116"/>
                          <a:gd name="connsiteY3" fmla="*/ 234448 h 374655"/>
                          <a:gd name="connsiteX4" fmla="*/ 400497 w 517116"/>
                          <a:gd name="connsiteY4" fmla="*/ 1010 h 374655"/>
                          <a:gd name="connsiteX0" fmla="*/ 400497 w 751271"/>
                          <a:gd name="connsiteY0" fmla="*/ 6 h 373651"/>
                          <a:gd name="connsiteX1" fmla="*/ 11235 w 751271"/>
                          <a:gd name="connsiteY1" fmla="*/ 157798 h 373651"/>
                          <a:gd name="connsiteX2" fmla="*/ 120099 w 751271"/>
                          <a:gd name="connsiteY2" fmla="*/ 372509 h 373651"/>
                          <a:gd name="connsiteX3" fmla="*/ 501594 w 751271"/>
                          <a:gd name="connsiteY3" fmla="*/ 233444 h 373651"/>
                          <a:gd name="connsiteX4" fmla="*/ 750272 w 751271"/>
                          <a:gd name="connsiteY4" fmla="*/ 161580 h 373651"/>
                          <a:gd name="connsiteX5" fmla="*/ 400497 w 751271"/>
                          <a:gd name="connsiteY5" fmla="*/ 6 h 373651"/>
                          <a:gd name="connsiteX0" fmla="*/ 400497 w 751271"/>
                          <a:gd name="connsiteY0" fmla="*/ 6 h 373651"/>
                          <a:gd name="connsiteX1" fmla="*/ 11235 w 751271"/>
                          <a:gd name="connsiteY1" fmla="*/ 157798 h 373651"/>
                          <a:gd name="connsiteX2" fmla="*/ 120099 w 751271"/>
                          <a:gd name="connsiteY2" fmla="*/ 372509 h 373651"/>
                          <a:gd name="connsiteX3" fmla="*/ 501594 w 751271"/>
                          <a:gd name="connsiteY3" fmla="*/ 233444 h 373651"/>
                          <a:gd name="connsiteX4" fmla="*/ 750272 w 751271"/>
                          <a:gd name="connsiteY4" fmla="*/ 161580 h 373651"/>
                          <a:gd name="connsiteX5" fmla="*/ 400497 w 751271"/>
                          <a:gd name="connsiteY5" fmla="*/ 6 h 373651"/>
                          <a:gd name="connsiteX0" fmla="*/ 400497 w 777678"/>
                          <a:gd name="connsiteY0" fmla="*/ 1412 h 375057"/>
                          <a:gd name="connsiteX1" fmla="*/ 11235 w 777678"/>
                          <a:gd name="connsiteY1" fmla="*/ 159204 h 375057"/>
                          <a:gd name="connsiteX2" fmla="*/ 120099 w 777678"/>
                          <a:gd name="connsiteY2" fmla="*/ 373915 h 375057"/>
                          <a:gd name="connsiteX3" fmla="*/ 501594 w 777678"/>
                          <a:gd name="connsiteY3" fmla="*/ 234850 h 375057"/>
                          <a:gd name="connsiteX4" fmla="*/ 776788 w 777678"/>
                          <a:gd name="connsiteY4" fmla="*/ 78055 h 375057"/>
                          <a:gd name="connsiteX5" fmla="*/ 400497 w 777678"/>
                          <a:gd name="connsiteY5" fmla="*/ 1412 h 375057"/>
                          <a:gd name="connsiteX0" fmla="*/ 400497 w 808515"/>
                          <a:gd name="connsiteY0" fmla="*/ 1412 h 375307"/>
                          <a:gd name="connsiteX1" fmla="*/ 11235 w 808515"/>
                          <a:gd name="connsiteY1" fmla="*/ 159204 h 375307"/>
                          <a:gd name="connsiteX2" fmla="*/ 120099 w 808515"/>
                          <a:gd name="connsiteY2" fmla="*/ 373915 h 375307"/>
                          <a:gd name="connsiteX3" fmla="*/ 774732 w 808515"/>
                          <a:gd name="connsiteY3" fmla="*/ 253777 h 375307"/>
                          <a:gd name="connsiteX4" fmla="*/ 776788 w 808515"/>
                          <a:gd name="connsiteY4" fmla="*/ 78055 h 375307"/>
                          <a:gd name="connsiteX5" fmla="*/ 400497 w 808515"/>
                          <a:gd name="connsiteY5" fmla="*/ 1412 h 375307"/>
                          <a:gd name="connsiteX0" fmla="*/ 393682 w 801700"/>
                          <a:gd name="connsiteY0" fmla="*/ 1412 h 508438"/>
                          <a:gd name="connsiteX1" fmla="*/ 4420 w 801700"/>
                          <a:gd name="connsiteY1" fmla="*/ 159204 h 508438"/>
                          <a:gd name="connsiteX2" fmla="*/ 188468 w 801700"/>
                          <a:gd name="connsiteY2" fmla="*/ 507891 h 508438"/>
                          <a:gd name="connsiteX3" fmla="*/ 767917 w 801700"/>
                          <a:gd name="connsiteY3" fmla="*/ 253777 h 508438"/>
                          <a:gd name="connsiteX4" fmla="*/ 769973 w 801700"/>
                          <a:gd name="connsiteY4" fmla="*/ 78055 h 508438"/>
                          <a:gd name="connsiteX5" fmla="*/ 393682 w 801700"/>
                          <a:gd name="connsiteY5" fmla="*/ 1412 h 508438"/>
                          <a:gd name="connsiteX0" fmla="*/ 394767 w 802785"/>
                          <a:gd name="connsiteY0" fmla="*/ 1412 h 527716"/>
                          <a:gd name="connsiteX1" fmla="*/ 5505 w 802785"/>
                          <a:gd name="connsiteY1" fmla="*/ 159204 h 527716"/>
                          <a:gd name="connsiteX2" fmla="*/ 189553 w 802785"/>
                          <a:gd name="connsiteY2" fmla="*/ 507891 h 527716"/>
                          <a:gd name="connsiteX3" fmla="*/ 590543 w 802785"/>
                          <a:gd name="connsiteY3" fmla="*/ 479474 h 527716"/>
                          <a:gd name="connsiteX4" fmla="*/ 769002 w 802785"/>
                          <a:gd name="connsiteY4" fmla="*/ 253777 h 527716"/>
                          <a:gd name="connsiteX5" fmla="*/ 771058 w 802785"/>
                          <a:gd name="connsiteY5" fmla="*/ 78055 h 527716"/>
                          <a:gd name="connsiteX6" fmla="*/ 394767 w 802785"/>
                          <a:gd name="connsiteY6" fmla="*/ 1412 h 527716"/>
                          <a:gd name="connsiteX0" fmla="*/ 394767 w 866596"/>
                          <a:gd name="connsiteY0" fmla="*/ 1412 h 527716"/>
                          <a:gd name="connsiteX1" fmla="*/ 5505 w 866596"/>
                          <a:gd name="connsiteY1" fmla="*/ 159204 h 527716"/>
                          <a:gd name="connsiteX2" fmla="*/ 189553 w 866596"/>
                          <a:gd name="connsiteY2" fmla="*/ 507891 h 527716"/>
                          <a:gd name="connsiteX3" fmla="*/ 590543 w 866596"/>
                          <a:gd name="connsiteY3" fmla="*/ 479474 h 527716"/>
                          <a:gd name="connsiteX4" fmla="*/ 847917 w 866596"/>
                          <a:gd name="connsiteY4" fmla="*/ 346957 h 527716"/>
                          <a:gd name="connsiteX5" fmla="*/ 771058 w 866596"/>
                          <a:gd name="connsiteY5" fmla="*/ 78055 h 527716"/>
                          <a:gd name="connsiteX6" fmla="*/ 394767 w 866596"/>
                          <a:gd name="connsiteY6" fmla="*/ 1412 h 527716"/>
                          <a:gd name="connsiteX0" fmla="*/ 394767 w 918392"/>
                          <a:gd name="connsiteY0" fmla="*/ 1412 h 527716"/>
                          <a:gd name="connsiteX1" fmla="*/ 5505 w 918392"/>
                          <a:gd name="connsiteY1" fmla="*/ 159204 h 527716"/>
                          <a:gd name="connsiteX2" fmla="*/ 189553 w 918392"/>
                          <a:gd name="connsiteY2" fmla="*/ 507891 h 527716"/>
                          <a:gd name="connsiteX3" fmla="*/ 590543 w 918392"/>
                          <a:gd name="connsiteY3" fmla="*/ 479474 h 527716"/>
                          <a:gd name="connsiteX4" fmla="*/ 847917 w 918392"/>
                          <a:gd name="connsiteY4" fmla="*/ 346957 h 527716"/>
                          <a:gd name="connsiteX5" fmla="*/ 916334 w 918392"/>
                          <a:gd name="connsiteY5" fmla="*/ 127910 h 527716"/>
                          <a:gd name="connsiteX6" fmla="*/ 771058 w 918392"/>
                          <a:gd name="connsiteY6" fmla="*/ 78055 h 527716"/>
                          <a:gd name="connsiteX7" fmla="*/ 394767 w 918392"/>
                          <a:gd name="connsiteY7" fmla="*/ 1412 h 527716"/>
                          <a:gd name="connsiteX0" fmla="*/ 394767 w 918392"/>
                          <a:gd name="connsiteY0" fmla="*/ 5461 h 531765"/>
                          <a:gd name="connsiteX1" fmla="*/ 5505 w 918392"/>
                          <a:gd name="connsiteY1" fmla="*/ 163253 h 531765"/>
                          <a:gd name="connsiteX2" fmla="*/ 189553 w 918392"/>
                          <a:gd name="connsiteY2" fmla="*/ 511940 h 531765"/>
                          <a:gd name="connsiteX3" fmla="*/ 590543 w 918392"/>
                          <a:gd name="connsiteY3" fmla="*/ 483523 h 531765"/>
                          <a:gd name="connsiteX4" fmla="*/ 847917 w 918392"/>
                          <a:gd name="connsiteY4" fmla="*/ 351006 h 531765"/>
                          <a:gd name="connsiteX5" fmla="*/ 916334 w 918392"/>
                          <a:gd name="connsiteY5" fmla="*/ 131959 h 531765"/>
                          <a:gd name="connsiteX6" fmla="*/ 812897 w 918392"/>
                          <a:gd name="connsiteY6" fmla="*/ 34617 h 531765"/>
                          <a:gd name="connsiteX7" fmla="*/ 394767 w 918392"/>
                          <a:gd name="connsiteY7" fmla="*/ 5461 h 531765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  <a:cxn ang="0">
                            <a:pos x="connsiteX7" y="connsiteY7"/>
                          </a:cxn>
                        </a:cxnLst>
                        <a:rect l="l" t="t" r="r" b="b"/>
                        <a:pathLst>
                          <a:path w="918392" h="531765">
                            <a:moveTo>
                              <a:pt x="394767" y="5461"/>
                            </a:moveTo>
                            <a:cubicBezTo>
                              <a:pt x="260202" y="26900"/>
                              <a:pt x="39707" y="78840"/>
                              <a:pt x="5505" y="163253"/>
                            </a:cubicBezTo>
                            <a:cubicBezTo>
                              <a:pt x="-28697" y="247666"/>
                              <a:pt x="104351" y="472011"/>
                              <a:pt x="189553" y="511940"/>
                            </a:cubicBezTo>
                            <a:cubicBezTo>
                              <a:pt x="274755" y="551869"/>
                              <a:pt x="493968" y="525875"/>
                              <a:pt x="590543" y="483523"/>
                            </a:cubicBezTo>
                            <a:cubicBezTo>
                              <a:pt x="687118" y="441171"/>
                              <a:pt x="816689" y="407778"/>
                              <a:pt x="847917" y="351006"/>
                            </a:cubicBezTo>
                            <a:cubicBezTo>
                              <a:pt x="879145" y="294234"/>
                              <a:pt x="929144" y="176776"/>
                              <a:pt x="916334" y="131959"/>
                            </a:cubicBezTo>
                            <a:cubicBezTo>
                              <a:pt x="903524" y="87142"/>
                              <a:pt x="876754" y="57522"/>
                              <a:pt x="812897" y="34617"/>
                            </a:cubicBezTo>
                            <a:cubicBezTo>
                              <a:pt x="586552" y="32503"/>
                              <a:pt x="529332" y="-15978"/>
                              <a:pt x="394767" y="5461"/>
                            </a:cubicBezTo>
                            <a:close/>
                          </a:path>
                        </a:pathLst>
                      </a:custGeom>
                      <a:grpFill/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anchor="ctr"/>
                      <a:lstStyle/>
                      <a:p>
                        <a:pPr algn="ctr">
                          <a:defRPr/>
                        </a:pPr>
                        <a:endParaRPr lang="pt-BR" sz="1100">
                          <a:solidFill>
                            <a:prstClr val="white"/>
                          </a:solidFill>
                        </a:endParaRPr>
                      </a:p>
                    </p:txBody>
                  </p:sp>
                </p:grpSp>
                <p:sp>
                  <p:nvSpPr>
                    <p:cNvPr id="980" name="DF"/>
                    <p:cNvSpPr/>
                    <p:nvPr/>
                  </p:nvSpPr>
                  <p:spPr bwMode="auto">
                    <a:xfrm>
                      <a:off x="7138245" y="3025113"/>
                      <a:ext cx="62655" cy="73687"/>
                    </a:xfrm>
                    <a:custGeom>
                      <a:avLst/>
                      <a:gdLst>
                        <a:gd name="connsiteX0" fmla="*/ 0 w 92922"/>
                        <a:gd name="connsiteY0" fmla="*/ 38626 h 77251"/>
                        <a:gd name="connsiteX1" fmla="*/ 46461 w 92922"/>
                        <a:gd name="connsiteY1" fmla="*/ 0 h 77251"/>
                        <a:gd name="connsiteX2" fmla="*/ 92922 w 92922"/>
                        <a:gd name="connsiteY2" fmla="*/ 38626 h 77251"/>
                        <a:gd name="connsiteX3" fmla="*/ 46461 w 92922"/>
                        <a:gd name="connsiteY3" fmla="*/ 77252 h 77251"/>
                        <a:gd name="connsiteX4" fmla="*/ 0 w 92922"/>
                        <a:gd name="connsiteY4" fmla="*/ 38626 h 77251"/>
                        <a:gd name="connsiteX0" fmla="*/ 2773 w 95695"/>
                        <a:gd name="connsiteY0" fmla="*/ 46630 h 85256"/>
                        <a:gd name="connsiteX1" fmla="*/ 10043 w 95695"/>
                        <a:gd name="connsiteY1" fmla="*/ 3241 h 85256"/>
                        <a:gd name="connsiteX2" fmla="*/ 49234 w 95695"/>
                        <a:gd name="connsiteY2" fmla="*/ 8004 h 85256"/>
                        <a:gd name="connsiteX3" fmla="*/ 95695 w 95695"/>
                        <a:gd name="connsiteY3" fmla="*/ 46630 h 85256"/>
                        <a:gd name="connsiteX4" fmla="*/ 49234 w 95695"/>
                        <a:gd name="connsiteY4" fmla="*/ 85256 h 85256"/>
                        <a:gd name="connsiteX5" fmla="*/ 2773 w 95695"/>
                        <a:gd name="connsiteY5" fmla="*/ 46630 h 85256"/>
                        <a:gd name="connsiteX0" fmla="*/ 2217 w 98314"/>
                        <a:gd name="connsiteY0" fmla="*/ 62505 h 85631"/>
                        <a:gd name="connsiteX1" fmla="*/ 12662 w 98314"/>
                        <a:gd name="connsiteY1" fmla="*/ 3241 h 85631"/>
                        <a:gd name="connsiteX2" fmla="*/ 51853 w 98314"/>
                        <a:gd name="connsiteY2" fmla="*/ 8004 h 85631"/>
                        <a:gd name="connsiteX3" fmla="*/ 98314 w 98314"/>
                        <a:gd name="connsiteY3" fmla="*/ 46630 h 85631"/>
                        <a:gd name="connsiteX4" fmla="*/ 51853 w 98314"/>
                        <a:gd name="connsiteY4" fmla="*/ 85256 h 85631"/>
                        <a:gd name="connsiteX5" fmla="*/ 2217 w 98314"/>
                        <a:gd name="connsiteY5" fmla="*/ 62505 h 85631"/>
                        <a:gd name="connsiteX0" fmla="*/ 2659 w 98756"/>
                        <a:gd name="connsiteY0" fmla="*/ 62505 h 69284"/>
                        <a:gd name="connsiteX1" fmla="*/ 13104 w 98756"/>
                        <a:gd name="connsiteY1" fmla="*/ 3241 h 69284"/>
                        <a:gd name="connsiteX2" fmla="*/ 52295 w 98756"/>
                        <a:gd name="connsiteY2" fmla="*/ 8004 h 69284"/>
                        <a:gd name="connsiteX3" fmla="*/ 98756 w 98756"/>
                        <a:gd name="connsiteY3" fmla="*/ 46630 h 69284"/>
                        <a:gd name="connsiteX4" fmla="*/ 58645 w 98756"/>
                        <a:gd name="connsiteY4" fmla="*/ 66206 h 69284"/>
                        <a:gd name="connsiteX5" fmla="*/ 2659 w 98756"/>
                        <a:gd name="connsiteY5" fmla="*/ 62505 h 69284"/>
                        <a:gd name="connsiteX0" fmla="*/ 2659 w 98756"/>
                        <a:gd name="connsiteY0" fmla="*/ 62150 h 69531"/>
                        <a:gd name="connsiteX1" fmla="*/ 13104 w 98756"/>
                        <a:gd name="connsiteY1" fmla="*/ 2886 h 69531"/>
                        <a:gd name="connsiteX2" fmla="*/ 52295 w 98756"/>
                        <a:gd name="connsiteY2" fmla="*/ 7649 h 69531"/>
                        <a:gd name="connsiteX3" fmla="*/ 98756 w 98756"/>
                        <a:gd name="connsiteY3" fmla="*/ 36750 h 69531"/>
                        <a:gd name="connsiteX4" fmla="*/ 58645 w 98756"/>
                        <a:gd name="connsiteY4" fmla="*/ 65851 h 69531"/>
                        <a:gd name="connsiteX5" fmla="*/ 2659 w 98756"/>
                        <a:gd name="connsiteY5" fmla="*/ 62150 h 69531"/>
                        <a:gd name="connsiteX0" fmla="*/ 2659 w 98756"/>
                        <a:gd name="connsiteY0" fmla="*/ 69247 h 76628"/>
                        <a:gd name="connsiteX1" fmla="*/ 13104 w 98756"/>
                        <a:gd name="connsiteY1" fmla="*/ 9983 h 76628"/>
                        <a:gd name="connsiteX2" fmla="*/ 58645 w 98756"/>
                        <a:gd name="connsiteY2" fmla="*/ 2046 h 76628"/>
                        <a:gd name="connsiteX3" fmla="*/ 98756 w 98756"/>
                        <a:gd name="connsiteY3" fmla="*/ 43847 h 76628"/>
                        <a:gd name="connsiteX4" fmla="*/ 58645 w 98756"/>
                        <a:gd name="connsiteY4" fmla="*/ 72948 h 76628"/>
                        <a:gd name="connsiteX5" fmla="*/ 2659 w 98756"/>
                        <a:gd name="connsiteY5" fmla="*/ 69247 h 76628"/>
                        <a:gd name="connsiteX0" fmla="*/ 12211 w 108308"/>
                        <a:gd name="connsiteY0" fmla="*/ 72519 h 80420"/>
                        <a:gd name="connsiteX1" fmla="*/ 3606 w 108308"/>
                        <a:gd name="connsiteY1" fmla="*/ 4803 h 80420"/>
                        <a:gd name="connsiteX2" fmla="*/ 68197 w 108308"/>
                        <a:gd name="connsiteY2" fmla="*/ 5318 h 80420"/>
                        <a:gd name="connsiteX3" fmla="*/ 108308 w 108308"/>
                        <a:gd name="connsiteY3" fmla="*/ 47119 h 80420"/>
                        <a:gd name="connsiteX4" fmla="*/ 68197 w 108308"/>
                        <a:gd name="connsiteY4" fmla="*/ 76220 h 80420"/>
                        <a:gd name="connsiteX5" fmla="*/ 12211 w 108308"/>
                        <a:gd name="connsiteY5" fmla="*/ 72519 h 80420"/>
                        <a:gd name="connsiteX0" fmla="*/ 2818 w 127490"/>
                        <a:gd name="connsiteY0" fmla="*/ 76745 h 83125"/>
                        <a:gd name="connsiteX1" fmla="*/ 22788 w 127490"/>
                        <a:gd name="connsiteY1" fmla="*/ 4803 h 83125"/>
                        <a:gd name="connsiteX2" fmla="*/ 87379 w 127490"/>
                        <a:gd name="connsiteY2" fmla="*/ 5318 h 83125"/>
                        <a:gd name="connsiteX3" fmla="*/ 127490 w 127490"/>
                        <a:gd name="connsiteY3" fmla="*/ 47119 h 83125"/>
                        <a:gd name="connsiteX4" fmla="*/ 87379 w 127490"/>
                        <a:gd name="connsiteY4" fmla="*/ 76220 h 83125"/>
                        <a:gd name="connsiteX5" fmla="*/ 2818 w 127490"/>
                        <a:gd name="connsiteY5" fmla="*/ 76745 h 83125"/>
                        <a:gd name="connsiteX0" fmla="*/ 4020 w 128692"/>
                        <a:gd name="connsiteY0" fmla="*/ 76745 h 85175"/>
                        <a:gd name="connsiteX1" fmla="*/ 23990 w 128692"/>
                        <a:gd name="connsiteY1" fmla="*/ 4803 h 85175"/>
                        <a:gd name="connsiteX2" fmla="*/ 88581 w 128692"/>
                        <a:gd name="connsiteY2" fmla="*/ 5318 h 85175"/>
                        <a:gd name="connsiteX3" fmla="*/ 128692 w 128692"/>
                        <a:gd name="connsiteY3" fmla="*/ 47119 h 85175"/>
                        <a:gd name="connsiteX4" fmla="*/ 107631 w 128692"/>
                        <a:gd name="connsiteY4" fmla="*/ 80446 h 85175"/>
                        <a:gd name="connsiteX5" fmla="*/ 4020 w 128692"/>
                        <a:gd name="connsiteY5" fmla="*/ 76745 h 85175"/>
                        <a:gd name="connsiteX0" fmla="*/ 311 w 124983"/>
                        <a:gd name="connsiteY0" fmla="*/ 114981 h 126242"/>
                        <a:gd name="connsiteX1" fmla="*/ 71081 w 124983"/>
                        <a:gd name="connsiteY1" fmla="*/ 780 h 126242"/>
                        <a:gd name="connsiteX2" fmla="*/ 84872 w 124983"/>
                        <a:gd name="connsiteY2" fmla="*/ 43554 h 126242"/>
                        <a:gd name="connsiteX3" fmla="*/ 124983 w 124983"/>
                        <a:gd name="connsiteY3" fmla="*/ 85355 h 126242"/>
                        <a:gd name="connsiteX4" fmla="*/ 103922 w 124983"/>
                        <a:gd name="connsiteY4" fmla="*/ 118682 h 126242"/>
                        <a:gd name="connsiteX5" fmla="*/ 311 w 124983"/>
                        <a:gd name="connsiteY5" fmla="*/ 114981 h 126242"/>
                        <a:gd name="connsiteX0" fmla="*/ 3123 w 127795"/>
                        <a:gd name="connsiteY0" fmla="*/ 136754 h 149197"/>
                        <a:gd name="connsiteX1" fmla="*/ 31136 w 127795"/>
                        <a:gd name="connsiteY1" fmla="*/ 5728 h 149197"/>
                        <a:gd name="connsiteX2" fmla="*/ 73893 w 127795"/>
                        <a:gd name="connsiteY2" fmla="*/ 22553 h 149197"/>
                        <a:gd name="connsiteX3" fmla="*/ 87684 w 127795"/>
                        <a:gd name="connsiteY3" fmla="*/ 65327 h 149197"/>
                        <a:gd name="connsiteX4" fmla="*/ 127795 w 127795"/>
                        <a:gd name="connsiteY4" fmla="*/ 107128 h 149197"/>
                        <a:gd name="connsiteX5" fmla="*/ 106734 w 127795"/>
                        <a:gd name="connsiteY5" fmla="*/ 140455 h 149197"/>
                        <a:gd name="connsiteX6" fmla="*/ 3123 w 127795"/>
                        <a:gd name="connsiteY6" fmla="*/ 136754 h 149197"/>
                        <a:gd name="connsiteX0" fmla="*/ 9048 w 133720"/>
                        <a:gd name="connsiteY0" fmla="*/ 185654 h 201733"/>
                        <a:gd name="connsiteX1" fmla="*/ 8486 w 133720"/>
                        <a:gd name="connsiteY1" fmla="*/ 3916 h 201733"/>
                        <a:gd name="connsiteX2" fmla="*/ 37061 w 133720"/>
                        <a:gd name="connsiteY2" fmla="*/ 54628 h 201733"/>
                        <a:gd name="connsiteX3" fmla="*/ 79818 w 133720"/>
                        <a:gd name="connsiteY3" fmla="*/ 71453 h 201733"/>
                        <a:gd name="connsiteX4" fmla="*/ 93609 w 133720"/>
                        <a:gd name="connsiteY4" fmla="*/ 114227 h 201733"/>
                        <a:gd name="connsiteX5" fmla="*/ 133720 w 133720"/>
                        <a:gd name="connsiteY5" fmla="*/ 156028 h 201733"/>
                        <a:gd name="connsiteX6" fmla="*/ 112659 w 133720"/>
                        <a:gd name="connsiteY6" fmla="*/ 189355 h 201733"/>
                        <a:gd name="connsiteX7" fmla="*/ 9048 w 133720"/>
                        <a:gd name="connsiteY7" fmla="*/ 185654 h 201733"/>
                        <a:gd name="connsiteX0" fmla="*/ 9048 w 133720"/>
                        <a:gd name="connsiteY0" fmla="*/ 192718 h 208797"/>
                        <a:gd name="connsiteX1" fmla="*/ 8486 w 133720"/>
                        <a:gd name="connsiteY1" fmla="*/ 10980 h 208797"/>
                        <a:gd name="connsiteX2" fmla="*/ 37061 w 133720"/>
                        <a:gd name="connsiteY2" fmla="*/ 19432 h 208797"/>
                        <a:gd name="connsiteX3" fmla="*/ 37061 w 133720"/>
                        <a:gd name="connsiteY3" fmla="*/ 61692 h 208797"/>
                        <a:gd name="connsiteX4" fmla="*/ 79818 w 133720"/>
                        <a:gd name="connsiteY4" fmla="*/ 78517 h 208797"/>
                        <a:gd name="connsiteX5" fmla="*/ 93609 w 133720"/>
                        <a:gd name="connsiteY5" fmla="*/ 121291 h 208797"/>
                        <a:gd name="connsiteX6" fmla="*/ 133720 w 133720"/>
                        <a:gd name="connsiteY6" fmla="*/ 163092 h 208797"/>
                        <a:gd name="connsiteX7" fmla="*/ 112659 w 133720"/>
                        <a:gd name="connsiteY7" fmla="*/ 196419 h 208797"/>
                        <a:gd name="connsiteX8" fmla="*/ 9048 w 133720"/>
                        <a:gd name="connsiteY8" fmla="*/ 192718 h 208797"/>
                        <a:gd name="connsiteX0" fmla="*/ 33011 w 125933"/>
                        <a:gd name="connsiteY0" fmla="*/ 142007 h 196916"/>
                        <a:gd name="connsiteX1" fmla="*/ 699 w 125933"/>
                        <a:gd name="connsiteY1" fmla="*/ 10980 h 196916"/>
                        <a:gd name="connsiteX2" fmla="*/ 29274 w 125933"/>
                        <a:gd name="connsiteY2" fmla="*/ 19432 h 196916"/>
                        <a:gd name="connsiteX3" fmla="*/ 29274 w 125933"/>
                        <a:gd name="connsiteY3" fmla="*/ 61692 h 196916"/>
                        <a:gd name="connsiteX4" fmla="*/ 72031 w 125933"/>
                        <a:gd name="connsiteY4" fmla="*/ 78517 h 196916"/>
                        <a:gd name="connsiteX5" fmla="*/ 85822 w 125933"/>
                        <a:gd name="connsiteY5" fmla="*/ 121291 h 196916"/>
                        <a:gd name="connsiteX6" fmla="*/ 125933 w 125933"/>
                        <a:gd name="connsiteY6" fmla="*/ 163092 h 196916"/>
                        <a:gd name="connsiteX7" fmla="*/ 104872 w 125933"/>
                        <a:gd name="connsiteY7" fmla="*/ 196419 h 196916"/>
                        <a:gd name="connsiteX8" fmla="*/ 33011 w 125933"/>
                        <a:gd name="connsiteY8" fmla="*/ 142007 h 196916"/>
                        <a:gd name="connsiteX0" fmla="*/ 49204 w 142126"/>
                        <a:gd name="connsiteY0" fmla="*/ 142007 h 196916"/>
                        <a:gd name="connsiteX1" fmla="*/ 1017 w 142126"/>
                        <a:gd name="connsiteY1" fmla="*/ 61692 h 196916"/>
                        <a:gd name="connsiteX2" fmla="*/ 16892 w 142126"/>
                        <a:gd name="connsiteY2" fmla="*/ 10980 h 196916"/>
                        <a:gd name="connsiteX3" fmla="*/ 45467 w 142126"/>
                        <a:gd name="connsiteY3" fmla="*/ 19432 h 196916"/>
                        <a:gd name="connsiteX4" fmla="*/ 45467 w 142126"/>
                        <a:gd name="connsiteY4" fmla="*/ 61692 h 196916"/>
                        <a:gd name="connsiteX5" fmla="*/ 88224 w 142126"/>
                        <a:gd name="connsiteY5" fmla="*/ 78517 h 196916"/>
                        <a:gd name="connsiteX6" fmla="*/ 102015 w 142126"/>
                        <a:gd name="connsiteY6" fmla="*/ 121291 h 196916"/>
                        <a:gd name="connsiteX7" fmla="*/ 142126 w 142126"/>
                        <a:gd name="connsiteY7" fmla="*/ 163092 h 196916"/>
                        <a:gd name="connsiteX8" fmla="*/ 121065 w 142126"/>
                        <a:gd name="connsiteY8" fmla="*/ 196419 h 196916"/>
                        <a:gd name="connsiteX9" fmla="*/ 49204 w 142126"/>
                        <a:gd name="connsiteY9" fmla="*/ 142007 h 196916"/>
                        <a:gd name="connsiteX0" fmla="*/ 49204 w 142126"/>
                        <a:gd name="connsiteY0" fmla="*/ 142007 h 173263"/>
                        <a:gd name="connsiteX1" fmla="*/ 1017 w 142126"/>
                        <a:gd name="connsiteY1" fmla="*/ 61692 h 173263"/>
                        <a:gd name="connsiteX2" fmla="*/ 16892 w 142126"/>
                        <a:gd name="connsiteY2" fmla="*/ 10980 h 173263"/>
                        <a:gd name="connsiteX3" fmla="*/ 45467 w 142126"/>
                        <a:gd name="connsiteY3" fmla="*/ 19432 h 173263"/>
                        <a:gd name="connsiteX4" fmla="*/ 45467 w 142126"/>
                        <a:gd name="connsiteY4" fmla="*/ 61692 h 173263"/>
                        <a:gd name="connsiteX5" fmla="*/ 88224 w 142126"/>
                        <a:gd name="connsiteY5" fmla="*/ 78517 h 173263"/>
                        <a:gd name="connsiteX6" fmla="*/ 102015 w 142126"/>
                        <a:gd name="connsiteY6" fmla="*/ 121291 h 173263"/>
                        <a:gd name="connsiteX7" fmla="*/ 142126 w 142126"/>
                        <a:gd name="connsiteY7" fmla="*/ 163092 h 173263"/>
                        <a:gd name="connsiteX8" fmla="*/ 79790 w 142126"/>
                        <a:gd name="connsiteY8" fmla="*/ 162612 h 173263"/>
                        <a:gd name="connsiteX9" fmla="*/ 49204 w 142126"/>
                        <a:gd name="connsiteY9" fmla="*/ 142007 h 17326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45467 w 110376"/>
                        <a:gd name="connsiteY4" fmla="*/ 61692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10376"/>
                        <a:gd name="connsiteY0" fmla="*/ 142007 h 162833"/>
                        <a:gd name="connsiteX1" fmla="*/ 1017 w 110376"/>
                        <a:gd name="connsiteY1" fmla="*/ 61692 h 162833"/>
                        <a:gd name="connsiteX2" fmla="*/ 16892 w 110376"/>
                        <a:gd name="connsiteY2" fmla="*/ 10980 h 162833"/>
                        <a:gd name="connsiteX3" fmla="*/ 45467 w 110376"/>
                        <a:gd name="connsiteY3" fmla="*/ 19432 h 162833"/>
                        <a:gd name="connsiteX4" fmla="*/ 62136 w 110376"/>
                        <a:gd name="connsiteY4" fmla="*/ 49014 h 162833"/>
                        <a:gd name="connsiteX5" fmla="*/ 88224 w 110376"/>
                        <a:gd name="connsiteY5" fmla="*/ 78517 h 162833"/>
                        <a:gd name="connsiteX6" fmla="*/ 102015 w 110376"/>
                        <a:gd name="connsiteY6" fmla="*/ 121291 h 162833"/>
                        <a:gd name="connsiteX7" fmla="*/ 110376 w 110376"/>
                        <a:gd name="connsiteY7" fmla="*/ 133510 h 162833"/>
                        <a:gd name="connsiteX8" fmla="*/ 79790 w 110376"/>
                        <a:gd name="connsiteY8" fmla="*/ 162612 h 162833"/>
                        <a:gd name="connsiteX9" fmla="*/ 49204 w 110376"/>
                        <a:gd name="connsiteY9" fmla="*/ 142007 h 162833"/>
                        <a:gd name="connsiteX0" fmla="*/ 49204 w 105613"/>
                        <a:gd name="connsiteY0" fmla="*/ 142007 h 164051"/>
                        <a:gd name="connsiteX1" fmla="*/ 1017 w 105613"/>
                        <a:gd name="connsiteY1" fmla="*/ 61692 h 164051"/>
                        <a:gd name="connsiteX2" fmla="*/ 16892 w 105613"/>
                        <a:gd name="connsiteY2" fmla="*/ 10980 h 164051"/>
                        <a:gd name="connsiteX3" fmla="*/ 45467 w 105613"/>
                        <a:gd name="connsiteY3" fmla="*/ 19432 h 164051"/>
                        <a:gd name="connsiteX4" fmla="*/ 62136 w 105613"/>
                        <a:gd name="connsiteY4" fmla="*/ 49014 h 164051"/>
                        <a:gd name="connsiteX5" fmla="*/ 88224 w 105613"/>
                        <a:gd name="connsiteY5" fmla="*/ 78517 h 164051"/>
                        <a:gd name="connsiteX6" fmla="*/ 102015 w 105613"/>
                        <a:gd name="connsiteY6" fmla="*/ 121291 h 164051"/>
                        <a:gd name="connsiteX7" fmla="*/ 105613 w 105613"/>
                        <a:gd name="connsiteY7" fmla="*/ 111323 h 164051"/>
                        <a:gd name="connsiteX8" fmla="*/ 79790 w 105613"/>
                        <a:gd name="connsiteY8" fmla="*/ 162612 h 164051"/>
                        <a:gd name="connsiteX9" fmla="*/ 49204 w 105613"/>
                        <a:gd name="connsiteY9" fmla="*/ 142007 h 164051"/>
                        <a:gd name="connsiteX0" fmla="*/ 49204 w 105613"/>
                        <a:gd name="connsiteY0" fmla="*/ 142007 h 149974"/>
                        <a:gd name="connsiteX1" fmla="*/ 1017 w 105613"/>
                        <a:gd name="connsiteY1" fmla="*/ 61692 h 149974"/>
                        <a:gd name="connsiteX2" fmla="*/ 16892 w 105613"/>
                        <a:gd name="connsiteY2" fmla="*/ 10980 h 149974"/>
                        <a:gd name="connsiteX3" fmla="*/ 45467 w 105613"/>
                        <a:gd name="connsiteY3" fmla="*/ 19432 h 149974"/>
                        <a:gd name="connsiteX4" fmla="*/ 62136 w 105613"/>
                        <a:gd name="connsiteY4" fmla="*/ 49014 h 149974"/>
                        <a:gd name="connsiteX5" fmla="*/ 88224 w 105613"/>
                        <a:gd name="connsiteY5" fmla="*/ 78517 h 149974"/>
                        <a:gd name="connsiteX6" fmla="*/ 102015 w 105613"/>
                        <a:gd name="connsiteY6" fmla="*/ 121291 h 149974"/>
                        <a:gd name="connsiteX7" fmla="*/ 105613 w 105613"/>
                        <a:gd name="connsiteY7" fmla="*/ 111323 h 149974"/>
                        <a:gd name="connsiteX8" fmla="*/ 89315 w 105613"/>
                        <a:gd name="connsiteY8" fmla="*/ 143596 h 149974"/>
                        <a:gd name="connsiteX9" fmla="*/ 49204 w 105613"/>
                        <a:gd name="connsiteY9" fmla="*/ 142007 h 149974"/>
                        <a:gd name="connsiteX0" fmla="*/ 53967 w 105613"/>
                        <a:gd name="connsiteY0" fmla="*/ 122990 h 143862"/>
                        <a:gd name="connsiteX1" fmla="*/ 1017 w 105613"/>
                        <a:gd name="connsiteY1" fmla="*/ 61692 h 143862"/>
                        <a:gd name="connsiteX2" fmla="*/ 16892 w 105613"/>
                        <a:gd name="connsiteY2" fmla="*/ 10980 h 143862"/>
                        <a:gd name="connsiteX3" fmla="*/ 45467 w 105613"/>
                        <a:gd name="connsiteY3" fmla="*/ 19432 h 143862"/>
                        <a:gd name="connsiteX4" fmla="*/ 62136 w 105613"/>
                        <a:gd name="connsiteY4" fmla="*/ 49014 h 143862"/>
                        <a:gd name="connsiteX5" fmla="*/ 88224 w 105613"/>
                        <a:gd name="connsiteY5" fmla="*/ 78517 h 143862"/>
                        <a:gd name="connsiteX6" fmla="*/ 102015 w 105613"/>
                        <a:gd name="connsiteY6" fmla="*/ 121291 h 143862"/>
                        <a:gd name="connsiteX7" fmla="*/ 105613 w 105613"/>
                        <a:gd name="connsiteY7" fmla="*/ 111323 h 143862"/>
                        <a:gd name="connsiteX8" fmla="*/ 89315 w 105613"/>
                        <a:gd name="connsiteY8" fmla="*/ 143596 h 143862"/>
                        <a:gd name="connsiteX9" fmla="*/ 53967 w 105613"/>
                        <a:gd name="connsiteY9" fmla="*/ 122990 h 143862"/>
                        <a:gd name="connsiteX0" fmla="*/ 40087 w 91733"/>
                        <a:gd name="connsiteY0" fmla="*/ 122990 h 143903"/>
                        <a:gd name="connsiteX1" fmla="*/ 3806 w 91733"/>
                        <a:gd name="connsiteY1" fmla="*/ 52185 h 143903"/>
                        <a:gd name="connsiteX2" fmla="*/ 3012 w 91733"/>
                        <a:gd name="connsiteY2" fmla="*/ 10980 h 143903"/>
                        <a:gd name="connsiteX3" fmla="*/ 31587 w 91733"/>
                        <a:gd name="connsiteY3" fmla="*/ 19432 h 143903"/>
                        <a:gd name="connsiteX4" fmla="*/ 48256 w 91733"/>
                        <a:gd name="connsiteY4" fmla="*/ 49014 h 143903"/>
                        <a:gd name="connsiteX5" fmla="*/ 74344 w 91733"/>
                        <a:gd name="connsiteY5" fmla="*/ 78517 h 143903"/>
                        <a:gd name="connsiteX6" fmla="*/ 88135 w 91733"/>
                        <a:gd name="connsiteY6" fmla="*/ 121291 h 143903"/>
                        <a:gd name="connsiteX7" fmla="*/ 91733 w 91733"/>
                        <a:gd name="connsiteY7" fmla="*/ 111323 h 143903"/>
                        <a:gd name="connsiteX8" fmla="*/ 75435 w 91733"/>
                        <a:gd name="connsiteY8" fmla="*/ 143596 h 143903"/>
                        <a:gd name="connsiteX9" fmla="*/ 40087 w 91733"/>
                        <a:gd name="connsiteY9" fmla="*/ 122990 h 143903"/>
                        <a:gd name="connsiteX0" fmla="*/ 44850 w 91733"/>
                        <a:gd name="connsiteY0" fmla="*/ 110312 h 143597"/>
                        <a:gd name="connsiteX1" fmla="*/ 3806 w 91733"/>
                        <a:gd name="connsiteY1" fmla="*/ 52185 h 143597"/>
                        <a:gd name="connsiteX2" fmla="*/ 3012 w 91733"/>
                        <a:gd name="connsiteY2" fmla="*/ 10980 h 143597"/>
                        <a:gd name="connsiteX3" fmla="*/ 31587 w 91733"/>
                        <a:gd name="connsiteY3" fmla="*/ 19432 h 143597"/>
                        <a:gd name="connsiteX4" fmla="*/ 48256 w 91733"/>
                        <a:gd name="connsiteY4" fmla="*/ 49014 h 143597"/>
                        <a:gd name="connsiteX5" fmla="*/ 74344 w 91733"/>
                        <a:gd name="connsiteY5" fmla="*/ 78517 h 143597"/>
                        <a:gd name="connsiteX6" fmla="*/ 88135 w 91733"/>
                        <a:gd name="connsiteY6" fmla="*/ 121291 h 143597"/>
                        <a:gd name="connsiteX7" fmla="*/ 91733 w 91733"/>
                        <a:gd name="connsiteY7" fmla="*/ 111323 h 143597"/>
                        <a:gd name="connsiteX8" fmla="*/ 75435 w 91733"/>
                        <a:gd name="connsiteY8" fmla="*/ 143596 h 143597"/>
                        <a:gd name="connsiteX9" fmla="*/ 44850 w 91733"/>
                        <a:gd name="connsiteY9" fmla="*/ 110312 h 14359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</a:cxnLst>
                      <a:rect l="l" t="t" r="r" b="b"/>
                      <a:pathLst>
                        <a:path w="91733" h="143597">
                          <a:moveTo>
                            <a:pt x="44850" y="110312"/>
                          </a:moveTo>
                          <a:cubicBezTo>
                            <a:pt x="32912" y="95077"/>
                            <a:pt x="9191" y="74023"/>
                            <a:pt x="3806" y="52185"/>
                          </a:cubicBezTo>
                          <a:cubicBezTo>
                            <a:pt x="-1579" y="30347"/>
                            <a:pt x="-692" y="22249"/>
                            <a:pt x="3012" y="10980"/>
                          </a:cubicBezTo>
                          <a:cubicBezTo>
                            <a:pt x="6093" y="-14379"/>
                            <a:pt x="26824" y="10980"/>
                            <a:pt x="31587" y="19432"/>
                          </a:cubicBezTo>
                          <a:cubicBezTo>
                            <a:pt x="36350" y="27884"/>
                            <a:pt x="39542" y="42688"/>
                            <a:pt x="48256" y="49014"/>
                          </a:cubicBezTo>
                          <a:cubicBezTo>
                            <a:pt x="56970" y="55340"/>
                            <a:pt x="66507" y="77036"/>
                            <a:pt x="74344" y="78517"/>
                          </a:cubicBezTo>
                          <a:cubicBezTo>
                            <a:pt x="82181" y="79998"/>
                            <a:pt x="85237" y="115823"/>
                            <a:pt x="88135" y="121291"/>
                          </a:cubicBezTo>
                          <a:cubicBezTo>
                            <a:pt x="91033" y="126759"/>
                            <a:pt x="91733" y="89990"/>
                            <a:pt x="91733" y="111323"/>
                          </a:cubicBezTo>
                          <a:cubicBezTo>
                            <a:pt x="91733" y="132656"/>
                            <a:pt x="83249" y="143764"/>
                            <a:pt x="75435" y="143596"/>
                          </a:cubicBezTo>
                          <a:cubicBezTo>
                            <a:pt x="67621" y="143428"/>
                            <a:pt x="56788" y="125547"/>
                            <a:pt x="44850" y="110312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en-US" sz="1100">
                        <a:solidFill>
                          <a:prstClr val="white"/>
                        </a:solidFill>
                      </a:endParaRPr>
                    </a:p>
                  </p:txBody>
                </p:sp>
              </p:grpSp>
              <p:sp>
                <p:nvSpPr>
                  <p:cNvPr id="978" name="Freeform 276"/>
                  <p:cNvSpPr/>
                  <p:nvPr/>
                </p:nvSpPr>
                <p:spPr>
                  <a:xfrm rot="11700000">
                    <a:off x="5441840" y="4280341"/>
                    <a:ext cx="62448" cy="69032"/>
                  </a:xfrm>
                  <a:custGeom>
                    <a:avLst/>
                    <a:gdLst>
                      <a:gd name="connsiteX0" fmla="*/ 175260 w 541020"/>
                      <a:gd name="connsiteY0" fmla="*/ 45720 h 281940"/>
                      <a:gd name="connsiteX1" fmla="*/ 0 w 541020"/>
                      <a:gd name="connsiteY1" fmla="*/ 121920 h 281940"/>
                      <a:gd name="connsiteX2" fmla="*/ 7620 w 541020"/>
                      <a:gd name="connsiteY2" fmla="*/ 251460 h 281940"/>
                      <a:gd name="connsiteX3" fmla="*/ 160020 w 541020"/>
                      <a:gd name="connsiteY3" fmla="*/ 281940 h 281940"/>
                      <a:gd name="connsiteX4" fmla="*/ 327660 w 541020"/>
                      <a:gd name="connsiteY4" fmla="*/ 236220 h 281940"/>
                      <a:gd name="connsiteX5" fmla="*/ 495300 w 541020"/>
                      <a:gd name="connsiteY5" fmla="*/ 114300 h 281940"/>
                      <a:gd name="connsiteX6" fmla="*/ 541020 w 541020"/>
                      <a:gd name="connsiteY6" fmla="*/ 30480 h 281940"/>
                      <a:gd name="connsiteX7" fmla="*/ 518160 w 541020"/>
                      <a:gd name="connsiteY7" fmla="*/ 0 h 281940"/>
                      <a:gd name="connsiteX8" fmla="*/ 449580 w 541020"/>
                      <a:gd name="connsiteY8" fmla="*/ 0 h 281940"/>
                      <a:gd name="connsiteX9" fmla="*/ 175260 w 541020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1940"/>
                      <a:gd name="connsiteX1" fmla="*/ 17128 w 558148"/>
                      <a:gd name="connsiteY1" fmla="*/ 121920 h 281940"/>
                      <a:gd name="connsiteX2" fmla="*/ 24748 w 558148"/>
                      <a:gd name="connsiteY2" fmla="*/ 251460 h 281940"/>
                      <a:gd name="connsiteX3" fmla="*/ 177148 w 558148"/>
                      <a:gd name="connsiteY3" fmla="*/ 281940 h 281940"/>
                      <a:gd name="connsiteX4" fmla="*/ 344788 w 558148"/>
                      <a:gd name="connsiteY4" fmla="*/ 236220 h 281940"/>
                      <a:gd name="connsiteX5" fmla="*/ 512428 w 558148"/>
                      <a:gd name="connsiteY5" fmla="*/ 114300 h 281940"/>
                      <a:gd name="connsiteX6" fmla="*/ 558148 w 558148"/>
                      <a:gd name="connsiteY6" fmla="*/ 30480 h 281940"/>
                      <a:gd name="connsiteX7" fmla="*/ 535288 w 558148"/>
                      <a:gd name="connsiteY7" fmla="*/ 0 h 281940"/>
                      <a:gd name="connsiteX8" fmla="*/ 466708 w 558148"/>
                      <a:gd name="connsiteY8" fmla="*/ 0 h 281940"/>
                      <a:gd name="connsiteX9" fmla="*/ 192388 w 558148"/>
                      <a:gd name="connsiteY9" fmla="*/ 45720 h 281940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45720 h 282454"/>
                      <a:gd name="connsiteX1" fmla="*/ 17128 w 558148"/>
                      <a:gd name="connsiteY1" fmla="*/ 121920 h 282454"/>
                      <a:gd name="connsiteX2" fmla="*/ 24748 w 558148"/>
                      <a:gd name="connsiteY2" fmla="*/ 251460 h 282454"/>
                      <a:gd name="connsiteX3" fmla="*/ 177148 w 558148"/>
                      <a:gd name="connsiteY3" fmla="*/ 281940 h 282454"/>
                      <a:gd name="connsiteX4" fmla="*/ 344788 w 558148"/>
                      <a:gd name="connsiteY4" fmla="*/ 236220 h 282454"/>
                      <a:gd name="connsiteX5" fmla="*/ 512428 w 558148"/>
                      <a:gd name="connsiteY5" fmla="*/ 114300 h 282454"/>
                      <a:gd name="connsiteX6" fmla="*/ 558148 w 558148"/>
                      <a:gd name="connsiteY6" fmla="*/ 30480 h 282454"/>
                      <a:gd name="connsiteX7" fmla="*/ 535288 w 558148"/>
                      <a:gd name="connsiteY7" fmla="*/ 0 h 282454"/>
                      <a:gd name="connsiteX8" fmla="*/ 466708 w 558148"/>
                      <a:gd name="connsiteY8" fmla="*/ 0 h 282454"/>
                      <a:gd name="connsiteX9" fmla="*/ 192388 w 558148"/>
                      <a:gd name="connsiteY9" fmla="*/ 45720 h 282454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58148"/>
                      <a:gd name="connsiteY0" fmla="*/ 50529 h 287263"/>
                      <a:gd name="connsiteX1" fmla="*/ 17128 w 558148"/>
                      <a:gd name="connsiteY1" fmla="*/ 126729 h 287263"/>
                      <a:gd name="connsiteX2" fmla="*/ 24748 w 558148"/>
                      <a:gd name="connsiteY2" fmla="*/ 256269 h 287263"/>
                      <a:gd name="connsiteX3" fmla="*/ 177148 w 558148"/>
                      <a:gd name="connsiteY3" fmla="*/ 286749 h 287263"/>
                      <a:gd name="connsiteX4" fmla="*/ 344788 w 558148"/>
                      <a:gd name="connsiteY4" fmla="*/ 241029 h 287263"/>
                      <a:gd name="connsiteX5" fmla="*/ 512428 w 558148"/>
                      <a:gd name="connsiteY5" fmla="*/ 119109 h 287263"/>
                      <a:gd name="connsiteX6" fmla="*/ 558148 w 558148"/>
                      <a:gd name="connsiteY6" fmla="*/ 35289 h 287263"/>
                      <a:gd name="connsiteX7" fmla="*/ 535288 w 558148"/>
                      <a:gd name="connsiteY7" fmla="*/ 4809 h 287263"/>
                      <a:gd name="connsiteX8" fmla="*/ 466708 w 558148"/>
                      <a:gd name="connsiteY8" fmla="*/ 4809 h 287263"/>
                      <a:gd name="connsiteX9" fmla="*/ 192388 w 558148"/>
                      <a:gd name="connsiteY9" fmla="*/ 50529 h 287263"/>
                      <a:gd name="connsiteX0" fmla="*/ 192388 w 564165"/>
                      <a:gd name="connsiteY0" fmla="*/ 50529 h 287263"/>
                      <a:gd name="connsiteX1" fmla="*/ 17128 w 564165"/>
                      <a:gd name="connsiteY1" fmla="*/ 126729 h 287263"/>
                      <a:gd name="connsiteX2" fmla="*/ 24748 w 564165"/>
                      <a:gd name="connsiteY2" fmla="*/ 256269 h 287263"/>
                      <a:gd name="connsiteX3" fmla="*/ 177148 w 564165"/>
                      <a:gd name="connsiteY3" fmla="*/ 286749 h 287263"/>
                      <a:gd name="connsiteX4" fmla="*/ 344788 w 564165"/>
                      <a:gd name="connsiteY4" fmla="*/ 241029 h 287263"/>
                      <a:gd name="connsiteX5" fmla="*/ 545402 w 564165"/>
                      <a:gd name="connsiteY5" fmla="*/ 181894 h 287263"/>
                      <a:gd name="connsiteX6" fmla="*/ 558148 w 564165"/>
                      <a:gd name="connsiteY6" fmla="*/ 35289 h 287263"/>
                      <a:gd name="connsiteX7" fmla="*/ 535288 w 564165"/>
                      <a:gd name="connsiteY7" fmla="*/ 4809 h 287263"/>
                      <a:gd name="connsiteX8" fmla="*/ 466708 w 564165"/>
                      <a:gd name="connsiteY8" fmla="*/ 4809 h 287263"/>
                      <a:gd name="connsiteX9" fmla="*/ 192388 w 564165"/>
                      <a:gd name="connsiteY9" fmla="*/ 50529 h 287263"/>
                      <a:gd name="connsiteX0" fmla="*/ 192388 w 564165"/>
                      <a:gd name="connsiteY0" fmla="*/ 50529 h 310225"/>
                      <a:gd name="connsiteX1" fmla="*/ 17128 w 564165"/>
                      <a:gd name="connsiteY1" fmla="*/ 126729 h 310225"/>
                      <a:gd name="connsiteX2" fmla="*/ 24748 w 564165"/>
                      <a:gd name="connsiteY2" fmla="*/ 256269 h 310225"/>
                      <a:gd name="connsiteX3" fmla="*/ 177148 w 564165"/>
                      <a:gd name="connsiteY3" fmla="*/ 286749 h 310225"/>
                      <a:gd name="connsiteX4" fmla="*/ 338214 w 564165"/>
                      <a:gd name="connsiteY4" fmla="*/ 301010 h 310225"/>
                      <a:gd name="connsiteX5" fmla="*/ 545402 w 564165"/>
                      <a:gd name="connsiteY5" fmla="*/ 181894 h 310225"/>
                      <a:gd name="connsiteX6" fmla="*/ 558148 w 564165"/>
                      <a:gd name="connsiteY6" fmla="*/ 35289 h 310225"/>
                      <a:gd name="connsiteX7" fmla="*/ 535288 w 564165"/>
                      <a:gd name="connsiteY7" fmla="*/ 4809 h 310225"/>
                      <a:gd name="connsiteX8" fmla="*/ 466708 w 564165"/>
                      <a:gd name="connsiteY8" fmla="*/ 4809 h 310225"/>
                      <a:gd name="connsiteX9" fmla="*/ 192388 w 564165"/>
                      <a:gd name="connsiteY9" fmla="*/ 50529 h 310225"/>
                      <a:gd name="connsiteX0" fmla="*/ 192388 w 564165"/>
                      <a:gd name="connsiteY0" fmla="*/ 50529 h 353427"/>
                      <a:gd name="connsiteX1" fmla="*/ 17128 w 564165"/>
                      <a:gd name="connsiteY1" fmla="*/ 126729 h 353427"/>
                      <a:gd name="connsiteX2" fmla="*/ 24748 w 564165"/>
                      <a:gd name="connsiteY2" fmla="*/ 256269 h 353427"/>
                      <a:gd name="connsiteX3" fmla="*/ 193096 w 564165"/>
                      <a:gd name="connsiteY3" fmla="*/ 353363 h 353427"/>
                      <a:gd name="connsiteX4" fmla="*/ 338214 w 564165"/>
                      <a:gd name="connsiteY4" fmla="*/ 301010 h 353427"/>
                      <a:gd name="connsiteX5" fmla="*/ 545402 w 564165"/>
                      <a:gd name="connsiteY5" fmla="*/ 181894 h 353427"/>
                      <a:gd name="connsiteX6" fmla="*/ 558148 w 564165"/>
                      <a:gd name="connsiteY6" fmla="*/ 35289 h 353427"/>
                      <a:gd name="connsiteX7" fmla="*/ 535288 w 564165"/>
                      <a:gd name="connsiteY7" fmla="*/ 4809 h 353427"/>
                      <a:gd name="connsiteX8" fmla="*/ 466708 w 564165"/>
                      <a:gd name="connsiteY8" fmla="*/ 4809 h 353427"/>
                      <a:gd name="connsiteX9" fmla="*/ 192388 w 564165"/>
                      <a:gd name="connsiteY9" fmla="*/ 50529 h 353427"/>
                      <a:gd name="connsiteX0" fmla="*/ 183456 w 555233"/>
                      <a:gd name="connsiteY0" fmla="*/ 50529 h 359674"/>
                      <a:gd name="connsiteX1" fmla="*/ 8196 w 555233"/>
                      <a:gd name="connsiteY1" fmla="*/ 126729 h 359674"/>
                      <a:gd name="connsiteX2" fmla="*/ 57235 w 555233"/>
                      <a:gd name="connsiteY2" fmla="*/ 343912 h 359674"/>
                      <a:gd name="connsiteX3" fmla="*/ 184164 w 555233"/>
                      <a:gd name="connsiteY3" fmla="*/ 353363 h 359674"/>
                      <a:gd name="connsiteX4" fmla="*/ 329282 w 555233"/>
                      <a:gd name="connsiteY4" fmla="*/ 301010 h 359674"/>
                      <a:gd name="connsiteX5" fmla="*/ 536470 w 555233"/>
                      <a:gd name="connsiteY5" fmla="*/ 181894 h 359674"/>
                      <a:gd name="connsiteX6" fmla="*/ 549216 w 555233"/>
                      <a:gd name="connsiteY6" fmla="*/ 35289 h 359674"/>
                      <a:gd name="connsiteX7" fmla="*/ 526356 w 555233"/>
                      <a:gd name="connsiteY7" fmla="*/ 4809 h 359674"/>
                      <a:gd name="connsiteX8" fmla="*/ 457776 w 555233"/>
                      <a:gd name="connsiteY8" fmla="*/ 4809 h 359674"/>
                      <a:gd name="connsiteX9" fmla="*/ 183456 w 555233"/>
                      <a:gd name="connsiteY9" fmla="*/ 50529 h 359674"/>
                      <a:gd name="connsiteX0" fmla="*/ 141822 w 513599"/>
                      <a:gd name="connsiteY0" fmla="*/ 50529 h 359674"/>
                      <a:gd name="connsiteX1" fmla="*/ 26880 w 513599"/>
                      <a:gd name="connsiteY1" fmla="*/ 162601 h 359674"/>
                      <a:gd name="connsiteX2" fmla="*/ 15601 w 513599"/>
                      <a:gd name="connsiteY2" fmla="*/ 343912 h 359674"/>
                      <a:gd name="connsiteX3" fmla="*/ 142530 w 513599"/>
                      <a:gd name="connsiteY3" fmla="*/ 353363 h 359674"/>
                      <a:gd name="connsiteX4" fmla="*/ 287648 w 513599"/>
                      <a:gd name="connsiteY4" fmla="*/ 301010 h 359674"/>
                      <a:gd name="connsiteX5" fmla="*/ 494836 w 513599"/>
                      <a:gd name="connsiteY5" fmla="*/ 181894 h 359674"/>
                      <a:gd name="connsiteX6" fmla="*/ 507582 w 513599"/>
                      <a:gd name="connsiteY6" fmla="*/ 35289 h 359674"/>
                      <a:gd name="connsiteX7" fmla="*/ 484722 w 513599"/>
                      <a:gd name="connsiteY7" fmla="*/ 4809 h 359674"/>
                      <a:gd name="connsiteX8" fmla="*/ 416142 w 513599"/>
                      <a:gd name="connsiteY8" fmla="*/ 4809 h 359674"/>
                      <a:gd name="connsiteX9" fmla="*/ 141822 w 513599"/>
                      <a:gd name="connsiteY9" fmla="*/ 50529 h 359674"/>
                      <a:gd name="connsiteX0" fmla="*/ 141822 w 530249"/>
                      <a:gd name="connsiteY0" fmla="*/ 50529 h 359674"/>
                      <a:gd name="connsiteX1" fmla="*/ 26880 w 530249"/>
                      <a:gd name="connsiteY1" fmla="*/ 162601 h 359674"/>
                      <a:gd name="connsiteX2" fmla="*/ 15601 w 530249"/>
                      <a:gd name="connsiteY2" fmla="*/ 343912 h 359674"/>
                      <a:gd name="connsiteX3" fmla="*/ 142530 w 530249"/>
                      <a:gd name="connsiteY3" fmla="*/ 353363 h 359674"/>
                      <a:gd name="connsiteX4" fmla="*/ 287648 w 530249"/>
                      <a:gd name="connsiteY4" fmla="*/ 301010 h 359674"/>
                      <a:gd name="connsiteX5" fmla="*/ 517239 w 530249"/>
                      <a:gd name="connsiteY5" fmla="*/ 238247 h 359674"/>
                      <a:gd name="connsiteX6" fmla="*/ 507582 w 530249"/>
                      <a:gd name="connsiteY6" fmla="*/ 35289 h 359674"/>
                      <a:gd name="connsiteX7" fmla="*/ 484722 w 530249"/>
                      <a:gd name="connsiteY7" fmla="*/ 4809 h 359674"/>
                      <a:gd name="connsiteX8" fmla="*/ 416142 w 530249"/>
                      <a:gd name="connsiteY8" fmla="*/ 4809 h 359674"/>
                      <a:gd name="connsiteX9" fmla="*/ 141822 w 530249"/>
                      <a:gd name="connsiteY9" fmla="*/ 50529 h 35967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50529 h 372204"/>
                      <a:gd name="connsiteX1" fmla="*/ 26880 w 530248"/>
                      <a:gd name="connsiteY1" fmla="*/ 162601 h 372204"/>
                      <a:gd name="connsiteX2" fmla="*/ 15601 w 530248"/>
                      <a:gd name="connsiteY2" fmla="*/ 343912 h 372204"/>
                      <a:gd name="connsiteX3" fmla="*/ 142530 w 530248"/>
                      <a:gd name="connsiteY3" fmla="*/ 353363 h 372204"/>
                      <a:gd name="connsiteX4" fmla="*/ 292200 w 530248"/>
                      <a:gd name="connsiteY4" fmla="*/ 362116 h 372204"/>
                      <a:gd name="connsiteX5" fmla="*/ 517239 w 530248"/>
                      <a:gd name="connsiteY5" fmla="*/ 238247 h 372204"/>
                      <a:gd name="connsiteX6" fmla="*/ 507582 w 530248"/>
                      <a:gd name="connsiteY6" fmla="*/ 35289 h 372204"/>
                      <a:gd name="connsiteX7" fmla="*/ 484722 w 530248"/>
                      <a:gd name="connsiteY7" fmla="*/ 4809 h 372204"/>
                      <a:gd name="connsiteX8" fmla="*/ 416142 w 530248"/>
                      <a:gd name="connsiteY8" fmla="*/ 4809 h 372204"/>
                      <a:gd name="connsiteX9" fmla="*/ 141822 w 530248"/>
                      <a:gd name="connsiteY9" fmla="*/ 50529 h 372204"/>
                      <a:gd name="connsiteX0" fmla="*/ 141822 w 530248"/>
                      <a:gd name="connsiteY0" fmla="*/ 47613 h 369288"/>
                      <a:gd name="connsiteX1" fmla="*/ 26880 w 530248"/>
                      <a:gd name="connsiteY1" fmla="*/ 159685 h 369288"/>
                      <a:gd name="connsiteX2" fmla="*/ 15601 w 530248"/>
                      <a:gd name="connsiteY2" fmla="*/ 340996 h 369288"/>
                      <a:gd name="connsiteX3" fmla="*/ 142530 w 530248"/>
                      <a:gd name="connsiteY3" fmla="*/ 350447 h 369288"/>
                      <a:gd name="connsiteX4" fmla="*/ 292200 w 530248"/>
                      <a:gd name="connsiteY4" fmla="*/ 359200 h 369288"/>
                      <a:gd name="connsiteX5" fmla="*/ 517239 w 530248"/>
                      <a:gd name="connsiteY5" fmla="*/ 235331 h 369288"/>
                      <a:gd name="connsiteX6" fmla="*/ 507582 w 530248"/>
                      <a:gd name="connsiteY6" fmla="*/ 32373 h 369288"/>
                      <a:gd name="connsiteX7" fmla="*/ 416142 w 530248"/>
                      <a:gd name="connsiteY7" fmla="*/ 1893 h 369288"/>
                      <a:gd name="connsiteX8" fmla="*/ 141822 w 530248"/>
                      <a:gd name="connsiteY8" fmla="*/ 47613 h 369288"/>
                      <a:gd name="connsiteX0" fmla="*/ 138197 w 526623"/>
                      <a:gd name="connsiteY0" fmla="*/ 47613 h 376324"/>
                      <a:gd name="connsiteX1" fmla="*/ 23255 w 526623"/>
                      <a:gd name="connsiteY1" fmla="*/ 159685 h 376324"/>
                      <a:gd name="connsiteX2" fmla="*/ 11976 w 526623"/>
                      <a:gd name="connsiteY2" fmla="*/ 340996 h 376324"/>
                      <a:gd name="connsiteX3" fmla="*/ 132119 w 526623"/>
                      <a:gd name="connsiteY3" fmla="*/ 374396 h 376324"/>
                      <a:gd name="connsiteX4" fmla="*/ 288575 w 526623"/>
                      <a:gd name="connsiteY4" fmla="*/ 359200 h 376324"/>
                      <a:gd name="connsiteX5" fmla="*/ 513614 w 526623"/>
                      <a:gd name="connsiteY5" fmla="*/ 235331 h 376324"/>
                      <a:gd name="connsiteX6" fmla="*/ 503957 w 526623"/>
                      <a:gd name="connsiteY6" fmla="*/ 32373 h 376324"/>
                      <a:gd name="connsiteX7" fmla="*/ 412517 w 526623"/>
                      <a:gd name="connsiteY7" fmla="*/ 1893 h 376324"/>
                      <a:gd name="connsiteX8" fmla="*/ 138197 w 526623"/>
                      <a:gd name="connsiteY8" fmla="*/ 47613 h 376324"/>
                      <a:gd name="connsiteX0" fmla="*/ 427441 w 541547"/>
                      <a:gd name="connsiteY0" fmla="*/ 10181 h 384611"/>
                      <a:gd name="connsiteX1" fmla="*/ 38179 w 541547"/>
                      <a:gd name="connsiteY1" fmla="*/ 167973 h 384611"/>
                      <a:gd name="connsiteX2" fmla="*/ 26900 w 541547"/>
                      <a:gd name="connsiteY2" fmla="*/ 349284 h 384611"/>
                      <a:gd name="connsiteX3" fmla="*/ 147043 w 541547"/>
                      <a:gd name="connsiteY3" fmla="*/ 382684 h 384611"/>
                      <a:gd name="connsiteX4" fmla="*/ 303499 w 541547"/>
                      <a:gd name="connsiteY4" fmla="*/ 367488 h 384611"/>
                      <a:gd name="connsiteX5" fmla="*/ 528538 w 541547"/>
                      <a:gd name="connsiteY5" fmla="*/ 243619 h 384611"/>
                      <a:gd name="connsiteX6" fmla="*/ 518881 w 541547"/>
                      <a:gd name="connsiteY6" fmla="*/ 40661 h 384611"/>
                      <a:gd name="connsiteX7" fmla="*/ 427441 w 541547"/>
                      <a:gd name="connsiteY7" fmla="*/ 10181 h 384611"/>
                      <a:gd name="connsiteX0" fmla="*/ 400497 w 514603"/>
                      <a:gd name="connsiteY0" fmla="*/ 10183 h 384613"/>
                      <a:gd name="connsiteX1" fmla="*/ 11235 w 514603"/>
                      <a:gd name="connsiteY1" fmla="*/ 167975 h 384613"/>
                      <a:gd name="connsiteX2" fmla="*/ 120099 w 514603"/>
                      <a:gd name="connsiteY2" fmla="*/ 382686 h 384613"/>
                      <a:gd name="connsiteX3" fmla="*/ 276555 w 514603"/>
                      <a:gd name="connsiteY3" fmla="*/ 367490 h 384613"/>
                      <a:gd name="connsiteX4" fmla="*/ 501594 w 514603"/>
                      <a:gd name="connsiteY4" fmla="*/ 243621 h 384613"/>
                      <a:gd name="connsiteX5" fmla="*/ 491937 w 514603"/>
                      <a:gd name="connsiteY5" fmla="*/ 40663 h 384613"/>
                      <a:gd name="connsiteX6" fmla="*/ 400497 w 514603"/>
                      <a:gd name="connsiteY6" fmla="*/ 10183 h 384613"/>
                      <a:gd name="connsiteX0" fmla="*/ 400497 w 514603"/>
                      <a:gd name="connsiteY0" fmla="*/ 10183 h 383828"/>
                      <a:gd name="connsiteX1" fmla="*/ 11235 w 514603"/>
                      <a:gd name="connsiteY1" fmla="*/ 167975 h 383828"/>
                      <a:gd name="connsiteX2" fmla="*/ 120099 w 514603"/>
                      <a:gd name="connsiteY2" fmla="*/ 382686 h 383828"/>
                      <a:gd name="connsiteX3" fmla="*/ 501594 w 514603"/>
                      <a:gd name="connsiteY3" fmla="*/ 243621 h 383828"/>
                      <a:gd name="connsiteX4" fmla="*/ 491937 w 514603"/>
                      <a:gd name="connsiteY4" fmla="*/ 40663 h 383828"/>
                      <a:gd name="connsiteX5" fmla="*/ 400497 w 514603"/>
                      <a:gd name="connsiteY5" fmla="*/ 10183 h 383828"/>
                      <a:gd name="connsiteX0" fmla="*/ 400497 w 517116"/>
                      <a:gd name="connsiteY0" fmla="*/ 1010 h 374655"/>
                      <a:gd name="connsiteX1" fmla="*/ 11235 w 517116"/>
                      <a:gd name="connsiteY1" fmla="*/ 158802 h 374655"/>
                      <a:gd name="connsiteX2" fmla="*/ 120099 w 517116"/>
                      <a:gd name="connsiteY2" fmla="*/ 373513 h 374655"/>
                      <a:gd name="connsiteX3" fmla="*/ 501594 w 517116"/>
                      <a:gd name="connsiteY3" fmla="*/ 234448 h 374655"/>
                      <a:gd name="connsiteX4" fmla="*/ 400497 w 517116"/>
                      <a:gd name="connsiteY4" fmla="*/ 1010 h 3746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17116" h="374655">
                        <a:moveTo>
                          <a:pt x="400497" y="1010"/>
                        </a:moveTo>
                        <a:cubicBezTo>
                          <a:pt x="318771" y="-11598"/>
                          <a:pt x="57968" y="96718"/>
                          <a:pt x="11235" y="158802"/>
                        </a:cubicBezTo>
                        <a:cubicBezTo>
                          <a:pt x="-35498" y="220886"/>
                          <a:pt x="75879" y="340261"/>
                          <a:pt x="120099" y="373513"/>
                        </a:cubicBezTo>
                        <a:cubicBezTo>
                          <a:pt x="201826" y="386121"/>
                          <a:pt x="439621" y="291452"/>
                          <a:pt x="501594" y="234448"/>
                        </a:cubicBezTo>
                        <a:cubicBezTo>
                          <a:pt x="548327" y="172364"/>
                          <a:pt x="482224" y="13618"/>
                          <a:pt x="400497" y="101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pt-BR" sz="1100">
                      <a:solidFill>
                        <a:prstClr val="white"/>
                      </a:solidFill>
                    </a:endParaRPr>
                  </a:p>
                </p:txBody>
              </p:sp>
            </p:grpSp>
            <p:grpSp>
              <p:nvGrpSpPr>
                <p:cNvPr id="972" name="Group 269"/>
                <p:cNvGrpSpPr/>
                <p:nvPr/>
              </p:nvGrpSpPr>
              <p:grpSpPr>
                <a:xfrm>
                  <a:off x="6979920" y="2906890"/>
                  <a:ext cx="1725930" cy="1979888"/>
                  <a:chOff x="5429812" y="2990076"/>
                  <a:chExt cx="1786949" cy="2049886"/>
                </a:xfrm>
                <a:grpFill/>
              </p:grpSpPr>
              <p:grpSp>
                <p:nvGrpSpPr>
                  <p:cNvPr id="973" name="Group 270"/>
                  <p:cNvGrpSpPr/>
                  <p:nvPr/>
                </p:nvGrpSpPr>
                <p:grpSpPr>
                  <a:xfrm>
                    <a:off x="5429812" y="2990076"/>
                    <a:ext cx="1786949" cy="2049886"/>
                    <a:chOff x="5429812" y="2990076"/>
                    <a:chExt cx="1786949" cy="2049886"/>
                  </a:xfrm>
                  <a:grpFill/>
                </p:grpSpPr>
                <p:sp>
                  <p:nvSpPr>
                    <p:cNvPr id="975" name="Freeform 272"/>
                    <p:cNvSpPr/>
                    <p:nvPr/>
                  </p:nvSpPr>
                  <p:spPr>
                    <a:xfrm rot="11700000">
                      <a:off x="5429812" y="4895509"/>
                      <a:ext cx="125360" cy="144453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399682 w 516301"/>
                        <a:gd name="connsiteY0" fmla="*/ 1010 h 421254"/>
                        <a:gd name="connsiteX1" fmla="*/ 10420 w 516301"/>
                        <a:gd name="connsiteY1" fmla="*/ 158802 h 421254"/>
                        <a:gd name="connsiteX2" fmla="*/ 119284 w 516301"/>
                        <a:gd name="connsiteY2" fmla="*/ 373513 h 421254"/>
                        <a:gd name="connsiteX3" fmla="*/ 223300 w 516301"/>
                        <a:gd name="connsiteY3" fmla="*/ 412622 h 421254"/>
                        <a:gd name="connsiteX4" fmla="*/ 500779 w 516301"/>
                        <a:gd name="connsiteY4" fmla="*/ 234448 h 421254"/>
                        <a:gd name="connsiteX5" fmla="*/ 399682 w 516301"/>
                        <a:gd name="connsiteY5" fmla="*/ 1010 h 421254"/>
                        <a:gd name="connsiteX0" fmla="*/ 400635 w 517254"/>
                        <a:gd name="connsiteY0" fmla="*/ 1205 h 500568"/>
                        <a:gd name="connsiteX1" fmla="*/ 11373 w 517254"/>
                        <a:gd name="connsiteY1" fmla="*/ 158997 h 500568"/>
                        <a:gd name="connsiteX2" fmla="*/ 112660 w 517254"/>
                        <a:gd name="connsiteY2" fmla="*/ 492609 h 500568"/>
                        <a:gd name="connsiteX3" fmla="*/ 224253 w 517254"/>
                        <a:gd name="connsiteY3" fmla="*/ 412817 h 500568"/>
                        <a:gd name="connsiteX4" fmla="*/ 501732 w 517254"/>
                        <a:gd name="connsiteY4" fmla="*/ 234643 h 500568"/>
                        <a:gd name="connsiteX5" fmla="*/ 400635 w 517254"/>
                        <a:gd name="connsiteY5" fmla="*/ 1205 h 500568"/>
                        <a:gd name="connsiteX0" fmla="*/ 400635 w 517254"/>
                        <a:gd name="connsiteY0" fmla="*/ 1205 h 500507"/>
                        <a:gd name="connsiteX1" fmla="*/ 11373 w 517254"/>
                        <a:gd name="connsiteY1" fmla="*/ 158997 h 500507"/>
                        <a:gd name="connsiteX2" fmla="*/ 112660 w 517254"/>
                        <a:gd name="connsiteY2" fmla="*/ 492609 h 500507"/>
                        <a:gd name="connsiteX3" fmla="*/ 224253 w 517254"/>
                        <a:gd name="connsiteY3" fmla="*/ 412817 h 500507"/>
                        <a:gd name="connsiteX4" fmla="*/ 317232 w 517254"/>
                        <a:gd name="connsiteY4" fmla="*/ 297923 h 500507"/>
                        <a:gd name="connsiteX5" fmla="*/ 501732 w 517254"/>
                        <a:gd name="connsiteY5" fmla="*/ 234643 h 500507"/>
                        <a:gd name="connsiteX6" fmla="*/ 400635 w 517254"/>
                        <a:gd name="connsiteY6" fmla="*/ 1205 h 500507"/>
                        <a:gd name="connsiteX0" fmla="*/ 400635 w 504610"/>
                        <a:gd name="connsiteY0" fmla="*/ 170 h 499472"/>
                        <a:gd name="connsiteX1" fmla="*/ 11373 w 504610"/>
                        <a:gd name="connsiteY1" fmla="*/ 157962 h 499472"/>
                        <a:gd name="connsiteX2" fmla="*/ 112660 w 504610"/>
                        <a:gd name="connsiteY2" fmla="*/ 491574 h 499472"/>
                        <a:gd name="connsiteX3" fmla="*/ 224253 w 504610"/>
                        <a:gd name="connsiteY3" fmla="*/ 411782 h 499472"/>
                        <a:gd name="connsiteX4" fmla="*/ 317232 w 504610"/>
                        <a:gd name="connsiteY4" fmla="*/ 296888 h 499472"/>
                        <a:gd name="connsiteX5" fmla="*/ 501732 w 504610"/>
                        <a:gd name="connsiteY5" fmla="*/ 233608 h 499472"/>
                        <a:gd name="connsiteX6" fmla="*/ 306603 w 504610"/>
                        <a:gd name="connsiteY6" fmla="*/ 184221 h 499472"/>
                        <a:gd name="connsiteX7" fmla="*/ 400635 w 504610"/>
                        <a:gd name="connsiteY7" fmla="*/ 170 h 499472"/>
                        <a:gd name="connsiteX0" fmla="*/ 400635 w 504679"/>
                        <a:gd name="connsiteY0" fmla="*/ 170 h 499472"/>
                        <a:gd name="connsiteX1" fmla="*/ 11373 w 504679"/>
                        <a:gd name="connsiteY1" fmla="*/ 157962 h 499472"/>
                        <a:gd name="connsiteX2" fmla="*/ 112660 w 504679"/>
                        <a:gd name="connsiteY2" fmla="*/ 491574 h 499472"/>
                        <a:gd name="connsiteX3" fmla="*/ 224253 w 504679"/>
                        <a:gd name="connsiteY3" fmla="*/ 411782 h 499472"/>
                        <a:gd name="connsiteX4" fmla="*/ 317232 w 504679"/>
                        <a:gd name="connsiteY4" fmla="*/ 296888 h 499472"/>
                        <a:gd name="connsiteX5" fmla="*/ 311162 w 504679"/>
                        <a:gd name="connsiteY5" fmla="*/ 298968 h 499472"/>
                        <a:gd name="connsiteX6" fmla="*/ 501732 w 504679"/>
                        <a:gd name="connsiteY6" fmla="*/ 233608 h 499472"/>
                        <a:gd name="connsiteX7" fmla="*/ 306603 w 504679"/>
                        <a:gd name="connsiteY7" fmla="*/ 184221 h 499472"/>
                        <a:gd name="connsiteX8" fmla="*/ 400635 w 504679"/>
                        <a:gd name="connsiteY8" fmla="*/ 170 h 499472"/>
                        <a:gd name="connsiteX0" fmla="*/ 400635 w 411811"/>
                        <a:gd name="connsiteY0" fmla="*/ 170 h 499472"/>
                        <a:gd name="connsiteX1" fmla="*/ 11373 w 411811"/>
                        <a:gd name="connsiteY1" fmla="*/ 157962 h 499472"/>
                        <a:gd name="connsiteX2" fmla="*/ 112660 w 411811"/>
                        <a:gd name="connsiteY2" fmla="*/ 491574 h 499472"/>
                        <a:gd name="connsiteX3" fmla="*/ 224253 w 411811"/>
                        <a:gd name="connsiteY3" fmla="*/ 411782 h 499472"/>
                        <a:gd name="connsiteX4" fmla="*/ 317232 w 411811"/>
                        <a:gd name="connsiteY4" fmla="*/ 296888 h 499472"/>
                        <a:gd name="connsiteX5" fmla="*/ 311162 w 411811"/>
                        <a:gd name="connsiteY5" fmla="*/ 298968 h 499472"/>
                        <a:gd name="connsiteX6" fmla="*/ 306603 w 411811"/>
                        <a:gd name="connsiteY6" fmla="*/ 184221 h 499472"/>
                        <a:gd name="connsiteX7" fmla="*/ 400635 w 411811"/>
                        <a:gd name="connsiteY7" fmla="*/ 170 h 499472"/>
                        <a:gd name="connsiteX0" fmla="*/ 344675 w 361138"/>
                        <a:gd name="connsiteY0" fmla="*/ 231 h 473092"/>
                        <a:gd name="connsiteX1" fmla="*/ 8407 w 361138"/>
                        <a:gd name="connsiteY1" fmla="*/ 131582 h 473092"/>
                        <a:gd name="connsiteX2" fmla="*/ 109694 w 361138"/>
                        <a:gd name="connsiteY2" fmla="*/ 465194 h 473092"/>
                        <a:gd name="connsiteX3" fmla="*/ 221287 w 361138"/>
                        <a:gd name="connsiteY3" fmla="*/ 385402 h 473092"/>
                        <a:gd name="connsiteX4" fmla="*/ 314266 w 361138"/>
                        <a:gd name="connsiteY4" fmla="*/ 270508 h 473092"/>
                        <a:gd name="connsiteX5" fmla="*/ 308196 w 361138"/>
                        <a:gd name="connsiteY5" fmla="*/ 272588 h 473092"/>
                        <a:gd name="connsiteX6" fmla="*/ 303637 w 361138"/>
                        <a:gd name="connsiteY6" fmla="*/ 157841 h 473092"/>
                        <a:gd name="connsiteX7" fmla="*/ 344675 w 361138"/>
                        <a:gd name="connsiteY7" fmla="*/ 231 h 473092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38258 w 341911"/>
                        <a:gd name="connsiteY0" fmla="*/ 2 h 472863"/>
                        <a:gd name="connsiteX1" fmla="*/ 199680 w 341911"/>
                        <a:gd name="connsiteY1" fmla="*/ 157767 h 472863"/>
                        <a:gd name="connsiteX2" fmla="*/ 1990 w 341911"/>
                        <a:gd name="connsiteY2" fmla="*/ 131353 h 472863"/>
                        <a:gd name="connsiteX3" fmla="*/ 103277 w 341911"/>
                        <a:gd name="connsiteY3" fmla="*/ 464965 h 472863"/>
                        <a:gd name="connsiteX4" fmla="*/ 214870 w 341911"/>
                        <a:gd name="connsiteY4" fmla="*/ 385173 h 472863"/>
                        <a:gd name="connsiteX5" fmla="*/ 307849 w 341911"/>
                        <a:gd name="connsiteY5" fmla="*/ 270279 h 472863"/>
                        <a:gd name="connsiteX6" fmla="*/ 301779 w 341911"/>
                        <a:gd name="connsiteY6" fmla="*/ 272359 h 472863"/>
                        <a:gd name="connsiteX7" fmla="*/ 297220 w 341911"/>
                        <a:gd name="connsiteY7" fmla="*/ 157612 h 472863"/>
                        <a:gd name="connsiteX8" fmla="*/ 338258 w 341911"/>
                        <a:gd name="connsiteY8" fmla="*/ 2 h 472863"/>
                        <a:gd name="connsiteX0" fmla="*/ 309825 w 313478"/>
                        <a:gd name="connsiteY0" fmla="*/ 2 h 472863"/>
                        <a:gd name="connsiteX1" fmla="*/ 171247 w 313478"/>
                        <a:gd name="connsiteY1" fmla="*/ 157767 h 472863"/>
                        <a:gd name="connsiteX2" fmla="*/ 2828 w 313478"/>
                        <a:gd name="connsiteY2" fmla="*/ 270869 h 472863"/>
                        <a:gd name="connsiteX3" fmla="*/ 74844 w 313478"/>
                        <a:gd name="connsiteY3" fmla="*/ 464965 h 472863"/>
                        <a:gd name="connsiteX4" fmla="*/ 186437 w 313478"/>
                        <a:gd name="connsiteY4" fmla="*/ 385173 h 472863"/>
                        <a:gd name="connsiteX5" fmla="*/ 279416 w 313478"/>
                        <a:gd name="connsiteY5" fmla="*/ 270279 h 472863"/>
                        <a:gd name="connsiteX6" fmla="*/ 273346 w 313478"/>
                        <a:gd name="connsiteY6" fmla="*/ 272359 h 472863"/>
                        <a:gd name="connsiteX7" fmla="*/ 268787 w 313478"/>
                        <a:gd name="connsiteY7" fmla="*/ 157612 h 472863"/>
                        <a:gd name="connsiteX8" fmla="*/ 309825 w 313478"/>
                        <a:gd name="connsiteY8" fmla="*/ 2 h 472863"/>
                        <a:gd name="connsiteX0" fmla="*/ 268787 w 297124"/>
                        <a:gd name="connsiteY0" fmla="*/ 14163 h 329414"/>
                        <a:gd name="connsiteX1" fmla="*/ 171247 w 297124"/>
                        <a:gd name="connsiteY1" fmla="*/ 14318 h 329414"/>
                        <a:gd name="connsiteX2" fmla="*/ 2828 w 297124"/>
                        <a:gd name="connsiteY2" fmla="*/ 127420 h 329414"/>
                        <a:gd name="connsiteX3" fmla="*/ 74844 w 297124"/>
                        <a:gd name="connsiteY3" fmla="*/ 321516 h 329414"/>
                        <a:gd name="connsiteX4" fmla="*/ 186437 w 297124"/>
                        <a:gd name="connsiteY4" fmla="*/ 241724 h 329414"/>
                        <a:gd name="connsiteX5" fmla="*/ 279416 w 297124"/>
                        <a:gd name="connsiteY5" fmla="*/ 126830 h 329414"/>
                        <a:gd name="connsiteX6" fmla="*/ 273346 w 297124"/>
                        <a:gd name="connsiteY6" fmla="*/ 128910 h 329414"/>
                        <a:gd name="connsiteX7" fmla="*/ 268787 w 297124"/>
                        <a:gd name="connsiteY7" fmla="*/ 14163 h 329414"/>
                        <a:gd name="connsiteX0" fmla="*/ 194771 w 297124"/>
                        <a:gd name="connsiteY0" fmla="*/ 54292 h 319287"/>
                        <a:gd name="connsiteX1" fmla="*/ 171247 w 297124"/>
                        <a:gd name="connsiteY1" fmla="*/ 4191 h 319287"/>
                        <a:gd name="connsiteX2" fmla="*/ 2828 w 297124"/>
                        <a:gd name="connsiteY2" fmla="*/ 117293 h 319287"/>
                        <a:gd name="connsiteX3" fmla="*/ 74844 w 297124"/>
                        <a:gd name="connsiteY3" fmla="*/ 311389 h 319287"/>
                        <a:gd name="connsiteX4" fmla="*/ 186437 w 297124"/>
                        <a:gd name="connsiteY4" fmla="*/ 231597 h 319287"/>
                        <a:gd name="connsiteX5" fmla="*/ 279416 w 297124"/>
                        <a:gd name="connsiteY5" fmla="*/ 116703 h 319287"/>
                        <a:gd name="connsiteX6" fmla="*/ 273346 w 297124"/>
                        <a:gd name="connsiteY6" fmla="*/ 118783 h 319287"/>
                        <a:gd name="connsiteX7" fmla="*/ 194771 w 297124"/>
                        <a:gd name="connsiteY7" fmla="*/ 54292 h 319287"/>
                        <a:gd name="connsiteX0" fmla="*/ 176997 w 297124"/>
                        <a:gd name="connsiteY0" fmla="*/ 92018 h 317703"/>
                        <a:gd name="connsiteX1" fmla="*/ 171247 w 297124"/>
                        <a:gd name="connsiteY1" fmla="*/ 2607 h 317703"/>
                        <a:gd name="connsiteX2" fmla="*/ 2828 w 297124"/>
                        <a:gd name="connsiteY2" fmla="*/ 115709 h 317703"/>
                        <a:gd name="connsiteX3" fmla="*/ 74844 w 297124"/>
                        <a:gd name="connsiteY3" fmla="*/ 309805 h 317703"/>
                        <a:gd name="connsiteX4" fmla="*/ 186437 w 297124"/>
                        <a:gd name="connsiteY4" fmla="*/ 230013 h 317703"/>
                        <a:gd name="connsiteX5" fmla="*/ 279416 w 297124"/>
                        <a:gd name="connsiteY5" fmla="*/ 115119 h 317703"/>
                        <a:gd name="connsiteX6" fmla="*/ 273346 w 297124"/>
                        <a:gd name="connsiteY6" fmla="*/ 117199 h 317703"/>
                        <a:gd name="connsiteX7" fmla="*/ 176997 w 297124"/>
                        <a:gd name="connsiteY7" fmla="*/ 92018 h 317703"/>
                        <a:gd name="connsiteX0" fmla="*/ 226739 w 297124"/>
                        <a:gd name="connsiteY0" fmla="*/ 51834 h 319465"/>
                        <a:gd name="connsiteX1" fmla="*/ 171247 w 297124"/>
                        <a:gd name="connsiteY1" fmla="*/ 4369 h 319465"/>
                        <a:gd name="connsiteX2" fmla="*/ 2828 w 297124"/>
                        <a:gd name="connsiteY2" fmla="*/ 117471 h 319465"/>
                        <a:gd name="connsiteX3" fmla="*/ 74844 w 297124"/>
                        <a:gd name="connsiteY3" fmla="*/ 311567 h 319465"/>
                        <a:gd name="connsiteX4" fmla="*/ 186437 w 297124"/>
                        <a:gd name="connsiteY4" fmla="*/ 231775 h 319465"/>
                        <a:gd name="connsiteX5" fmla="*/ 279416 w 297124"/>
                        <a:gd name="connsiteY5" fmla="*/ 116881 h 319465"/>
                        <a:gd name="connsiteX6" fmla="*/ 273346 w 297124"/>
                        <a:gd name="connsiteY6" fmla="*/ 118961 h 319465"/>
                        <a:gd name="connsiteX7" fmla="*/ 226739 w 297124"/>
                        <a:gd name="connsiteY7" fmla="*/ 51834 h 319465"/>
                        <a:gd name="connsiteX0" fmla="*/ 226739 w 289446"/>
                        <a:gd name="connsiteY0" fmla="*/ 51834 h 319465"/>
                        <a:gd name="connsiteX1" fmla="*/ 171247 w 289446"/>
                        <a:gd name="connsiteY1" fmla="*/ 4369 h 319465"/>
                        <a:gd name="connsiteX2" fmla="*/ 2828 w 289446"/>
                        <a:gd name="connsiteY2" fmla="*/ 117471 h 319465"/>
                        <a:gd name="connsiteX3" fmla="*/ 74844 w 289446"/>
                        <a:gd name="connsiteY3" fmla="*/ 311567 h 319465"/>
                        <a:gd name="connsiteX4" fmla="*/ 186437 w 289446"/>
                        <a:gd name="connsiteY4" fmla="*/ 231775 h 319465"/>
                        <a:gd name="connsiteX5" fmla="*/ 279416 w 289446"/>
                        <a:gd name="connsiteY5" fmla="*/ 116881 h 319465"/>
                        <a:gd name="connsiteX6" fmla="*/ 214719 w 289446"/>
                        <a:gd name="connsiteY6" fmla="*/ 180566 h 319465"/>
                        <a:gd name="connsiteX7" fmla="*/ 226739 w 289446"/>
                        <a:gd name="connsiteY7" fmla="*/ 51834 h 319465"/>
                        <a:gd name="connsiteX0" fmla="*/ 202461 w 289446"/>
                        <a:gd name="connsiteY0" fmla="*/ 59631 h 318953"/>
                        <a:gd name="connsiteX1" fmla="*/ 171247 w 289446"/>
                        <a:gd name="connsiteY1" fmla="*/ 3857 h 318953"/>
                        <a:gd name="connsiteX2" fmla="*/ 2828 w 289446"/>
                        <a:gd name="connsiteY2" fmla="*/ 116959 h 318953"/>
                        <a:gd name="connsiteX3" fmla="*/ 74844 w 289446"/>
                        <a:gd name="connsiteY3" fmla="*/ 311055 h 318953"/>
                        <a:gd name="connsiteX4" fmla="*/ 186437 w 289446"/>
                        <a:gd name="connsiteY4" fmla="*/ 231263 h 318953"/>
                        <a:gd name="connsiteX5" fmla="*/ 279416 w 289446"/>
                        <a:gd name="connsiteY5" fmla="*/ 116369 h 318953"/>
                        <a:gd name="connsiteX6" fmla="*/ 214719 w 289446"/>
                        <a:gd name="connsiteY6" fmla="*/ 180054 h 318953"/>
                        <a:gd name="connsiteX7" fmla="*/ 202461 w 289446"/>
                        <a:gd name="connsiteY7" fmla="*/ 59631 h 318953"/>
                        <a:gd name="connsiteX0" fmla="*/ 202461 w 216515"/>
                        <a:gd name="connsiteY0" fmla="*/ 59631 h 318929"/>
                        <a:gd name="connsiteX1" fmla="*/ 171247 w 216515"/>
                        <a:gd name="connsiteY1" fmla="*/ 3857 h 318929"/>
                        <a:gd name="connsiteX2" fmla="*/ 2828 w 216515"/>
                        <a:gd name="connsiteY2" fmla="*/ 116959 h 318929"/>
                        <a:gd name="connsiteX3" fmla="*/ 74844 w 216515"/>
                        <a:gd name="connsiteY3" fmla="*/ 311055 h 318929"/>
                        <a:gd name="connsiteX4" fmla="*/ 186437 w 216515"/>
                        <a:gd name="connsiteY4" fmla="*/ 231263 h 318929"/>
                        <a:gd name="connsiteX5" fmla="*/ 214719 w 216515"/>
                        <a:gd name="connsiteY5" fmla="*/ 180054 h 318929"/>
                        <a:gd name="connsiteX6" fmla="*/ 202461 w 216515"/>
                        <a:gd name="connsiteY6" fmla="*/ 59631 h 318929"/>
                        <a:gd name="connsiteX0" fmla="*/ 200078 w 214132"/>
                        <a:gd name="connsiteY0" fmla="*/ 113647 h 372945"/>
                        <a:gd name="connsiteX1" fmla="*/ 105135 w 214132"/>
                        <a:gd name="connsiteY1" fmla="*/ 2146 h 372945"/>
                        <a:gd name="connsiteX2" fmla="*/ 445 w 214132"/>
                        <a:gd name="connsiteY2" fmla="*/ 170975 h 372945"/>
                        <a:gd name="connsiteX3" fmla="*/ 72461 w 214132"/>
                        <a:gd name="connsiteY3" fmla="*/ 365071 h 372945"/>
                        <a:gd name="connsiteX4" fmla="*/ 184054 w 214132"/>
                        <a:gd name="connsiteY4" fmla="*/ 285279 h 372945"/>
                        <a:gd name="connsiteX5" fmla="*/ 212336 w 214132"/>
                        <a:gd name="connsiteY5" fmla="*/ 234070 h 372945"/>
                        <a:gd name="connsiteX6" fmla="*/ 200078 w 214132"/>
                        <a:gd name="connsiteY6" fmla="*/ 113647 h 372945"/>
                        <a:gd name="connsiteX0" fmla="*/ 171466 w 185520"/>
                        <a:gd name="connsiteY0" fmla="*/ 113647 h 372945"/>
                        <a:gd name="connsiteX1" fmla="*/ 76523 w 185520"/>
                        <a:gd name="connsiteY1" fmla="*/ 2146 h 372945"/>
                        <a:gd name="connsiteX2" fmla="*/ 1029 w 185520"/>
                        <a:gd name="connsiteY2" fmla="*/ 227444 h 372945"/>
                        <a:gd name="connsiteX3" fmla="*/ 43849 w 185520"/>
                        <a:gd name="connsiteY3" fmla="*/ 365071 h 372945"/>
                        <a:gd name="connsiteX4" fmla="*/ 155442 w 185520"/>
                        <a:gd name="connsiteY4" fmla="*/ 285279 h 372945"/>
                        <a:gd name="connsiteX5" fmla="*/ 183724 w 185520"/>
                        <a:gd name="connsiteY5" fmla="*/ 234070 h 372945"/>
                        <a:gd name="connsiteX6" fmla="*/ 171466 w 185520"/>
                        <a:gd name="connsiteY6" fmla="*/ 113647 h 372945"/>
                        <a:gd name="connsiteX0" fmla="*/ 171466 w 185520"/>
                        <a:gd name="connsiteY0" fmla="*/ 113647 h 396811"/>
                        <a:gd name="connsiteX1" fmla="*/ 76523 w 185520"/>
                        <a:gd name="connsiteY1" fmla="*/ 2146 h 396811"/>
                        <a:gd name="connsiteX2" fmla="*/ 1029 w 185520"/>
                        <a:gd name="connsiteY2" fmla="*/ 227444 h 396811"/>
                        <a:gd name="connsiteX3" fmla="*/ 43849 w 185520"/>
                        <a:gd name="connsiteY3" fmla="*/ 365071 h 396811"/>
                        <a:gd name="connsiteX4" fmla="*/ 158771 w 185520"/>
                        <a:gd name="connsiteY4" fmla="*/ 383831 h 396811"/>
                        <a:gd name="connsiteX5" fmla="*/ 183724 w 185520"/>
                        <a:gd name="connsiteY5" fmla="*/ 234070 h 396811"/>
                        <a:gd name="connsiteX6" fmla="*/ 171466 w 185520"/>
                        <a:gd name="connsiteY6" fmla="*/ 113647 h 396811"/>
                        <a:gd name="connsiteX0" fmla="*/ 170767 w 184821"/>
                        <a:gd name="connsiteY0" fmla="*/ 113647 h 387719"/>
                        <a:gd name="connsiteX1" fmla="*/ 75824 w 184821"/>
                        <a:gd name="connsiteY1" fmla="*/ 2146 h 387719"/>
                        <a:gd name="connsiteX2" fmla="*/ 330 w 184821"/>
                        <a:gd name="connsiteY2" fmla="*/ 227444 h 387719"/>
                        <a:gd name="connsiteX3" fmla="*/ 54416 w 184821"/>
                        <a:gd name="connsiteY3" fmla="*/ 294753 h 387719"/>
                        <a:gd name="connsiteX4" fmla="*/ 158072 w 184821"/>
                        <a:gd name="connsiteY4" fmla="*/ 383831 h 387719"/>
                        <a:gd name="connsiteX5" fmla="*/ 183025 w 184821"/>
                        <a:gd name="connsiteY5" fmla="*/ 234070 h 387719"/>
                        <a:gd name="connsiteX6" fmla="*/ 170767 w 184821"/>
                        <a:gd name="connsiteY6" fmla="*/ 113647 h 387719"/>
                        <a:gd name="connsiteX0" fmla="*/ 194313 w 208367"/>
                        <a:gd name="connsiteY0" fmla="*/ 113647 h 387719"/>
                        <a:gd name="connsiteX1" fmla="*/ 99370 w 208367"/>
                        <a:gd name="connsiteY1" fmla="*/ 2146 h 387719"/>
                        <a:gd name="connsiteX2" fmla="*/ 182 w 208367"/>
                        <a:gd name="connsiteY2" fmla="*/ 279863 h 387719"/>
                        <a:gd name="connsiteX3" fmla="*/ 77962 w 208367"/>
                        <a:gd name="connsiteY3" fmla="*/ 294753 h 387719"/>
                        <a:gd name="connsiteX4" fmla="*/ 181618 w 208367"/>
                        <a:gd name="connsiteY4" fmla="*/ 383831 h 387719"/>
                        <a:gd name="connsiteX5" fmla="*/ 206571 w 208367"/>
                        <a:gd name="connsiteY5" fmla="*/ 234070 h 387719"/>
                        <a:gd name="connsiteX6" fmla="*/ 194313 w 208367"/>
                        <a:gd name="connsiteY6" fmla="*/ 113647 h 387719"/>
                        <a:gd name="connsiteX0" fmla="*/ 207936 w 221990"/>
                        <a:gd name="connsiteY0" fmla="*/ 113647 h 400440"/>
                        <a:gd name="connsiteX1" fmla="*/ 112993 w 221990"/>
                        <a:gd name="connsiteY1" fmla="*/ 2146 h 400440"/>
                        <a:gd name="connsiteX2" fmla="*/ 13805 w 221990"/>
                        <a:gd name="connsiteY2" fmla="*/ 279863 h 400440"/>
                        <a:gd name="connsiteX3" fmla="*/ 21510 w 221990"/>
                        <a:gd name="connsiteY3" fmla="*/ 374120 h 400440"/>
                        <a:gd name="connsiteX4" fmla="*/ 195241 w 221990"/>
                        <a:gd name="connsiteY4" fmla="*/ 383831 h 400440"/>
                        <a:gd name="connsiteX5" fmla="*/ 220194 w 221990"/>
                        <a:gd name="connsiteY5" fmla="*/ 234070 h 400440"/>
                        <a:gd name="connsiteX6" fmla="*/ 207936 w 221990"/>
                        <a:gd name="connsiteY6" fmla="*/ 113647 h 400440"/>
                        <a:gd name="connsiteX0" fmla="*/ 207936 w 221990"/>
                        <a:gd name="connsiteY0" fmla="*/ 113647 h 384477"/>
                        <a:gd name="connsiteX1" fmla="*/ 112993 w 221990"/>
                        <a:gd name="connsiteY1" fmla="*/ 2146 h 384477"/>
                        <a:gd name="connsiteX2" fmla="*/ 13805 w 221990"/>
                        <a:gd name="connsiteY2" fmla="*/ 279863 h 384477"/>
                        <a:gd name="connsiteX3" fmla="*/ 21510 w 221990"/>
                        <a:gd name="connsiteY3" fmla="*/ 374120 h 384477"/>
                        <a:gd name="connsiteX4" fmla="*/ 113162 w 221990"/>
                        <a:gd name="connsiteY4" fmla="*/ 323303 h 384477"/>
                        <a:gd name="connsiteX5" fmla="*/ 220194 w 221990"/>
                        <a:gd name="connsiteY5" fmla="*/ 234070 h 384477"/>
                        <a:gd name="connsiteX6" fmla="*/ 207936 w 221990"/>
                        <a:gd name="connsiteY6" fmla="*/ 113647 h 384477"/>
                        <a:gd name="connsiteX0" fmla="*/ 207936 w 211307"/>
                        <a:gd name="connsiteY0" fmla="*/ 113647 h 384477"/>
                        <a:gd name="connsiteX1" fmla="*/ 112993 w 211307"/>
                        <a:gd name="connsiteY1" fmla="*/ 2146 h 384477"/>
                        <a:gd name="connsiteX2" fmla="*/ 13805 w 211307"/>
                        <a:gd name="connsiteY2" fmla="*/ 279863 h 384477"/>
                        <a:gd name="connsiteX3" fmla="*/ 21510 w 211307"/>
                        <a:gd name="connsiteY3" fmla="*/ 374120 h 384477"/>
                        <a:gd name="connsiteX4" fmla="*/ 113162 w 211307"/>
                        <a:gd name="connsiteY4" fmla="*/ 323303 h 384477"/>
                        <a:gd name="connsiteX5" fmla="*/ 169474 w 211307"/>
                        <a:gd name="connsiteY5" fmla="*/ 240351 h 384477"/>
                        <a:gd name="connsiteX6" fmla="*/ 207936 w 211307"/>
                        <a:gd name="connsiteY6" fmla="*/ 113647 h 384477"/>
                        <a:gd name="connsiteX0" fmla="*/ 173979 w 181017"/>
                        <a:gd name="connsiteY0" fmla="*/ 157929 h 383911"/>
                        <a:gd name="connsiteX1" fmla="*/ 112993 w 181017"/>
                        <a:gd name="connsiteY1" fmla="*/ 1580 h 383911"/>
                        <a:gd name="connsiteX2" fmla="*/ 13805 w 181017"/>
                        <a:gd name="connsiteY2" fmla="*/ 279297 h 383911"/>
                        <a:gd name="connsiteX3" fmla="*/ 21510 w 181017"/>
                        <a:gd name="connsiteY3" fmla="*/ 373554 h 383911"/>
                        <a:gd name="connsiteX4" fmla="*/ 113162 w 181017"/>
                        <a:gd name="connsiteY4" fmla="*/ 322737 h 383911"/>
                        <a:gd name="connsiteX5" fmla="*/ 169474 w 181017"/>
                        <a:gd name="connsiteY5" fmla="*/ 239785 h 383911"/>
                        <a:gd name="connsiteX6" fmla="*/ 173979 w 181017"/>
                        <a:gd name="connsiteY6" fmla="*/ 157929 h 383911"/>
                        <a:gd name="connsiteX0" fmla="*/ 173918 w 180956"/>
                        <a:gd name="connsiteY0" fmla="*/ 81382 h 307364"/>
                        <a:gd name="connsiteX1" fmla="*/ 111926 w 180956"/>
                        <a:gd name="connsiteY1" fmla="*/ 2917 h 307364"/>
                        <a:gd name="connsiteX2" fmla="*/ 13744 w 180956"/>
                        <a:gd name="connsiteY2" fmla="*/ 202750 h 307364"/>
                        <a:gd name="connsiteX3" fmla="*/ 21449 w 180956"/>
                        <a:gd name="connsiteY3" fmla="*/ 297007 h 307364"/>
                        <a:gd name="connsiteX4" fmla="*/ 113101 w 180956"/>
                        <a:gd name="connsiteY4" fmla="*/ 246190 h 307364"/>
                        <a:gd name="connsiteX5" fmla="*/ 169413 w 180956"/>
                        <a:gd name="connsiteY5" fmla="*/ 163238 h 307364"/>
                        <a:gd name="connsiteX6" fmla="*/ 173918 w 180956"/>
                        <a:gd name="connsiteY6" fmla="*/ 81382 h 307364"/>
                        <a:gd name="connsiteX0" fmla="*/ 163348 w 170386"/>
                        <a:gd name="connsiteY0" fmla="*/ 81382 h 251896"/>
                        <a:gd name="connsiteX1" fmla="*/ 101356 w 170386"/>
                        <a:gd name="connsiteY1" fmla="*/ 2917 h 251896"/>
                        <a:gd name="connsiteX2" fmla="*/ 3174 w 170386"/>
                        <a:gd name="connsiteY2" fmla="*/ 202750 h 251896"/>
                        <a:gd name="connsiteX3" fmla="*/ 39914 w 170386"/>
                        <a:gd name="connsiteY3" fmla="*/ 187378 h 251896"/>
                        <a:gd name="connsiteX4" fmla="*/ 102531 w 170386"/>
                        <a:gd name="connsiteY4" fmla="*/ 246190 h 251896"/>
                        <a:gd name="connsiteX5" fmla="*/ 158843 w 170386"/>
                        <a:gd name="connsiteY5" fmla="*/ 163238 h 251896"/>
                        <a:gd name="connsiteX6" fmla="*/ 163348 w 170386"/>
                        <a:gd name="connsiteY6" fmla="*/ 81382 h 251896"/>
                        <a:gd name="connsiteX0" fmla="*/ 161438 w 168476"/>
                        <a:gd name="connsiteY0" fmla="*/ 81382 h 251896"/>
                        <a:gd name="connsiteX1" fmla="*/ 99446 w 168476"/>
                        <a:gd name="connsiteY1" fmla="*/ 2917 h 251896"/>
                        <a:gd name="connsiteX2" fmla="*/ 1264 w 168476"/>
                        <a:gd name="connsiteY2" fmla="*/ 202750 h 251896"/>
                        <a:gd name="connsiteX3" fmla="*/ 38004 w 168476"/>
                        <a:gd name="connsiteY3" fmla="*/ 187378 h 251896"/>
                        <a:gd name="connsiteX4" fmla="*/ 100621 w 168476"/>
                        <a:gd name="connsiteY4" fmla="*/ 246190 h 251896"/>
                        <a:gd name="connsiteX5" fmla="*/ 156933 w 168476"/>
                        <a:gd name="connsiteY5" fmla="*/ 163238 h 251896"/>
                        <a:gd name="connsiteX6" fmla="*/ 161438 w 168476"/>
                        <a:gd name="connsiteY6" fmla="*/ 81382 h 251896"/>
                        <a:gd name="connsiteX0" fmla="*/ 123435 w 130473"/>
                        <a:gd name="connsiteY0" fmla="*/ 81079 h 251593"/>
                        <a:gd name="connsiteX1" fmla="*/ 61443 w 130473"/>
                        <a:gd name="connsiteY1" fmla="*/ 2614 h 251593"/>
                        <a:gd name="connsiteX2" fmla="*/ 1 w 130473"/>
                        <a:gd name="connsiteY2" fmla="*/ 187075 h 251593"/>
                        <a:gd name="connsiteX3" fmla="*/ 62618 w 130473"/>
                        <a:gd name="connsiteY3" fmla="*/ 245887 h 251593"/>
                        <a:gd name="connsiteX4" fmla="*/ 118930 w 130473"/>
                        <a:gd name="connsiteY4" fmla="*/ 162935 h 251593"/>
                        <a:gd name="connsiteX5" fmla="*/ 123435 w 130473"/>
                        <a:gd name="connsiteY5" fmla="*/ 81079 h 251593"/>
                        <a:gd name="connsiteX0" fmla="*/ 241058 w 248096"/>
                        <a:gd name="connsiteY0" fmla="*/ 81079 h 253692"/>
                        <a:gd name="connsiteX1" fmla="*/ 179066 w 248096"/>
                        <a:gd name="connsiteY1" fmla="*/ 2614 h 253692"/>
                        <a:gd name="connsiteX2" fmla="*/ 0 w 248096"/>
                        <a:gd name="connsiteY2" fmla="*/ 205175 h 253692"/>
                        <a:gd name="connsiteX3" fmla="*/ 180241 w 248096"/>
                        <a:gd name="connsiteY3" fmla="*/ 245887 h 253692"/>
                        <a:gd name="connsiteX4" fmla="*/ 236553 w 248096"/>
                        <a:gd name="connsiteY4" fmla="*/ 162935 h 253692"/>
                        <a:gd name="connsiteX5" fmla="*/ 241058 w 248096"/>
                        <a:gd name="connsiteY5" fmla="*/ 81079 h 253692"/>
                        <a:gd name="connsiteX0" fmla="*/ 241058 w 248096"/>
                        <a:gd name="connsiteY0" fmla="*/ 148777 h 321390"/>
                        <a:gd name="connsiteX1" fmla="*/ 121262 w 248096"/>
                        <a:gd name="connsiteY1" fmla="*/ 1480 h 321390"/>
                        <a:gd name="connsiteX2" fmla="*/ 0 w 248096"/>
                        <a:gd name="connsiteY2" fmla="*/ 272873 h 321390"/>
                        <a:gd name="connsiteX3" fmla="*/ 180241 w 248096"/>
                        <a:gd name="connsiteY3" fmla="*/ 313585 h 321390"/>
                        <a:gd name="connsiteX4" fmla="*/ 236553 w 248096"/>
                        <a:gd name="connsiteY4" fmla="*/ 230633 h 321390"/>
                        <a:gd name="connsiteX5" fmla="*/ 241058 w 248096"/>
                        <a:gd name="connsiteY5" fmla="*/ 148777 h 321390"/>
                        <a:gd name="connsiteX0" fmla="*/ 241058 w 248096"/>
                        <a:gd name="connsiteY0" fmla="*/ 228189 h 400802"/>
                        <a:gd name="connsiteX1" fmla="*/ 95824 w 248096"/>
                        <a:gd name="connsiteY1" fmla="*/ 984 h 400802"/>
                        <a:gd name="connsiteX2" fmla="*/ 0 w 248096"/>
                        <a:gd name="connsiteY2" fmla="*/ 352285 h 400802"/>
                        <a:gd name="connsiteX3" fmla="*/ 180241 w 248096"/>
                        <a:gd name="connsiteY3" fmla="*/ 392997 h 400802"/>
                        <a:gd name="connsiteX4" fmla="*/ 236553 w 248096"/>
                        <a:gd name="connsiteY4" fmla="*/ 310045 h 400802"/>
                        <a:gd name="connsiteX5" fmla="*/ 241058 w 248096"/>
                        <a:gd name="connsiteY5" fmla="*/ 228189 h 400802"/>
                        <a:gd name="connsiteX0" fmla="*/ 268668 w 275706"/>
                        <a:gd name="connsiteY0" fmla="*/ 228189 h 400802"/>
                        <a:gd name="connsiteX1" fmla="*/ 123434 w 275706"/>
                        <a:gd name="connsiteY1" fmla="*/ 984 h 400802"/>
                        <a:gd name="connsiteX2" fmla="*/ 7590 w 275706"/>
                        <a:gd name="connsiteY2" fmla="*/ 151352 h 400802"/>
                        <a:gd name="connsiteX3" fmla="*/ 27610 w 275706"/>
                        <a:gd name="connsiteY3" fmla="*/ 352285 h 400802"/>
                        <a:gd name="connsiteX4" fmla="*/ 207851 w 275706"/>
                        <a:gd name="connsiteY4" fmla="*/ 392997 h 400802"/>
                        <a:gd name="connsiteX5" fmla="*/ 264163 w 275706"/>
                        <a:gd name="connsiteY5" fmla="*/ 310045 h 400802"/>
                        <a:gd name="connsiteX6" fmla="*/ 268668 w 275706"/>
                        <a:gd name="connsiteY6" fmla="*/ 228189 h 400802"/>
                        <a:gd name="connsiteX0" fmla="*/ 268668 w 275706"/>
                        <a:gd name="connsiteY0" fmla="*/ 248044 h 420657"/>
                        <a:gd name="connsiteX1" fmla="*/ 84560 w 275706"/>
                        <a:gd name="connsiteY1" fmla="*/ 908 h 420657"/>
                        <a:gd name="connsiteX2" fmla="*/ 7590 w 275706"/>
                        <a:gd name="connsiteY2" fmla="*/ 171207 h 420657"/>
                        <a:gd name="connsiteX3" fmla="*/ 27610 w 275706"/>
                        <a:gd name="connsiteY3" fmla="*/ 372140 h 420657"/>
                        <a:gd name="connsiteX4" fmla="*/ 207851 w 275706"/>
                        <a:gd name="connsiteY4" fmla="*/ 412852 h 420657"/>
                        <a:gd name="connsiteX5" fmla="*/ 264163 w 275706"/>
                        <a:gd name="connsiteY5" fmla="*/ 329900 h 420657"/>
                        <a:gd name="connsiteX6" fmla="*/ 268668 w 275706"/>
                        <a:gd name="connsiteY6" fmla="*/ 248044 h 420657"/>
                        <a:gd name="connsiteX0" fmla="*/ 303067 w 310105"/>
                        <a:gd name="connsiteY0" fmla="*/ 248044 h 420657"/>
                        <a:gd name="connsiteX1" fmla="*/ 118959 w 310105"/>
                        <a:gd name="connsiteY1" fmla="*/ 908 h 420657"/>
                        <a:gd name="connsiteX2" fmla="*/ 3118 w 310105"/>
                        <a:gd name="connsiteY2" fmla="*/ 151280 h 420657"/>
                        <a:gd name="connsiteX3" fmla="*/ 62009 w 310105"/>
                        <a:gd name="connsiteY3" fmla="*/ 372140 h 420657"/>
                        <a:gd name="connsiteX4" fmla="*/ 242250 w 310105"/>
                        <a:gd name="connsiteY4" fmla="*/ 412852 h 420657"/>
                        <a:gd name="connsiteX5" fmla="*/ 298562 w 310105"/>
                        <a:gd name="connsiteY5" fmla="*/ 329900 h 420657"/>
                        <a:gd name="connsiteX6" fmla="*/ 303067 w 310105"/>
                        <a:gd name="connsiteY6" fmla="*/ 248044 h 420657"/>
                        <a:gd name="connsiteX0" fmla="*/ 303067 w 310105"/>
                        <a:gd name="connsiteY0" fmla="*/ 248044 h 420657"/>
                        <a:gd name="connsiteX1" fmla="*/ 118959 w 310105"/>
                        <a:gd name="connsiteY1" fmla="*/ 908 h 420657"/>
                        <a:gd name="connsiteX2" fmla="*/ 3118 w 310105"/>
                        <a:gd name="connsiteY2" fmla="*/ 151280 h 420657"/>
                        <a:gd name="connsiteX3" fmla="*/ 62009 w 310105"/>
                        <a:gd name="connsiteY3" fmla="*/ 372140 h 420657"/>
                        <a:gd name="connsiteX4" fmla="*/ 242250 w 310105"/>
                        <a:gd name="connsiteY4" fmla="*/ 412852 h 420657"/>
                        <a:gd name="connsiteX5" fmla="*/ 298562 w 310105"/>
                        <a:gd name="connsiteY5" fmla="*/ 329900 h 420657"/>
                        <a:gd name="connsiteX6" fmla="*/ 303067 w 310105"/>
                        <a:gd name="connsiteY6" fmla="*/ 248044 h 420657"/>
                        <a:gd name="connsiteX0" fmla="*/ 326763 w 330767"/>
                        <a:gd name="connsiteY0" fmla="*/ 195862 h 420890"/>
                        <a:gd name="connsiteX1" fmla="*/ 118959 w 330767"/>
                        <a:gd name="connsiteY1" fmla="*/ 1141 h 420890"/>
                        <a:gd name="connsiteX2" fmla="*/ 3118 w 330767"/>
                        <a:gd name="connsiteY2" fmla="*/ 151513 h 420890"/>
                        <a:gd name="connsiteX3" fmla="*/ 62009 w 330767"/>
                        <a:gd name="connsiteY3" fmla="*/ 372373 h 420890"/>
                        <a:gd name="connsiteX4" fmla="*/ 242250 w 330767"/>
                        <a:gd name="connsiteY4" fmla="*/ 413085 h 420890"/>
                        <a:gd name="connsiteX5" fmla="*/ 298562 w 330767"/>
                        <a:gd name="connsiteY5" fmla="*/ 330133 h 420890"/>
                        <a:gd name="connsiteX6" fmla="*/ 326763 w 330767"/>
                        <a:gd name="connsiteY6" fmla="*/ 195862 h 420890"/>
                        <a:gd name="connsiteX0" fmla="*/ 326763 w 330767"/>
                        <a:gd name="connsiteY0" fmla="*/ 261764 h 486792"/>
                        <a:gd name="connsiteX1" fmla="*/ 193411 w 330767"/>
                        <a:gd name="connsiteY1" fmla="*/ 8291 h 486792"/>
                        <a:gd name="connsiteX2" fmla="*/ 118959 w 330767"/>
                        <a:gd name="connsiteY2" fmla="*/ 67043 h 486792"/>
                        <a:gd name="connsiteX3" fmla="*/ 3118 w 330767"/>
                        <a:gd name="connsiteY3" fmla="*/ 217415 h 486792"/>
                        <a:gd name="connsiteX4" fmla="*/ 62009 w 330767"/>
                        <a:gd name="connsiteY4" fmla="*/ 438275 h 486792"/>
                        <a:gd name="connsiteX5" fmla="*/ 242250 w 330767"/>
                        <a:gd name="connsiteY5" fmla="*/ 478987 h 486792"/>
                        <a:gd name="connsiteX6" fmla="*/ 298562 w 330767"/>
                        <a:gd name="connsiteY6" fmla="*/ 396035 h 486792"/>
                        <a:gd name="connsiteX7" fmla="*/ 326763 w 330767"/>
                        <a:gd name="connsiteY7" fmla="*/ 261764 h 486792"/>
                        <a:gd name="connsiteX0" fmla="*/ 326763 w 330767"/>
                        <a:gd name="connsiteY0" fmla="*/ 261764 h 486792"/>
                        <a:gd name="connsiteX1" fmla="*/ 193411 w 330767"/>
                        <a:gd name="connsiteY1" fmla="*/ 8291 h 486792"/>
                        <a:gd name="connsiteX2" fmla="*/ 118959 w 330767"/>
                        <a:gd name="connsiteY2" fmla="*/ 67043 h 486792"/>
                        <a:gd name="connsiteX3" fmla="*/ 3118 w 330767"/>
                        <a:gd name="connsiteY3" fmla="*/ 217415 h 486792"/>
                        <a:gd name="connsiteX4" fmla="*/ 62009 w 330767"/>
                        <a:gd name="connsiteY4" fmla="*/ 438275 h 486792"/>
                        <a:gd name="connsiteX5" fmla="*/ 242250 w 330767"/>
                        <a:gd name="connsiteY5" fmla="*/ 478987 h 486792"/>
                        <a:gd name="connsiteX6" fmla="*/ 298562 w 330767"/>
                        <a:gd name="connsiteY6" fmla="*/ 396035 h 486792"/>
                        <a:gd name="connsiteX7" fmla="*/ 326763 w 330767"/>
                        <a:gd name="connsiteY7" fmla="*/ 261764 h 48679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330767" h="486792">
                          <a:moveTo>
                            <a:pt x="326763" y="261764"/>
                          </a:moveTo>
                          <a:cubicBezTo>
                            <a:pt x="306734" y="212766"/>
                            <a:pt x="183831" y="78031"/>
                            <a:pt x="193411" y="8291"/>
                          </a:cubicBezTo>
                          <a:cubicBezTo>
                            <a:pt x="158777" y="-24162"/>
                            <a:pt x="148171" y="47815"/>
                            <a:pt x="118959" y="67043"/>
                          </a:cubicBezTo>
                          <a:cubicBezTo>
                            <a:pt x="83274" y="57097"/>
                            <a:pt x="43947" y="194664"/>
                            <a:pt x="3118" y="217415"/>
                          </a:cubicBezTo>
                          <a:cubicBezTo>
                            <a:pt x="-12853" y="275965"/>
                            <a:pt x="36460" y="400861"/>
                            <a:pt x="62009" y="438275"/>
                          </a:cubicBezTo>
                          <a:cubicBezTo>
                            <a:pt x="93840" y="473519"/>
                            <a:pt x="218938" y="500820"/>
                            <a:pt x="242250" y="478987"/>
                          </a:cubicBezTo>
                          <a:cubicBezTo>
                            <a:pt x="265562" y="457154"/>
                            <a:pt x="295891" y="424640"/>
                            <a:pt x="298562" y="396035"/>
                          </a:cubicBezTo>
                          <a:cubicBezTo>
                            <a:pt x="301233" y="367430"/>
                            <a:pt x="343780" y="280863"/>
                            <a:pt x="326763" y="261764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976" name="Freeform 273"/>
                    <p:cNvSpPr/>
                    <p:nvPr/>
                  </p:nvSpPr>
                  <p:spPr>
                    <a:xfrm rot="11700000">
                      <a:off x="7158794" y="2990076"/>
                      <a:ext cx="57967" cy="65537"/>
                    </a:xfrm>
                    <a:custGeom>
                      <a:avLst/>
                      <a:gdLst>
                        <a:gd name="connsiteX0" fmla="*/ 175260 w 541020"/>
                        <a:gd name="connsiteY0" fmla="*/ 45720 h 281940"/>
                        <a:gd name="connsiteX1" fmla="*/ 0 w 541020"/>
                        <a:gd name="connsiteY1" fmla="*/ 121920 h 281940"/>
                        <a:gd name="connsiteX2" fmla="*/ 7620 w 541020"/>
                        <a:gd name="connsiteY2" fmla="*/ 251460 h 281940"/>
                        <a:gd name="connsiteX3" fmla="*/ 160020 w 541020"/>
                        <a:gd name="connsiteY3" fmla="*/ 281940 h 281940"/>
                        <a:gd name="connsiteX4" fmla="*/ 327660 w 541020"/>
                        <a:gd name="connsiteY4" fmla="*/ 236220 h 281940"/>
                        <a:gd name="connsiteX5" fmla="*/ 495300 w 541020"/>
                        <a:gd name="connsiteY5" fmla="*/ 114300 h 281940"/>
                        <a:gd name="connsiteX6" fmla="*/ 541020 w 541020"/>
                        <a:gd name="connsiteY6" fmla="*/ 30480 h 281940"/>
                        <a:gd name="connsiteX7" fmla="*/ 518160 w 541020"/>
                        <a:gd name="connsiteY7" fmla="*/ 0 h 281940"/>
                        <a:gd name="connsiteX8" fmla="*/ 449580 w 541020"/>
                        <a:gd name="connsiteY8" fmla="*/ 0 h 281940"/>
                        <a:gd name="connsiteX9" fmla="*/ 175260 w 541020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1940"/>
                        <a:gd name="connsiteX1" fmla="*/ 17128 w 558148"/>
                        <a:gd name="connsiteY1" fmla="*/ 121920 h 281940"/>
                        <a:gd name="connsiteX2" fmla="*/ 24748 w 558148"/>
                        <a:gd name="connsiteY2" fmla="*/ 251460 h 281940"/>
                        <a:gd name="connsiteX3" fmla="*/ 177148 w 558148"/>
                        <a:gd name="connsiteY3" fmla="*/ 281940 h 281940"/>
                        <a:gd name="connsiteX4" fmla="*/ 344788 w 558148"/>
                        <a:gd name="connsiteY4" fmla="*/ 236220 h 281940"/>
                        <a:gd name="connsiteX5" fmla="*/ 512428 w 558148"/>
                        <a:gd name="connsiteY5" fmla="*/ 114300 h 281940"/>
                        <a:gd name="connsiteX6" fmla="*/ 558148 w 558148"/>
                        <a:gd name="connsiteY6" fmla="*/ 30480 h 281940"/>
                        <a:gd name="connsiteX7" fmla="*/ 535288 w 558148"/>
                        <a:gd name="connsiteY7" fmla="*/ 0 h 281940"/>
                        <a:gd name="connsiteX8" fmla="*/ 466708 w 558148"/>
                        <a:gd name="connsiteY8" fmla="*/ 0 h 281940"/>
                        <a:gd name="connsiteX9" fmla="*/ 192388 w 558148"/>
                        <a:gd name="connsiteY9" fmla="*/ 45720 h 281940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45720 h 282454"/>
                        <a:gd name="connsiteX1" fmla="*/ 17128 w 558148"/>
                        <a:gd name="connsiteY1" fmla="*/ 121920 h 282454"/>
                        <a:gd name="connsiteX2" fmla="*/ 24748 w 558148"/>
                        <a:gd name="connsiteY2" fmla="*/ 251460 h 282454"/>
                        <a:gd name="connsiteX3" fmla="*/ 177148 w 558148"/>
                        <a:gd name="connsiteY3" fmla="*/ 281940 h 282454"/>
                        <a:gd name="connsiteX4" fmla="*/ 344788 w 558148"/>
                        <a:gd name="connsiteY4" fmla="*/ 236220 h 282454"/>
                        <a:gd name="connsiteX5" fmla="*/ 512428 w 558148"/>
                        <a:gd name="connsiteY5" fmla="*/ 114300 h 282454"/>
                        <a:gd name="connsiteX6" fmla="*/ 558148 w 558148"/>
                        <a:gd name="connsiteY6" fmla="*/ 30480 h 282454"/>
                        <a:gd name="connsiteX7" fmla="*/ 535288 w 558148"/>
                        <a:gd name="connsiteY7" fmla="*/ 0 h 282454"/>
                        <a:gd name="connsiteX8" fmla="*/ 466708 w 558148"/>
                        <a:gd name="connsiteY8" fmla="*/ 0 h 282454"/>
                        <a:gd name="connsiteX9" fmla="*/ 192388 w 558148"/>
                        <a:gd name="connsiteY9" fmla="*/ 45720 h 282454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58148"/>
                        <a:gd name="connsiteY0" fmla="*/ 50529 h 287263"/>
                        <a:gd name="connsiteX1" fmla="*/ 17128 w 558148"/>
                        <a:gd name="connsiteY1" fmla="*/ 126729 h 287263"/>
                        <a:gd name="connsiteX2" fmla="*/ 24748 w 558148"/>
                        <a:gd name="connsiteY2" fmla="*/ 256269 h 287263"/>
                        <a:gd name="connsiteX3" fmla="*/ 177148 w 558148"/>
                        <a:gd name="connsiteY3" fmla="*/ 286749 h 287263"/>
                        <a:gd name="connsiteX4" fmla="*/ 344788 w 558148"/>
                        <a:gd name="connsiteY4" fmla="*/ 241029 h 287263"/>
                        <a:gd name="connsiteX5" fmla="*/ 512428 w 558148"/>
                        <a:gd name="connsiteY5" fmla="*/ 119109 h 287263"/>
                        <a:gd name="connsiteX6" fmla="*/ 558148 w 558148"/>
                        <a:gd name="connsiteY6" fmla="*/ 35289 h 287263"/>
                        <a:gd name="connsiteX7" fmla="*/ 535288 w 558148"/>
                        <a:gd name="connsiteY7" fmla="*/ 4809 h 287263"/>
                        <a:gd name="connsiteX8" fmla="*/ 466708 w 558148"/>
                        <a:gd name="connsiteY8" fmla="*/ 4809 h 287263"/>
                        <a:gd name="connsiteX9" fmla="*/ 192388 w 558148"/>
                        <a:gd name="connsiteY9" fmla="*/ 50529 h 287263"/>
                        <a:gd name="connsiteX0" fmla="*/ 192388 w 564165"/>
                        <a:gd name="connsiteY0" fmla="*/ 50529 h 287263"/>
                        <a:gd name="connsiteX1" fmla="*/ 17128 w 564165"/>
                        <a:gd name="connsiteY1" fmla="*/ 126729 h 287263"/>
                        <a:gd name="connsiteX2" fmla="*/ 24748 w 564165"/>
                        <a:gd name="connsiteY2" fmla="*/ 256269 h 287263"/>
                        <a:gd name="connsiteX3" fmla="*/ 177148 w 564165"/>
                        <a:gd name="connsiteY3" fmla="*/ 286749 h 287263"/>
                        <a:gd name="connsiteX4" fmla="*/ 344788 w 564165"/>
                        <a:gd name="connsiteY4" fmla="*/ 241029 h 287263"/>
                        <a:gd name="connsiteX5" fmla="*/ 545402 w 564165"/>
                        <a:gd name="connsiteY5" fmla="*/ 181894 h 287263"/>
                        <a:gd name="connsiteX6" fmla="*/ 558148 w 564165"/>
                        <a:gd name="connsiteY6" fmla="*/ 35289 h 287263"/>
                        <a:gd name="connsiteX7" fmla="*/ 535288 w 564165"/>
                        <a:gd name="connsiteY7" fmla="*/ 4809 h 287263"/>
                        <a:gd name="connsiteX8" fmla="*/ 466708 w 564165"/>
                        <a:gd name="connsiteY8" fmla="*/ 4809 h 287263"/>
                        <a:gd name="connsiteX9" fmla="*/ 192388 w 564165"/>
                        <a:gd name="connsiteY9" fmla="*/ 50529 h 287263"/>
                        <a:gd name="connsiteX0" fmla="*/ 192388 w 564165"/>
                        <a:gd name="connsiteY0" fmla="*/ 50529 h 310225"/>
                        <a:gd name="connsiteX1" fmla="*/ 17128 w 564165"/>
                        <a:gd name="connsiteY1" fmla="*/ 126729 h 310225"/>
                        <a:gd name="connsiteX2" fmla="*/ 24748 w 564165"/>
                        <a:gd name="connsiteY2" fmla="*/ 256269 h 310225"/>
                        <a:gd name="connsiteX3" fmla="*/ 177148 w 564165"/>
                        <a:gd name="connsiteY3" fmla="*/ 286749 h 310225"/>
                        <a:gd name="connsiteX4" fmla="*/ 338214 w 564165"/>
                        <a:gd name="connsiteY4" fmla="*/ 301010 h 310225"/>
                        <a:gd name="connsiteX5" fmla="*/ 545402 w 564165"/>
                        <a:gd name="connsiteY5" fmla="*/ 181894 h 310225"/>
                        <a:gd name="connsiteX6" fmla="*/ 558148 w 564165"/>
                        <a:gd name="connsiteY6" fmla="*/ 35289 h 310225"/>
                        <a:gd name="connsiteX7" fmla="*/ 535288 w 564165"/>
                        <a:gd name="connsiteY7" fmla="*/ 4809 h 310225"/>
                        <a:gd name="connsiteX8" fmla="*/ 466708 w 564165"/>
                        <a:gd name="connsiteY8" fmla="*/ 4809 h 310225"/>
                        <a:gd name="connsiteX9" fmla="*/ 192388 w 564165"/>
                        <a:gd name="connsiteY9" fmla="*/ 50529 h 310225"/>
                        <a:gd name="connsiteX0" fmla="*/ 192388 w 564165"/>
                        <a:gd name="connsiteY0" fmla="*/ 50529 h 353427"/>
                        <a:gd name="connsiteX1" fmla="*/ 17128 w 564165"/>
                        <a:gd name="connsiteY1" fmla="*/ 126729 h 353427"/>
                        <a:gd name="connsiteX2" fmla="*/ 24748 w 564165"/>
                        <a:gd name="connsiteY2" fmla="*/ 256269 h 353427"/>
                        <a:gd name="connsiteX3" fmla="*/ 193096 w 564165"/>
                        <a:gd name="connsiteY3" fmla="*/ 353363 h 353427"/>
                        <a:gd name="connsiteX4" fmla="*/ 338214 w 564165"/>
                        <a:gd name="connsiteY4" fmla="*/ 301010 h 353427"/>
                        <a:gd name="connsiteX5" fmla="*/ 545402 w 564165"/>
                        <a:gd name="connsiteY5" fmla="*/ 181894 h 353427"/>
                        <a:gd name="connsiteX6" fmla="*/ 558148 w 564165"/>
                        <a:gd name="connsiteY6" fmla="*/ 35289 h 353427"/>
                        <a:gd name="connsiteX7" fmla="*/ 535288 w 564165"/>
                        <a:gd name="connsiteY7" fmla="*/ 4809 h 353427"/>
                        <a:gd name="connsiteX8" fmla="*/ 466708 w 564165"/>
                        <a:gd name="connsiteY8" fmla="*/ 4809 h 353427"/>
                        <a:gd name="connsiteX9" fmla="*/ 192388 w 564165"/>
                        <a:gd name="connsiteY9" fmla="*/ 50529 h 353427"/>
                        <a:gd name="connsiteX0" fmla="*/ 183456 w 555233"/>
                        <a:gd name="connsiteY0" fmla="*/ 50529 h 359674"/>
                        <a:gd name="connsiteX1" fmla="*/ 8196 w 555233"/>
                        <a:gd name="connsiteY1" fmla="*/ 126729 h 359674"/>
                        <a:gd name="connsiteX2" fmla="*/ 57235 w 555233"/>
                        <a:gd name="connsiteY2" fmla="*/ 343912 h 359674"/>
                        <a:gd name="connsiteX3" fmla="*/ 184164 w 555233"/>
                        <a:gd name="connsiteY3" fmla="*/ 353363 h 359674"/>
                        <a:gd name="connsiteX4" fmla="*/ 329282 w 555233"/>
                        <a:gd name="connsiteY4" fmla="*/ 301010 h 359674"/>
                        <a:gd name="connsiteX5" fmla="*/ 536470 w 555233"/>
                        <a:gd name="connsiteY5" fmla="*/ 181894 h 359674"/>
                        <a:gd name="connsiteX6" fmla="*/ 549216 w 555233"/>
                        <a:gd name="connsiteY6" fmla="*/ 35289 h 359674"/>
                        <a:gd name="connsiteX7" fmla="*/ 526356 w 555233"/>
                        <a:gd name="connsiteY7" fmla="*/ 4809 h 359674"/>
                        <a:gd name="connsiteX8" fmla="*/ 457776 w 555233"/>
                        <a:gd name="connsiteY8" fmla="*/ 4809 h 359674"/>
                        <a:gd name="connsiteX9" fmla="*/ 183456 w 555233"/>
                        <a:gd name="connsiteY9" fmla="*/ 50529 h 359674"/>
                        <a:gd name="connsiteX0" fmla="*/ 141822 w 513599"/>
                        <a:gd name="connsiteY0" fmla="*/ 50529 h 359674"/>
                        <a:gd name="connsiteX1" fmla="*/ 26880 w 513599"/>
                        <a:gd name="connsiteY1" fmla="*/ 162601 h 359674"/>
                        <a:gd name="connsiteX2" fmla="*/ 15601 w 513599"/>
                        <a:gd name="connsiteY2" fmla="*/ 343912 h 359674"/>
                        <a:gd name="connsiteX3" fmla="*/ 142530 w 513599"/>
                        <a:gd name="connsiteY3" fmla="*/ 353363 h 359674"/>
                        <a:gd name="connsiteX4" fmla="*/ 287648 w 513599"/>
                        <a:gd name="connsiteY4" fmla="*/ 301010 h 359674"/>
                        <a:gd name="connsiteX5" fmla="*/ 494836 w 513599"/>
                        <a:gd name="connsiteY5" fmla="*/ 181894 h 359674"/>
                        <a:gd name="connsiteX6" fmla="*/ 507582 w 513599"/>
                        <a:gd name="connsiteY6" fmla="*/ 35289 h 359674"/>
                        <a:gd name="connsiteX7" fmla="*/ 484722 w 513599"/>
                        <a:gd name="connsiteY7" fmla="*/ 4809 h 359674"/>
                        <a:gd name="connsiteX8" fmla="*/ 416142 w 513599"/>
                        <a:gd name="connsiteY8" fmla="*/ 4809 h 359674"/>
                        <a:gd name="connsiteX9" fmla="*/ 141822 w 513599"/>
                        <a:gd name="connsiteY9" fmla="*/ 50529 h 359674"/>
                        <a:gd name="connsiteX0" fmla="*/ 141822 w 530249"/>
                        <a:gd name="connsiteY0" fmla="*/ 50529 h 359674"/>
                        <a:gd name="connsiteX1" fmla="*/ 26880 w 530249"/>
                        <a:gd name="connsiteY1" fmla="*/ 162601 h 359674"/>
                        <a:gd name="connsiteX2" fmla="*/ 15601 w 530249"/>
                        <a:gd name="connsiteY2" fmla="*/ 343912 h 359674"/>
                        <a:gd name="connsiteX3" fmla="*/ 142530 w 530249"/>
                        <a:gd name="connsiteY3" fmla="*/ 353363 h 359674"/>
                        <a:gd name="connsiteX4" fmla="*/ 287648 w 530249"/>
                        <a:gd name="connsiteY4" fmla="*/ 301010 h 359674"/>
                        <a:gd name="connsiteX5" fmla="*/ 517239 w 530249"/>
                        <a:gd name="connsiteY5" fmla="*/ 238247 h 359674"/>
                        <a:gd name="connsiteX6" fmla="*/ 507582 w 530249"/>
                        <a:gd name="connsiteY6" fmla="*/ 35289 h 359674"/>
                        <a:gd name="connsiteX7" fmla="*/ 484722 w 530249"/>
                        <a:gd name="connsiteY7" fmla="*/ 4809 h 359674"/>
                        <a:gd name="connsiteX8" fmla="*/ 416142 w 530249"/>
                        <a:gd name="connsiteY8" fmla="*/ 4809 h 359674"/>
                        <a:gd name="connsiteX9" fmla="*/ 141822 w 530249"/>
                        <a:gd name="connsiteY9" fmla="*/ 50529 h 35967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50529 h 372204"/>
                        <a:gd name="connsiteX1" fmla="*/ 26880 w 530248"/>
                        <a:gd name="connsiteY1" fmla="*/ 162601 h 372204"/>
                        <a:gd name="connsiteX2" fmla="*/ 15601 w 530248"/>
                        <a:gd name="connsiteY2" fmla="*/ 343912 h 372204"/>
                        <a:gd name="connsiteX3" fmla="*/ 142530 w 530248"/>
                        <a:gd name="connsiteY3" fmla="*/ 353363 h 372204"/>
                        <a:gd name="connsiteX4" fmla="*/ 292200 w 530248"/>
                        <a:gd name="connsiteY4" fmla="*/ 362116 h 372204"/>
                        <a:gd name="connsiteX5" fmla="*/ 517239 w 530248"/>
                        <a:gd name="connsiteY5" fmla="*/ 238247 h 372204"/>
                        <a:gd name="connsiteX6" fmla="*/ 507582 w 530248"/>
                        <a:gd name="connsiteY6" fmla="*/ 35289 h 372204"/>
                        <a:gd name="connsiteX7" fmla="*/ 484722 w 530248"/>
                        <a:gd name="connsiteY7" fmla="*/ 4809 h 372204"/>
                        <a:gd name="connsiteX8" fmla="*/ 416142 w 530248"/>
                        <a:gd name="connsiteY8" fmla="*/ 4809 h 372204"/>
                        <a:gd name="connsiteX9" fmla="*/ 141822 w 530248"/>
                        <a:gd name="connsiteY9" fmla="*/ 50529 h 372204"/>
                        <a:gd name="connsiteX0" fmla="*/ 141822 w 530248"/>
                        <a:gd name="connsiteY0" fmla="*/ 47613 h 369288"/>
                        <a:gd name="connsiteX1" fmla="*/ 26880 w 530248"/>
                        <a:gd name="connsiteY1" fmla="*/ 159685 h 369288"/>
                        <a:gd name="connsiteX2" fmla="*/ 15601 w 530248"/>
                        <a:gd name="connsiteY2" fmla="*/ 340996 h 369288"/>
                        <a:gd name="connsiteX3" fmla="*/ 142530 w 530248"/>
                        <a:gd name="connsiteY3" fmla="*/ 350447 h 369288"/>
                        <a:gd name="connsiteX4" fmla="*/ 292200 w 530248"/>
                        <a:gd name="connsiteY4" fmla="*/ 359200 h 369288"/>
                        <a:gd name="connsiteX5" fmla="*/ 517239 w 530248"/>
                        <a:gd name="connsiteY5" fmla="*/ 235331 h 369288"/>
                        <a:gd name="connsiteX6" fmla="*/ 507582 w 530248"/>
                        <a:gd name="connsiteY6" fmla="*/ 32373 h 369288"/>
                        <a:gd name="connsiteX7" fmla="*/ 416142 w 530248"/>
                        <a:gd name="connsiteY7" fmla="*/ 1893 h 369288"/>
                        <a:gd name="connsiteX8" fmla="*/ 141822 w 530248"/>
                        <a:gd name="connsiteY8" fmla="*/ 47613 h 369288"/>
                        <a:gd name="connsiteX0" fmla="*/ 138197 w 526623"/>
                        <a:gd name="connsiteY0" fmla="*/ 47613 h 376324"/>
                        <a:gd name="connsiteX1" fmla="*/ 23255 w 526623"/>
                        <a:gd name="connsiteY1" fmla="*/ 159685 h 376324"/>
                        <a:gd name="connsiteX2" fmla="*/ 11976 w 526623"/>
                        <a:gd name="connsiteY2" fmla="*/ 340996 h 376324"/>
                        <a:gd name="connsiteX3" fmla="*/ 132119 w 526623"/>
                        <a:gd name="connsiteY3" fmla="*/ 374396 h 376324"/>
                        <a:gd name="connsiteX4" fmla="*/ 288575 w 526623"/>
                        <a:gd name="connsiteY4" fmla="*/ 359200 h 376324"/>
                        <a:gd name="connsiteX5" fmla="*/ 513614 w 526623"/>
                        <a:gd name="connsiteY5" fmla="*/ 235331 h 376324"/>
                        <a:gd name="connsiteX6" fmla="*/ 503957 w 526623"/>
                        <a:gd name="connsiteY6" fmla="*/ 32373 h 376324"/>
                        <a:gd name="connsiteX7" fmla="*/ 412517 w 526623"/>
                        <a:gd name="connsiteY7" fmla="*/ 1893 h 376324"/>
                        <a:gd name="connsiteX8" fmla="*/ 138197 w 526623"/>
                        <a:gd name="connsiteY8" fmla="*/ 47613 h 376324"/>
                        <a:gd name="connsiteX0" fmla="*/ 427441 w 541547"/>
                        <a:gd name="connsiteY0" fmla="*/ 10181 h 384611"/>
                        <a:gd name="connsiteX1" fmla="*/ 38179 w 541547"/>
                        <a:gd name="connsiteY1" fmla="*/ 167973 h 384611"/>
                        <a:gd name="connsiteX2" fmla="*/ 26900 w 541547"/>
                        <a:gd name="connsiteY2" fmla="*/ 349284 h 384611"/>
                        <a:gd name="connsiteX3" fmla="*/ 147043 w 541547"/>
                        <a:gd name="connsiteY3" fmla="*/ 382684 h 384611"/>
                        <a:gd name="connsiteX4" fmla="*/ 303499 w 541547"/>
                        <a:gd name="connsiteY4" fmla="*/ 367488 h 384611"/>
                        <a:gd name="connsiteX5" fmla="*/ 528538 w 541547"/>
                        <a:gd name="connsiteY5" fmla="*/ 243619 h 384611"/>
                        <a:gd name="connsiteX6" fmla="*/ 518881 w 541547"/>
                        <a:gd name="connsiteY6" fmla="*/ 40661 h 384611"/>
                        <a:gd name="connsiteX7" fmla="*/ 427441 w 541547"/>
                        <a:gd name="connsiteY7" fmla="*/ 10181 h 384611"/>
                        <a:gd name="connsiteX0" fmla="*/ 400497 w 514603"/>
                        <a:gd name="connsiteY0" fmla="*/ 10183 h 384613"/>
                        <a:gd name="connsiteX1" fmla="*/ 11235 w 514603"/>
                        <a:gd name="connsiteY1" fmla="*/ 167975 h 384613"/>
                        <a:gd name="connsiteX2" fmla="*/ 120099 w 514603"/>
                        <a:gd name="connsiteY2" fmla="*/ 382686 h 384613"/>
                        <a:gd name="connsiteX3" fmla="*/ 276555 w 514603"/>
                        <a:gd name="connsiteY3" fmla="*/ 367490 h 384613"/>
                        <a:gd name="connsiteX4" fmla="*/ 501594 w 514603"/>
                        <a:gd name="connsiteY4" fmla="*/ 243621 h 384613"/>
                        <a:gd name="connsiteX5" fmla="*/ 491937 w 514603"/>
                        <a:gd name="connsiteY5" fmla="*/ 40663 h 384613"/>
                        <a:gd name="connsiteX6" fmla="*/ 400497 w 514603"/>
                        <a:gd name="connsiteY6" fmla="*/ 10183 h 384613"/>
                        <a:gd name="connsiteX0" fmla="*/ 400497 w 514603"/>
                        <a:gd name="connsiteY0" fmla="*/ 10183 h 383828"/>
                        <a:gd name="connsiteX1" fmla="*/ 11235 w 514603"/>
                        <a:gd name="connsiteY1" fmla="*/ 167975 h 383828"/>
                        <a:gd name="connsiteX2" fmla="*/ 120099 w 514603"/>
                        <a:gd name="connsiteY2" fmla="*/ 382686 h 383828"/>
                        <a:gd name="connsiteX3" fmla="*/ 501594 w 514603"/>
                        <a:gd name="connsiteY3" fmla="*/ 243621 h 383828"/>
                        <a:gd name="connsiteX4" fmla="*/ 491937 w 514603"/>
                        <a:gd name="connsiteY4" fmla="*/ 40663 h 383828"/>
                        <a:gd name="connsiteX5" fmla="*/ 400497 w 514603"/>
                        <a:gd name="connsiteY5" fmla="*/ 10183 h 383828"/>
                        <a:gd name="connsiteX0" fmla="*/ 400497 w 517116"/>
                        <a:gd name="connsiteY0" fmla="*/ 1010 h 374655"/>
                        <a:gd name="connsiteX1" fmla="*/ 11235 w 517116"/>
                        <a:gd name="connsiteY1" fmla="*/ 158802 h 374655"/>
                        <a:gd name="connsiteX2" fmla="*/ 120099 w 517116"/>
                        <a:gd name="connsiteY2" fmla="*/ 373513 h 374655"/>
                        <a:gd name="connsiteX3" fmla="*/ 501594 w 517116"/>
                        <a:gd name="connsiteY3" fmla="*/ 234448 h 374655"/>
                        <a:gd name="connsiteX4" fmla="*/ 400497 w 517116"/>
                        <a:gd name="connsiteY4" fmla="*/ 1010 h 374655"/>
                        <a:gd name="connsiteX0" fmla="*/ 400497 w 751271"/>
                        <a:gd name="connsiteY0" fmla="*/ 6 h 373651"/>
                        <a:gd name="connsiteX1" fmla="*/ 11235 w 751271"/>
                        <a:gd name="connsiteY1" fmla="*/ 157798 h 373651"/>
                        <a:gd name="connsiteX2" fmla="*/ 120099 w 751271"/>
                        <a:gd name="connsiteY2" fmla="*/ 372509 h 373651"/>
                        <a:gd name="connsiteX3" fmla="*/ 501594 w 751271"/>
                        <a:gd name="connsiteY3" fmla="*/ 233444 h 373651"/>
                        <a:gd name="connsiteX4" fmla="*/ 750272 w 751271"/>
                        <a:gd name="connsiteY4" fmla="*/ 161580 h 373651"/>
                        <a:gd name="connsiteX5" fmla="*/ 400497 w 751271"/>
                        <a:gd name="connsiteY5" fmla="*/ 6 h 373651"/>
                        <a:gd name="connsiteX0" fmla="*/ 400497 w 751271"/>
                        <a:gd name="connsiteY0" fmla="*/ 6 h 373651"/>
                        <a:gd name="connsiteX1" fmla="*/ 11235 w 751271"/>
                        <a:gd name="connsiteY1" fmla="*/ 157798 h 373651"/>
                        <a:gd name="connsiteX2" fmla="*/ 120099 w 751271"/>
                        <a:gd name="connsiteY2" fmla="*/ 372509 h 373651"/>
                        <a:gd name="connsiteX3" fmla="*/ 501594 w 751271"/>
                        <a:gd name="connsiteY3" fmla="*/ 233444 h 373651"/>
                        <a:gd name="connsiteX4" fmla="*/ 750272 w 751271"/>
                        <a:gd name="connsiteY4" fmla="*/ 161580 h 373651"/>
                        <a:gd name="connsiteX5" fmla="*/ 400497 w 751271"/>
                        <a:gd name="connsiteY5" fmla="*/ 6 h 373651"/>
                        <a:gd name="connsiteX0" fmla="*/ 400497 w 777678"/>
                        <a:gd name="connsiteY0" fmla="*/ 1412 h 375057"/>
                        <a:gd name="connsiteX1" fmla="*/ 11235 w 777678"/>
                        <a:gd name="connsiteY1" fmla="*/ 159204 h 375057"/>
                        <a:gd name="connsiteX2" fmla="*/ 120099 w 777678"/>
                        <a:gd name="connsiteY2" fmla="*/ 373915 h 375057"/>
                        <a:gd name="connsiteX3" fmla="*/ 501594 w 777678"/>
                        <a:gd name="connsiteY3" fmla="*/ 234850 h 375057"/>
                        <a:gd name="connsiteX4" fmla="*/ 776788 w 777678"/>
                        <a:gd name="connsiteY4" fmla="*/ 78055 h 375057"/>
                        <a:gd name="connsiteX5" fmla="*/ 400497 w 777678"/>
                        <a:gd name="connsiteY5" fmla="*/ 1412 h 375057"/>
                        <a:gd name="connsiteX0" fmla="*/ 400497 w 808515"/>
                        <a:gd name="connsiteY0" fmla="*/ 1412 h 375307"/>
                        <a:gd name="connsiteX1" fmla="*/ 11235 w 808515"/>
                        <a:gd name="connsiteY1" fmla="*/ 159204 h 375307"/>
                        <a:gd name="connsiteX2" fmla="*/ 120099 w 808515"/>
                        <a:gd name="connsiteY2" fmla="*/ 373915 h 375307"/>
                        <a:gd name="connsiteX3" fmla="*/ 774732 w 808515"/>
                        <a:gd name="connsiteY3" fmla="*/ 253777 h 375307"/>
                        <a:gd name="connsiteX4" fmla="*/ 776788 w 808515"/>
                        <a:gd name="connsiteY4" fmla="*/ 78055 h 375307"/>
                        <a:gd name="connsiteX5" fmla="*/ 400497 w 808515"/>
                        <a:gd name="connsiteY5" fmla="*/ 1412 h 375307"/>
                        <a:gd name="connsiteX0" fmla="*/ 414293 w 822311"/>
                        <a:gd name="connsiteY0" fmla="*/ 1412 h 475619"/>
                        <a:gd name="connsiteX1" fmla="*/ 25031 w 822311"/>
                        <a:gd name="connsiteY1" fmla="*/ 159204 h 475619"/>
                        <a:gd name="connsiteX2" fmla="*/ 66336 w 822311"/>
                        <a:gd name="connsiteY2" fmla="*/ 474979 h 475619"/>
                        <a:gd name="connsiteX3" fmla="*/ 788528 w 822311"/>
                        <a:gd name="connsiteY3" fmla="*/ 253777 h 475619"/>
                        <a:gd name="connsiteX4" fmla="*/ 790584 w 822311"/>
                        <a:gd name="connsiteY4" fmla="*/ 78055 h 475619"/>
                        <a:gd name="connsiteX5" fmla="*/ 414293 w 822311"/>
                        <a:gd name="connsiteY5" fmla="*/ 1412 h 475619"/>
                        <a:gd name="connsiteX0" fmla="*/ 414293 w 791258"/>
                        <a:gd name="connsiteY0" fmla="*/ 1412 h 475652"/>
                        <a:gd name="connsiteX1" fmla="*/ 25031 w 791258"/>
                        <a:gd name="connsiteY1" fmla="*/ 159204 h 475652"/>
                        <a:gd name="connsiteX2" fmla="*/ 66336 w 791258"/>
                        <a:gd name="connsiteY2" fmla="*/ 474979 h 475652"/>
                        <a:gd name="connsiteX3" fmla="*/ 437976 w 791258"/>
                        <a:gd name="connsiteY3" fmla="*/ 261831 h 475652"/>
                        <a:gd name="connsiteX4" fmla="*/ 790584 w 791258"/>
                        <a:gd name="connsiteY4" fmla="*/ 78055 h 475652"/>
                        <a:gd name="connsiteX5" fmla="*/ 414293 w 791258"/>
                        <a:gd name="connsiteY5" fmla="*/ 1412 h 475652"/>
                        <a:gd name="connsiteX0" fmla="*/ 414293 w 480010"/>
                        <a:gd name="connsiteY0" fmla="*/ 82 h 474317"/>
                        <a:gd name="connsiteX1" fmla="*/ 25031 w 480010"/>
                        <a:gd name="connsiteY1" fmla="*/ 157874 h 474317"/>
                        <a:gd name="connsiteX2" fmla="*/ 66336 w 480010"/>
                        <a:gd name="connsiteY2" fmla="*/ 473649 h 474317"/>
                        <a:gd name="connsiteX3" fmla="*/ 437976 w 480010"/>
                        <a:gd name="connsiteY3" fmla="*/ 260501 h 474317"/>
                        <a:gd name="connsiteX4" fmla="*/ 460454 w 480010"/>
                        <a:gd name="connsiteY4" fmla="*/ 134703 h 474317"/>
                        <a:gd name="connsiteX5" fmla="*/ 414293 w 480010"/>
                        <a:gd name="connsiteY5" fmla="*/ 82 h 474317"/>
                        <a:gd name="connsiteX0" fmla="*/ 460454 w 480010"/>
                        <a:gd name="connsiteY0" fmla="*/ 16074 h 355688"/>
                        <a:gd name="connsiteX1" fmla="*/ 25031 w 480010"/>
                        <a:gd name="connsiteY1" fmla="*/ 39245 h 355688"/>
                        <a:gd name="connsiteX2" fmla="*/ 66336 w 480010"/>
                        <a:gd name="connsiteY2" fmla="*/ 355020 h 355688"/>
                        <a:gd name="connsiteX3" fmla="*/ 437976 w 480010"/>
                        <a:gd name="connsiteY3" fmla="*/ 141872 h 355688"/>
                        <a:gd name="connsiteX4" fmla="*/ 460454 w 480010"/>
                        <a:gd name="connsiteY4" fmla="*/ 16074 h 3556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480010" h="355688">
                          <a:moveTo>
                            <a:pt x="460454" y="16074"/>
                          </a:moveTo>
                          <a:cubicBezTo>
                            <a:pt x="391630" y="-1030"/>
                            <a:pt x="90717" y="-17246"/>
                            <a:pt x="25031" y="39245"/>
                          </a:cubicBezTo>
                          <a:cubicBezTo>
                            <a:pt x="-32962" y="118173"/>
                            <a:pt x="22116" y="321768"/>
                            <a:pt x="66336" y="355020"/>
                          </a:cubicBezTo>
                          <a:cubicBezTo>
                            <a:pt x="148063" y="367628"/>
                            <a:pt x="376003" y="198876"/>
                            <a:pt x="437976" y="141872"/>
                          </a:cubicBezTo>
                          <a:cubicBezTo>
                            <a:pt x="503211" y="109246"/>
                            <a:pt x="477303" y="54980"/>
                            <a:pt x="460454" y="16074"/>
                          </a:cubicBezTo>
                          <a:close/>
                        </a:path>
                      </a:pathLst>
                    </a:custGeom>
                    <a:grpFill/>
                    <a:ln w="6350">
                      <a:noFill/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>
                        <a:defRPr/>
                      </a:pPr>
                      <a:endParaRPr lang="pt-BR" sz="900">
                        <a:solidFill>
                          <a:prstClr val="black"/>
                        </a:solidFill>
                      </a:endParaRPr>
                    </a:p>
                  </p:txBody>
                </p:sp>
              </p:grpSp>
              <p:sp>
                <p:nvSpPr>
                  <p:cNvPr id="974" name="DF"/>
                  <p:cNvSpPr/>
                  <p:nvPr/>
                </p:nvSpPr>
                <p:spPr bwMode="auto">
                  <a:xfrm>
                    <a:off x="7119195" y="3048000"/>
                    <a:ext cx="62655" cy="73687"/>
                  </a:xfrm>
                  <a:custGeom>
                    <a:avLst/>
                    <a:gdLst>
                      <a:gd name="connsiteX0" fmla="*/ 0 w 92922"/>
                      <a:gd name="connsiteY0" fmla="*/ 38626 h 77251"/>
                      <a:gd name="connsiteX1" fmla="*/ 46461 w 92922"/>
                      <a:gd name="connsiteY1" fmla="*/ 0 h 77251"/>
                      <a:gd name="connsiteX2" fmla="*/ 92922 w 92922"/>
                      <a:gd name="connsiteY2" fmla="*/ 38626 h 77251"/>
                      <a:gd name="connsiteX3" fmla="*/ 46461 w 92922"/>
                      <a:gd name="connsiteY3" fmla="*/ 77252 h 77251"/>
                      <a:gd name="connsiteX4" fmla="*/ 0 w 92922"/>
                      <a:gd name="connsiteY4" fmla="*/ 38626 h 77251"/>
                      <a:gd name="connsiteX0" fmla="*/ 2773 w 95695"/>
                      <a:gd name="connsiteY0" fmla="*/ 46630 h 85256"/>
                      <a:gd name="connsiteX1" fmla="*/ 10043 w 95695"/>
                      <a:gd name="connsiteY1" fmla="*/ 3241 h 85256"/>
                      <a:gd name="connsiteX2" fmla="*/ 49234 w 95695"/>
                      <a:gd name="connsiteY2" fmla="*/ 8004 h 85256"/>
                      <a:gd name="connsiteX3" fmla="*/ 95695 w 95695"/>
                      <a:gd name="connsiteY3" fmla="*/ 46630 h 85256"/>
                      <a:gd name="connsiteX4" fmla="*/ 49234 w 95695"/>
                      <a:gd name="connsiteY4" fmla="*/ 85256 h 85256"/>
                      <a:gd name="connsiteX5" fmla="*/ 2773 w 95695"/>
                      <a:gd name="connsiteY5" fmla="*/ 46630 h 85256"/>
                      <a:gd name="connsiteX0" fmla="*/ 2217 w 98314"/>
                      <a:gd name="connsiteY0" fmla="*/ 62505 h 85631"/>
                      <a:gd name="connsiteX1" fmla="*/ 12662 w 98314"/>
                      <a:gd name="connsiteY1" fmla="*/ 3241 h 85631"/>
                      <a:gd name="connsiteX2" fmla="*/ 51853 w 98314"/>
                      <a:gd name="connsiteY2" fmla="*/ 8004 h 85631"/>
                      <a:gd name="connsiteX3" fmla="*/ 98314 w 98314"/>
                      <a:gd name="connsiteY3" fmla="*/ 46630 h 85631"/>
                      <a:gd name="connsiteX4" fmla="*/ 51853 w 98314"/>
                      <a:gd name="connsiteY4" fmla="*/ 85256 h 85631"/>
                      <a:gd name="connsiteX5" fmla="*/ 2217 w 98314"/>
                      <a:gd name="connsiteY5" fmla="*/ 62505 h 85631"/>
                      <a:gd name="connsiteX0" fmla="*/ 2659 w 98756"/>
                      <a:gd name="connsiteY0" fmla="*/ 62505 h 69284"/>
                      <a:gd name="connsiteX1" fmla="*/ 13104 w 98756"/>
                      <a:gd name="connsiteY1" fmla="*/ 3241 h 69284"/>
                      <a:gd name="connsiteX2" fmla="*/ 52295 w 98756"/>
                      <a:gd name="connsiteY2" fmla="*/ 8004 h 69284"/>
                      <a:gd name="connsiteX3" fmla="*/ 98756 w 98756"/>
                      <a:gd name="connsiteY3" fmla="*/ 46630 h 69284"/>
                      <a:gd name="connsiteX4" fmla="*/ 58645 w 98756"/>
                      <a:gd name="connsiteY4" fmla="*/ 66206 h 69284"/>
                      <a:gd name="connsiteX5" fmla="*/ 2659 w 98756"/>
                      <a:gd name="connsiteY5" fmla="*/ 62505 h 69284"/>
                      <a:gd name="connsiteX0" fmla="*/ 2659 w 98756"/>
                      <a:gd name="connsiteY0" fmla="*/ 62150 h 69531"/>
                      <a:gd name="connsiteX1" fmla="*/ 13104 w 98756"/>
                      <a:gd name="connsiteY1" fmla="*/ 2886 h 69531"/>
                      <a:gd name="connsiteX2" fmla="*/ 52295 w 98756"/>
                      <a:gd name="connsiteY2" fmla="*/ 7649 h 69531"/>
                      <a:gd name="connsiteX3" fmla="*/ 98756 w 98756"/>
                      <a:gd name="connsiteY3" fmla="*/ 36750 h 69531"/>
                      <a:gd name="connsiteX4" fmla="*/ 58645 w 98756"/>
                      <a:gd name="connsiteY4" fmla="*/ 65851 h 69531"/>
                      <a:gd name="connsiteX5" fmla="*/ 2659 w 98756"/>
                      <a:gd name="connsiteY5" fmla="*/ 62150 h 69531"/>
                      <a:gd name="connsiteX0" fmla="*/ 2659 w 98756"/>
                      <a:gd name="connsiteY0" fmla="*/ 69247 h 76628"/>
                      <a:gd name="connsiteX1" fmla="*/ 13104 w 98756"/>
                      <a:gd name="connsiteY1" fmla="*/ 9983 h 76628"/>
                      <a:gd name="connsiteX2" fmla="*/ 58645 w 98756"/>
                      <a:gd name="connsiteY2" fmla="*/ 2046 h 76628"/>
                      <a:gd name="connsiteX3" fmla="*/ 98756 w 98756"/>
                      <a:gd name="connsiteY3" fmla="*/ 43847 h 76628"/>
                      <a:gd name="connsiteX4" fmla="*/ 58645 w 98756"/>
                      <a:gd name="connsiteY4" fmla="*/ 72948 h 76628"/>
                      <a:gd name="connsiteX5" fmla="*/ 2659 w 98756"/>
                      <a:gd name="connsiteY5" fmla="*/ 69247 h 76628"/>
                      <a:gd name="connsiteX0" fmla="*/ 12211 w 108308"/>
                      <a:gd name="connsiteY0" fmla="*/ 72519 h 80420"/>
                      <a:gd name="connsiteX1" fmla="*/ 3606 w 108308"/>
                      <a:gd name="connsiteY1" fmla="*/ 4803 h 80420"/>
                      <a:gd name="connsiteX2" fmla="*/ 68197 w 108308"/>
                      <a:gd name="connsiteY2" fmla="*/ 5318 h 80420"/>
                      <a:gd name="connsiteX3" fmla="*/ 108308 w 108308"/>
                      <a:gd name="connsiteY3" fmla="*/ 47119 h 80420"/>
                      <a:gd name="connsiteX4" fmla="*/ 68197 w 108308"/>
                      <a:gd name="connsiteY4" fmla="*/ 76220 h 80420"/>
                      <a:gd name="connsiteX5" fmla="*/ 12211 w 108308"/>
                      <a:gd name="connsiteY5" fmla="*/ 72519 h 80420"/>
                      <a:gd name="connsiteX0" fmla="*/ 2818 w 127490"/>
                      <a:gd name="connsiteY0" fmla="*/ 76745 h 83125"/>
                      <a:gd name="connsiteX1" fmla="*/ 22788 w 127490"/>
                      <a:gd name="connsiteY1" fmla="*/ 4803 h 83125"/>
                      <a:gd name="connsiteX2" fmla="*/ 87379 w 127490"/>
                      <a:gd name="connsiteY2" fmla="*/ 5318 h 83125"/>
                      <a:gd name="connsiteX3" fmla="*/ 127490 w 127490"/>
                      <a:gd name="connsiteY3" fmla="*/ 47119 h 83125"/>
                      <a:gd name="connsiteX4" fmla="*/ 87379 w 127490"/>
                      <a:gd name="connsiteY4" fmla="*/ 76220 h 83125"/>
                      <a:gd name="connsiteX5" fmla="*/ 2818 w 127490"/>
                      <a:gd name="connsiteY5" fmla="*/ 76745 h 83125"/>
                      <a:gd name="connsiteX0" fmla="*/ 4020 w 128692"/>
                      <a:gd name="connsiteY0" fmla="*/ 76745 h 85175"/>
                      <a:gd name="connsiteX1" fmla="*/ 23990 w 128692"/>
                      <a:gd name="connsiteY1" fmla="*/ 4803 h 85175"/>
                      <a:gd name="connsiteX2" fmla="*/ 88581 w 128692"/>
                      <a:gd name="connsiteY2" fmla="*/ 5318 h 85175"/>
                      <a:gd name="connsiteX3" fmla="*/ 128692 w 128692"/>
                      <a:gd name="connsiteY3" fmla="*/ 47119 h 85175"/>
                      <a:gd name="connsiteX4" fmla="*/ 107631 w 128692"/>
                      <a:gd name="connsiteY4" fmla="*/ 80446 h 85175"/>
                      <a:gd name="connsiteX5" fmla="*/ 4020 w 128692"/>
                      <a:gd name="connsiteY5" fmla="*/ 76745 h 85175"/>
                      <a:gd name="connsiteX0" fmla="*/ 311 w 124983"/>
                      <a:gd name="connsiteY0" fmla="*/ 114981 h 126242"/>
                      <a:gd name="connsiteX1" fmla="*/ 71081 w 124983"/>
                      <a:gd name="connsiteY1" fmla="*/ 780 h 126242"/>
                      <a:gd name="connsiteX2" fmla="*/ 84872 w 124983"/>
                      <a:gd name="connsiteY2" fmla="*/ 43554 h 126242"/>
                      <a:gd name="connsiteX3" fmla="*/ 124983 w 124983"/>
                      <a:gd name="connsiteY3" fmla="*/ 85355 h 126242"/>
                      <a:gd name="connsiteX4" fmla="*/ 103922 w 124983"/>
                      <a:gd name="connsiteY4" fmla="*/ 118682 h 126242"/>
                      <a:gd name="connsiteX5" fmla="*/ 311 w 124983"/>
                      <a:gd name="connsiteY5" fmla="*/ 114981 h 126242"/>
                      <a:gd name="connsiteX0" fmla="*/ 3123 w 127795"/>
                      <a:gd name="connsiteY0" fmla="*/ 136754 h 149197"/>
                      <a:gd name="connsiteX1" fmla="*/ 31136 w 127795"/>
                      <a:gd name="connsiteY1" fmla="*/ 5728 h 149197"/>
                      <a:gd name="connsiteX2" fmla="*/ 73893 w 127795"/>
                      <a:gd name="connsiteY2" fmla="*/ 22553 h 149197"/>
                      <a:gd name="connsiteX3" fmla="*/ 87684 w 127795"/>
                      <a:gd name="connsiteY3" fmla="*/ 65327 h 149197"/>
                      <a:gd name="connsiteX4" fmla="*/ 127795 w 127795"/>
                      <a:gd name="connsiteY4" fmla="*/ 107128 h 149197"/>
                      <a:gd name="connsiteX5" fmla="*/ 106734 w 127795"/>
                      <a:gd name="connsiteY5" fmla="*/ 140455 h 149197"/>
                      <a:gd name="connsiteX6" fmla="*/ 3123 w 127795"/>
                      <a:gd name="connsiteY6" fmla="*/ 136754 h 149197"/>
                      <a:gd name="connsiteX0" fmla="*/ 9048 w 133720"/>
                      <a:gd name="connsiteY0" fmla="*/ 185654 h 201733"/>
                      <a:gd name="connsiteX1" fmla="*/ 8486 w 133720"/>
                      <a:gd name="connsiteY1" fmla="*/ 3916 h 201733"/>
                      <a:gd name="connsiteX2" fmla="*/ 37061 w 133720"/>
                      <a:gd name="connsiteY2" fmla="*/ 54628 h 201733"/>
                      <a:gd name="connsiteX3" fmla="*/ 79818 w 133720"/>
                      <a:gd name="connsiteY3" fmla="*/ 71453 h 201733"/>
                      <a:gd name="connsiteX4" fmla="*/ 93609 w 133720"/>
                      <a:gd name="connsiteY4" fmla="*/ 114227 h 201733"/>
                      <a:gd name="connsiteX5" fmla="*/ 133720 w 133720"/>
                      <a:gd name="connsiteY5" fmla="*/ 156028 h 201733"/>
                      <a:gd name="connsiteX6" fmla="*/ 112659 w 133720"/>
                      <a:gd name="connsiteY6" fmla="*/ 189355 h 201733"/>
                      <a:gd name="connsiteX7" fmla="*/ 9048 w 133720"/>
                      <a:gd name="connsiteY7" fmla="*/ 185654 h 201733"/>
                      <a:gd name="connsiteX0" fmla="*/ 9048 w 133720"/>
                      <a:gd name="connsiteY0" fmla="*/ 192718 h 208797"/>
                      <a:gd name="connsiteX1" fmla="*/ 8486 w 133720"/>
                      <a:gd name="connsiteY1" fmla="*/ 10980 h 208797"/>
                      <a:gd name="connsiteX2" fmla="*/ 37061 w 133720"/>
                      <a:gd name="connsiteY2" fmla="*/ 19432 h 208797"/>
                      <a:gd name="connsiteX3" fmla="*/ 37061 w 133720"/>
                      <a:gd name="connsiteY3" fmla="*/ 61692 h 208797"/>
                      <a:gd name="connsiteX4" fmla="*/ 79818 w 133720"/>
                      <a:gd name="connsiteY4" fmla="*/ 78517 h 208797"/>
                      <a:gd name="connsiteX5" fmla="*/ 93609 w 133720"/>
                      <a:gd name="connsiteY5" fmla="*/ 121291 h 208797"/>
                      <a:gd name="connsiteX6" fmla="*/ 133720 w 133720"/>
                      <a:gd name="connsiteY6" fmla="*/ 163092 h 208797"/>
                      <a:gd name="connsiteX7" fmla="*/ 112659 w 133720"/>
                      <a:gd name="connsiteY7" fmla="*/ 196419 h 208797"/>
                      <a:gd name="connsiteX8" fmla="*/ 9048 w 133720"/>
                      <a:gd name="connsiteY8" fmla="*/ 192718 h 208797"/>
                      <a:gd name="connsiteX0" fmla="*/ 33011 w 125933"/>
                      <a:gd name="connsiteY0" fmla="*/ 142007 h 196916"/>
                      <a:gd name="connsiteX1" fmla="*/ 699 w 125933"/>
                      <a:gd name="connsiteY1" fmla="*/ 10980 h 196916"/>
                      <a:gd name="connsiteX2" fmla="*/ 29274 w 125933"/>
                      <a:gd name="connsiteY2" fmla="*/ 19432 h 196916"/>
                      <a:gd name="connsiteX3" fmla="*/ 29274 w 125933"/>
                      <a:gd name="connsiteY3" fmla="*/ 61692 h 196916"/>
                      <a:gd name="connsiteX4" fmla="*/ 72031 w 125933"/>
                      <a:gd name="connsiteY4" fmla="*/ 78517 h 196916"/>
                      <a:gd name="connsiteX5" fmla="*/ 85822 w 125933"/>
                      <a:gd name="connsiteY5" fmla="*/ 121291 h 196916"/>
                      <a:gd name="connsiteX6" fmla="*/ 125933 w 125933"/>
                      <a:gd name="connsiteY6" fmla="*/ 163092 h 196916"/>
                      <a:gd name="connsiteX7" fmla="*/ 104872 w 125933"/>
                      <a:gd name="connsiteY7" fmla="*/ 196419 h 196916"/>
                      <a:gd name="connsiteX8" fmla="*/ 33011 w 125933"/>
                      <a:gd name="connsiteY8" fmla="*/ 142007 h 196916"/>
                      <a:gd name="connsiteX0" fmla="*/ 49204 w 142126"/>
                      <a:gd name="connsiteY0" fmla="*/ 142007 h 196916"/>
                      <a:gd name="connsiteX1" fmla="*/ 1017 w 142126"/>
                      <a:gd name="connsiteY1" fmla="*/ 61692 h 196916"/>
                      <a:gd name="connsiteX2" fmla="*/ 16892 w 142126"/>
                      <a:gd name="connsiteY2" fmla="*/ 10980 h 196916"/>
                      <a:gd name="connsiteX3" fmla="*/ 45467 w 142126"/>
                      <a:gd name="connsiteY3" fmla="*/ 19432 h 196916"/>
                      <a:gd name="connsiteX4" fmla="*/ 45467 w 142126"/>
                      <a:gd name="connsiteY4" fmla="*/ 61692 h 196916"/>
                      <a:gd name="connsiteX5" fmla="*/ 88224 w 142126"/>
                      <a:gd name="connsiteY5" fmla="*/ 78517 h 196916"/>
                      <a:gd name="connsiteX6" fmla="*/ 102015 w 142126"/>
                      <a:gd name="connsiteY6" fmla="*/ 121291 h 196916"/>
                      <a:gd name="connsiteX7" fmla="*/ 142126 w 142126"/>
                      <a:gd name="connsiteY7" fmla="*/ 163092 h 196916"/>
                      <a:gd name="connsiteX8" fmla="*/ 121065 w 142126"/>
                      <a:gd name="connsiteY8" fmla="*/ 196419 h 196916"/>
                      <a:gd name="connsiteX9" fmla="*/ 49204 w 142126"/>
                      <a:gd name="connsiteY9" fmla="*/ 142007 h 196916"/>
                      <a:gd name="connsiteX0" fmla="*/ 49204 w 142126"/>
                      <a:gd name="connsiteY0" fmla="*/ 142007 h 173263"/>
                      <a:gd name="connsiteX1" fmla="*/ 1017 w 142126"/>
                      <a:gd name="connsiteY1" fmla="*/ 61692 h 173263"/>
                      <a:gd name="connsiteX2" fmla="*/ 16892 w 142126"/>
                      <a:gd name="connsiteY2" fmla="*/ 10980 h 173263"/>
                      <a:gd name="connsiteX3" fmla="*/ 45467 w 142126"/>
                      <a:gd name="connsiteY3" fmla="*/ 19432 h 173263"/>
                      <a:gd name="connsiteX4" fmla="*/ 45467 w 142126"/>
                      <a:gd name="connsiteY4" fmla="*/ 61692 h 173263"/>
                      <a:gd name="connsiteX5" fmla="*/ 88224 w 142126"/>
                      <a:gd name="connsiteY5" fmla="*/ 78517 h 173263"/>
                      <a:gd name="connsiteX6" fmla="*/ 102015 w 142126"/>
                      <a:gd name="connsiteY6" fmla="*/ 121291 h 173263"/>
                      <a:gd name="connsiteX7" fmla="*/ 142126 w 142126"/>
                      <a:gd name="connsiteY7" fmla="*/ 163092 h 173263"/>
                      <a:gd name="connsiteX8" fmla="*/ 79790 w 142126"/>
                      <a:gd name="connsiteY8" fmla="*/ 162612 h 173263"/>
                      <a:gd name="connsiteX9" fmla="*/ 49204 w 142126"/>
                      <a:gd name="connsiteY9" fmla="*/ 142007 h 17326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45467 w 110376"/>
                      <a:gd name="connsiteY4" fmla="*/ 61692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10376"/>
                      <a:gd name="connsiteY0" fmla="*/ 142007 h 162833"/>
                      <a:gd name="connsiteX1" fmla="*/ 1017 w 110376"/>
                      <a:gd name="connsiteY1" fmla="*/ 61692 h 162833"/>
                      <a:gd name="connsiteX2" fmla="*/ 16892 w 110376"/>
                      <a:gd name="connsiteY2" fmla="*/ 10980 h 162833"/>
                      <a:gd name="connsiteX3" fmla="*/ 45467 w 110376"/>
                      <a:gd name="connsiteY3" fmla="*/ 19432 h 162833"/>
                      <a:gd name="connsiteX4" fmla="*/ 62136 w 110376"/>
                      <a:gd name="connsiteY4" fmla="*/ 49014 h 162833"/>
                      <a:gd name="connsiteX5" fmla="*/ 88224 w 110376"/>
                      <a:gd name="connsiteY5" fmla="*/ 78517 h 162833"/>
                      <a:gd name="connsiteX6" fmla="*/ 102015 w 110376"/>
                      <a:gd name="connsiteY6" fmla="*/ 121291 h 162833"/>
                      <a:gd name="connsiteX7" fmla="*/ 110376 w 110376"/>
                      <a:gd name="connsiteY7" fmla="*/ 133510 h 162833"/>
                      <a:gd name="connsiteX8" fmla="*/ 79790 w 110376"/>
                      <a:gd name="connsiteY8" fmla="*/ 162612 h 162833"/>
                      <a:gd name="connsiteX9" fmla="*/ 49204 w 110376"/>
                      <a:gd name="connsiteY9" fmla="*/ 142007 h 162833"/>
                      <a:gd name="connsiteX0" fmla="*/ 49204 w 105613"/>
                      <a:gd name="connsiteY0" fmla="*/ 142007 h 164051"/>
                      <a:gd name="connsiteX1" fmla="*/ 1017 w 105613"/>
                      <a:gd name="connsiteY1" fmla="*/ 61692 h 164051"/>
                      <a:gd name="connsiteX2" fmla="*/ 16892 w 105613"/>
                      <a:gd name="connsiteY2" fmla="*/ 10980 h 164051"/>
                      <a:gd name="connsiteX3" fmla="*/ 45467 w 105613"/>
                      <a:gd name="connsiteY3" fmla="*/ 19432 h 164051"/>
                      <a:gd name="connsiteX4" fmla="*/ 62136 w 105613"/>
                      <a:gd name="connsiteY4" fmla="*/ 49014 h 164051"/>
                      <a:gd name="connsiteX5" fmla="*/ 88224 w 105613"/>
                      <a:gd name="connsiteY5" fmla="*/ 78517 h 164051"/>
                      <a:gd name="connsiteX6" fmla="*/ 102015 w 105613"/>
                      <a:gd name="connsiteY6" fmla="*/ 121291 h 164051"/>
                      <a:gd name="connsiteX7" fmla="*/ 105613 w 105613"/>
                      <a:gd name="connsiteY7" fmla="*/ 111323 h 164051"/>
                      <a:gd name="connsiteX8" fmla="*/ 79790 w 105613"/>
                      <a:gd name="connsiteY8" fmla="*/ 162612 h 164051"/>
                      <a:gd name="connsiteX9" fmla="*/ 49204 w 105613"/>
                      <a:gd name="connsiteY9" fmla="*/ 142007 h 164051"/>
                      <a:gd name="connsiteX0" fmla="*/ 49204 w 105613"/>
                      <a:gd name="connsiteY0" fmla="*/ 142007 h 149974"/>
                      <a:gd name="connsiteX1" fmla="*/ 1017 w 105613"/>
                      <a:gd name="connsiteY1" fmla="*/ 61692 h 149974"/>
                      <a:gd name="connsiteX2" fmla="*/ 16892 w 105613"/>
                      <a:gd name="connsiteY2" fmla="*/ 10980 h 149974"/>
                      <a:gd name="connsiteX3" fmla="*/ 45467 w 105613"/>
                      <a:gd name="connsiteY3" fmla="*/ 19432 h 149974"/>
                      <a:gd name="connsiteX4" fmla="*/ 62136 w 105613"/>
                      <a:gd name="connsiteY4" fmla="*/ 49014 h 149974"/>
                      <a:gd name="connsiteX5" fmla="*/ 88224 w 105613"/>
                      <a:gd name="connsiteY5" fmla="*/ 78517 h 149974"/>
                      <a:gd name="connsiteX6" fmla="*/ 102015 w 105613"/>
                      <a:gd name="connsiteY6" fmla="*/ 121291 h 149974"/>
                      <a:gd name="connsiteX7" fmla="*/ 105613 w 105613"/>
                      <a:gd name="connsiteY7" fmla="*/ 111323 h 149974"/>
                      <a:gd name="connsiteX8" fmla="*/ 89315 w 105613"/>
                      <a:gd name="connsiteY8" fmla="*/ 143596 h 149974"/>
                      <a:gd name="connsiteX9" fmla="*/ 49204 w 105613"/>
                      <a:gd name="connsiteY9" fmla="*/ 142007 h 149974"/>
                      <a:gd name="connsiteX0" fmla="*/ 53967 w 105613"/>
                      <a:gd name="connsiteY0" fmla="*/ 122990 h 143862"/>
                      <a:gd name="connsiteX1" fmla="*/ 1017 w 105613"/>
                      <a:gd name="connsiteY1" fmla="*/ 61692 h 143862"/>
                      <a:gd name="connsiteX2" fmla="*/ 16892 w 105613"/>
                      <a:gd name="connsiteY2" fmla="*/ 10980 h 143862"/>
                      <a:gd name="connsiteX3" fmla="*/ 45467 w 105613"/>
                      <a:gd name="connsiteY3" fmla="*/ 19432 h 143862"/>
                      <a:gd name="connsiteX4" fmla="*/ 62136 w 105613"/>
                      <a:gd name="connsiteY4" fmla="*/ 49014 h 143862"/>
                      <a:gd name="connsiteX5" fmla="*/ 88224 w 105613"/>
                      <a:gd name="connsiteY5" fmla="*/ 78517 h 143862"/>
                      <a:gd name="connsiteX6" fmla="*/ 102015 w 105613"/>
                      <a:gd name="connsiteY6" fmla="*/ 121291 h 143862"/>
                      <a:gd name="connsiteX7" fmla="*/ 105613 w 105613"/>
                      <a:gd name="connsiteY7" fmla="*/ 111323 h 143862"/>
                      <a:gd name="connsiteX8" fmla="*/ 89315 w 105613"/>
                      <a:gd name="connsiteY8" fmla="*/ 143596 h 143862"/>
                      <a:gd name="connsiteX9" fmla="*/ 53967 w 105613"/>
                      <a:gd name="connsiteY9" fmla="*/ 122990 h 143862"/>
                      <a:gd name="connsiteX0" fmla="*/ 40087 w 91733"/>
                      <a:gd name="connsiteY0" fmla="*/ 122990 h 143903"/>
                      <a:gd name="connsiteX1" fmla="*/ 3806 w 91733"/>
                      <a:gd name="connsiteY1" fmla="*/ 52185 h 143903"/>
                      <a:gd name="connsiteX2" fmla="*/ 3012 w 91733"/>
                      <a:gd name="connsiteY2" fmla="*/ 10980 h 143903"/>
                      <a:gd name="connsiteX3" fmla="*/ 31587 w 91733"/>
                      <a:gd name="connsiteY3" fmla="*/ 19432 h 143903"/>
                      <a:gd name="connsiteX4" fmla="*/ 48256 w 91733"/>
                      <a:gd name="connsiteY4" fmla="*/ 49014 h 143903"/>
                      <a:gd name="connsiteX5" fmla="*/ 74344 w 91733"/>
                      <a:gd name="connsiteY5" fmla="*/ 78517 h 143903"/>
                      <a:gd name="connsiteX6" fmla="*/ 88135 w 91733"/>
                      <a:gd name="connsiteY6" fmla="*/ 121291 h 143903"/>
                      <a:gd name="connsiteX7" fmla="*/ 91733 w 91733"/>
                      <a:gd name="connsiteY7" fmla="*/ 111323 h 143903"/>
                      <a:gd name="connsiteX8" fmla="*/ 75435 w 91733"/>
                      <a:gd name="connsiteY8" fmla="*/ 143596 h 143903"/>
                      <a:gd name="connsiteX9" fmla="*/ 40087 w 91733"/>
                      <a:gd name="connsiteY9" fmla="*/ 122990 h 143903"/>
                      <a:gd name="connsiteX0" fmla="*/ 44850 w 91733"/>
                      <a:gd name="connsiteY0" fmla="*/ 110312 h 143597"/>
                      <a:gd name="connsiteX1" fmla="*/ 3806 w 91733"/>
                      <a:gd name="connsiteY1" fmla="*/ 52185 h 143597"/>
                      <a:gd name="connsiteX2" fmla="*/ 3012 w 91733"/>
                      <a:gd name="connsiteY2" fmla="*/ 10980 h 143597"/>
                      <a:gd name="connsiteX3" fmla="*/ 31587 w 91733"/>
                      <a:gd name="connsiteY3" fmla="*/ 19432 h 143597"/>
                      <a:gd name="connsiteX4" fmla="*/ 48256 w 91733"/>
                      <a:gd name="connsiteY4" fmla="*/ 49014 h 143597"/>
                      <a:gd name="connsiteX5" fmla="*/ 74344 w 91733"/>
                      <a:gd name="connsiteY5" fmla="*/ 78517 h 143597"/>
                      <a:gd name="connsiteX6" fmla="*/ 88135 w 91733"/>
                      <a:gd name="connsiteY6" fmla="*/ 121291 h 143597"/>
                      <a:gd name="connsiteX7" fmla="*/ 91733 w 91733"/>
                      <a:gd name="connsiteY7" fmla="*/ 111323 h 143597"/>
                      <a:gd name="connsiteX8" fmla="*/ 75435 w 91733"/>
                      <a:gd name="connsiteY8" fmla="*/ 143596 h 143597"/>
                      <a:gd name="connsiteX9" fmla="*/ 44850 w 91733"/>
                      <a:gd name="connsiteY9" fmla="*/ 110312 h 14359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91733" h="143597">
                        <a:moveTo>
                          <a:pt x="44850" y="110312"/>
                        </a:moveTo>
                        <a:cubicBezTo>
                          <a:pt x="32912" y="95077"/>
                          <a:pt x="9191" y="74023"/>
                          <a:pt x="3806" y="52185"/>
                        </a:cubicBezTo>
                        <a:cubicBezTo>
                          <a:pt x="-1579" y="30347"/>
                          <a:pt x="-692" y="22249"/>
                          <a:pt x="3012" y="10980"/>
                        </a:cubicBezTo>
                        <a:cubicBezTo>
                          <a:pt x="6093" y="-14379"/>
                          <a:pt x="26824" y="10980"/>
                          <a:pt x="31587" y="19432"/>
                        </a:cubicBezTo>
                        <a:cubicBezTo>
                          <a:pt x="36350" y="27884"/>
                          <a:pt x="39542" y="42688"/>
                          <a:pt x="48256" y="49014"/>
                        </a:cubicBezTo>
                        <a:cubicBezTo>
                          <a:pt x="56970" y="55340"/>
                          <a:pt x="66507" y="77036"/>
                          <a:pt x="74344" y="78517"/>
                        </a:cubicBezTo>
                        <a:cubicBezTo>
                          <a:pt x="82181" y="79998"/>
                          <a:pt x="85237" y="115823"/>
                          <a:pt x="88135" y="121291"/>
                        </a:cubicBezTo>
                        <a:cubicBezTo>
                          <a:pt x="91033" y="126759"/>
                          <a:pt x="91733" y="89990"/>
                          <a:pt x="91733" y="111323"/>
                        </a:cubicBezTo>
                        <a:cubicBezTo>
                          <a:pt x="91733" y="132656"/>
                          <a:pt x="83249" y="143764"/>
                          <a:pt x="75435" y="143596"/>
                        </a:cubicBezTo>
                        <a:cubicBezTo>
                          <a:pt x="67621" y="143428"/>
                          <a:pt x="56788" y="125547"/>
                          <a:pt x="44850" y="110312"/>
                        </a:cubicBezTo>
                        <a:close/>
                      </a:path>
                    </a:pathLst>
                  </a:custGeom>
                  <a:grpFill/>
                  <a:ln w="6350">
                    <a:noFill/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900">
                      <a:solidFill>
                        <a:prstClr val="black"/>
                      </a:solidFill>
                    </a:endParaRPr>
                  </a:p>
                </p:txBody>
              </p:sp>
            </p:grpSp>
          </p:grpSp>
        </p:grpSp>
        <p:sp>
          <p:nvSpPr>
            <p:cNvPr id="963" name="Forma livre 351"/>
            <p:cNvSpPr/>
            <p:nvPr/>
          </p:nvSpPr>
          <p:spPr>
            <a:xfrm>
              <a:off x="4849906" y="2223247"/>
              <a:ext cx="609934" cy="1146413"/>
            </a:xfrm>
            <a:custGeom>
              <a:avLst/>
              <a:gdLst>
                <a:gd name="connsiteX0" fmla="*/ 125506 w 609934"/>
                <a:gd name="connsiteY0" fmla="*/ 1138518 h 1138518"/>
                <a:gd name="connsiteX1" fmla="*/ 89647 w 609934"/>
                <a:gd name="connsiteY1" fmla="*/ 1093694 h 1138518"/>
                <a:gd name="connsiteX2" fmla="*/ 53788 w 609934"/>
                <a:gd name="connsiteY2" fmla="*/ 1039906 h 1138518"/>
                <a:gd name="connsiteX3" fmla="*/ 44823 w 609934"/>
                <a:gd name="connsiteY3" fmla="*/ 1004047 h 1138518"/>
                <a:gd name="connsiteX4" fmla="*/ 17929 w 609934"/>
                <a:gd name="connsiteY4" fmla="*/ 923365 h 1138518"/>
                <a:gd name="connsiteX5" fmla="*/ 8965 w 609934"/>
                <a:gd name="connsiteY5" fmla="*/ 896471 h 1138518"/>
                <a:gd name="connsiteX6" fmla="*/ 0 w 609934"/>
                <a:gd name="connsiteY6" fmla="*/ 869577 h 1138518"/>
                <a:gd name="connsiteX7" fmla="*/ 8965 w 609934"/>
                <a:gd name="connsiteY7" fmla="*/ 717177 h 1138518"/>
                <a:gd name="connsiteX8" fmla="*/ 26894 w 609934"/>
                <a:gd name="connsiteY8" fmla="*/ 663388 h 1138518"/>
                <a:gd name="connsiteX9" fmla="*/ 35859 w 609934"/>
                <a:gd name="connsiteY9" fmla="*/ 636494 h 1138518"/>
                <a:gd name="connsiteX10" fmla="*/ 53788 w 609934"/>
                <a:gd name="connsiteY10" fmla="*/ 609600 h 1138518"/>
                <a:gd name="connsiteX11" fmla="*/ 89647 w 609934"/>
                <a:gd name="connsiteY11" fmla="*/ 537882 h 1138518"/>
                <a:gd name="connsiteX12" fmla="*/ 107576 w 609934"/>
                <a:gd name="connsiteY12" fmla="*/ 385482 h 1138518"/>
                <a:gd name="connsiteX13" fmla="*/ 116541 w 609934"/>
                <a:gd name="connsiteY13" fmla="*/ 322729 h 1138518"/>
                <a:gd name="connsiteX14" fmla="*/ 116541 w 609934"/>
                <a:gd name="connsiteY14" fmla="*/ 89647 h 1138518"/>
                <a:gd name="connsiteX15" fmla="*/ 125506 w 609934"/>
                <a:gd name="connsiteY15" fmla="*/ 62753 h 1138518"/>
                <a:gd name="connsiteX16" fmla="*/ 179294 w 609934"/>
                <a:gd name="connsiteY16" fmla="*/ 17929 h 1138518"/>
                <a:gd name="connsiteX17" fmla="*/ 233082 w 609934"/>
                <a:gd name="connsiteY17" fmla="*/ 0 h 1138518"/>
                <a:gd name="connsiteX18" fmla="*/ 430306 w 609934"/>
                <a:gd name="connsiteY18" fmla="*/ 8965 h 1138518"/>
                <a:gd name="connsiteX19" fmla="*/ 457200 w 609934"/>
                <a:gd name="connsiteY19" fmla="*/ 44824 h 1138518"/>
                <a:gd name="connsiteX20" fmla="*/ 475129 w 609934"/>
                <a:gd name="connsiteY20" fmla="*/ 71718 h 1138518"/>
                <a:gd name="connsiteX21" fmla="*/ 528918 w 609934"/>
                <a:gd name="connsiteY21" fmla="*/ 134471 h 1138518"/>
                <a:gd name="connsiteX22" fmla="*/ 564776 w 609934"/>
                <a:gd name="connsiteY22" fmla="*/ 215153 h 1138518"/>
                <a:gd name="connsiteX23" fmla="*/ 573741 w 609934"/>
                <a:gd name="connsiteY23" fmla="*/ 251012 h 1138518"/>
                <a:gd name="connsiteX24" fmla="*/ 591670 w 609934"/>
                <a:gd name="connsiteY24" fmla="*/ 358588 h 1138518"/>
                <a:gd name="connsiteX25" fmla="*/ 600635 w 609934"/>
                <a:gd name="connsiteY25" fmla="*/ 546847 h 1138518"/>
                <a:gd name="connsiteX26" fmla="*/ 609600 w 609934"/>
                <a:gd name="connsiteY26" fmla="*/ 609600 h 1138518"/>
                <a:gd name="connsiteX27" fmla="*/ 591670 w 609934"/>
                <a:gd name="connsiteY27" fmla="*/ 779929 h 1138518"/>
                <a:gd name="connsiteX28" fmla="*/ 573741 w 609934"/>
                <a:gd name="connsiteY28" fmla="*/ 842682 h 1138518"/>
                <a:gd name="connsiteX29" fmla="*/ 555812 w 609934"/>
                <a:gd name="connsiteY29" fmla="*/ 860612 h 1138518"/>
                <a:gd name="connsiteX30" fmla="*/ 528918 w 609934"/>
                <a:gd name="connsiteY30" fmla="*/ 923365 h 1138518"/>
                <a:gd name="connsiteX31" fmla="*/ 519953 w 609934"/>
                <a:gd name="connsiteY31" fmla="*/ 950259 h 1138518"/>
                <a:gd name="connsiteX32" fmla="*/ 502023 w 609934"/>
                <a:gd name="connsiteY32" fmla="*/ 968188 h 1138518"/>
                <a:gd name="connsiteX33" fmla="*/ 448235 w 609934"/>
                <a:gd name="connsiteY33" fmla="*/ 1030941 h 1138518"/>
                <a:gd name="connsiteX34" fmla="*/ 412376 w 609934"/>
                <a:gd name="connsiteY34" fmla="*/ 1066800 h 1138518"/>
                <a:gd name="connsiteX35" fmla="*/ 385482 w 609934"/>
                <a:gd name="connsiteY35" fmla="*/ 1084729 h 1138518"/>
                <a:gd name="connsiteX36" fmla="*/ 322729 w 609934"/>
                <a:gd name="connsiteY36" fmla="*/ 1129553 h 1138518"/>
                <a:gd name="connsiteX37" fmla="*/ 161365 w 609934"/>
                <a:gd name="connsiteY37" fmla="*/ 1120588 h 1138518"/>
                <a:gd name="connsiteX38" fmla="*/ 134470 w 609934"/>
                <a:gd name="connsiteY38" fmla="*/ 1111624 h 1138518"/>
                <a:gd name="connsiteX39" fmla="*/ 89647 w 609934"/>
                <a:gd name="connsiteY39" fmla="*/ 1066800 h 1138518"/>
                <a:gd name="connsiteX0" fmla="*/ 125506 w 609934"/>
                <a:gd name="connsiteY0" fmla="*/ 1138518 h 1138518"/>
                <a:gd name="connsiteX1" fmla="*/ 89647 w 609934"/>
                <a:gd name="connsiteY1" fmla="*/ 1093694 h 1138518"/>
                <a:gd name="connsiteX2" fmla="*/ 53788 w 609934"/>
                <a:gd name="connsiteY2" fmla="*/ 1039906 h 1138518"/>
                <a:gd name="connsiteX3" fmla="*/ 44823 w 609934"/>
                <a:gd name="connsiteY3" fmla="*/ 1004047 h 1138518"/>
                <a:gd name="connsiteX4" fmla="*/ 17929 w 609934"/>
                <a:gd name="connsiteY4" fmla="*/ 923365 h 1138518"/>
                <a:gd name="connsiteX5" fmla="*/ 8965 w 609934"/>
                <a:gd name="connsiteY5" fmla="*/ 896471 h 1138518"/>
                <a:gd name="connsiteX6" fmla="*/ 0 w 609934"/>
                <a:gd name="connsiteY6" fmla="*/ 869577 h 1138518"/>
                <a:gd name="connsiteX7" fmla="*/ 8965 w 609934"/>
                <a:gd name="connsiteY7" fmla="*/ 717177 h 1138518"/>
                <a:gd name="connsiteX8" fmla="*/ 26894 w 609934"/>
                <a:gd name="connsiteY8" fmla="*/ 663388 h 1138518"/>
                <a:gd name="connsiteX9" fmla="*/ 35859 w 609934"/>
                <a:gd name="connsiteY9" fmla="*/ 636494 h 1138518"/>
                <a:gd name="connsiteX10" fmla="*/ 53788 w 609934"/>
                <a:gd name="connsiteY10" fmla="*/ 609600 h 1138518"/>
                <a:gd name="connsiteX11" fmla="*/ 89647 w 609934"/>
                <a:gd name="connsiteY11" fmla="*/ 537882 h 1138518"/>
                <a:gd name="connsiteX12" fmla="*/ 107576 w 609934"/>
                <a:gd name="connsiteY12" fmla="*/ 385482 h 1138518"/>
                <a:gd name="connsiteX13" fmla="*/ 116541 w 609934"/>
                <a:gd name="connsiteY13" fmla="*/ 322729 h 1138518"/>
                <a:gd name="connsiteX14" fmla="*/ 116541 w 609934"/>
                <a:gd name="connsiteY14" fmla="*/ 89647 h 1138518"/>
                <a:gd name="connsiteX15" fmla="*/ 125506 w 609934"/>
                <a:gd name="connsiteY15" fmla="*/ 62753 h 1138518"/>
                <a:gd name="connsiteX16" fmla="*/ 179294 w 609934"/>
                <a:gd name="connsiteY16" fmla="*/ 17929 h 1138518"/>
                <a:gd name="connsiteX17" fmla="*/ 233082 w 609934"/>
                <a:gd name="connsiteY17" fmla="*/ 0 h 1138518"/>
                <a:gd name="connsiteX18" fmla="*/ 430306 w 609934"/>
                <a:gd name="connsiteY18" fmla="*/ 8965 h 1138518"/>
                <a:gd name="connsiteX19" fmla="*/ 457200 w 609934"/>
                <a:gd name="connsiteY19" fmla="*/ 44824 h 1138518"/>
                <a:gd name="connsiteX20" fmla="*/ 475129 w 609934"/>
                <a:gd name="connsiteY20" fmla="*/ 71718 h 1138518"/>
                <a:gd name="connsiteX21" fmla="*/ 528918 w 609934"/>
                <a:gd name="connsiteY21" fmla="*/ 134471 h 1138518"/>
                <a:gd name="connsiteX22" fmla="*/ 564776 w 609934"/>
                <a:gd name="connsiteY22" fmla="*/ 215153 h 1138518"/>
                <a:gd name="connsiteX23" fmla="*/ 573741 w 609934"/>
                <a:gd name="connsiteY23" fmla="*/ 251012 h 1138518"/>
                <a:gd name="connsiteX24" fmla="*/ 591670 w 609934"/>
                <a:gd name="connsiteY24" fmla="*/ 358588 h 1138518"/>
                <a:gd name="connsiteX25" fmla="*/ 600635 w 609934"/>
                <a:gd name="connsiteY25" fmla="*/ 546847 h 1138518"/>
                <a:gd name="connsiteX26" fmla="*/ 609600 w 609934"/>
                <a:gd name="connsiteY26" fmla="*/ 609600 h 1138518"/>
                <a:gd name="connsiteX27" fmla="*/ 591670 w 609934"/>
                <a:gd name="connsiteY27" fmla="*/ 779929 h 1138518"/>
                <a:gd name="connsiteX28" fmla="*/ 573741 w 609934"/>
                <a:gd name="connsiteY28" fmla="*/ 842682 h 1138518"/>
                <a:gd name="connsiteX29" fmla="*/ 555812 w 609934"/>
                <a:gd name="connsiteY29" fmla="*/ 860612 h 1138518"/>
                <a:gd name="connsiteX30" fmla="*/ 528918 w 609934"/>
                <a:gd name="connsiteY30" fmla="*/ 923365 h 1138518"/>
                <a:gd name="connsiteX31" fmla="*/ 519953 w 609934"/>
                <a:gd name="connsiteY31" fmla="*/ 950259 h 1138518"/>
                <a:gd name="connsiteX32" fmla="*/ 502023 w 609934"/>
                <a:gd name="connsiteY32" fmla="*/ 968188 h 1138518"/>
                <a:gd name="connsiteX33" fmla="*/ 448235 w 609934"/>
                <a:gd name="connsiteY33" fmla="*/ 1030941 h 1138518"/>
                <a:gd name="connsiteX34" fmla="*/ 412376 w 609934"/>
                <a:gd name="connsiteY34" fmla="*/ 1066800 h 1138518"/>
                <a:gd name="connsiteX35" fmla="*/ 385482 w 609934"/>
                <a:gd name="connsiteY35" fmla="*/ 1084729 h 1138518"/>
                <a:gd name="connsiteX36" fmla="*/ 322729 w 609934"/>
                <a:gd name="connsiteY36" fmla="*/ 1129553 h 1138518"/>
                <a:gd name="connsiteX37" fmla="*/ 161365 w 609934"/>
                <a:gd name="connsiteY37" fmla="*/ 1120588 h 1138518"/>
                <a:gd name="connsiteX38" fmla="*/ 134470 w 609934"/>
                <a:gd name="connsiteY38" fmla="*/ 1111624 h 1138518"/>
                <a:gd name="connsiteX0" fmla="*/ 125506 w 609934"/>
                <a:gd name="connsiteY0" fmla="*/ 1138518 h 1138518"/>
                <a:gd name="connsiteX1" fmla="*/ 89647 w 609934"/>
                <a:gd name="connsiteY1" fmla="*/ 1093694 h 1138518"/>
                <a:gd name="connsiteX2" fmla="*/ 53788 w 609934"/>
                <a:gd name="connsiteY2" fmla="*/ 1039906 h 1138518"/>
                <a:gd name="connsiteX3" fmla="*/ 44823 w 609934"/>
                <a:gd name="connsiteY3" fmla="*/ 1004047 h 1138518"/>
                <a:gd name="connsiteX4" fmla="*/ 17929 w 609934"/>
                <a:gd name="connsiteY4" fmla="*/ 923365 h 1138518"/>
                <a:gd name="connsiteX5" fmla="*/ 8965 w 609934"/>
                <a:gd name="connsiteY5" fmla="*/ 896471 h 1138518"/>
                <a:gd name="connsiteX6" fmla="*/ 0 w 609934"/>
                <a:gd name="connsiteY6" fmla="*/ 869577 h 1138518"/>
                <a:gd name="connsiteX7" fmla="*/ 8965 w 609934"/>
                <a:gd name="connsiteY7" fmla="*/ 717177 h 1138518"/>
                <a:gd name="connsiteX8" fmla="*/ 26894 w 609934"/>
                <a:gd name="connsiteY8" fmla="*/ 663388 h 1138518"/>
                <a:gd name="connsiteX9" fmla="*/ 35859 w 609934"/>
                <a:gd name="connsiteY9" fmla="*/ 636494 h 1138518"/>
                <a:gd name="connsiteX10" fmla="*/ 53788 w 609934"/>
                <a:gd name="connsiteY10" fmla="*/ 609600 h 1138518"/>
                <a:gd name="connsiteX11" fmla="*/ 89647 w 609934"/>
                <a:gd name="connsiteY11" fmla="*/ 537882 h 1138518"/>
                <a:gd name="connsiteX12" fmla="*/ 107576 w 609934"/>
                <a:gd name="connsiteY12" fmla="*/ 385482 h 1138518"/>
                <a:gd name="connsiteX13" fmla="*/ 116541 w 609934"/>
                <a:gd name="connsiteY13" fmla="*/ 322729 h 1138518"/>
                <a:gd name="connsiteX14" fmla="*/ 116541 w 609934"/>
                <a:gd name="connsiteY14" fmla="*/ 89647 h 1138518"/>
                <a:gd name="connsiteX15" fmla="*/ 125506 w 609934"/>
                <a:gd name="connsiteY15" fmla="*/ 62753 h 1138518"/>
                <a:gd name="connsiteX16" fmla="*/ 179294 w 609934"/>
                <a:gd name="connsiteY16" fmla="*/ 17929 h 1138518"/>
                <a:gd name="connsiteX17" fmla="*/ 233082 w 609934"/>
                <a:gd name="connsiteY17" fmla="*/ 0 h 1138518"/>
                <a:gd name="connsiteX18" fmla="*/ 430306 w 609934"/>
                <a:gd name="connsiteY18" fmla="*/ 8965 h 1138518"/>
                <a:gd name="connsiteX19" fmla="*/ 457200 w 609934"/>
                <a:gd name="connsiteY19" fmla="*/ 44824 h 1138518"/>
                <a:gd name="connsiteX20" fmla="*/ 475129 w 609934"/>
                <a:gd name="connsiteY20" fmla="*/ 71718 h 1138518"/>
                <a:gd name="connsiteX21" fmla="*/ 528918 w 609934"/>
                <a:gd name="connsiteY21" fmla="*/ 134471 h 1138518"/>
                <a:gd name="connsiteX22" fmla="*/ 564776 w 609934"/>
                <a:gd name="connsiteY22" fmla="*/ 215153 h 1138518"/>
                <a:gd name="connsiteX23" fmla="*/ 573741 w 609934"/>
                <a:gd name="connsiteY23" fmla="*/ 251012 h 1138518"/>
                <a:gd name="connsiteX24" fmla="*/ 591670 w 609934"/>
                <a:gd name="connsiteY24" fmla="*/ 358588 h 1138518"/>
                <a:gd name="connsiteX25" fmla="*/ 600635 w 609934"/>
                <a:gd name="connsiteY25" fmla="*/ 546847 h 1138518"/>
                <a:gd name="connsiteX26" fmla="*/ 609600 w 609934"/>
                <a:gd name="connsiteY26" fmla="*/ 609600 h 1138518"/>
                <a:gd name="connsiteX27" fmla="*/ 591670 w 609934"/>
                <a:gd name="connsiteY27" fmla="*/ 779929 h 1138518"/>
                <a:gd name="connsiteX28" fmla="*/ 573741 w 609934"/>
                <a:gd name="connsiteY28" fmla="*/ 842682 h 1138518"/>
                <a:gd name="connsiteX29" fmla="*/ 555812 w 609934"/>
                <a:gd name="connsiteY29" fmla="*/ 860612 h 1138518"/>
                <a:gd name="connsiteX30" fmla="*/ 528918 w 609934"/>
                <a:gd name="connsiteY30" fmla="*/ 923365 h 1138518"/>
                <a:gd name="connsiteX31" fmla="*/ 519953 w 609934"/>
                <a:gd name="connsiteY31" fmla="*/ 950259 h 1138518"/>
                <a:gd name="connsiteX32" fmla="*/ 502023 w 609934"/>
                <a:gd name="connsiteY32" fmla="*/ 968188 h 1138518"/>
                <a:gd name="connsiteX33" fmla="*/ 448235 w 609934"/>
                <a:gd name="connsiteY33" fmla="*/ 1030941 h 1138518"/>
                <a:gd name="connsiteX34" fmla="*/ 412376 w 609934"/>
                <a:gd name="connsiteY34" fmla="*/ 1066800 h 1138518"/>
                <a:gd name="connsiteX35" fmla="*/ 385482 w 609934"/>
                <a:gd name="connsiteY35" fmla="*/ 1084729 h 1138518"/>
                <a:gd name="connsiteX36" fmla="*/ 322729 w 609934"/>
                <a:gd name="connsiteY36" fmla="*/ 1129553 h 1138518"/>
                <a:gd name="connsiteX37" fmla="*/ 161365 w 609934"/>
                <a:gd name="connsiteY37" fmla="*/ 1120588 h 1138518"/>
                <a:gd name="connsiteX38" fmla="*/ 134470 w 609934"/>
                <a:gd name="connsiteY38" fmla="*/ 1111624 h 1138518"/>
                <a:gd name="connsiteX39" fmla="*/ 125506 w 609934"/>
                <a:gd name="connsiteY39" fmla="*/ 1138518 h 1138518"/>
                <a:gd name="connsiteX0" fmla="*/ 125506 w 609934"/>
                <a:gd name="connsiteY0" fmla="*/ 1138518 h 1147035"/>
                <a:gd name="connsiteX1" fmla="*/ 89647 w 609934"/>
                <a:gd name="connsiteY1" fmla="*/ 1093694 h 1147035"/>
                <a:gd name="connsiteX2" fmla="*/ 53788 w 609934"/>
                <a:gd name="connsiteY2" fmla="*/ 1039906 h 1147035"/>
                <a:gd name="connsiteX3" fmla="*/ 44823 w 609934"/>
                <a:gd name="connsiteY3" fmla="*/ 1004047 h 1147035"/>
                <a:gd name="connsiteX4" fmla="*/ 17929 w 609934"/>
                <a:gd name="connsiteY4" fmla="*/ 923365 h 1147035"/>
                <a:gd name="connsiteX5" fmla="*/ 8965 w 609934"/>
                <a:gd name="connsiteY5" fmla="*/ 896471 h 1147035"/>
                <a:gd name="connsiteX6" fmla="*/ 0 w 609934"/>
                <a:gd name="connsiteY6" fmla="*/ 869577 h 1147035"/>
                <a:gd name="connsiteX7" fmla="*/ 8965 w 609934"/>
                <a:gd name="connsiteY7" fmla="*/ 717177 h 1147035"/>
                <a:gd name="connsiteX8" fmla="*/ 26894 w 609934"/>
                <a:gd name="connsiteY8" fmla="*/ 663388 h 1147035"/>
                <a:gd name="connsiteX9" fmla="*/ 35859 w 609934"/>
                <a:gd name="connsiteY9" fmla="*/ 636494 h 1147035"/>
                <a:gd name="connsiteX10" fmla="*/ 53788 w 609934"/>
                <a:gd name="connsiteY10" fmla="*/ 609600 h 1147035"/>
                <a:gd name="connsiteX11" fmla="*/ 89647 w 609934"/>
                <a:gd name="connsiteY11" fmla="*/ 537882 h 1147035"/>
                <a:gd name="connsiteX12" fmla="*/ 107576 w 609934"/>
                <a:gd name="connsiteY12" fmla="*/ 385482 h 1147035"/>
                <a:gd name="connsiteX13" fmla="*/ 116541 w 609934"/>
                <a:gd name="connsiteY13" fmla="*/ 322729 h 1147035"/>
                <a:gd name="connsiteX14" fmla="*/ 116541 w 609934"/>
                <a:gd name="connsiteY14" fmla="*/ 89647 h 1147035"/>
                <a:gd name="connsiteX15" fmla="*/ 125506 w 609934"/>
                <a:gd name="connsiteY15" fmla="*/ 62753 h 1147035"/>
                <a:gd name="connsiteX16" fmla="*/ 179294 w 609934"/>
                <a:gd name="connsiteY16" fmla="*/ 17929 h 1147035"/>
                <a:gd name="connsiteX17" fmla="*/ 233082 w 609934"/>
                <a:gd name="connsiteY17" fmla="*/ 0 h 1147035"/>
                <a:gd name="connsiteX18" fmla="*/ 430306 w 609934"/>
                <a:gd name="connsiteY18" fmla="*/ 8965 h 1147035"/>
                <a:gd name="connsiteX19" fmla="*/ 457200 w 609934"/>
                <a:gd name="connsiteY19" fmla="*/ 44824 h 1147035"/>
                <a:gd name="connsiteX20" fmla="*/ 475129 w 609934"/>
                <a:gd name="connsiteY20" fmla="*/ 71718 h 1147035"/>
                <a:gd name="connsiteX21" fmla="*/ 528918 w 609934"/>
                <a:gd name="connsiteY21" fmla="*/ 134471 h 1147035"/>
                <a:gd name="connsiteX22" fmla="*/ 564776 w 609934"/>
                <a:gd name="connsiteY22" fmla="*/ 215153 h 1147035"/>
                <a:gd name="connsiteX23" fmla="*/ 573741 w 609934"/>
                <a:gd name="connsiteY23" fmla="*/ 251012 h 1147035"/>
                <a:gd name="connsiteX24" fmla="*/ 591670 w 609934"/>
                <a:gd name="connsiteY24" fmla="*/ 358588 h 1147035"/>
                <a:gd name="connsiteX25" fmla="*/ 600635 w 609934"/>
                <a:gd name="connsiteY25" fmla="*/ 546847 h 1147035"/>
                <a:gd name="connsiteX26" fmla="*/ 609600 w 609934"/>
                <a:gd name="connsiteY26" fmla="*/ 609600 h 1147035"/>
                <a:gd name="connsiteX27" fmla="*/ 591670 w 609934"/>
                <a:gd name="connsiteY27" fmla="*/ 779929 h 1147035"/>
                <a:gd name="connsiteX28" fmla="*/ 573741 w 609934"/>
                <a:gd name="connsiteY28" fmla="*/ 842682 h 1147035"/>
                <a:gd name="connsiteX29" fmla="*/ 555812 w 609934"/>
                <a:gd name="connsiteY29" fmla="*/ 860612 h 1147035"/>
                <a:gd name="connsiteX30" fmla="*/ 528918 w 609934"/>
                <a:gd name="connsiteY30" fmla="*/ 923365 h 1147035"/>
                <a:gd name="connsiteX31" fmla="*/ 519953 w 609934"/>
                <a:gd name="connsiteY31" fmla="*/ 950259 h 1147035"/>
                <a:gd name="connsiteX32" fmla="*/ 502023 w 609934"/>
                <a:gd name="connsiteY32" fmla="*/ 968188 h 1147035"/>
                <a:gd name="connsiteX33" fmla="*/ 448235 w 609934"/>
                <a:gd name="connsiteY33" fmla="*/ 1030941 h 1147035"/>
                <a:gd name="connsiteX34" fmla="*/ 412376 w 609934"/>
                <a:gd name="connsiteY34" fmla="*/ 1066800 h 1147035"/>
                <a:gd name="connsiteX35" fmla="*/ 385482 w 609934"/>
                <a:gd name="connsiteY35" fmla="*/ 1084729 h 1147035"/>
                <a:gd name="connsiteX36" fmla="*/ 322729 w 609934"/>
                <a:gd name="connsiteY36" fmla="*/ 1129553 h 1147035"/>
                <a:gd name="connsiteX37" fmla="*/ 161365 w 609934"/>
                <a:gd name="connsiteY37" fmla="*/ 1120588 h 1147035"/>
                <a:gd name="connsiteX38" fmla="*/ 147471 w 609934"/>
                <a:gd name="connsiteY38" fmla="*/ 1146293 h 1147035"/>
                <a:gd name="connsiteX39" fmla="*/ 125506 w 609934"/>
                <a:gd name="connsiteY39" fmla="*/ 1138518 h 1147035"/>
                <a:gd name="connsiteX0" fmla="*/ 125506 w 609934"/>
                <a:gd name="connsiteY0" fmla="*/ 1138518 h 1146413"/>
                <a:gd name="connsiteX1" fmla="*/ 89647 w 609934"/>
                <a:gd name="connsiteY1" fmla="*/ 1093694 h 1146413"/>
                <a:gd name="connsiteX2" fmla="*/ 53788 w 609934"/>
                <a:gd name="connsiteY2" fmla="*/ 1039906 h 1146413"/>
                <a:gd name="connsiteX3" fmla="*/ 44823 w 609934"/>
                <a:gd name="connsiteY3" fmla="*/ 1004047 h 1146413"/>
                <a:gd name="connsiteX4" fmla="*/ 17929 w 609934"/>
                <a:gd name="connsiteY4" fmla="*/ 923365 h 1146413"/>
                <a:gd name="connsiteX5" fmla="*/ 8965 w 609934"/>
                <a:gd name="connsiteY5" fmla="*/ 896471 h 1146413"/>
                <a:gd name="connsiteX6" fmla="*/ 0 w 609934"/>
                <a:gd name="connsiteY6" fmla="*/ 869577 h 1146413"/>
                <a:gd name="connsiteX7" fmla="*/ 8965 w 609934"/>
                <a:gd name="connsiteY7" fmla="*/ 717177 h 1146413"/>
                <a:gd name="connsiteX8" fmla="*/ 26894 w 609934"/>
                <a:gd name="connsiteY8" fmla="*/ 663388 h 1146413"/>
                <a:gd name="connsiteX9" fmla="*/ 35859 w 609934"/>
                <a:gd name="connsiteY9" fmla="*/ 636494 h 1146413"/>
                <a:gd name="connsiteX10" fmla="*/ 53788 w 609934"/>
                <a:gd name="connsiteY10" fmla="*/ 609600 h 1146413"/>
                <a:gd name="connsiteX11" fmla="*/ 89647 w 609934"/>
                <a:gd name="connsiteY11" fmla="*/ 537882 h 1146413"/>
                <a:gd name="connsiteX12" fmla="*/ 107576 w 609934"/>
                <a:gd name="connsiteY12" fmla="*/ 385482 h 1146413"/>
                <a:gd name="connsiteX13" fmla="*/ 116541 w 609934"/>
                <a:gd name="connsiteY13" fmla="*/ 322729 h 1146413"/>
                <a:gd name="connsiteX14" fmla="*/ 116541 w 609934"/>
                <a:gd name="connsiteY14" fmla="*/ 89647 h 1146413"/>
                <a:gd name="connsiteX15" fmla="*/ 125506 w 609934"/>
                <a:gd name="connsiteY15" fmla="*/ 62753 h 1146413"/>
                <a:gd name="connsiteX16" fmla="*/ 179294 w 609934"/>
                <a:gd name="connsiteY16" fmla="*/ 17929 h 1146413"/>
                <a:gd name="connsiteX17" fmla="*/ 233082 w 609934"/>
                <a:gd name="connsiteY17" fmla="*/ 0 h 1146413"/>
                <a:gd name="connsiteX18" fmla="*/ 430306 w 609934"/>
                <a:gd name="connsiteY18" fmla="*/ 8965 h 1146413"/>
                <a:gd name="connsiteX19" fmla="*/ 457200 w 609934"/>
                <a:gd name="connsiteY19" fmla="*/ 44824 h 1146413"/>
                <a:gd name="connsiteX20" fmla="*/ 475129 w 609934"/>
                <a:gd name="connsiteY20" fmla="*/ 71718 h 1146413"/>
                <a:gd name="connsiteX21" fmla="*/ 528918 w 609934"/>
                <a:gd name="connsiteY21" fmla="*/ 134471 h 1146413"/>
                <a:gd name="connsiteX22" fmla="*/ 564776 w 609934"/>
                <a:gd name="connsiteY22" fmla="*/ 215153 h 1146413"/>
                <a:gd name="connsiteX23" fmla="*/ 573741 w 609934"/>
                <a:gd name="connsiteY23" fmla="*/ 251012 h 1146413"/>
                <a:gd name="connsiteX24" fmla="*/ 591670 w 609934"/>
                <a:gd name="connsiteY24" fmla="*/ 358588 h 1146413"/>
                <a:gd name="connsiteX25" fmla="*/ 600635 w 609934"/>
                <a:gd name="connsiteY25" fmla="*/ 546847 h 1146413"/>
                <a:gd name="connsiteX26" fmla="*/ 609600 w 609934"/>
                <a:gd name="connsiteY26" fmla="*/ 609600 h 1146413"/>
                <a:gd name="connsiteX27" fmla="*/ 591670 w 609934"/>
                <a:gd name="connsiteY27" fmla="*/ 779929 h 1146413"/>
                <a:gd name="connsiteX28" fmla="*/ 573741 w 609934"/>
                <a:gd name="connsiteY28" fmla="*/ 842682 h 1146413"/>
                <a:gd name="connsiteX29" fmla="*/ 555812 w 609934"/>
                <a:gd name="connsiteY29" fmla="*/ 860612 h 1146413"/>
                <a:gd name="connsiteX30" fmla="*/ 528918 w 609934"/>
                <a:gd name="connsiteY30" fmla="*/ 923365 h 1146413"/>
                <a:gd name="connsiteX31" fmla="*/ 519953 w 609934"/>
                <a:gd name="connsiteY31" fmla="*/ 950259 h 1146413"/>
                <a:gd name="connsiteX32" fmla="*/ 502023 w 609934"/>
                <a:gd name="connsiteY32" fmla="*/ 968188 h 1146413"/>
                <a:gd name="connsiteX33" fmla="*/ 448235 w 609934"/>
                <a:gd name="connsiteY33" fmla="*/ 1030941 h 1146413"/>
                <a:gd name="connsiteX34" fmla="*/ 412376 w 609934"/>
                <a:gd name="connsiteY34" fmla="*/ 1066800 h 1146413"/>
                <a:gd name="connsiteX35" fmla="*/ 385482 w 609934"/>
                <a:gd name="connsiteY35" fmla="*/ 1084729 h 1146413"/>
                <a:gd name="connsiteX36" fmla="*/ 322729 w 609934"/>
                <a:gd name="connsiteY36" fmla="*/ 1129553 h 1146413"/>
                <a:gd name="connsiteX37" fmla="*/ 200367 w 609934"/>
                <a:gd name="connsiteY37" fmla="*/ 1142256 h 1146413"/>
                <a:gd name="connsiteX38" fmla="*/ 147471 w 609934"/>
                <a:gd name="connsiteY38" fmla="*/ 1146293 h 1146413"/>
                <a:gd name="connsiteX39" fmla="*/ 125506 w 609934"/>
                <a:gd name="connsiteY39" fmla="*/ 1138518 h 1146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9934" h="1146413">
                  <a:moveTo>
                    <a:pt x="125506" y="1138518"/>
                  </a:moveTo>
                  <a:cubicBezTo>
                    <a:pt x="113553" y="1123577"/>
                    <a:pt x="100901" y="1109169"/>
                    <a:pt x="89647" y="1093694"/>
                  </a:cubicBezTo>
                  <a:cubicBezTo>
                    <a:pt x="76973" y="1076267"/>
                    <a:pt x="53788" y="1039906"/>
                    <a:pt x="53788" y="1039906"/>
                  </a:cubicBezTo>
                  <a:cubicBezTo>
                    <a:pt x="50800" y="1027953"/>
                    <a:pt x="48363" y="1015848"/>
                    <a:pt x="44823" y="1004047"/>
                  </a:cubicBezTo>
                  <a:cubicBezTo>
                    <a:pt x="44808" y="1003997"/>
                    <a:pt x="22419" y="936837"/>
                    <a:pt x="17929" y="923365"/>
                  </a:cubicBezTo>
                  <a:lnTo>
                    <a:pt x="8965" y="896471"/>
                  </a:lnTo>
                  <a:lnTo>
                    <a:pt x="0" y="869577"/>
                  </a:lnTo>
                  <a:cubicBezTo>
                    <a:pt x="2988" y="818777"/>
                    <a:pt x="2383" y="767637"/>
                    <a:pt x="8965" y="717177"/>
                  </a:cubicBezTo>
                  <a:cubicBezTo>
                    <a:pt x="11409" y="698436"/>
                    <a:pt x="20918" y="681318"/>
                    <a:pt x="26894" y="663388"/>
                  </a:cubicBezTo>
                  <a:cubicBezTo>
                    <a:pt x="29882" y="654423"/>
                    <a:pt x="30617" y="644357"/>
                    <a:pt x="35859" y="636494"/>
                  </a:cubicBezTo>
                  <a:cubicBezTo>
                    <a:pt x="41835" y="627529"/>
                    <a:pt x="49412" y="619446"/>
                    <a:pt x="53788" y="609600"/>
                  </a:cubicBezTo>
                  <a:cubicBezTo>
                    <a:pt x="86752" y="535432"/>
                    <a:pt x="52827" y="574704"/>
                    <a:pt x="89647" y="537882"/>
                  </a:cubicBezTo>
                  <a:cubicBezTo>
                    <a:pt x="110646" y="390891"/>
                    <a:pt x="85442" y="573625"/>
                    <a:pt x="107576" y="385482"/>
                  </a:cubicBezTo>
                  <a:cubicBezTo>
                    <a:pt x="110045" y="364497"/>
                    <a:pt x="113553" y="343647"/>
                    <a:pt x="116541" y="322729"/>
                  </a:cubicBezTo>
                  <a:cubicBezTo>
                    <a:pt x="109565" y="204133"/>
                    <a:pt x="100054" y="188566"/>
                    <a:pt x="116541" y="89647"/>
                  </a:cubicBezTo>
                  <a:cubicBezTo>
                    <a:pt x="118095" y="80326"/>
                    <a:pt x="120264" y="70616"/>
                    <a:pt x="125506" y="62753"/>
                  </a:cubicBezTo>
                  <a:cubicBezTo>
                    <a:pt x="134394" y="49421"/>
                    <a:pt x="163628" y="24892"/>
                    <a:pt x="179294" y="17929"/>
                  </a:cubicBezTo>
                  <a:cubicBezTo>
                    <a:pt x="196564" y="10253"/>
                    <a:pt x="233082" y="0"/>
                    <a:pt x="233082" y="0"/>
                  </a:cubicBezTo>
                  <a:cubicBezTo>
                    <a:pt x="298823" y="2988"/>
                    <a:pt x="365775" y="-3941"/>
                    <a:pt x="430306" y="8965"/>
                  </a:cubicBezTo>
                  <a:cubicBezTo>
                    <a:pt x="444957" y="11895"/>
                    <a:pt x="448516" y="32666"/>
                    <a:pt x="457200" y="44824"/>
                  </a:cubicBezTo>
                  <a:cubicBezTo>
                    <a:pt x="463462" y="53591"/>
                    <a:pt x="468117" y="63538"/>
                    <a:pt x="475129" y="71718"/>
                  </a:cubicBezTo>
                  <a:cubicBezTo>
                    <a:pt x="540350" y="147810"/>
                    <a:pt x="487752" y="72724"/>
                    <a:pt x="528918" y="134471"/>
                  </a:cubicBezTo>
                  <a:cubicBezTo>
                    <a:pt x="550254" y="198480"/>
                    <a:pt x="536364" y="172534"/>
                    <a:pt x="564776" y="215153"/>
                  </a:cubicBezTo>
                  <a:cubicBezTo>
                    <a:pt x="567764" y="227106"/>
                    <a:pt x="571867" y="238834"/>
                    <a:pt x="573741" y="251012"/>
                  </a:cubicBezTo>
                  <a:cubicBezTo>
                    <a:pt x="590899" y="362536"/>
                    <a:pt x="571653" y="298532"/>
                    <a:pt x="591670" y="358588"/>
                  </a:cubicBezTo>
                  <a:cubicBezTo>
                    <a:pt x="594658" y="421341"/>
                    <a:pt x="596159" y="484183"/>
                    <a:pt x="600635" y="546847"/>
                  </a:cubicBezTo>
                  <a:cubicBezTo>
                    <a:pt x="602141" y="567923"/>
                    <a:pt x="609600" y="588470"/>
                    <a:pt x="609600" y="609600"/>
                  </a:cubicBezTo>
                  <a:cubicBezTo>
                    <a:pt x="609600" y="790173"/>
                    <a:pt x="613900" y="702123"/>
                    <a:pt x="591670" y="779929"/>
                  </a:cubicBezTo>
                  <a:cubicBezTo>
                    <a:pt x="589537" y="787394"/>
                    <a:pt x="579605" y="832908"/>
                    <a:pt x="573741" y="842682"/>
                  </a:cubicBezTo>
                  <a:cubicBezTo>
                    <a:pt x="569393" y="849930"/>
                    <a:pt x="561788" y="854635"/>
                    <a:pt x="555812" y="860612"/>
                  </a:cubicBezTo>
                  <a:cubicBezTo>
                    <a:pt x="537154" y="935241"/>
                    <a:pt x="559872" y="861457"/>
                    <a:pt x="528918" y="923365"/>
                  </a:cubicBezTo>
                  <a:cubicBezTo>
                    <a:pt x="524692" y="931817"/>
                    <a:pt x="524815" y="942156"/>
                    <a:pt x="519953" y="950259"/>
                  </a:cubicBezTo>
                  <a:cubicBezTo>
                    <a:pt x="515604" y="957506"/>
                    <a:pt x="507303" y="961588"/>
                    <a:pt x="502023" y="968188"/>
                  </a:cubicBezTo>
                  <a:cubicBezTo>
                    <a:pt x="447400" y="1036465"/>
                    <a:pt x="534572" y="944602"/>
                    <a:pt x="448235" y="1030941"/>
                  </a:cubicBezTo>
                  <a:lnTo>
                    <a:pt x="412376" y="1066800"/>
                  </a:lnTo>
                  <a:cubicBezTo>
                    <a:pt x="403411" y="1072776"/>
                    <a:pt x="393662" y="1077717"/>
                    <a:pt x="385482" y="1084729"/>
                  </a:cubicBezTo>
                  <a:cubicBezTo>
                    <a:pt x="331338" y="1131138"/>
                    <a:pt x="372146" y="1113080"/>
                    <a:pt x="322729" y="1129553"/>
                  </a:cubicBezTo>
                  <a:cubicBezTo>
                    <a:pt x="268941" y="1126565"/>
                    <a:pt x="229577" y="1139466"/>
                    <a:pt x="200367" y="1142256"/>
                  </a:cubicBezTo>
                  <a:cubicBezTo>
                    <a:pt x="171157" y="1145046"/>
                    <a:pt x="159948" y="1146916"/>
                    <a:pt x="147471" y="1146293"/>
                  </a:cubicBezTo>
                  <a:cubicBezTo>
                    <a:pt x="134994" y="1145670"/>
                    <a:pt x="132828" y="1141110"/>
                    <a:pt x="125506" y="1138518"/>
                  </a:cubicBezTo>
                  <a:close/>
                </a:path>
              </a:pathLst>
            </a:custGeom>
            <a:solidFill>
              <a:schemeClr val="bg1">
                <a:lumMod val="7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sp>
          <p:nvSpPr>
            <p:cNvPr id="964" name="Forma livre 148"/>
            <p:cNvSpPr/>
            <p:nvPr/>
          </p:nvSpPr>
          <p:spPr>
            <a:xfrm>
              <a:off x="3894338" y="3977871"/>
              <a:ext cx="411332" cy="231045"/>
            </a:xfrm>
            <a:custGeom>
              <a:avLst/>
              <a:gdLst>
                <a:gd name="connsiteX0" fmla="*/ 358066 w 411332"/>
                <a:gd name="connsiteY0" fmla="*/ 165042 h 231045"/>
                <a:gd name="connsiteX1" fmla="*/ 343270 w 411332"/>
                <a:gd name="connsiteY1" fmla="*/ 168001 h 231045"/>
                <a:gd name="connsiteX2" fmla="*/ 310718 w 411332"/>
                <a:gd name="connsiteY2" fmla="*/ 176879 h 231045"/>
                <a:gd name="connsiteX3" fmla="*/ 290004 w 411332"/>
                <a:gd name="connsiteY3" fmla="*/ 173919 h 231045"/>
                <a:gd name="connsiteX4" fmla="*/ 275208 w 411332"/>
                <a:gd name="connsiteY4" fmla="*/ 162082 h 231045"/>
                <a:gd name="connsiteX5" fmla="*/ 245615 w 411332"/>
                <a:gd name="connsiteY5" fmla="*/ 165042 h 231045"/>
                <a:gd name="connsiteX6" fmla="*/ 230819 w 411332"/>
                <a:gd name="connsiteY6" fmla="*/ 185756 h 231045"/>
                <a:gd name="connsiteX7" fmla="*/ 221942 w 411332"/>
                <a:gd name="connsiteY7" fmla="*/ 203512 h 231045"/>
                <a:gd name="connsiteX8" fmla="*/ 218982 w 411332"/>
                <a:gd name="connsiteY8" fmla="*/ 212389 h 231045"/>
                <a:gd name="connsiteX9" fmla="*/ 204186 w 411332"/>
                <a:gd name="connsiteY9" fmla="*/ 221267 h 231045"/>
                <a:gd name="connsiteX10" fmla="*/ 195309 w 411332"/>
                <a:gd name="connsiteY10" fmla="*/ 227185 h 231045"/>
                <a:gd name="connsiteX11" fmla="*/ 121328 w 411332"/>
                <a:gd name="connsiteY11" fmla="*/ 227185 h 231045"/>
                <a:gd name="connsiteX12" fmla="*/ 106532 w 411332"/>
                <a:gd name="connsiteY12" fmla="*/ 221267 h 231045"/>
                <a:gd name="connsiteX13" fmla="*/ 97654 w 411332"/>
                <a:gd name="connsiteY13" fmla="*/ 218308 h 231045"/>
                <a:gd name="connsiteX14" fmla="*/ 79899 w 411332"/>
                <a:gd name="connsiteY14" fmla="*/ 206471 h 231045"/>
                <a:gd name="connsiteX15" fmla="*/ 38470 w 411332"/>
                <a:gd name="connsiteY15" fmla="*/ 182797 h 231045"/>
                <a:gd name="connsiteX16" fmla="*/ 32551 w 411332"/>
                <a:gd name="connsiteY16" fmla="*/ 176879 h 231045"/>
                <a:gd name="connsiteX17" fmla="*/ 29592 w 411332"/>
                <a:gd name="connsiteY17" fmla="*/ 168001 h 231045"/>
                <a:gd name="connsiteX18" fmla="*/ 23674 w 411332"/>
                <a:gd name="connsiteY18" fmla="*/ 162082 h 231045"/>
                <a:gd name="connsiteX19" fmla="*/ 8878 w 411332"/>
                <a:gd name="connsiteY19" fmla="*/ 144327 h 231045"/>
                <a:gd name="connsiteX20" fmla="*/ 2959 w 411332"/>
                <a:gd name="connsiteY20" fmla="*/ 126572 h 231045"/>
                <a:gd name="connsiteX21" fmla="*/ 0 w 411332"/>
                <a:gd name="connsiteY21" fmla="*/ 117694 h 231045"/>
                <a:gd name="connsiteX22" fmla="*/ 2959 w 411332"/>
                <a:gd name="connsiteY22" fmla="*/ 94020 h 231045"/>
                <a:gd name="connsiteX23" fmla="*/ 11837 w 411332"/>
                <a:gd name="connsiteY23" fmla="*/ 88102 h 231045"/>
                <a:gd name="connsiteX24" fmla="*/ 23674 w 411332"/>
                <a:gd name="connsiteY24" fmla="*/ 82183 h 231045"/>
                <a:gd name="connsiteX25" fmla="*/ 32551 w 411332"/>
                <a:gd name="connsiteY25" fmla="*/ 76265 h 231045"/>
                <a:gd name="connsiteX26" fmla="*/ 53266 w 411332"/>
                <a:gd name="connsiteY26" fmla="*/ 70346 h 231045"/>
                <a:gd name="connsiteX27" fmla="*/ 71021 w 411332"/>
                <a:gd name="connsiteY27" fmla="*/ 58510 h 231045"/>
                <a:gd name="connsiteX28" fmla="*/ 76940 w 411332"/>
                <a:gd name="connsiteY28" fmla="*/ 52591 h 231045"/>
                <a:gd name="connsiteX29" fmla="*/ 94695 w 411332"/>
                <a:gd name="connsiteY29" fmla="*/ 40754 h 231045"/>
                <a:gd name="connsiteX30" fmla="*/ 103573 w 411332"/>
                <a:gd name="connsiteY30" fmla="*/ 34836 h 231045"/>
                <a:gd name="connsiteX31" fmla="*/ 121328 w 411332"/>
                <a:gd name="connsiteY31" fmla="*/ 22999 h 231045"/>
                <a:gd name="connsiteX32" fmla="*/ 133165 w 411332"/>
                <a:gd name="connsiteY32" fmla="*/ 17080 h 231045"/>
                <a:gd name="connsiteX33" fmla="*/ 142043 w 411332"/>
                <a:gd name="connsiteY33" fmla="*/ 11162 h 231045"/>
                <a:gd name="connsiteX34" fmla="*/ 165716 w 411332"/>
                <a:gd name="connsiteY34" fmla="*/ 8203 h 231045"/>
                <a:gd name="connsiteX35" fmla="*/ 174594 w 411332"/>
                <a:gd name="connsiteY35" fmla="*/ 5244 h 231045"/>
                <a:gd name="connsiteX36" fmla="*/ 281126 w 411332"/>
                <a:gd name="connsiteY36" fmla="*/ 5244 h 231045"/>
                <a:gd name="connsiteX37" fmla="*/ 304800 w 411332"/>
                <a:gd name="connsiteY37" fmla="*/ 11162 h 231045"/>
                <a:gd name="connsiteX38" fmla="*/ 322555 w 411332"/>
                <a:gd name="connsiteY38" fmla="*/ 17080 h 231045"/>
                <a:gd name="connsiteX39" fmla="*/ 393577 w 411332"/>
                <a:gd name="connsiteY39" fmla="*/ 22999 h 231045"/>
                <a:gd name="connsiteX40" fmla="*/ 405413 w 411332"/>
                <a:gd name="connsiteY40" fmla="*/ 40754 h 231045"/>
                <a:gd name="connsiteX41" fmla="*/ 411332 w 411332"/>
                <a:gd name="connsiteY41" fmla="*/ 49632 h 231045"/>
                <a:gd name="connsiteX42" fmla="*/ 408373 w 411332"/>
                <a:gd name="connsiteY42" fmla="*/ 102898 h 231045"/>
                <a:gd name="connsiteX43" fmla="*/ 405413 w 411332"/>
                <a:gd name="connsiteY43" fmla="*/ 120653 h 231045"/>
                <a:gd name="connsiteX44" fmla="*/ 396536 w 411332"/>
                <a:gd name="connsiteY44" fmla="*/ 138409 h 231045"/>
                <a:gd name="connsiteX45" fmla="*/ 378780 w 411332"/>
                <a:gd name="connsiteY45" fmla="*/ 150246 h 231045"/>
                <a:gd name="connsiteX46" fmla="*/ 369903 w 411332"/>
                <a:gd name="connsiteY46" fmla="*/ 159123 h 231045"/>
                <a:gd name="connsiteX47" fmla="*/ 358066 w 411332"/>
                <a:gd name="connsiteY47" fmla="*/ 165042 h 231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411332" h="231045">
                  <a:moveTo>
                    <a:pt x="358066" y="165042"/>
                  </a:moveTo>
                  <a:cubicBezTo>
                    <a:pt x="353627" y="166522"/>
                    <a:pt x="348122" y="166678"/>
                    <a:pt x="343270" y="168001"/>
                  </a:cubicBezTo>
                  <a:cubicBezTo>
                    <a:pt x="301953" y="179268"/>
                    <a:pt x="346780" y="169665"/>
                    <a:pt x="310718" y="176879"/>
                  </a:cubicBezTo>
                  <a:cubicBezTo>
                    <a:pt x="303813" y="175892"/>
                    <a:pt x="296685" y="175923"/>
                    <a:pt x="290004" y="173919"/>
                  </a:cubicBezTo>
                  <a:cubicBezTo>
                    <a:pt x="284668" y="172318"/>
                    <a:pt x="279041" y="165915"/>
                    <a:pt x="275208" y="162082"/>
                  </a:cubicBezTo>
                  <a:cubicBezTo>
                    <a:pt x="265344" y="163069"/>
                    <a:pt x="254868" y="161483"/>
                    <a:pt x="245615" y="165042"/>
                  </a:cubicBezTo>
                  <a:cubicBezTo>
                    <a:pt x="243973" y="165674"/>
                    <a:pt x="232718" y="182908"/>
                    <a:pt x="230819" y="185756"/>
                  </a:cubicBezTo>
                  <a:cubicBezTo>
                    <a:pt x="223385" y="208061"/>
                    <a:pt x="233410" y="180576"/>
                    <a:pt x="221942" y="203512"/>
                  </a:cubicBezTo>
                  <a:cubicBezTo>
                    <a:pt x="220547" y="206302"/>
                    <a:pt x="220587" y="209714"/>
                    <a:pt x="218982" y="212389"/>
                  </a:cubicBezTo>
                  <a:cubicBezTo>
                    <a:pt x="214919" y="219161"/>
                    <a:pt x="211171" y="218939"/>
                    <a:pt x="204186" y="221267"/>
                  </a:cubicBezTo>
                  <a:cubicBezTo>
                    <a:pt x="201227" y="223240"/>
                    <a:pt x="198578" y="225784"/>
                    <a:pt x="195309" y="227185"/>
                  </a:cubicBezTo>
                  <a:cubicBezTo>
                    <a:pt x="175333" y="235747"/>
                    <a:pt x="126450" y="227429"/>
                    <a:pt x="121328" y="227185"/>
                  </a:cubicBezTo>
                  <a:cubicBezTo>
                    <a:pt x="116396" y="225212"/>
                    <a:pt x="111506" y="223132"/>
                    <a:pt x="106532" y="221267"/>
                  </a:cubicBezTo>
                  <a:cubicBezTo>
                    <a:pt x="103611" y="220172"/>
                    <a:pt x="100381" y="219823"/>
                    <a:pt x="97654" y="218308"/>
                  </a:cubicBezTo>
                  <a:cubicBezTo>
                    <a:pt x="91436" y="214854"/>
                    <a:pt x="86261" y="209652"/>
                    <a:pt x="79899" y="206471"/>
                  </a:cubicBezTo>
                  <a:cubicBezTo>
                    <a:pt x="70610" y="201827"/>
                    <a:pt x="46839" y="191165"/>
                    <a:pt x="38470" y="182797"/>
                  </a:cubicBezTo>
                  <a:lnTo>
                    <a:pt x="32551" y="176879"/>
                  </a:lnTo>
                  <a:cubicBezTo>
                    <a:pt x="31565" y="173920"/>
                    <a:pt x="31197" y="170676"/>
                    <a:pt x="29592" y="168001"/>
                  </a:cubicBezTo>
                  <a:cubicBezTo>
                    <a:pt x="28157" y="165609"/>
                    <a:pt x="25417" y="164261"/>
                    <a:pt x="23674" y="162082"/>
                  </a:cubicBezTo>
                  <a:cubicBezTo>
                    <a:pt x="7196" y="141485"/>
                    <a:pt x="29963" y="165414"/>
                    <a:pt x="8878" y="144327"/>
                  </a:cubicBezTo>
                  <a:lnTo>
                    <a:pt x="2959" y="126572"/>
                  </a:lnTo>
                  <a:lnTo>
                    <a:pt x="0" y="117694"/>
                  </a:lnTo>
                  <a:cubicBezTo>
                    <a:pt x="986" y="109803"/>
                    <a:pt x="5" y="101404"/>
                    <a:pt x="2959" y="94020"/>
                  </a:cubicBezTo>
                  <a:cubicBezTo>
                    <a:pt x="4280" y="90718"/>
                    <a:pt x="8749" y="89867"/>
                    <a:pt x="11837" y="88102"/>
                  </a:cubicBezTo>
                  <a:cubicBezTo>
                    <a:pt x="15667" y="85913"/>
                    <a:pt x="19844" y="84372"/>
                    <a:pt x="23674" y="82183"/>
                  </a:cubicBezTo>
                  <a:cubicBezTo>
                    <a:pt x="26762" y="80419"/>
                    <a:pt x="29370" y="77855"/>
                    <a:pt x="32551" y="76265"/>
                  </a:cubicBezTo>
                  <a:cubicBezTo>
                    <a:pt x="36793" y="74144"/>
                    <a:pt x="49478" y="71293"/>
                    <a:pt x="53266" y="70346"/>
                  </a:cubicBezTo>
                  <a:cubicBezTo>
                    <a:pt x="59184" y="66401"/>
                    <a:pt x="65991" y="63540"/>
                    <a:pt x="71021" y="58510"/>
                  </a:cubicBezTo>
                  <a:cubicBezTo>
                    <a:pt x="72994" y="56537"/>
                    <a:pt x="74708" y="54265"/>
                    <a:pt x="76940" y="52591"/>
                  </a:cubicBezTo>
                  <a:cubicBezTo>
                    <a:pt x="82630" y="48323"/>
                    <a:pt x="88777" y="44700"/>
                    <a:pt x="94695" y="40754"/>
                  </a:cubicBezTo>
                  <a:cubicBezTo>
                    <a:pt x="97654" y="38781"/>
                    <a:pt x="101058" y="37351"/>
                    <a:pt x="103573" y="34836"/>
                  </a:cubicBezTo>
                  <a:cubicBezTo>
                    <a:pt x="117529" y="20878"/>
                    <a:pt x="106338" y="29423"/>
                    <a:pt x="121328" y="22999"/>
                  </a:cubicBezTo>
                  <a:cubicBezTo>
                    <a:pt x="125383" y="21261"/>
                    <a:pt x="129335" y="19269"/>
                    <a:pt x="133165" y="17080"/>
                  </a:cubicBezTo>
                  <a:cubicBezTo>
                    <a:pt x="136253" y="15315"/>
                    <a:pt x="138612" y="12098"/>
                    <a:pt x="142043" y="11162"/>
                  </a:cubicBezTo>
                  <a:cubicBezTo>
                    <a:pt x="149715" y="9070"/>
                    <a:pt x="157825" y="9189"/>
                    <a:pt x="165716" y="8203"/>
                  </a:cubicBezTo>
                  <a:cubicBezTo>
                    <a:pt x="168675" y="7217"/>
                    <a:pt x="171595" y="6101"/>
                    <a:pt x="174594" y="5244"/>
                  </a:cubicBezTo>
                  <a:cubicBezTo>
                    <a:pt x="212288" y="-5527"/>
                    <a:pt x="219479" y="3317"/>
                    <a:pt x="281126" y="5244"/>
                  </a:cubicBezTo>
                  <a:cubicBezTo>
                    <a:pt x="289017" y="7217"/>
                    <a:pt x="297083" y="8590"/>
                    <a:pt x="304800" y="11162"/>
                  </a:cubicBezTo>
                  <a:cubicBezTo>
                    <a:pt x="310718" y="13135"/>
                    <a:pt x="316348" y="16459"/>
                    <a:pt x="322555" y="17080"/>
                  </a:cubicBezTo>
                  <a:cubicBezTo>
                    <a:pt x="365923" y="21418"/>
                    <a:pt x="342259" y="19334"/>
                    <a:pt x="393577" y="22999"/>
                  </a:cubicBezTo>
                  <a:lnTo>
                    <a:pt x="405413" y="40754"/>
                  </a:lnTo>
                  <a:lnTo>
                    <a:pt x="411332" y="49632"/>
                  </a:lnTo>
                  <a:cubicBezTo>
                    <a:pt x="410346" y="67387"/>
                    <a:pt x="409850" y="85177"/>
                    <a:pt x="408373" y="102898"/>
                  </a:cubicBezTo>
                  <a:cubicBezTo>
                    <a:pt x="407875" y="108877"/>
                    <a:pt x="406590" y="114770"/>
                    <a:pt x="405413" y="120653"/>
                  </a:cubicBezTo>
                  <a:cubicBezTo>
                    <a:pt x="403387" y="130783"/>
                    <a:pt x="404226" y="132642"/>
                    <a:pt x="396536" y="138409"/>
                  </a:cubicBezTo>
                  <a:cubicBezTo>
                    <a:pt x="390845" y="142677"/>
                    <a:pt x="383810" y="145216"/>
                    <a:pt x="378780" y="150246"/>
                  </a:cubicBezTo>
                  <a:cubicBezTo>
                    <a:pt x="375821" y="153205"/>
                    <a:pt x="373561" y="157091"/>
                    <a:pt x="369903" y="159123"/>
                  </a:cubicBezTo>
                  <a:cubicBezTo>
                    <a:pt x="341285" y="175022"/>
                    <a:pt x="362505" y="163562"/>
                    <a:pt x="358066" y="165042"/>
                  </a:cubicBezTo>
                  <a:close/>
                </a:path>
              </a:pathLst>
            </a:custGeom>
            <a:solidFill>
              <a:schemeClr val="bg1">
                <a:lumMod val="85000"/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>
                <a:solidFill>
                  <a:prstClr val="white"/>
                </a:solidFill>
              </a:endParaRPr>
            </a:p>
          </p:txBody>
        </p:sp>
        <p:grpSp>
          <p:nvGrpSpPr>
            <p:cNvPr id="965" name="Group 376"/>
            <p:cNvGrpSpPr/>
            <p:nvPr/>
          </p:nvGrpSpPr>
          <p:grpSpPr>
            <a:xfrm>
              <a:off x="3944680" y="1055945"/>
              <a:ext cx="452895" cy="327662"/>
              <a:chOff x="3944680" y="1055945"/>
              <a:chExt cx="452895" cy="327662"/>
            </a:xfrm>
          </p:grpSpPr>
          <p:sp>
            <p:nvSpPr>
              <p:cNvPr id="966" name="Freeform 377"/>
              <p:cNvSpPr/>
              <p:nvPr/>
            </p:nvSpPr>
            <p:spPr>
              <a:xfrm>
                <a:off x="3944680" y="1055945"/>
                <a:ext cx="438760" cy="327662"/>
              </a:xfrm>
              <a:custGeom>
                <a:avLst/>
                <a:gdLst>
                  <a:gd name="connsiteX0" fmla="*/ 138223 w 499730"/>
                  <a:gd name="connsiteY0" fmla="*/ 0 h 425302"/>
                  <a:gd name="connsiteX1" fmla="*/ 63795 w 499730"/>
                  <a:gd name="connsiteY1" fmla="*/ 74428 h 425302"/>
                  <a:gd name="connsiteX2" fmla="*/ 21265 w 499730"/>
                  <a:gd name="connsiteY2" fmla="*/ 138223 h 425302"/>
                  <a:gd name="connsiteX3" fmla="*/ 0 w 499730"/>
                  <a:gd name="connsiteY3" fmla="*/ 170121 h 425302"/>
                  <a:gd name="connsiteX4" fmla="*/ 53163 w 499730"/>
                  <a:gd name="connsiteY4" fmla="*/ 329609 h 425302"/>
                  <a:gd name="connsiteX5" fmla="*/ 85060 w 499730"/>
                  <a:gd name="connsiteY5" fmla="*/ 340241 h 425302"/>
                  <a:gd name="connsiteX6" fmla="*/ 148856 w 499730"/>
                  <a:gd name="connsiteY6" fmla="*/ 393404 h 425302"/>
                  <a:gd name="connsiteX7" fmla="*/ 308344 w 499730"/>
                  <a:gd name="connsiteY7" fmla="*/ 425302 h 425302"/>
                  <a:gd name="connsiteX8" fmla="*/ 340242 w 499730"/>
                  <a:gd name="connsiteY8" fmla="*/ 382772 h 425302"/>
                  <a:gd name="connsiteX9" fmla="*/ 393405 w 499730"/>
                  <a:gd name="connsiteY9" fmla="*/ 265814 h 425302"/>
                  <a:gd name="connsiteX10" fmla="*/ 414670 w 499730"/>
                  <a:gd name="connsiteY10" fmla="*/ 202018 h 425302"/>
                  <a:gd name="connsiteX11" fmla="*/ 478465 w 499730"/>
                  <a:gd name="connsiteY11" fmla="*/ 180753 h 425302"/>
                  <a:gd name="connsiteX12" fmla="*/ 499730 w 499730"/>
                  <a:gd name="connsiteY12" fmla="*/ 138223 h 425302"/>
                  <a:gd name="connsiteX0" fmla="*/ 241285 w 499730"/>
                  <a:gd name="connsiteY0" fmla="*/ 0 h 465936"/>
                  <a:gd name="connsiteX1" fmla="*/ 63795 w 499730"/>
                  <a:gd name="connsiteY1" fmla="*/ 115062 h 465936"/>
                  <a:gd name="connsiteX2" fmla="*/ 21265 w 499730"/>
                  <a:gd name="connsiteY2" fmla="*/ 178857 h 465936"/>
                  <a:gd name="connsiteX3" fmla="*/ 0 w 499730"/>
                  <a:gd name="connsiteY3" fmla="*/ 210755 h 465936"/>
                  <a:gd name="connsiteX4" fmla="*/ 53163 w 499730"/>
                  <a:gd name="connsiteY4" fmla="*/ 370243 h 465936"/>
                  <a:gd name="connsiteX5" fmla="*/ 85060 w 499730"/>
                  <a:gd name="connsiteY5" fmla="*/ 380875 h 465936"/>
                  <a:gd name="connsiteX6" fmla="*/ 148856 w 499730"/>
                  <a:gd name="connsiteY6" fmla="*/ 434038 h 465936"/>
                  <a:gd name="connsiteX7" fmla="*/ 308344 w 499730"/>
                  <a:gd name="connsiteY7" fmla="*/ 465936 h 465936"/>
                  <a:gd name="connsiteX8" fmla="*/ 340242 w 499730"/>
                  <a:gd name="connsiteY8" fmla="*/ 423406 h 465936"/>
                  <a:gd name="connsiteX9" fmla="*/ 393405 w 499730"/>
                  <a:gd name="connsiteY9" fmla="*/ 306448 h 465936"/>
                  <a:gd name="connsiteX10" fmla="*/ 414670 w 499730"/>
                  <a:gd name="connsiteY10" fmla="*/ 242652 h 465936"/>
                  <a:gd name="connsiteX11" fmla="*/ 478465 w 499730"/>
                  <a:gd name="connsiteY11" fmla="*/ 221387 h 465936"/>
                  <a:gd name="connsiteX12" fmla="*/ 499730 w 499730"/>
                  <a:gd name="connsiteY12" fmla="*/ 178857 h 465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99730" h="465936">
                    <a:moveTo>
                      <a:pt x="241285" y="0"/>
                    </a:moveTo>
                    <a:cubicBezTo>
                      <a:pt x="216476" y="24809"/>
                      <a:pt x="100465" y="85253"/>
                      <a:pt x="63795" y="115062"/>
                    </a:cubicBezTo>
                    <a:cubicBezTo>
                      <a:pt x="27125" y="144871"/>
                      <a:pt x="35442" y="157592"/>
                      <a:pt x="21265" y="178857"/>
                    </a:cubicBezTo>
                    <a:lnTo>
                      <a:pt x="0" y="210755"/>
                    </a:lnTo>
                    <a:cubicBezTo>
                      <a:pt x="16046" y="315052"/>
                      <a:pt x="-15559" y="335883"/>
                      <a:pt x="53163" y="370243"/>
                    </a:cubicBezTo>
                    <a:cubicBezTo>
                      <a:pt x="63187" y="375255"/>
                      <a:pt x="74428" y="377331"/>
                      <a:pt x="85060" y="380875"/>
                    </a:cubicBezTo>
                    <a:cubicBezTo>
                      <a:pt x="105092" y="400907"/>
                      <a:pt x="122210" y="422195"/>
                      <a:pt x="148856" y="434038"/>
                    </a:cubicBezTo>
                    <a:cubicBezTo>
                      <a:pt x="211684" y="461961"/>
                      <a:pt x="235351" y="457825"/>
                      <a:pt x="308344" y="465936"/>
                    </a:cubicBezTo>
                    <a:cubicBezTo>
                      <a:pt x="318977" y="451759"/>
                      <a:pt x="333426" y="439764"/>
                      <a:pt x="340242" y="423406"/>
                    </a:cubicBezTo>
                    <a:cubicBezTo>
                      <a:pt x="393625" y="295287"/>
                      <a:pt x="326193" y="373658"/>
                      <a:pt x="393405" y="306448"/>
                    </a:cubicBezTo>
                    <a:cubicBezTo>
                      <a:pt x="400493" y="285183"/>
                      <a:pt x="393405" y="249740"/>
                      <a:pt x="414670" y="242652"/>
                    </a:cubicBezTo>
                    <a:lnTo>
                      <a:pt x="478465" y="221387"/>
                    </a:lnTo>
                    <a:lnTo>
                      <a:pt x="499730" y="178857"/>
                    </a:lnTo>
                  </a:path>
                </a:pathLst>
              </a:custGeom>
              <a:noFill/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7" name="Freeform 378"/>
              <p:cNvSpPr/>
              <p:nvPr/>
            </p:nvSpPr>
            <p:spPr>
              <a:xfrm>
                <a:off x="4201560" y="1076328"/>
                <a:ext cx="196015" cy="123701"/>
              </a:xfrm>
              <a:custGeom>
                <a:avLst/>
                <a:gdLst>
                  <a:gd name="connsiteX0" fmla="*/ 0 w 182759"/>
                  <a:gd name="connsiteY0" fmla="*/ 0 h 109537"/>
                  <a:gd name="connsiteX1" fmla="*/ 4762 w 182759"/>
                  <a:gd name="connsiteY1" fmla="*/ 23812 h 109537"/>
                  <a:gd name="connsiteX2" fmla="*/ 90487 w 182759"/>
                  <a:gd name="connsiteY2" fmla="*/ 47625 h 109537"/>
                  <a:gd name="connsiteX3" fmla="*/ 138112 w 182759"/>
                  <a:gd name="connsiteY3" fmla="*/ 61912 h 109537"/>
                  <a:gd name="connsiteX4" fmla="*/ 166687 w 182759"/>
                  <a:gd name="connsiteY4" fmla="*/ 66675 h 109537"/>
                  <a:gd name="connsiteX5" fmla="*/ 180975 w 182759"/>
                  <a:gd name="connsiteY5" fmla="*/ 71437 h 109537"/>
                  <a:gd name="connsiteX6" fmla="*/ 180975 w 182759"/>
                  <a:gd name="connsiteY6" fmla="*/ 109537 h 10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759" h="109537">
                    <a:moveTo>
                      <a:pt x="0" y="0"/>
                    </a:moveTo>
                    <a:cubicBezTo>
                      <a:pt x="1587" y="7937"/>
                      <a:pt x="-208" y="17423"/>
                      <a:pt x="4762" y="23812"/>
                    </a:cubicBezTo>
                    <a:cubicBezTo>
                      <a:pt x="26341" y="51557"/>
                      <a:pt x="60171" y="45098"/>
                      <a:pt x="90487" y="47625"/>
                    </a:cubicBezTo>
                    <a:cubicBezTo>
                      <a:pt x="108719" y="53702"/>
                      <a:pt x="120112" y="58312"/>
                      <a:pt x="138112" y="61912"/>
                    </a:cubicBezTo>
                    <a:cubicBezTo>
                      <a:pt x="147581" y="63806"/>
                      <a:pt x="157261" y="64580"/>
                      <a:pt x="166687" y="66675"/>
                    </a:cubicBezTo>
                    <a:cubicBezTo>
                      <a:pt x="171588" y="67764"/>
                      <a:pt x="179387" y="66674"/>
                      <a:pt x="180975" y="71437"/>
                    </a:cubicBezTo>
                    <a:cubicBezTo>
                      <a:pt x="184991" y="83485"/>
                      <a:pt x="180975" y="96837"/>
                      <a:pt x="180975" y="109537"/>
                    </a:cubicBezTo>
                  </a:path>
                </a:pathLst>
              </a:custGeom>
              <a:noFill/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8" name="Freeform 379"/>
              <p:cNvSpPr/>
              <p:nvPr/>
            </p:nvSpPr>
            <p:spPr>
              <a:xfrm>
                <a:off x="4129126" y="1062036"/>
                <a:ext cx="71399" cy="45719"/>
              </a:xfrm>
              <a:custGeom>
                <a:avLst/>
                <a:gdLst>
                  <a:gd name="connsiteX0" fmla="*/ 0 w 47625"/>
                  <a:gd name="connsiteY0" fmla="*/ 0 h 38100"/>
                  <a:gd name="connsiteX1" fmla="*/ 28575 w 47625"/>
                  <a:gd name="connsiteY1" fmla="*/ 4762 h 38100"/>
                  <a:gd name="connsiteX2" fmla="*/ 33337 w 47625"/>
                  <a:gd name="connsiteY2" fmla="*/ 19050 h 38100"/>
                  <a:gd name="connsiteX3" fmla="*/ 47625 w 47625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625" h="38100">
                    <a:moveTo>
                      <a:pt x="0" y="0"/>
                    </a:moveTo>
                    <a:cubicBezTo>
                      <a:pt x="9525" y="1587"/>
                      <a:pt x="20191" y="-29"/>
                      <a:pt x="28575" y="4762"/>
                    </a:cubicBezTo>
                    <a:cubicBezTo>
                      <a:pt x="32934" y="7253"/>
                      <a:pt x="31092" y="14560"/>
                      <a:pt x="33337" y="19050"/>
                    </a:cubicBezTo>
                    <a:cubicBezTo>
                      <a:pt x="38721" y="29819"/>
                      <a:pt x="40928" y="31403"/>
                      <a:pt x="47625" y="38100"/>
                    </a:cubicBezTo>
                  </a:path>
                </a:pathLst>
              </a:custGeom>
              <a:noFill/>
              <a:ln w="762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956" name="Picture 6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32" y="261265"/>
            <a:ext cx="6454775" cy="6427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7833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29" name="Grupo 312"/>
          <p:cNvGrpSpPr/>
          <p:nvPr/>
        </p:nvGrpSpPr>
        <p:grpSpPr>
          <a:xfrm>
            <a:off x="354150" y="416860"/>
            <a:ext cx="6225721" cy="6061729"/>
            <a:chOff x="354149" y="416859"/>
            <a:chExt cx="6225721" cy="6061729"/>
          </a:xfrm>
        </p:grpSpPr>
        <p:sp>
          <p:nvSpPr>
            <p:cNvPr id="730" name="Forma livre 313"/>
            <p:cNvSpPr/>
            <p:nvPr/>
          </p:nvSpPr>
          <p:spPr bwMode="auto">
            <a:xfrm>
              <a:off x="3516313" y="6115050"/>
              <a:ext cx="192087" cy="231775"/>
            </a:xfrm>
            <a:custGeom>
              <a:avLst/>
              <a:gdLst>
                <a:gd name="connsiteX0" fmla="*/ 0 w 191022"/>
                <a:gd name="connsiteY0" fmla="*/ 0 h 231731"/>
                <a:gd name="connsiteX1" fmla="*/ 9395 w 191022"/>
                <a:gd name="connsiteY1" fmla="*/ 37578 h 231731"/>
                <a:gd name="connsiteX2" fmla="*/ 18789 w 191022"/>
                <a:gd name="connsiteY2" fmla="*/ 46972 h 231731"/>
                <a:gd name="connsiteX3" fmla="*/ 28184 w 191022"/>
                <a:gd name="connsiteY3" fmla="*/ 50104 h 231731"/>
                <a:gd name="connsiteX4" fmla="*/ 34447 w 191022"/>
                <a:gd name="connsiteY4" fmla="*/ 59499 h 231731"/>
                <a:gd name="connsiteX5" fmla="*/ 37578 w 191022"/>
                <a:gd name="connsiteY5" fmla="*/ 68893 h 231731"/>
                <a:gd name="connsiteX6" fmla="*/ 46973 w 191022"/>
                <a:gd name="connsiteY6" fmla="*/ 75156 h 231731"/>
                <a:gd name="connsiteX7" fmla="*/ 65762 w 191022"/>
                <a:gd name="connsiteY7" fmla="*/ 93945 h 231731"/>
                <a:gd name="connsiteX8" fmla="*/ 84551 w 191022"/>
                <a:gd name="connsiteY8" fmla="*/ 103340 h 231731"/>
                <a:gd name="connsiteX9" fmla="*/ 93945 w 191022"/>
                <a:gd name="connsiteY9" fmla="*/ 106471 h 231731"/>
                <a:gd name="connsiteX10" fmla="*/ 100208 w 191022"/>
                <a:gd name="connsiteY10" fmla="*/ 115866 h 231731"/>
                <a:gd name="connsiteX11" fmla="*/ 109603 w 191022"/>
                <a:gd name="connsiteY11" fmla="*/ 118997 h 231731"/>
                <a:gd name="connsiteX12" fmla="*/ 115866 w 191022"/>
                <a:gd name="connsiteY12" fmla="*/ 137786 h 231731"/>
                <a:gd name="connsiteX13" fmla="*/ 122129 w 191022"/>
                <a:gd name="connsiteY13" fmla="*/ 147181 h 231731"/>
                <a:gd name="connsiteX14" fmla="*/ 125260 w 191022"/>
                <a:gd name="connsiteY14" fmla="*/ 156575 h 231731"/>
                <a:gd name="connsiteX15" fmla="*/ 144050 w 191022"/>
                <a:gd name="connsiteY15" fmla="*/ 172233 h 231731"/>
                <a:gd name="connsiteX16" fmla="*/ 150313 w 191022"/>
                <a:gd name="connsiteY16" fmla="*/ 191022 h 231731"/>
                <a:gd name="connsiteX17" fmla="*/ 153444 w 191022"/>
                <a:gd name="connsiteY17" fmla="*/ 200416 h 231731"/>
                <a:gd name="connsiteX18" fmla="*/ 172233 w 191022"/>
                <a:gd name="connsiteY18" fmla="*/ 212942 h 231731"/>
                <a:gd name="connsiteX19" fmla="*/ 175365 w 191022"/>
                <a:gd name="connsiteY19" fmla="*/ 222337 h 231731"/>
                <a:gd name="connsiteX20" fmla="*/ 187891 w 191022"/>
                <a:gd name="connsiteY20" fmla="*/ 228600 h 231731"/>
                <a:gd name="connsiteX21" fmla="*/ 191022 w 191022"/>
                <a:gd name="connsiteY21" fmla="*/ 231731 h 23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91022" h="231731">
                  <a:moveTo>
                    <a:pt x="0" y="0"/>
                  </a:moveTo>
                  <a:cubicBezTo>
                    <a:pt x="1035" y="6209"/>
                    <a:pt x="4433" y="32616"/>
                    <a:pt x="9395" y="37578"/>
                  </a:cubicBezTo>
                  <a:cubicBezTo>
                    <a:pt x="12526" y="40709"/>
                    <a:pt x="15104" y="44516"/>
                    <a:pt x="18789" y="46972"/>
                  </a:cubicBezTo>
                  <a:cubicBezTo>
                    <a:pt x="21536" y="48803"/>
                    <a:pt x="25052" y="49060"/>
                    <a:pt x="28184" y="50104"/>
                  </a:cubicBezTo>
                  <a:cubicBezTo>
                    <a:pt x="30272" y="53236"/>
                    <a:pt x="32764" y="56133"/>
                    <a:pt x="34447" y="59499"/>
                  </a:cubicBezTo>
                  <a:cubicBezTo>
                    <a:pt x="35923" y="62451"/>
                    <a:pt x="35516" y="66316"/>
                    <a:pt x="37578" y="68893"/>
                  </a:cubicBezTo>
                  <a:cubicBezTo>
                    <a:pt x="39929" y="71832"/>
                    <a:pt x="44160" y="72656"/>
                    <a:pt x="46973" y="75156"/>
                  </a:cubicBezTo>
                  <a:cubicBezTo>
                    <a:pt x="53593" y="81040"/>
                    <a:pt x="57359" y="91144"/>
                    <a:pt x="65762" y="93945"/>
                  </a:cubicBezTo>
                  <a:cubicBezTo>
                    <a:pt x="89380" y="101819"/>
                    <a:pt x="60262" y="91196"/>
                    <a:pt x="84551" y="103340"/>
                  </a:cubicBezTo>
                  <a:cubicBezTo>
                    <a:pt x="87503" y="104816"/>
                    <a:pt x="90814" y="105427"/>
                    <a:pt x="93945" y="106471"/>
                  </a:cubicBezTo>
                  <a:cubicBezTo>
                    <a:pt x="96033" y="109603"/>
                    <a:pt x="97269" y="113515"/>
                    <a:pt x="100208" y="115866"/>
                  </a:cubicBezTo>
                  <a:cubicBezTo>
                    <a:pt x="102786" y="117928"/>
                    <a:pt x="107684" y="116311"/>
                    <a:pt x="109603" y="118997"/>
                  </a:cubicBezTo>
                  <a:cubicBezTo>
                    <a:pt x="113440" y="124369"/>
                    <a:pt x="112204" y="132293"/>
                    <a:pt x="115866" y="137786"/>
                  </a:cubicBezTo>
                  <a:lnTo>
                    <a:pt x="122129" y="147181"/>
                  </a:lnTo>
                  <a:cubicBezTo>
                    <a:pt x="123173" y="150312"/>
                    <a:pt x="123429" y="153829"/>
                    <a:pt x="125260" y="156575"/>
                  </a:cubicBezTo>
                  <a:cubicBezTo>
                    <a:pt x="130083" y="163809"/>
                    <a:pt x="137117" y="167611"/>
                    <a:pt x="144050" y="172233"/>
                  </a:cubicBezTo>
                  <a:lnTo>
                    <a:pt x="150313" y="191022"/>
                  </a:lnTo>
                  <a:cubicBezTo>
                    <a:pt x="151357" y="194153"/>
                    <a:pt x="150698" y="198585"/>
                    <a:pt x="153444" y="200416"/>
                  </a:cubicBezTo>
                  <a:lnTo>
                    <a:pt x="172233" y="212942"/>
                  </a:lnTo>
                  <a:cubicBezTo>
                    <a:pt x="173277" y="216074"/>
                    <a:pt x="173031" y="220003"/>
                    <a:pt x="175365" y="222337"/>
                  </a:cubicBezTo>
                  <a:cubicBezTo>
                    <a:pt x="178666" y="225638"/>
                    <a:pt x="183888" y="226198"/>
                    <a:pt x="187891" y="228600"/>
                  </a:cubicBezTo>
                  <a:cubicBezTo>
                    <a:pt x="189157" y="229359"/>
                    <a:pt x="189978" y="230687"/>
                    <a:pt x="191022" y="231731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1" name="Forma livre 314"/>
            <p:cNvSpPr/>
            <p:nvPr/>
          </p:nvSpPr>
          <p:spPr bwMode="auto">
            <a:xfrm>
              <a:off x="3544888" y="6203950"/>
              <a:ext cx="254000" cy="274638"/>
            </a:xfrm>
            <a:custGeom>
              <a:avLst/>
              <a:gdLst>
                <a:gd name="connsiteX0" fmla="*/ 253652 w 253652"/>
                <a:gd name="connsiteY0" fmla="*/ 0 h 275573"/>
                <a:gd name="connsiteX1" fmla="*/ 237994 w 253652"/>
                <a:gd name="connsiteY1" fmla="*/ 9395 h 275573"/>
                <a:gd name="connsiteX2" fmla="*/ 219205 w 253652"/>
                <a:gd name="connsiteY2" fmla="*/ 15658 h 275573"/>
                <a:gd name="connsiteX3" fmla="*/ 212942 w 253652"/>
                <a:gd name="connsiteY3" fmla="*/ 25052 h 275573"/>
                <a:gd name="connsiteX4" fmla="*/ 219205 w 253652"/>
                <a:gd name="connsiteY4" fmla="*/ 43841 h 275573"/>
                <a:gd name="connsiteX5" fmla="*/ 212942 w 253652"/>
                <a:gd name="connsiteY5" fmla="*/ 75156 h 275573"/>
                <a:gd name="connsiteX6" fmla="*/ 206679 w 253652"/>
                <a:gd name="connsiteY6" fmla="*/ 84551 h 275573"/>
                <a:gd name="connsiteX7" fmla="*/ 197285 w 253652"/>
                <a:gd name="connsiteY7" fmla="*/ 87682 h 275573"/>
                <a:gd name="connsiteX8" fmla="*/ 184759 w 253652"/>
                <a:gd name="connsiteY8" fmla="*/ 103340 h 275573"/>
                <a:gd name="connsiteX9" fmla="*/ 181627 w 253652"/>
                <a:gd name="connsiteY9" fmla="*/ 115866 h 275573"/>
                <a:gd name="connsiteX10" fmla="*/ 172233 w 253652"/>
                <a:gd name="connsiteY10" fmla="*/ 134655 h 275573"/>
                <a:gd name="connsiteX11" fmla="*/ 159707 w 253652"/>
                <a:gd name="connsiteY11" fmla="*/ 140918 h 275573"/>
                <a:gd name="connsiteX12" fmla="*/ 147181 w 253652"/>
                <a:gd name="connsiteY12" fmla="*/ 159707 h 275573"/>
                <a:gd name="connsiteX13" fmla="*/ 128392 w 253652"/>
                <a:gd name="connsiteY13" fmla="*/ 165970 h 275573"/>
                <a:gd name="connsiteX14" fmla="*/ 122129 w 253652"/>
                <a:gd name="connsiteY14" fmla="*/ 175364 h 275573"/>
                <a:gd name="connsiteX15" fmla="*/ 103339 w 253652"/>
                <a:gd name="connsiteY15" fmla="*/ 184759 h 275573"/>
                <a:gd name="connsiteX16" fmla="*/ 97076 w 253652"/>
                <a:gd name="connsiteY16" fmla="*/ 194153 h 275573"/>
                <a:gd name="connsiteX17" fmla="*/ 84550 w 253652"/>
                <a:gd name="connsiteY17" fmla="*/ 209811 h 275573"/>
                <a:gd name="connsiteX18" fmla="*/ 78287 w 253652"/>
                <a:gd name="connsiteY18" fmla="*/ 222337 h 275573"/>
                <a:gd name="connsiteX19" fmla="*/ 59498 w 253652"/>
                <a:gd name="connsiteY19" fmla="*/ 228600 h 275573"/>
                <a:gd name="connsiteX20" fmla="*/ 40709 w 253652"/>
                <a:gd name="connsiteY20" fmla="*/ 241126 h 275573"/>
                <a:gd name="connsiteX21" fmla="*/ 31315 w 253652"/>
                <a:gd name="connsiteY21" fmla="*/ 250521 h 275573"/>
                <a:gd name="connsiteX22" fmla="*/ 0 w 253652"/>
                <a:gd name="connsiteY22" fmla="*/ 275573 h 275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53652" h="275573">
                  <a:moveTo>
                    <a:pt x="253652" y="0"/>
                  </a:moveTo>
                  <a:cubicBezTo>
                    <a:pt x="248433" y="3132"/>
                    <a:pt x="243535" y="6876"/>
                    <a:pt x="237994" y="9395"/>
                  </a:cubicBezTo>
                  <a:cubicBezTo>
                    <a:pt x="231984" y="12127"/>
                    <a:pt x="219205" y="15658"/>
                    <a:pt x="219205" y="15658"/>
                  </a:cubicBezTo>
                  <a:cubicBezTo>
                    <a:pt x="217117" y="18789"/>
                    <a:pt x="212942" y="21289"/>
                    <a:pt x="212942" y="25052"/>
                  </a:cubicBezTo>
                  <a:cubicBezTo>
                    <a:pt x="212942" y="31654"/>
                    <a:pt x="219205" y="43841"/>
                    <a:pt x="219205" y="43841"/>
                  </a:cubicBezTo>
                  <a:cubicBezTo>
                    <a:pt x="218050" y="51926"/>
                    <a:pt x="217316" y="66408"/>
                    <a:pt x="212942" y="75156"/>
                  </a:cubicBezTo>
                  <a:cubicBezTo>
                    <a:pt x="211259" y="78522"/>
                    <a:pt x="209618" y="82200"/>
                    <a:pt x="206679" y="84551"/>
                  </a:cubicBezTo>
                  <a:cubicBezTo>
                    <a:pt x="204102" y="86613"/>
                    <a:pt x="200416" y="86638"/>
                    <a:pt x="197285" y="87682"/>
                  </a:cubicBezTo>
                  <a:cubicBezTo>
                    <a:pt x="187046" y="118397"/>
                    <a:pt x="203646" y="75010"/>
                    <a:pt x="184759" y="103340"/>
                  </a:cubicBezTo>
                  <a:cubicBezTo>
                    <a:pt x="182372" y="106921"/>
                    <a:pt x="182809" y="111728"/>
                    <a:pt x="181627" y="115866"/>
                  </a:cubicBezTo>
                  <a:cubicBezTo>
                    <a:pt x="179890" y="121945"/>
                    <a:pt x="177380" y="130366"/>
                    <a:pt x="172233" y="134655"/>
                  </a:cubicBezTo>
                  <a:cubicBezTo>
                    <a:pt x="168647" y="137644"/>
                    <a:pt x="163882" y="138830"/>
                    <a:pt x="159707" y="140918"/>
                  </a:cubicBezTo>
                  <a:cubicBezTo>
                    <a:pt x="155532" y="147181"/>
                    <a:pt x="154322" y="157327"/>
                    <a:pt x="147181" y="159707"/>
                  </a:cubicBezTo>
                  <a:lnTo>
                    <a:pt x="128392" y="165970"/>
                  </a:lnTo>
                  <a:cubicBezTo>
                    <a:pt x="126304" y="169101"/>
                    <a:pt x="124790" y="172703"/>
                    <a:pt x="122129" y="175364"/>
                  </a:cubicBezTo>
                  <a:cubicBezTo>
                    <a:pt x="116059" y="181434"/>
                    <a:pt x="110980" y="182212"/>
                    <a:pt x="103339" y="184759"/>
                  </a:cubicBezTo>
                  <a:cubicBezTo>
                    <a:pt x="101251" y="187890"/>
                    <a:pt x="99427" y="191214"/>
                    <a:pt x="97076" y="194153"/>
                  </a:cubicBezTo>
                  <a:cubicBezTo>
                    <a:pt x="86792" y="207009"/>
                    <a:pt x="94185" y="192951"/>
                    <a:pt x="84550" y="209811"/>
                  </a:cubicBezTo>
                  <a:cubicBezTo>
                    <a:pt x="82234" y="213864"/>
                    <a:pt x="82022" y="219536"/>
                    <a:pt x="78287" y="222337"/>
                  </a:cubicBezTo>
                  <a:cubicBezTo>
                    <a:pt x="73006" y="226298"/>
                    <a:pt x="59498" y="228600"/>
                    <a:pt x="59498" y="228600"/>
                  </a:cubicBezTo>
                  <a:cubicBezTo>
                    <a:pt x="53235" y="232775"/>
                    <a:pt x="46031" y="235803"/>
                    <a:pt x="40709" y="241126"/>
                  </a:cubicBezTo>
                  <a:cubicBezTo>
                    <a:pt x="37578" y="244258"/>
                    <a:pt x="34743" y="247717"/>
                    <a:pt x="31315" y="250521"/>
                  </a:cubicBezTo>
                  <a:cubicBezTo>
                    <a:pt x="-6385" y="281367"/>
                    <a:pt x="16553" y="259020"/>
                    <a:pt x="0" y="275573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2" name="Forma livre 315"/>
            <p:cNvSpPr/>
            <p:nvPr/>
          </p:nvSpPr>
          <p:spPr bwMode="auto">
            <a:xfrm>
              <a:off x="3448050" y="6275388"/>
              <a:ext cx="257175" cy="73025"/>
            </a:xfrm>
            <a:custGeom>
              <a:avLst/>
              <a:gdLst>
                <a:gd name="connsiteX0" fmla="*/ 0 w 256784"/>
                <a:gd name="connsiteY0" fmla="*/ 0 h 73843"/>
                <a:gd name="connsiteX1" fmla="*/ 15658 w 256784"/>
                <a:gd name="connsiteY1" fmla="*/ 12526 h 73843"/>
                <a:gd name="connsiteX2" fmla="*/ 34447 w 256784"/>
                <a:gd name="connsiteY2" fmla="*/ 18789 h 73843"/>
                <a:gd name="connsiteX3" fmla="*/ 53236 w 256784"/>
                <a:gd name="connsiteY3" fmla="*/ 28183 h 73843"/>
                <a:gd name="connsiteX4" fmla="*/ 103340 w 256784"/>
                <a:gd name="connsiteY4" fmla="*/ 43841 h 73843"/>
                <a:gd name="connsiteX5" fmla="*/ 134655 w 256784"/>
                <a:gd name="connsiteY5" fmla="*/ 53235 h 73843"/>
                <a:gd name="connsiteX6" fmla="*/ 144049 w 256784"/>
                <a:gd name="connsiteY6" fmla="*/ 56367 h 73843"/>
                <a:gd name="connsiteX7" fmla="*/ 162838 w 256784"/>
                <a:gd name="connsiteY7" fmla="*/ 59498 h 73843"/>
                <a:gd name="connsiteX8" fmla="*/ 172233 w 256784"/>
                <a:gd name="connsiteY8" fmla="*/ 65761 h 73843"/>
                <a:gd name="connsiteX9" fmla="*/ 256784 w 256784"/>
                <a:gd name="connsiteY9" fmla="*/ 72024 h 73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56784" h="73843">
                  <a:moveTo>
                    <a:pt x="0" y="0"/>
                  </a:moveTo>
                  <a:cubicBezTo>
                    <a:pt x="5219" y="4175"/>
                    <a:pt x="9790" y="9325"/>
                    <a:pt x="15658" y="12526"/>
                  </a:cubicBezTo>
                  <a:cubicBezTo>
                    <a:pt x="21454" y="15687"/>
                    <a:pt x="28954" y="15127"/>
                    <a:pt x="34447" y="18789"/>
                  </a:cubicBezTo>
                  <a:cubicBezTo>
                    <a:pt x="46588" y="26883"/>
                    <a:pt x="40271" y="23862"/>
                    <a:pt x="53236" y="28183"/>
                  </a:cubicBezTo>
                  <a:cubicBezTo>
                    <a:pt x="80754" y="46528"/>
                    <a:pt x="64535" y="39960"/>
                    <a:pt x="103340" y="43841"/>
                  </a:cubicBezTo>
                  <a:cubicBezTo>
                    <a:pt x="148022" y="58735"/>
                    <a:pt x="101506" y="43764"/>
                    <a:pt x="134655" y="53235"/>
                  </a:cubicBezTo>
                  <a:cubicBezTo>
                    <a:pt x="137829" y="54142"/>
                    <a:pt x="140827" y="55651"/>
                    <a:pt x="144049" y="56367"/>
                  </a:cubicBezTo>
                  <a:cubicBezTo>
                    <a:pt x="150247" y="57744"/>
                    <a:pt x="156575" y="58454"/>
                    <a:pt x="162838" y="59498"/>
                  </a:cubicBezTo>
                  <a:cubicBezTo>
                    <a:pt x="165970" y="61586"/>
                    <a:pt x="168794" y="64232"/>
                    <a:pt x="172233" y="65761"/>
                  </a:cubicBezTo>
                  <a:cubicBezTo>
                    <a:pt x="201922" y="78956"/>
                    <a:pt x="217278" y="72024"/>
                    <a:pt x="256784" y="72024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3" name="Forma livre 316"/>
            <p:cNvSpPr/>
            <p:nvPr/>
          </p:nvSpPr>
          <p:spPr bwMode="auto">
            <a:xfrm>
              <a:off x="3905250" y="6046788"/>
              <a:ext cx="150813" cy="12700"/>
            </a:xfrm>
            <a:custGeom>
              <a:avLst/>
              <a:gdLst>
                <a:gd name="connsiteX0" fmla="*/ 0 w 150312"/>
                <a:gd name="connsiteY0" fmla="*/ 12893 h 12893"/>
                <a:gd name="connsiteX1" fmla="*/ 50104 w 150312"/>
                <a:gd name="connsiteY1" fmla="*/ 6630 h 12893"/>
                <a:gd name="connsiteX2" fmla="*/ 78288 w 150312"/>
                <a:gd name="connsiteY2" fmla="*/ 367 h 12893"/>
                <a:gd name="connsiteX3" fmla="*/ 150312 w 150312"/>
                <a:gd name="connsiteY3" fmla="*/ 367 h 128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0312" h="12893">
                  <a:moveTo>
                    <a:pt x="0" y="12893"/>
                  </a:moveTo>
                  <a:cubicBezTo>
                    <a:pt x="15739" y="11319"/>
                    <a:pt x="34219" y="10160"/>
                    <a:pt x="50104" y="6630"/>
                  </a:cubicBezTo>
                  <a:cubicBezTo>
                    <a:pt x="66582" y="2968"/>
                    <a:pt x="54204" y="1197"/>
                    <a:pt x="78288" y="367"/>
                  </a:cubicBezTo>
                  <a:cubicBezTo>
                    <a:pt x="102282" y="-460"/>
                    <a:pt x="126304" y="367"/>
                    <a:pt x="150312" y="367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4" name="Forma livre 317"/>
            <p:cNvSpPr/>
            <p:nvPr/>
          </p:nvSpPr>
          <p:spPr bwMode="auto">
            <a:xfrm>
              <a:off x="4635500" y="4822825"/>
              <a:ext cx="595313" cy="166688"/>
            </a:xfrm>
            <a:custGeom>
              <a:avLst/>
              <a:gdLst>
                <a:gd name="connsiteX0" fmla="*/ 0 w 594986"/>
                <a:gd name="connsiteY0" fmla="*/ 165969 h 165969"/>
                <a:gd name="connsiteX1" fmla="*/ 15658 w 594986"/>
                <a:gd name="connsiteY1" fmla="*/ 156575 h 165969"/>
                <a:gd name="connsiteX2" fmla="*/ 81419 w 594986"/>
                <a:gd name="connsiteY2" fmla="*/ 150312 h 165969"/>
                <a:gd name="connsiteX3" fmla="*/ 103340 w 594986"/>
                <a:gd name="connsiteY3" fmla="*/ 137786 h 165969"/>
                <a:gd name="connsiteX4" fmla="*/ 122129 w 594986"/>
                <a:gd name="connsiteY4" fmla="*/ 131523 h 165969"/>
                <a:gd name="connsiteX5" fmla="*/ 131523 w 594986"/>
                <a:gd name="connsiteY5" fmla="*/ 128391 h 165969"/>
                <a:gd name="connsiteX6" fmla="*/ 150312 w 594986"/>
                <a:gd name="connsiteY6" fmla="*/ 118997 h 165969"/>
                <a:gd name="connsiteX7" fmla="*/ 159707 w 594986"/>
                <a:gd name="connsiteY7" fmla="*/ 112734 h 165969"/>
                <a:gd name="connsiteX8" fmla="*/ 178496 w 594986"/>
                <a:gd name="connsiteY8" fmla="*/ 106471 h 165969"/>
                <a:gd name="connsiteX9" fmla="*/ 197285 w 594986"/>
                <a:gd name="connsiteY9" fmla="*/ 93945 h 165969"/>
                <a:gd name="connsiteX10" fmla="*/ 206680 w 594986"/>
                <a:gd name="connsiteY10" fmla="*/ 87682 h 165969"/>
                <a:gd name="connsiteX11" fmla="*/ 225469 w 594986"/>
                <a:gd name="connsiteY11" fmla="*/ 81419 h 165969"/>
                <a:gd name="connsiteX12" fmla="*/ 234863 w 594986"/>
                <a:gd name="connsiteY12" fmla="*/ 78287 h 165969"/>
                <a:gd name="connsiteX13" fmla="*/ 253652 w 594986"/>
                <a:gd name="connsiteY13" fmla="*/ 68893 h 165969"/>
                <a:gd name="connsiteX14" fmla="*/ 272441 w 594986"/>
                <a:gd name="connsiteY14" fmla="*/ 56367 h 165969"/>
                <a:gd name="connsiteX15" fmla="*/ 291230 w 594986"/>
                <a:gd name="connsiteY15" fmla="*/ 43841 h 165969"/>
                <a:gd name="connsiteX16" fmla="*/ 306888 w 594986"/>
                <a:gd name="connsiteY16" fmla="*/ 31315 h 165969"/>
                <a:gd name="connsiteX17" fmla="*/ 316282 w 594986"/>
                <a:gd name="connsiteY17" fmla="*/ 25052 h 165969"/>
                <a:gd name="connsiteX18" fmla="*/ 325677 w 594986"/>
                <a:gd name="connsiteY18" fmla="*/ 15657 h 165969"/>
                <a:gd name="connsiteX19" fmla="*/ 344466 w 594986"/>
                <a:gd name="connsiteY19" fmla="*/ 9394 h 165969"/>
                <a:gd name="connsiteX20" fmla="*/ 372649 w 594986"/>
                <a:gd name="connsiteY20" fmla="*/ 3131 h 165969"/>
                <a:gd name="connsiteX21" fmla="*/ 382044 w 594986"/>
                <a:gd name="connsiteY21" fmla="*/ 0 h 165969"/>
                <a:gd name="connsiteX22" fmla="*/ 410228 w 594986"/>
                <a:gd name="connsiteY22" fmla="*/ 3131 h 165969"/>
                <a:gd name="connsiteX23" fmla="*/ 429017 w 594986"/>
                <a:gd name="connsiteY23" fmla="*/ 15657 h 165969"/>
                <a:gd name="connsiteX24" fmla="*/ 460332 w 594986"/>
                <a:gd name="connsiteY24" fmla="*/ 18789 h 165969"/>
                <a:gd name="connsiteX25" fmla="*/ 482252 w 594986"/>
                <a:gd name="connsiteY25" fmla="*/ 28183 h 165969"/>
                <a:gd name="connsiteX26" fmla="*/ 491647 w 594986"/>
                <a:gd name="connsiteY26" fmla="*/ 31315 h 165969"/>
                <a:gd name="connsiteX27" fmla="*/ 504173 w 594986"/>
                <a:gd name="connsiteY27" fmla="*/ 37578 h 165969"/>
                <a:gd name="connsiteX28" fmla="*/ 551145 w 594986"/>
                <a:gd name="connsiteY28" fmla="*/ 43841 h 165969"/>
                <a:gd name="connsiteX29" fmla="*/ 576197 w 594986"/>
                <a:gd name="connsiteY29" fmla="*/ 59498 h 165969"/>
                <a:gd name="connsiteX30" fmla="*/ 585592 w 594986"/>
                <a:gd name="connsiteY30" fmla="*/ 62630 h 165969"/>
                <a:gd name="connsiteX31" fmla="*/ 594986 w 594986"/>
                <a:gd name="connsiteY31" fmla="*/ 72024 h 16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94986" h="165969">
                  <a:moveTo>
                    <a:pt x="0" y="165969"/>
                  </a:moveTo>
                  <a:cubicBezTo>
                    <a:pt x="5219" y="162838"/>
                    <a:pt x="10214" y="159297"/>
                    <a:pt x="15658" y="156575"/>
                  </a:cubicBezTo>
                  <a:cubicBezTo>
                    <a:pt x="32691" y="148058"/>
                    <a:pt x="79979" y="150392"/>
                    <a:pt x="81419" y="150312"/>
                  </a:cubicBezTo>
                  <a:cubicBezTo>
                    <a:pt x="110158" y="140731"/>
                    <a:pt x="65418" y="156746"/>
                    <a:pt x="103340" y="137786"/>
                  </a:cubicBezTo>
                  <a:cubicBezTo>
                    <a:pt x="109245" y="134834"/>
                    <a:pt x="115866" y="133611"/>
                    <a:pt x="122129" y="131523"/>
                  </a:cubicBezTo>
                  <a:cubicBezTo>
                    <a:pt x="125260" y="130479"/>
                    <a:pt x="128777" y="130222"/>
                    <a:pt x="131523" y="128391"/>
                  </a:cubicBezTo>
                  <a:cubicBezTo>
                    <a:pt x="143664" y="120297"/>
                    <a:pt x="137347" y="123318"/>
                    <a:pt x="150312" y="118997"/>
                  </a:cubicBezTo>
                  <a:cubicBezTo>
                    <a:pt x="153444" y="116909"/>
                    <a:pt x="156268" y="114263"/>
                    <a:pt x="159707" y="112734"/>
                  </a:cubicBezTo>
                  <a:cubicBezTo>
                    <a:pt x="165740" y="110053"/>
                    <a:pt x="178496" y="106471"/>
                    <a:pt x="178496" y="106471"/>
                  </a:cubicBezTo>
                  <a:cubicBezTo>
                    <a:pt x="196306" y="88661"/>
                    <a:pt x="179158" y="103008"/>
                    <a:pt x="197285" y="93945"/>
                  </a:cubicBezTo>
                  <a:cubicBezTo>
                    <a:pt x="200651" y="92262"/>
                    <a:pt x="203241" y="89211"/>
                    <a:pt x="206680" y="87682"/>
                  </a:cubicBezTo>
                  <a:cubicBezTo>
                    <a:pt x="212713" y="85001"/>
                    <a:pt x="219206" y="83507"/>
                    <a:pt x="225469" y="81419"/>
                  </a:cubicBezTo>
                  <a:cubicBezTo>
                    <a:pt x="228600" y="80375"/>
                    <a:pt x="232117" y="80118"/>
                    <a:pt x="234863" y="78287"/>
                  </a:cubicBezTo>
                  <a:cubicBezTo>
                    <a:pt x="247004" y="70193"/>
                    <a:pt x="240687" y="73214"/>
                    <a:pt x="253652" y="68893"/>
                  </a:cubicBezTo>
                  <a:cubicBezTo>
                    <a:pt x="274503" y="48042"/>
                    <a:pt x="252047" y="67697"/>
                    <a:pt x="272441" y="56367"/>
                  </a:cubicBezTo>
                  <a:cubicBezTo>
                    <a:pt x="279021" y="52712"/>
                    <a:pt x="291230" y="43841"/>
                    <a:pt x="291230" y="43841"/>
                  </a:cubicBezTo>
                  <a:cubicBezTo>
                    <a:pt x="301788" y="28003"/>
                    <a:pt x="291761" y="38878"/>
                    <a:pt x="306888" y="31315"/>
                  </a:cubicBezTo>
                  <a:cubicBezTo>
                    <a:pt x="310254" y="29632"/>
                    <a:pt x="313391" y="27461"/>
                    <a:pt x="316282" y="25052"/>
                  </a:cubicBezTo>
                  <a:cubicBezTo>
                    <a:pt x="319684" y="22217"/>
                    <a:pt x="321806" y="17808"/>
                    <a:pt x="325677" y="15657"/>
                  </a:cubicBezTo>
                  <a:cubicBezTo>
                    <a:pt x="331448" y="12451"/>
                    <a:pt x="338203" y="11482"/>
                    <a:pt x="344466" y="9394"/>
                  </a:cubicBezTo>
                  <a:cubicBezTo>
                    <a:pt x="365607" y="2347"/>
                    <a:pt x="339593" y="10477"/>
                    <a:pt x="372649" y="3131"/>
                  </a:cubicBezTo>
                  <a:cubicBezTo>
                    <a:pt x="375871" y="2415"/>
                    <a:pt x="378912" y="1044"/>
                    <a:pt x="382044" y="0"/>
                  </a:cubicBezTo>
                  <a:cubicBezTo>
                    <a:pt x="391439" y="1044"/>
                    <a:pt x="401261" y="142"/>
                    <a:pt x="410228" y="3131"/>
                  </a:cubicBezTo>
                  <a:cubicBezTo>
                    <a:pt x="417369" y="5511"/>
                    <a:pt x="421527" y="14908"/>
                    <a:pt x="429017" y="15657"/>
                  </a:cubicBezTo>
                  <a:lnTo>
                    <a:pt x="460332" y="18789"/>
                  </a:lnTo>
                  <a:cubicBezTo>
                    <a:pt x="482357" y="26130"/>
                    <a:pt x="455173" y="16577"/>
                    <a:pt x="482252" y="28183"/>
                  </a:cubicBezTo>
                  <a:cubicBezTo>
                    <a:pt x="485286" y="29483"/>
                    <a:pt x="488613" y="30015"/>
                    <a:pt x="491647" y="31315"/>
                  </a:cubicBezTo>
                  <a:cubicBezTo>
                    <a:pt x="495938" y="33154"/>
                    <a:pt x="499802" y="35939"/>
                    <a:pt x="504173" y="37578"/>
                  </a:cubicBezTo>
                  <a:cubicBezTo>
                    <a:pt x="517448" y="42556"/>
                    <a:pt x="540370" y="42861"/>
                    <a:pt x="551145" y="43841"/>
                  </a:cubicBezTo>
                  <a:cubicBezTo>
                    <a:pt x="561070" y="58728"/>
                    <a:pt x="553837" y="52045"/>
                    <a:pt x="576197" y="59498"/>
                  </a:cubicBezTo>
                  <a:lnTo>
                    <a:pt x="585592" y="62630"/>
                  </a:lnTo>
                  <a:cubicBezTo>
                    <a:pt x="592434" y="72892"/>
                    <a:pt x="588092" y="72024"/>
                    <a:pt x="594986" y="72024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5" name="Forma livre 318"/>
            <p:cNvSpPr/>
            <p:nvPr/>
          </p:nvSpPr>
          <p:spPr bwMode="auto">
            <a:xfrm>
              <a:off x="5183188" y="4719638"/>
              <a:ext cx="47625" cy="160337"/>
            </a:xfrm>
            <a:custGeom>
              <a:avLst/>
              <a:gdLst>
                <a:gd name="connsiteX0" fmla="*/ 0 w 46972"/>
                <a:gd name="connsiteY0" fmla="*/ 0 h 159707"/>
                <a:gd name="connsiteX1" fmla="*/ 15657 w 46972"/>
                <a:gd name="connsiteY1" fmla="*/ 12526 h 159707"/>
                <a:gd name="connsiteX2" fmla="*/ 31315 w 46972"/>
                <a:gd name="connsiteY2" fmla="*/ 37578 h 159707"/>
                <a:gd name="connsiteX3" fmla="*/ 43841 w 46972"/>
                <a:gd name="connsiteY3" fmla="*/ 65761 h 159707"/>
                <a:gd name="connsiteX4" fmla="*/ 46972 w 46972"/>
                <a:gd name="connsiteY4" fmla="*/ 75156 h 159707"/>
                <a:gd name="connsiteX5" fmla="*/ 43841 w 46972"/>
                <a:gd name="connsiteY5" fmla="*/ 90814 h 159707"/>
                <a:gd name="connsiteX6" fmla="*/ 25052 w 46972"/>
                <a:gd name="connsiteY6" fmla="*/ 128392 h 159707"/>
                <a:gd name="connsiteX7" fmla="*/ 15657 w 46972"/>
                <a:gd name="connsiteY7" fmla="*/ 134655 h 159707"/>
                <a:gd name="connsiteX8" fmla="*/ 9394 w 46972"/>
                <a:gd name="connsiteY8" fmla="*/ 159707 h 15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972" h="159707">
                  <a:moveTo>
                    <a:pt x="0" y="0"/>
                  </a:moveTo>
                  <a:cubicBezTo>
                    <a:pt x="5219" y="4175"/>
                    <a:pt x="11824" y="7050"/>
                    <a:pt x="15657" y="12526"/>
                  </a:cubicBezTo>
                  <a:cubicBezTo>
                    <a:pt x="38481" y="45132"/>
                    <a:pt x="7664" y="21812"/>
                    <a:pt x="31315" y="37578"/>
                  </a:cubicBezTo>
                  <a:cubicBezTo>
                    <a:pt x="41240" y="52464"/>
                    <a:pt x="36389" y="43403"/>
                    <a:pt x="43841" y="65761"/>
                  </a:cubicBezTo>
                  <a:lnTo>
                    <a:pt x="46972" y="75156"/>
                  </a:lnTo>
                  <a:cubicBezTo>
                    <a:pt x="45928" y="80375"/>
                    <a:pt x="45241" y="85679"/>
                    <a:pt x="43841" y="90814"/>
                  </a:cubicBezTo>
                  <a:cubicBezTo>
                    <a:pt x="41063" y="101002"/>
                    <a:pt x="34553" y="122058"/>
                    <a:pt x="25052" y="128392"/>
                  </a:cubicBezTo>
                  <a:lnTo>
                    <a:pt x="15657" y="134655"/>
                  </a:lnTo>
                  <a:cubicBezTo>
                    <a:pt x="12142" y="155746"/>
                    <a:pt x="15366" y="147765"/>
                    <a:pt x="9394" y="159707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6" name="Forma livre 319"/>
            <p:cNvSpPr/>
            <p:nvPr/>
          </p:nvSpPr>
          <p:spPr bwMode="auto">
            <a:xfrm>
              <a:off x="5180013" y="4732338"/>
              <a:ext cx="115887" cy="147637"/>
            </a:xfrm>
            <a:custGeom>
              <a:avLst/>
              <a:gdLst>
                <a:gd name="connsiteX0" fmla="*/ 115866 w 115866"/>
                <a:gd name="connsiteY0" fmla="*/ 0 h 147181"/>
                <a:gd name="connsiteX1" fmla="*/ 106472 w 115866"/>
                <a:gd name="connsiteY1" fmla="*/ 34446 h 147181"/>
                <a:gd name="connsiteX2" fmla="*/ 97077 w 115866"/>
                <a:gd name="connsiteY2" fmla="*/ 53235 h 147181"/>
                <a:gd name="connsiteX3" fmla="*/ 78288 w 115866"/>
                <a:gd name="connsiteY3" fmla="*/ 56367 h 147181"/>
                <a:gd name="connsiteX4" fmla="*/ 68893 w 115866"/>
                <a:gd name="connsiteY4" fmla="*/ 62630 h 147181"/>
                <a:gd name="connsiteX5" fmla="*/ 78288 w 115866"/>
                <a:gd name="connsiteY5" fmla="*/ 87682 h 147181"/>
                <a:gd name="connsiteX6" fmla="*/ 68893 w 115866"/>
                <a:gd name="connsiteY6" fmla="*/ 109603 h 147181"/>
                <a:gd name="connsiteX7" fmla="*/ 50104 w 115866"/>
                <a:gd name="connsiteY7" fmla="*/ 122129 h 147181"/>
                <a:gd name="connsiteX8" fmla="*/ 31315 w 115866"/>
                <a:gd name="connsiteY8" fmla="*/ 134655 h 147181"/>
                <a:gd name="connsiteX9" fmla="*/ 12526 w 115866"/>
                <a:gd name="connsiteY9" fmla="*/ 144049 h 147181"/>
                <a:gd name="connsiteX10" fmla="*/ 0 w 115866"/>
                <a:gd name="connsiteY10" fmla="*/ 147181 h 1471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5866" h="147181">
                  <a:moveTo>
                    <a:pt x="115866" y="0"/>
                  </a:moveTo>
                  <a:cubicBezTo>
                    <a:pt x="110232" y="45080"/>
                    <a:pt x="118314" y="10763"/>
                    <a:pt x="106472" y="34446"/>
                  </a:cubicBezTo>
                  <a:cubicBezTo>
                    <a:pt x="104002" y="39386"/>
                    <a:pt x="103060" y="50244"/>
                    <a:pt x="97077" y="53235"/>
                  </a:cubicBezTo>
                  <a:cubicBezTo>
                    <a:pt x="91398" y="56075"/>
                    <a:pt x="84551" y="55323"/>
                    <a:pt x="78288" y="56367"/>
                  </a:cubicBezTo>
                  <a:cubicBezTo>
                    <a:pt x="75156" y="58455"/>
                    <a:pt x="69927" y="59011"/>
                    <a:pt x="68893" y="62630"/>
                  </a:cubicBezTo>
                  <a:cubicBezTo>
                    <a:pt x="66184" y="72111"/>
                    <a:pt x="73724" y="80836"/>
                    <a:pt x="78288" y="87682"/>
                  </a:cubicBezTo>
                  <a:cubicBezTo>
                    <a:pt x="76222" y="95945"/>
                    <a:pt x="75813" y="103548"/>
                    <a:pt x="68893" y="109603"/>
                  </a:cubicBezTo>
                  <a:cubicBezTo>
                    <a:pt x="63228" y="114560"/>
                    <a:pt x="56367" y="117954"/>
                    <a:pt x="50104" y="122129"/>
                  </a:cubicBezTo>
                  <a:lnTo>
                    <a:pt x="31315" y="134655"/>
                  </a:lnTo>
                  <a:cubicBezTo>
                    <a:pt x="21019" y="141519"/>
                    <a:pt x="23874" y="140807"/>
                    <a:pt x="12526" y="144049"/>
                  </a:cubicBezTo>
                  <a:cubicBezTo>
                    <a:pt x="8388" y="145231"/>
                    <a:pt x="0" y="147181"/>
                    <a:pt x="0" y="147181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7" name="Forma livre 320"/>
            <p:cNvSpPr/>
            <p:nvPr/>
          </p:nvSpPr>
          <p:spPr bwMode="auto">
            <a:xfrm>
              <a:off x="4238625" y="4997450"/>
              <a:ext cx="398463" cy="685800"/>
            </a:xfrm>
            <a:custGeom>
              <a:avLst/>
              <a:gdLst>
                <a:gd name="connsiteX0" fmla="*/ 397946 w 397946"/>
                <a:gd name="connsiteY0" fmla="*/ 0 h 685800"/>
                <a:gd name="connsiteX1" fmla="*/ 377894 w 397946"/>
                <a:gd name="connsiteY1" fmla="*/ 32084 h 685800"/>
                <a:gd name="connsiteX2" fmla="*/ 369873 w 397946"/>
                <a:gd name="connsiteY2" fmla="*/ 44116 h 685800"/>
                <a:gd name="connsiteX3" fmla="*/ 361852 w 397946"/>
                <a:gd name="connsiteY3" fmla="*/ 68179 h 685800"/>
                <a:gd name="connsiteX4" fmla="*/ 349820 w 397946"/>
                <a:gd name="connsiteY4" fmla="*/ 76200 h 685800"/>
                <a:gd name="connsiteX5" fmla="*/ 321746 w 397946"/>
                <a:gd name="connsiteY5" fmla="*/ 84221 h 685800"/>
                <a:gd name="connsiteX6" fmla="*/ 309715 w 397946"/>
                <a:gd name="connsiteY6" fmla="*/ 88231 h 685800"/>
                <a:gd name="connsiteX7" fmla="*/ 297683 w 397946"/>
                <a:gd name="connsiteY7" fmla="*/ 96252 h 685800"/>
                <a:gd name="connsiteX8" fmla="*/ 285652 w 397946"/>
                <a:gd name="connsiteY8" fmla="*/ 120316 h 685800"/>
                <a:gd name="connsiteX9" fmla="*/ 249557 w 397946"/>
                <a:gd name="connsiteY9" fmla="*/ 124326 h 685800"/>
                <a:gd name="connsiteX10" fmla="*/ 237525 w 397946"/>
                <a:gd name="connsiteY10" fmla="*/ 132347 h 685800"/>
                <a:gd name="connsiteX11" fmla="*/ 213462 w 397946"/>
                <a:gd name="connsiteY11" fmla="*/ 156410 h 685800"/>
                <a:gd name="connsiteX12" fmla="*/ 205441 w 397946"/>
                <a:gd name="connsiteY12" fmla="*/ 180473 h 685800"/>
                <a:gd name="connsiteX13" fmla="*/ 181378 w 397946"/>
                <a:gd name="connsiteY13" fmla="*/ 196516 h 685800"/>
                <a:gd name="connsiteX14" fmla="*/ 157315 w 397946"/>
                <a:gd name="connsiteY14" fmla="*/ 216568 h 685800"/>
                <a:gd name="connsiteX15" fmla="*/ 153304 w 397946"/>
                <a:gd name="connsiteY15" fmla="*/ 236621 h 685800"/>
                <a:gd name="connsiteX16" fmla="*/ 109189 w 397946"/>
                <a:gd name="connsiteY16" fmla="*/ 232610 h 685800"/>
                <a:gd name="connsiteX17" fmla="*/ 97157 w 397946"/>
                <a:gd name="connsiteY17" fmla="*/ 236621 h 685800"/>
                <a:gd name="connsiteX18" fmla="*/ 89136 w 397946"/>
                <a:gd name="connsiteY18" fmla="*/ 260684 h 685800"/>
                <a:gd name="connsiteX19" fmla="*/ 49031 w 397946"/>
                <a:gd name="connsiteY19" fmla="*/ 272716 h 685800"/>
                <a:gd name="connsiteX20" fmla="*/ 32989 w 397946"/>
                <a:gd name="connsiteY20" fmla="*/ 296779 h 685800"/>
                <a:gd name="connsiteX21" fmla="*/ 20957 w 397946"/>
                <a:gd name="connsiteY21" fmla="*/ 320842 h 685800"/>
                <a:gd name="connsiteX22" fmla="*/ 8925 w 397946"/>
                <a:gd name="connsiteY22" fmla="*/ 328863 h 685800"/>
                <a:gd name="connsiteX23" fmla="*/ 904 w 397946"/>
                <a:gd name="connsiteY23" fmla="*/ 352926 h 685800"/>
                <a:gd name="connsiteX24" fmla="*/ 16946 w 397946"/>
                <a:gd name="connsiteY24" fmla="*/ 381000 h 685800"/>
                <a:gd name="connsiteX25" fmla="*/ 36999 w 397946"/>
                <a:gd name="connsiteY25" fmla="*/ 405063 h 685800"/>
                <a:gd name="connsiteX26" fmla="*/ 45020 w 397946"/>
                <a:gd name="connsiteY26" fmla="*/ 433137 h 685800"/>
                <a:gd name="connsiteX27" fmla="*/ 53041 w 397946"/>
                <a:gd name="connsiteY27" fmla="*/ 461210 h 685800"/>
                <a:gd name="connsiteX28" fmla="*/ 57052 w 397946"/>
                <a:gd name="connsiteY28" fmla="*/ 473242 h 685800"/>
                <a:gd name="connsiteX29" fmla="*/ 65073 w 397946"/>
                <a:gd name="connsiteY29" fmla="*/ 485273 h 685800"/>
                <a:gd name="connsiteX30" fmla="*/ 73094 w 397946"/>
                <a:gd name="connsiteY30" fmla="*/ 549442 h 685800"/>
                <a:gd name="connsiteX31" fmla="*/ 77104 w 397946"/>
                <a:gd name="connsiteY31" fmla="*/ 565484 h 685800"/>
                <a:gd name="connsiteX32" fmla="*/ 85125 w 397946"/>
                <a:gd name="connsiteY32" fmla="*/ 597568 h 685800"/>
                <a:gd name="connsiteX33" fmla="*/ 81115 w 397946"/>
                <a:gd name="connsiteY33" fmla="*/ 633663 h 685800"/>
                <a:gd name="connsiteX34" fmla="*/ 73094 w 397946"/>
                <a:gd name="connsiteY34" fmla="*/ 657726 h 685800"/>
                <a:gd name="connsiteX35" fmla="*/ 69083 w 397946"/>
                <a:gd name="connsiteY35" fmla="*/ 669758 h 685800"/>
                <a:gd name="connsiteX36" fmla="*/ 69083 w 397946"/>
                <a:gd name="connsiteY36" fmla="*/ 685800 h 685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397946" h="685800">
                  <a:moveTo>
                    <a:pt x="397946" y="0"/>
                  </a:moveTo>
                  <a:cubicBezTo>
                    <a:pt x="361130" y="46019"/>
                    <a:pt x="393566" y="737"/>
                    <a:pt x="377894" y="32084"/>
                  </a:cubicBezTo>
                  <a:cubicBezTo>
                    <a:pt x="375739" y="36395"/>
                    <a:pt x="371831" y="39711"/>
                    <a:pt x="369873" y="44116"/>
                  </a:cubicBezTo>
                  <a:cubicBezTo>
                    <a:pt x="366439" y="51842"/>
                    <a:pt x="368887" y="63489"/>
                    <a:pt x="361852" y="68179"/>
                  </a:cubicBezTo>
                  <a:cubicBezTo>
                    <a:pt x="357841" y="70853"/>
                    <a:pt x="354131" y="74044"/>
                    <a:pt x="349820" y="76200"/>
                  </a:cubicBezTo>
                  <a:cubicBezTo>
                    <a:pt x="343413" y="79404"/>
                    <a:pt x="327738" y="82509"/>
                    <a:pt x="321746" y="84221"/>
                  </a:cubicBezTo>
                  <a:cubicBezTo>
                    <a:pt x="317681" y="85382"/>
                    <a:pt x="313725" y="86894"/>
                    <a:pt x="309715" y="88231"/>
                  </a:cubicBezTo>
                  <a:cubicBezTo>
                    <a:pt x="305704" y="90905"/>
                    <a:pt x="300694" y="92488"/>
                    <a:pt x="297683" y="96252"/>
                  </a:cubicBezTo>
                  <a:cubicBezTo>
                    <a:pt x="292876" y="102261"/>
                    <a:pt x="295189" y="116848"/>
                    <a:pt x="285652" y="120316"/>
                  </a:cubicBezTo>
                  <a:cubicBezTo>
                    <a:pt x="274275" y="124453"/>
                    <a:pt x="261589" y="122989"/>
                    <a:pt x="249557" y="124326"/>
                  </a:cubicBezTo>
                  <a:cubicBezTo>
                    <a:pt x="245546" y="127000"/>
                    <a:pt x="241128" y="129145"/>
                    <a:pt x="237525" y="132347"/>
                  </a:cubicBezTo>
                  <a:cubicBezTo>
                    <a:pt x="229047" y="139883"/>
                    <a:pt x="213462" y="156410"/>
                    <a:pt x="213462" y="156410"/>
                  </a:cubicBezTo>
                  <a:cubicBezTo>
                    <a:pt x="210788" y="164431"/>
                    <a:pt x="212476" y="175783"/>
                    <a:pt x="205441" y="180473"/>
                  </a:cubicBezTo>
                  <a:cubicBezTo>
                    <a:pt x="197420" y="185821"/>
                    <a:pt x="188195" y="189700"/>
                    <a:pt x="181378" y="196516"/>
                  </a:cubicBezTo>
                  <a:cubicBezTo>
                    <a:pt x="165938" y="211955"/>
                    <a:pt x="174065" y="205401"/>
                    <a:pt x="157315" y="216568"/>
                  </a:cubicBezTo>
                  <a:cubicBezTo>
                    <a:pt x="155978" y="223252"/>
                    <a:pt x="159771" y="234465"/>
                    <a:pt x="153304" y="236621"/>
                  </a:cubicBezTo>
                  <a:cubicBezTo>
                    <a:pt x="139296" y="241290"/>
                    <a:pt x="123955" y="232610"/>
                    <a:pt x="109189" y="232610"/>
                  </a:cubicBezTo>
                  <a:cubicBezTo>
                    <a:pt x="104961" y="232610"/>
                    <a:pt x="101168" y="235284"/>
                    <a:pt x="97157" y="236621"/>
                  </a:cubicBezTo>
                  <a:cubicBezTo>
                    <a:pt x="94483" y="244642"/>
                    <a:pt x="94209" y="253920"/>
                    <a:pt x="89136" y="260684"/>
                  </a:cubicBezTo>
                  <a:cubicBezTo>
                    <a:pt x="82475" y="269566"/>
                    <a:pt x="56339" y="271498"/>
                    <a:pt x="49031" y="272716"/>
                  </a:cubicBezTo>
                  <a:cubicBezTo>
                    <a:pt x="43684" y="280737"/>
                    <a:pt x="36038" y="287634"/>
                    <a:pt x="32989" y="296779"/>
                  </a:cubicBezTo>
                  <a:cubicBezTo>
                    <a:pt x="29727" y="306563"/>
                    <a:pt x="28730" y="313069"/>
                    <a:pt x="20957" y="320842"/>
                  </a:cubicBezTo>
                  <a:cubicBezTo>
                    <a:pt x="17549" y="324250"/>
                    <a:pt x="12936" y="326189"/>
                    <a:pt x="8925" y="328863"/>
                  </a:cubicBezTo>
                  <a:cubicBezTo>
                    <a:pt x="6251" y="336884"/>
                    <a:pt x="-2877" y="345364"/>
                    <a:pt x="904" y="352926"/>
                  </a:cubicBezTo>
                  <a:cubicBezTo>
                    <a:pt x="5806" y="362730"/>
                    <a:pt x="9861" y="372499"/>
                    <a:pt x="16946" y="381000"/>
                  </a:cubicBezTo>
                  <a:cubicBezTo>
                    <a:pt x="42680" y="411880"/>
                    <a:pt x="17084" y="375190"/>
                    <a:pt x="36999" y="405063"/>
                  </a:cubicBezTo>
                  <a:cubicBezTo>
                    <a:pt x="45785" y="440204"/>
                    <a:pt x="36391" y="404373"/>
                    <a:pt x="45020" y="433137"/>
                  </a:cubicBezTo>
                  <a:cubicBezTo>
                    <a:pt x="47816" y="442459"/>
                    <a:pt x="50244" y="451888"/>
                    <a:pt x="53041" y="461210"/>
                  </a:cubicBezTo>
                  <a:cubicBezTo>
                    <a:pt x="54256" y="465259"/>
                    <a:pt x="55161" y="469461"/>
                    <a:pt x="57052" y="473242"/>
                  </a:cubicBezTo>
                  <a:cubicBezTo>
                    <a:pt x="59208" y="477553"/>
                    <a:pt x="62399" y="481263"/>
                    <a:pt x="65073" y="485273"/>
                  </a:cubicBezTo>
                  <a:cubicBezTo>
                    <a:pt x="75454" y="516422"/>
                    <a:pt x="65213" y="482450"/>
                    <a:pt x="73094" y="549442"/>
                  </a:cubicBezTo>
                  <a:cubicBezTo>
                    <a:pt x="73738" y="554916"/>
                    <a:pt x="75908" y="560103"/>
                    <a:pt x="77104" y="565484"/>
                  </a:cubicBezTo>
                  <a:cubicBezTo>
                    <a:pt x="83556" y="594518"/>
                    <a:pt x="77960" y="576071"/>
                    <a:pt x="85125" y="597568"/>
                  </a:cubicBezTo>
                  <a:cubicBezTo>
                    <a:pt x="83788" y="609600"/>
                    <a:pt x="83489" y="621792"/>
                    <a:pt x="81115" y="633663"/>
                  </a:cubicBezTo>
                  <a:cubicBezTo>
                    <a:pt x="79457" y="641954"/>
                    <a:pt x="75768" y="649705"/>
                    <a:pt x="73094" y="657726"/>
                  </a:cubicBezTo>
                  <a:cubicBezTo>
                    <a:pt x="71757" y="661737"/>
                    <a:pt x="69083" y="665530"/>
                    <a:pt x="69083" y="669758"/>
                  </a:cubicBezTo>
                  <a:lnTo>
                    <a:pt x="69083" y="68580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8" name="Forma livre 321"/>
            <p:cNvSpPr/>
            <p:nvPr/>
          </p:nvSpPr>
          <p:spPr bwMode="auto">
            <a:xfrm>
              <a:off x="3975100" y="5341938"/>
              <a:ext cx="268288" cy="441325"/>
            </a:xfrm>
            <a:custGeom>
              <a:avLst/>
              <a:gdLst>
                <a:gd name="connsiteX0" fmla="*/ 268705 w 268705"/>
                <a:gd name="connsiteY0" fmla="*/ 0 h 441158"/>
                <a:gd name="connsiteX1" fmla="*/ 236621 w 268705"/>
                <a:gd name="connsiteY1" fmla="*/ 12032 h 441158"/>
                <a:gd name="connsiteX2" fmla="*/ 232610 w 268705"/>
                <a:gd name="connsiteY2" fmla="*/ 52137 h 441158"/>
                <a:gd name="connsiteX3" fmla="*/ 184484 w 268705"/>
                <a:gd name="connsiteY3" fmla="*/ 56147 h 441158"/>
                <a:gd name="connsiteX4" fmla="*/ 172452 w 268705"/>
                <a:gd name="connsiteY4" fmla="*/ 64168 h 441158"/>
                <a:gd name="connsiteX5" fmla="*/ 156410 w 268705"/>
                <a:gd name="connsiteY5" fmla="*/ 88232 h 441158"/>
                <a:gd name="connsiteX6" fmla="*/ 140368 w 268705"/>
                <a:gd name="connsiteY6" fmla="*/ 92242 h 441158"/>
                <a:gd name="connsiteX7" fmla="*/ 108284 w 268705"/>
                <a:gd name="connsiteY7" fmla="*/ 120316 h 441158"/>
                <a:gd name="connsiteX8" fmla="*/ 80210 w 268705"/>
                <a:gd name="connsiteY8" fmla="*/ 124326 h 441158"/>
                <a:gd name="connsiteX9" fmla="*/ 80210 w 268705"/>
                <a:gd name="connsiteY9" fmla="*/ 172453 h 441158"/>
                <a:gd name="connsiteX10" fmla="*/ 76200 w 268705"/>
                <a:gd name="connsiteY10" fmla="*/ 184484 h 441158"/>
                <a:gd name="connsiteX11" fmla="*/ 64168 w 268705"/>
                <a:gd name="connsiteY11" fmla="*/ 192505 h 441158"/>
                <a:gd name="connsiteX12" fmla="*/ 60157 w 268705"/>
                <a:gd name="connsiteY12" fmla="*/ 204537 h 441158"/>
                <a:gd name="connsiteX13" fmla="*/ 56147 w 268705"/>
                <a:gd name="connsiteY13" fmla="*/ 240632 h 441158"/>
                <a:gd name="connsiteX14" fmla="*/ 44115 w 268705"/>
                <a:gd name="connsiteY14" fmla="*/ 252663 h 441158"/>
                <a:gd name="connsiteX15" fmla="*/ 40105 w 268705"/>
                <a:gd name="connsiteY15" fmla="*/ 264695 h 441158"/>
                <a:gd name="connsiteX16" fmla="*/ 52136 w 268705"/>
                <a:gd name="connsiteY16" fmla="*/ 292768 h 441158"/>
                <a:gd name="connsiteX17" fmla="*/ 64168 w 268705"/>
                <a:gd name="connsiteY17" fmla="*/ 316832 h 441158"/>
                <a:gd name="connsiteX18" fmla="*/ 56147 w 268705"/>
                <a:gd name="connsiteY18" fmla="*/ 368968 h 441158"/>
                <a:gd name="connsiteX19" fmla="*/ 44115 w 268705"/>
                <a:gd name="connsiteY19" fmla="*/ 381000 h 441158"/>
                <a:gd name="connsiteX20" fmla="*/ 36094 w 268705"/>
                <a:gd name="connsiteY20" fmla="*/ 393032 h 441158"/>
                <a:gd name="connsiteX21" fmla="*/ 24063 w 268705"/>
                <a:gd name="connsiteY21" fmla="*/ 417095 h 441158"/>
                <a:gd name="connsiteX22" fmla="*/ 0 w 268705"/>
                <a:gd name="connsiteY22" fmla="*/ 441158 h 441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68705" h="441158">
                  <a:moveTo>
                    <a:pt x="268705" y="0"/>
                  </a:moveTo>
                  <a:cubicBezTo>
                    <a:pt x="264790" y="783"/>
                    <a:pt x="239572" y="3180"/>
                    <a:pt x="236621" y="12032"/>
                  </a:cubicBezTo>
                  <a:cubicBezTo>
                    <a:pt x="232372" y="24778"/>
                    <a:pt x="242866" y="43459"/>
                    <a:pt x="232610" y="52137"/>
                  </a:cubicBezTo>
                  <a:cubicBezTo>
                    <a:pt x="220321" y="62535"/>
                    <a:pt x="200526" y="54810"/>
                    <a:pt x="184484" y="56147"/>
                  </a:cubicBezTo>
                  <a:cubicBezTo>
                    <a:pt x="180473" y="58821"/>
                    <a:pt x="175626" y="60540"/>
                    <a:pt x="172452" y="64168"/>
                  </a:cubicBezTo>
                  <a:cubicBezTo>
                    <a:pt x="166104" y="71423"/>
                    <a:pt x="165763" y="85894"/>
                    <a:pt x="156410" y="88232"/>
                  </a:cubicBezTo>
                  <a:lnTo>
                    <a:pt x="140368" y="92242"/>
                  </a:lnTo>
                  <a:cubicBezTo>
                    <a:pt x="123567" y="117444"/>
                    <a:pt x="132364" y="115938"/>
                    <a:pt x="108284" y="120316"/>
                  </a:cubicBezTo>
                  <a:cubicBezTo>
                    <a:pt x="98983" y="122007"/>
                    <a:pt x="89568" y="122989"/>
                    <a:pt x="80210" y="124326"/>
                  </a:cubicBezTo>
                  <a:cubicBezTo>
                    <a:pt x="86204" y="148298"/>
                    <a:pt x="86140" y="139838"/>
                    <a:pt x="80210" y="172453"/>
                  </a:cubicBezTo>
                  <a:cubicBezTo>
                    <a:pt x="79454" y="176612"/>
                    <a:pt x="78841" y="181183"/>
                    <a:pt x="76200" y="184484"/>
                  </a:cubicBezTo>
                  <a:cubicBezTo>
                    <a:pt x="73189" y="188248"/>
                    <a:pt x="68179" y="189831"/>
                    <a:pt x="64168" y="192505"/>
                  </a:cubicBezTo>
                  <a:cubicBezTo>
                    <a:pt x="62831" y="196516"/>
                    <a:pt x="60852" y="200367"/>
                    <a:pt x="60157" y="204537"/>
                  </a:cubicBezTo>
                  <a:cubicBezTo>
                    <a:pt x="58167" y="216478"/>
                    <a:pt x="59975" y="229148"/>
                    <a:pt x="56147" y="240632"/>
                  </a:cubicBezTo>
                  <a:cubicBezTo>
                    <a:pt x="54353" y="246013"/>
                    <a:pt x="48126" y="248653"/>
                    <a:pt x="44115" y="252663"/>
                  </a:cubicBezTo>
                  <a:cubicBezTo>
                    <a:pt x="42778" y="256674"/>
                    <a:pt x="40105" y="260467"/>
                    <a:pt x="40105" y="264695"/>
                  </a:cubicBezTo>
                  <a:cubicBezTo>
                    <a:pt x="40105" y="281390"/>
                    <a:pt x="45586" y="279669"/>
                    <a:pt x="52136" y="292768"/>
                  </a:cubicBezTo>
                  <a:cubicBezTo>
                    <a:pt x="68744" y="325982"/>
                    <a:pt x="41178" y="282346"/>
                    <a:pt x="64168" y="316832"/>
                  </a:cubicBezTo>
                  <a:cubicBezTo>
                    <a:pt x="61494" y="334211"/>
                    <a:pt x="61392" y="352185"/>
                    <a:pt x="56147" y="368968"/>
                  </a:cubicBezTo>
                  <a:cubicBezTo>
                    <a:pt x="54455" y="374382"/>
                    <a:pt x="47746" y="376643"/>
                    <a:pt x="44115" y="381000"/>
                  </a:cubicBezTo>
                  <a:cubicBezTo>
                    <a:pt x="41029" y="384703"/>
                    <a:pt x="38768" y="389021"/>
                    <a:pt x="36094" y="393032"/>
                  </a:cubicBezTo>
                  <a:cubicBezTo>
                    <a:pt x="32378" y="404181"/>
                    <a:pt x="32356" y="407766"/>
                    <a:pt x="24063" y="417095"/>
                  </a:cubicBezTo>
                  <a:cubicBezTo>
                    <a:pt x="16527" y="425573"/>
                    <a:pt x="0" y="441158"/>
                    <a:pt x="0" y="441158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39" name="Forma livre 322"/>
            <p:cNvSpPr/>
            <p:nvPr/>
          </p:nvSpPr>
          <p:spPr bwMode="auto">
            <a:xfrm>
              <a:off x="4094163" y="4473575"/>
              <a:ext cx="144462" cy="441325"/>
            </a:xfrm>
            <a:custGeom>
              <a:avLst/>
              <a:gdLst>
                <a:gd name="connsiteX0" fmla="*/ 136358 w 136358"/>
                <a:gd name="connsiteY0" fmla="*/ 0 h 461210"/>
                <a:gd name="connsiteX1" fmla="*/ 128337 w 136358"/>
                <a:gd name="connsiteY1" fmla="*/ 20052 h 461210"/>
                <a:gd name="connsiteX2" fmla="*/ 124327 w 136358"/>
                <a:gd name="connsiteY2" fmla="*/ 32084 h 461210"/>
                <a:gd name="connsiteX3" fmla="*/ 116306 w 136358"/>
                <a:gd name="connsiteY3" fmla="*/ 44116 h 461210"/>
                <a:gd name="connsiteX4" fmla="*/ 120316 w 136358"/>
                <a:gd name="connsiteY4" fmla="*/ 56147 h 461210"/>
                <a:gd name="connsiteX5" fmla="*/ 116306 w 136358"/>
                <a:gd name="connsiteY5" fmla="*/ 88231 h 461210"/>
                <a:gd name="connsiteX6" fmla="*/ 92242 w 136358"/>
                <a:gd name="connsiteY6" fmla="*/ 108284 h 461210"/>
                <a:gd name="connsiteX7" fmla="*/ 68179 w 136358"/>
                <a:gd name="connsiteY7" fmla="*/ 116305 h 461210"/>
                <a:gd name="connsiteX8" fmla="*/ 56148 w 136358"/>
                <a:gd name="connsiteY8" fmla="*/ 120316 h 461210"/>
                <a:gd name="connsiteX9" fmla="*/ 44116 w 136358"/>
                <a:gd name="connsiteY9" fmla="*/ 128337 h 461210"/>
                <a:gd name="connsiteX10" fmla="*/ 40106 w 136358"/>
                <a:gd name="connsiteY10" fmla="*/ 168442 h 461210"/>
                <a:gd name="connsiteX11" fmla="*/ 36095 w 136358"/>
                <a:gd name="connsiteY11" fmla="*/ 184484 h 461210"/>
                <a:gd name="connsiteX12" fmla="*/ 40106 w 136358"/>
                <a:gd name="connsiteY12" fmla="*/ 208547 h 461210"/>
                <a:gd name="connsiteX13" fmla="*/ 36095 w 136358"/>
                <a:gd name="connsiteY13" fmla="*/ 236621 h 461210"/>
                <a:gd name="connsiteX14" fmla="*/ 24064 w 136358"/>
                <a:gd name="connsiteY14" fmla="*/ 248652 h 461210"/>
                <a:gd name="connsiteX15" fmla="*/ 20053 w 136358"/>
                <a:gd name="connsiteY15" fmla="*/ 260684 h 461210"/>
                <a:gd name="connsiteX16" fmla="*/ 12032 w 136358"/>
                <a:gd name="connsiteY16" fmla="*/ 272716 h 461210"/>
                <a:gd name="connsiteX17" fmla="*/ 8021 w 136358"/>
                <a:gd name="connsiteY17" fmla="*/ 284747 h 461210"/>
                <a:gd name="connsiteX18" fmla="*/ 0 w 136358"/>
                <a:gd name="connsiteY18" fmla="*/ 316831 h 461210"/>
                <a:gd name="connsiteX19" fmla="*/ 4011 w 136358"/>
                <a:gd name="connsiteY19" fmla="*/ 328863 h 461210"/>
                <a:gd name="connsiteX20" fmla="*/ 16042 w 136358"/>
                <a:gd name="connsiteY20" fmla="*/ 332873 h 461210"/>
                <a:gd name="connsiteX21" fmla="*/ 24064 w 136358"/>
                <a:gd name="connsiteY21" fmla="*/ 340895 h 461210"/>
                <a:gd name="connsiteX22" fmla="*/ 28074 w 136358"/>
                <a:gd name="connsiteY22" fmla="*/ 360947 h 461210"/>
                <a:gd name="connsiteX23" fmla="*/ 32085 w 136358"/>
                <a:gd name="connsiteY23" fmla="*/ 372979 h 461210"/>
                <a:gd name="connsiteX24" fmla="*/ 24064 w 136358"/>
                <a:gd name="connsiteY24" fmla="*/ 425116 h 461210"/>
                <a:gd name="connsiteX25" fmla="*/ 16042 w 136358"/>
                <a:gd name="connsiteY25" fmla="*/ 433137 h 461210"/>
                <a:gd name="connsiteX26" fmla="*/ 20053 w 136358"/>
                <a:gd name="connsiteY26" fmla="*/ 461210 h 461210"/>
                <a:gd name="connsiteX0" fmla="*/ 136358 w 136358"/>
                <a:gd name="connsiteY0" fmla="*/ 0 h 461210"/>
                <a:gd name="connsiteX1" fmla="*/ 128337 w 136358"/>
                <a:gd name="connsiteY1" fmla="*/ 20052 h 461210"/>
                <a:gd name="connsiteX2" fmla="*/ 124327 w 136358"/>
                <a:gd name="connsiteY2" fmla="*/ 32084 h 461210"/>
                <a:gd name="connsiteX3" fmla="*/ 116306 w 136358"/>
                <a:gd name="connsiteY3" fmla="*/ 44116 h 461210"/>
                <a:gd name="connsiteX4" fmla="*/ 120316 w 136358"/>
                <a:gd name="connsiteY4" fmla="*/ 56147 h 461210"/>
                <a:gd name="connsiteX5" fmla="*/ 116306 w 136358"/>
                <a:gd name="connsiteY5" fmla="*/ 88231 h 461210"/>
                <a:gd name="connsiteX6" fmla="*/ 92242 w 136358"/>
                <a:gd name="connsiteY6" fmla="*/ 108284 h 461210"/>
                <a:gd name="connsiteX7" fmla="*/ 68179 w 136358"/>
                <a:gd name="connsiteY7" fmla="*/ 116305 h 461210"/>
                <a:gd name="connsiteX8" fmla="*/ 56148 w 136358"/>
                <a:gd name="connsiteY8" fmla="*/ 120316 h 461210"/>
                <a:gd name="connsiteX9" fmla="*/ 60785 w 136358"/>
                <a:gd name="connsiteY9" fmla="*/ 145006 h 461210"/>
                <a:gd name="connsiteX10" fmla="*/ 40106 w 136358"/>
                <a:gd name="connsiteY10" fmla="*/ 168442 h 461210"/>
                <a:gd name="connsiteX11" fmla="*/ 36095 w 136358"/>
                <a:gd name="connsiteY11" fmla="*/ 184484 h 461210"/>
                <a:gd name="connsiteX12" fmla="*/ 40106 w 136358"/>
                <a:gd name="connsiteY12" fmla="*/ 208547 h 461210"/>
                <a:gd name="connsiteX13" fmla="*/ 36095 w 136358"/>
                <a:gd name="connsiteY13" fmla="*/ 236621 h 461210"/>
                <a:gd name="connsiteX14" fmla="*/ 24064 w 136358"/>
                <a:gd name="connsiteY14" fmla="*/ 248652 h 461210"/>
                <a:gd name="connsiteX15" fmla="*/ 20053 w 136358"/>
                <a:gd name="connsiteY15" fmla="*/ 260684 h 461210"/>
                <a:gd name="connsiteX16" fmla="*/ 12032 w 136358"/>
                <a:gd name="connsiteY16" fmla="*/ 272716 h 461210"/>
                <a:gd name="connsiteX17" fmla="*/ 8021 w 136358"/>
                <a:gd name="connsiteY17" fmla="*/ 284747 h 461210"/>
                <a:gd name="connsiteX18" fmla="*/ 0 w 136358"/>
                <a:gd name="connsiteY18" fmla="*/ 316831 h 461210"/>
                <a:gd name="connsiteX19" fmla="*/ 4011 w 136358"/>
                <a:gd name="connsiteY19" fmla="*/ 328863 h 461210"/>
                <a:gd name="connsiteX20" fmla="*/ 16042 w 136358"/>
                <a:gd name="connsiteY20" fmla="*/ 332873 h 461210"/>
                <a:gd name="connsiteX21" fmla="*/ 24064 w 136358"/>
                <a:gd name="connsiteY21" fmla="*/ 340895 h 461210"/>
                <a:gd name="connsiteX22" fmla="*/ 28074 w 136358"/>
                <a:gd name="connsiteY22" fmla="*/ 360947 h 461210"/>
                <a:gd name="connsiteX23" fmla="*/ 32085 w 136358"/>
                <a:gd name="connsiteY23" fmla="*/ 372979 h 461210"/>
                <a:gd name="connsiteX24" fmla="*/ 24064 w 136358"/>
                <a:gd name="connsiteY24" fmla="*/ 425116 h 461210"/>
                <a:gd name="connsiteX25" fmla="*/ 16042 w 136358"/>
                <a:gd name="connsiteY25" fmla="*/ 433137 h 461210"/>
                <a:gd name="connsiteX26" fmla="*/ 20053 w 136358"/>
                <a:gd name="connsiteY26" fmla="*/ 461210 h 461210"/>
                <a:gd name="connsiteX0" fmla="*/ 136358 w 136358"/>
                <a:gd name="connsiteY0" fmla="*/ 0 h 461210"/>
                <a:gd name="connsiteX1" fmla="*/ 128337 w 136358"/>
                <a:gd name="connsiteY1" fmla="*/ 20052 h 461210"/>
                <a:gd name="connsiteX2" fmla="*/ 124327 w 136358"/>
                <a:gd name="connsiteY2" fmla="*/ 32084 h 461210"/>
                <a:gd name="connsiteX3" fmla="*/ 116306 w 136358"/>
                <a:gd name="connsiteY3" fmla="*/ 44116 h 461210"/>
                <a:gd name="connsiteX4" fmla="*/ 120316 w 136358"/>
                <a:gd name="connsiteY4" fmla="*/ 56147 h 461210"/>
                <a:gd name="connsiteX5" fmla="*/ 116306 w 136358"/>
                <a:gd name="connsiteY5" fmla="*/ 88231 h 461210"/>
                <a:gd name="connsiteX6" fmla="*/ 92242 w 136358"/>
                <a:gd name="connsiteY6" fmla="*/ 108284 h 461210"/>
                <a:gd name="connsiteX7" fmla="*/ 68179 w 136358"/>
                <a:gd name="connsiteY7" fmla="*/ 116305 h 461210"/>
                <a:gd name="connsiteX8" fmla="*/ 70435 w 136358"/>
                <a:gd name="connsiteY8" fmla="*/ 136985 h 461210"/>
                <a:gd name="connsiteX9" fmla="*/ 60785 w 136358"/>
                <a:gd name="connsiteY9" fmla="*/ 145006 h 461210"/>
                <a:gd name="connsiteX10" fmla="*/ 40106 w 136358"/>
                <a:gd name="connsiteY10" fmla="*/ 168442 h 461210"/>
                <a:gd name="connsiteX11" fmla="*/ 36095 w 136358"/>
                <a:gd name="connsiteY11" fmla="*/ 184484 h 461210"/>
                <a:gd name="connsiteX12" fmla="*/ 40106 w 136358"/>
                <a:gd name="connsiteY12" fmla="*/ 208547 h 461210"/>
                <a:gd name="connsiteX13" fmla="*/ 36095 w 136358"/>
                <a:gd name="connsiteY13" fmla="*/ 236621 h 461210"/>
                <a:gd name="connsiteX14" fmla="*/ 24064 w 136358"/>
                <a:gd name="connsiteY14" fmla="*/ 248652 h 461210"/>
                <a:gd name="connsiteX15" fmla="*/ 20053 w 136358"/>
                <a:gd name="connsiteY15" fmla="*/ 260684 h 461210"/>
                <a:gd name="connsiteX16" fmla="*/ 12032 w 136358"/>
                <a:gd name="connsiteY16" fmla="*/ 272716 h 461210"/>
                <a:gd name="connsiteX17" fmla="*/ 8021 w 136358"/>
                <a:gd name="connsiteY17" fmla="*/ 284747 h 461210"/>
                <a:gd name="connsiteX18" fmla="*/ 0 w 136358"/>
                <a:gd name="connsiteY18" fmla="*/ 316831 h 461210"/>
                <a:gd name="connsiteX19" fmla="*/ 4011 w 136358"/>
                <a:gd name="connsiteY19" fmla="*/ 328863 h 461210"/>
                <a:gd name="connsiteX20" fmla="*/ 16042 w 136358"/>
                <a:gd name="connsiteY20" fmla="*/ 332873 h 461210"/>
                <a:gd name="connsiteX21" fmla="*/ 24064 w 136358"/>
                <a:gd name="connsiteY21" fmla="*/ 340895 h 461210"/>
                <a:gd name="connsiteX22" fmla="*/ 28074 w 136358"/>
                <a:gd name="connsiteY22" fmla="*/ 360947 h 461210"/>
                <a:gd name="connsiteX23" fmla="*/ 32085 w 136358"/>
                <a:gd name="connsiteY23" fmla="*/ 372979 h 461210"/>
                <a:gd name="connsiteX24" fmla="*/ 24064 w 136358"/>
                <a:gd name="connsiteY24" fmla="*/ 425116 h 461210"/>
                <a:gd name="connsiteX25" fmla="*/ 16042 w 136358"/>
                <a:gd name="connsiteY25" fmla="*/ 433137 h 461210"/>
                <a:gd name="connsiteX26" fmla="*/ 20053 w 136358"/>
                <a:gd name="connsiteY26" fmla="*/ 461210 h 461210"/>
                <a:gd name="connsiteX0" fmla="*/ 136358 w 136358"/>
                <a:gd name="connsiteY0" fmla="*/ 0 h 461210"/>
                <a:gd name="connsiteX1" fmla="*/ 128337 w 136358"/>
                <a:gd name="connsiteY1" fmla="*/ 20052 h 461210"/>
                <a:gd name="connsiteX2" fmla="*/ 124327 w 136358"/>
                <a:gd name="connsiteY2" fmla="*/ 32084 h 461210"/>
                <a:gd name="connsiteX3" fmla="*/ 116306 w 136358"/>
                <a:gd name="connsiteY3" fmla="*/ 44116 h 461210"/>
                <a:gd name="connsiteX4" fmla="*/ 120316 w 136358"/>
                <a:gd name="connsiteY4" fmla="*/ 56147 h 461210"/>
                <a:gd name="connsiteX5" fmla="*/ 116306 w 136358"/>
                <a:gd name="connsiteY5" fmla="*/ 88231 h 461210"/>
                <a:gd name="connsiteX6" fmla="*/ 92242 w 136358"/>
                <a:gd name="connsiteY6" fmla="*/ 108284 h 461210"/>
                <a:gd name="connsiteX7" fmla="*/ 72941 w 136358"/>
                <a:gd name="connsiteY7" fmla="*/ 128211 h 461210"/>
                <a:gd name="connsiteX8" fmla="*/ 70435 w 136358"/>
                <a:gd name="connsiteY8" fmla="*/ 136985 h 461210"/>
                <a:gd name="connsiteX9" fmla="*/ 60785 w 136358"/>
                <a:gd name="connsiteY9" fmla="*/ 145006 h 461210"/>
                <a:gd name="connsiteX10" fmla="*/ 40106 w 136358"/>
                <a:gd name="connsiteY10" fmla="*/ 168442 h 461210"/>
                <a:gd name="connsiteX11" fmla="*/ 36095 w 136358"/>
                <a:gd name="connsiteY11" fmla="*/ 184484 h 461210"/>
                <a:gd name="connsiteX12" fmla="*/ 40106 w 136358"/>
                <a:gd name="connsiteY12" fmla="*/ 208547 h 461210"/>
                <a:gd name="connsiteX13" fmla="*/ 36095 w 136358"/>
                <a:gd name="connsiteY13" fmla="*/ 236621 h 461210"/>
                <a:gd name="connsiteX14" fmla="*/ 24064 w 136358"/>
                <a:gd name="connsiteY14" fmla="*/ 248652 h 461210"/>
                <a:gd name="connsiteX15" fmla="*/ 20053 w 136358"/>
                <a:gd name="connsiteY15" fmla="*/ 260684 h 461210"/>
                <a:gd name="connsiteX16" fmla="*/ 12032 w 136358"/>
                <a:gd name="connsiteY16" fmla="*/ 272716 h 461210"/>
                <a:gd name="connsiteX17" fmla="*/ 8021 w 136358"/>
                <a:gd name="connsiteY17" fmla="*/ 284747 h 461210"/>
                <a:gd name="connsiteX18" fmla="*/ 0 w 136358"/>
                <a:gd name="connsiteY18" fmla="*/ 316831 h 461210"/>
                <a:gd name="connsiteX19" fmla="*/ 4011 w 136358"/>
                <a:gd name="connsiteY19" fmla="*/ 328863 h 461210"/>
                <a:gd name="connsiteX20" fmla="*/ 16042 w 136358"/>
                <a:gd name="connsiteY20" fmla="*/ 332873 h 461210"/>
                <a:gd name="connsiteX21" fmla="*/ 24064 w 136358"/>
                <a:gd name="connsiteY21" fmla="*/ 340895 h 461210"/>
                <a:gd name="connsiteX22" fmla="*/ 28074 w 136358"/>
                <a:gd name="connsiteY22" fmla="*/ 360947 h 461210"/>
                <a:gd name="connsiteX23" fmla="*/ 32085 w 136358"/>
                <a:gd name="connsiteY23" fmla="*/ 372979 h 461210"/>
                <a:gd name="connsiteX24" fmla="*/ 24064 w 136358"/>
                <a:gd name="connsiteY24" fmla="*/ 425116 h 461210"/>
                <a:gd name="connsiteX25" fmla="*/ 16042 w 136358"/>
                <a:gd name="connsiteY25" fmla="*/ 433137 h 461210"/>
                <a:gd name="connsiteX26" fmla="*/ 20053 w 136358"/>
                <a:gd name="connsiteY26" fmla="*/ 461210 h 461210"/>
                <a:gd name="connsiteX0" fmla="*/ 136358 w 136358"/>
                <a:gd name="connsiteY0" fmla="*/ 0 h 461210"/>
                <a:gd name="connsiteX1" fmla="*/ 128337 w 136358"/>
                <a:gd name="connsiteY1" fmla="*/ 20052 h 461210"/>
                <a:gd name="connsiteX2" fmla="*/ 124327 w 136358"/>
                <a:gd name="connsiteY2" fmla="*/ 32084 h 461210"/>
                <a:gd name="connsiteX3" fmla="*/ 116306 w 136358"/>
                <a:gd name="connsiteY3" fmla="*/ 44116 h 461210"/>
                <a:gd name="connsiteX4" fmla="*/ 120316 w 136358"/>
                <a:gd name="connsiteY4" fmla="*/ 56147 h 461210"/>
                <a:gd name="connsiteX5" fmla="*/ 116306 w 136358"/>
                <a:gd name="connsiteY5" fmla="*/ 88231 h 461210"/>
                <a:gd name="connsiteX6" fmla="*/ 92242 w 136358"/>
                <a:gd name="connsiteY6" fmla="*/ 108284 h 461210"/>
                <a:gd name="connsiteX7" fmla="*/ 72941 w 136358"/>
                <a:gd name="connsiteY7" fmla="*/ 128211 h 461210"/>
                <a:gd name="connsiteX8" fmla="*/ 70435 w 136358"/>
                <a:gd name="connsiteY8" fmla="*/ 136985 h 461210"/>
                <a:gd name="connsiteX9" fmla="*/ 60785 w 136358"/>
                <a:gd name="connsiteY9" fmla="*/ 145006 h 461210"/>
                <a:gd name="connsiteX10" fmla="*/ 54394 w 136358"/>
                <a:gd name="connsiteY10" fmla="*/ 168442 h 461210"/>
                <a:gd name="connsiteX11" fmla="*/ 36095 w 136358"/>
                <a:gd name="connsiteY11" fmla="*/ 184484 h 461210"/>
                <a:gd name="connsiteX12" fmla="*/ 40106 w 136358"/>
                <a:gd name="connsiteY12" fmla="*/ 208547 h 461210"/>
                <a:gd name="connsiteX13" fmla="*/ 36095 w 136358"/>
                <a:gd name="connsiteY13" fmla="*/ 236621 h 461210"/>
                <a:gd name="connsiteX14" fmla="*/ 24064 w 136358"/>
                <a:gd name="connsiteY14" fmla="*/ 248652 h 461210"/>
                <a:gd name="connsiteX15" fmla="*/ 20053 w 136358"/>
                <a:gd name="connsiteY15" fmla="*/ 260684 h 461210"/>
                <a:gd name="connsiteX16" fmla="*/ 12032 w 136358"/>
                <a:gd name="connsiteY16" fmla="*/ 272716 h 461210"/>
                <a:gd name="connsiteX17" fmla="*/ 8021 w 136358"/>
                <a:gd name="connsiteY17" fmla="*/ 284747 h 461210"/>
                <a:gd name="connsiteX18" fmla="*/ 0 w 136358"/>
                <a:gd name="connsiteY18" fmla="*/ 316831 h 461210"/>
                <a:gd name="connsiteX19" fmla="*/ 4011 w 136358"/>
                <a:gd name="connsiteY19" fmla="*/ 328863 h 461210"/>
                <a:gd name="connsiteX20" fmla="*/ 16042 w 136358"/>
                <a:gd name="connsiteY20" fmla="*/ 332873 h 461210"/>
                <a:gd name="connsiteX21" fmla="*/ 24064 w 136358"/>
                <a:gd name="connsiteY21" fmla="*/ 340895 h 461210"/>
                <a:gd name="connsiteX22" fmla="*/ 28074 w 136358"/>
                <a:gd name="connsiteY22" fmla="*/ 360947 h 461210"/>
                <a:gd name="connsiteX23" fmla="*/ 32085 w 136358"/>
                <a:gd name="connsiteY23" fmla="*/ 372979 h 461210"/>
                <a:gd name="connsiteX24" fmla="*/ 24064 w 136358"/>
                <a:gd name="connsiteY24" fmla="*/ 425116 h 461210"/>
                <a:gd name="connsiteX25" fmla="*/ 16042 w 136358"/>
                <a:gd name="connsiteY25" fmla="*/ 433137 h 461210"/>
                <a:gd name="connsiteX26" fmla="*/ 20053 w 136358"/>
                <a:gd name="connsiteY26" fmla="*/ 461210 h 461210"/>
                <a:gd name="connsiteX0" fmla="*/ 136946 w 136946"/>
                <a:gd name="connsiteY0" fmla="*/ 0 h 461210"/>
                <a:gd name="connsiteX1" fmla="*/ 128925 w 136946"/>
                <a:gd name="connsiteY1" fmla="*/ 20052 h 461210"/>
                <a:gd name="connsiteX2" fmla="*/ 124915 w 136946"/>
                <a:gd name="connsiteY2" fmla="*/ 32084 h 461210"/>
                <a:gd name="connsiteX3" fmla="*/ 116894 w 136946"/>
                <a:gd name="connsiteY3" fmla="*/ 44116 h 461210"/>
                <a:gd name="connsiteX4" fmla="*/ 120904 w 136946"/>
                <a:gd name="connsiteY4" fmla="*/ 56147 h 461210"/>
                <a:gd name="connsiteX5" fmla="*/ 116894 w 136946"/>
                <a:gd name="connsiteY5" fmla="*/ 88231 h 461210"/>
                <a:gd name="connsiteX6" fmla="*/ 92830 w 136946"/>
                <a:gd name="connsiteY6" fmla="*/ 108284 h 461210"/>
                <a:gd name="connsiteX7" fmla="*/ 73529 w 136946"/>
                <a:gd name="connsiteY7" fmla="*/ 128211 h 461210"/>
                <a:gd name="connsiteX8" fmla="*/ 71023 w 136946"/>
                <a:gd name="connsiteY8" fmla="*/ 136985 h 461210"/>
                <a:gd name="connsiteX9" fmla="*/ 61373 w 136946"/>
                <a:gd name="connsiteY9" fmla="*/ 145006 h 461210"/>
                <a:gd name="connsiteX10" fmla="*/ 54982 w 136946"/>
                <a:gd name="connsiteY10" fmla="*/ 168442 h 461210"/>
                <a:gd name="connsiteX11" fmla="*/ 36683 w 136946"/>
                <a:gd name="connsiteY11" fmla="*/ 184484 h 461210"/>
                <a:gd name="connsiteX12" fmla="*/ 40694 w 136946"/>
                <a:gd name="connsiteY12" fmla="*/ 208547 h 461210"/>
                <a:gd name="connsiteX13" fmla="*/ 36683 w 136946"/>
                <a:gd name="connsiteY13" fmla="*/ 236621 h 461210"/>
                <a:gd name="connsiteX14" fmla="*/ 24652 w 136946"/>
                <a:gd name="connsiteY14" fmla="*/ 248652 h 461210"/>
                <a:gd name="connsiteX15" fmla="*/ 20641 w 136946"/>
                <a:gd name="connsiteY15" fmla="*/ 260684 h 461210"/>
                <a:gd name="connsiteX16" fmla="*/ 12620 w 136946"/>
                <a:gd name="connsiteY16" fmla="*/ 272716 h 461210"/>
                <a:gd name="connsiteX17" fmla="*/ 15752 w 136946"/>
                <a:gd name="connsiteY17" fmla="*/ 294272 h 461210"/>
                <a:gd name="connsiteX18" fmla="*/ 588 w 136946"/>
                <a:gd name="connsiteY18" fmla="*/ 316831 h 461210"/>
                <a:gd name="connsiteX19" fmla="*/ 4599 w 136946"/>
                <a:gd name="connsiteY19" fmla="*/ 328863 h 461210"/>
                <a:gd name="connsiteX20" fmla="*/ 16630 w 136946"/>
                <a:gd name="connsiteY20" fmla="*/ 332873 h 461210"/>
                <a:gd name="connsiteX21" fmla="*/ 24652 w 136946"/>
                <a:gd name="connsiteY21" fmla="*/ 340895 h 461210"/>
                <a:gd name="connsiteX22" fmla="*/ 28662 w 136946"/>
                <a:gd name="connsiteY22" fmla="*/ 360947 h 461210"/>
                <a:gd name="connsiteX23" fmla="*/ 32673 w 136946"/>
                <a:gd name="connsiteY23" fmla="*/ 372979 h 461210"/>
                <a:gd name="connsiteX24" fmla="*/ 24652 w 136946"/>
                <a:gd name="connsiteY24" fmla="*/ 425116 h 461210"/>
                <a:gd name="connsiteX25" fmla="*/ 16630 w 136946"/>
                <a:gd name="connsiteY25" fmla="*/ 433137 h 461210"/>
                <a:gd name="connsiteX26" fmla="*/ 20641 w 136946"/>
                <a:gd name="connsiteY26" fmla="*/ 461210 h 461210"/>
                <a:gd name="connsiteX0" fmla="*/ 136946 w 136946"/>
                <a:gd name="connsiteY0" fmla="*/ 0 h 461210"/>
                <a:gd name="connsiteX1" fmla="*/ 128925 w 136946"/>
                <a:gd name="connsiteY1" fmla="*/ 20052 h 461210"/>
                <a:gd name="connsiteX2" fmla="*/ 124915 w 136946"/>
                <a:gd name="connsiteY2" fmla="*/ 32084 h 461210"/>
                <a:gd name="connsiteX3" fmla="*/ 116894 w 136946"/>
                <a:gd name="connsiteY3" fmla="*/ 44116 h 461210"/>
                <a:gd name="connsiteX4" fmla="*/ 120904 w 136946"/>
                <a:gd name="connsiteY4" fmla="*/ 56147 h 461210"/>
                <a:gd name="connsiteX5" fmla="*/ 116894 w 136946"/>
                <a:gd name="connsiteY5" fmla="*/ 88231 h 461210"/>
                <a:gd name="connsiteX6" fmla="*/ 92830 w 136946"/>
                <a:gd name="connsiteY6" fmla="*/ 108284 h 461210"/>
                <a:gd name="connsiteX7" fmla="*/ 73529 w 136946"/>
                <a:gd name="connsiteY7" fmla="*/ 128211 h 461210"/>
                <a:gd name="connsiteX8" fmla="*/ 71023 w 136946"/>
                <a:gd name="connsiteY8" fmla="*/ 136985 h 461210"/>
                <a:gd name="connsiteX9" fmla="*/ 61373 w 136946"/>
                <a:gd name="connsiteY9" fmla="*/ 145006 h 461210"/>
                <a:gd name="connsiteX10" fmla="*/ 54982 w 136946"/>
                <a:gd name="connsiteY10" fmla="*/ 168442 h 461210"/>
                <a:gd name="connsiteX11" fmla="*/ 36683 w 136946"/>
                <a:gd name="connsiteY11" fmla="*/ 184484 h 461210"/>
                <a:gd name="connsiteX12" fmla="*/ 40694 w 136946"/>
                <a:gd name="connsiteY12" fmla="*/ 208547 h 461210"/>
                <a:gd name="connsiteX13" fmla="*/ 36683 w 136946"/>
                <a:gd name="connsiteY13" fmla="*/ 236621 h 461210"/>
                <a:gd name="connsiteX14" fmla="*/ 24652 w 136946"/>
                <a:gd name="connsiteY14" fmla="*/ 248652 h 461210"/>
                <a:gd name="connsiteX15" fmla="*/ 20641 w 136946"/>
                <a:gd name="connsiteY15" fmla="*/ 260684 h 461210"/>
                <a:gd name="connsiteX16" fmla="*/ 12620 w 136946"/>
                <a:gd name="connsiteY16" fmla="*/ 272716 h 461210"/>
                <a:gd name="connsiteX17" fmla="*/ 15752 w 136946"/>
                <a:gd name="connsiteY17" fmla="*/ 294272 h 461210"/>
                <a:gd name="connsiteX18" fmla="*/ 588 w 136946"/>
                <a:gd name="connsiteY18" fmla="*/ 316831 h 461210"/>
                <a:gd name="connsiteX19" fmla="*/ 4599 w 136946"/>
                <a:gd name="connsiteY19" fmla="*/ 328863 h 461210"/>
                <a:gd name="connsiteX20" fmla="*/ 16630 w 136946"/>
                <a:gd name="connsiteY20" fmla="*/ 332873 h 461210"/>
                <a:gd name="connsiteX21" fmla="*/ 24652 w 136946"/>
                <a:gd name="connsiteY21" fmla="*/ 340895 h 461210"/>
                <a:gd name="connsiteX22" fmla="*/ 28662 w 136946"/>
                <a:gd name="connsiteY22" fmla="*/ 360947 h 461210"/>
                <a:gd name="connsiteX23" fmla="*/ 27911 w 136946"/>
                <a:gd name="connsiteY23" fmla="*/ 382504 h 461210"/>
                <a:gd name="connsiteX24" fmla="*/ 24652 w 136946"/>
                <a:gd name="connsiteY24" fmla="*/ 425116 h 461210"/>
                <a:gd name="connsiteX25" fmla="*/ 16630 w 136946"/>
                <a:gd name="connsiteY25" fmla="*/ 433137 h 461210"/>
                <a:gd name="connsiteX26" fmla="*/ 20641 w 136946"/>
                <a:gd name="connsiteY26" fmla="*/ 461210 h 461210"/>
                <a:gd name="connsiteX0" fmla="*/ 136946 w 136946"/>
                <a:gd name="connsiteY0" fmla="*/ 0 h 451685"/>
                <a:gd name="connsiteX1" fmla="*/ 128925 w 136946"/>
                <a:gd name="connsiteY1" fmla="*/ 20052 h 451685"/>
                <a:gd name="connsiteX2" fmla="*/ 124915 w 136946"/>
                <a:gd name="connsiteY2" fmla="*/ 32084 h 451685"/>
                <a:gd name="connsiteX3" fmla="*/ 116894 w 136946"/>
                <a:gd name="connsiteY3" fmla="*/ 44116 h 451685"/>
                <a:gd name="connsiteX4" fmla="*/ 120904 w 136946"/>
                <a:gd name="connsiteY4" fmla="*/ 56147 h 451685"/>
                <a:gd name="connsiteX5" fmla="*/ 116894 w 136946"/>
                <a:gd name="connsiteY5" fmla="*/ 88231 h 451685"/>
                <a:gd name="connsiteX6" fmla="*/ 92830 w 136946"/>
                <a:gd name="connsiteY6" fmla="*/ 108284 h 451685"/>
                <a:gd name="connsiteX7" fmla="*/ 73529 w 136946"/>
                <a:gd name="connsiteY7" fmla="*/ 128211 h 451685"/>
                <a:gd name="connsiteX8" fmla="*/ 71023 w 136946"/>
                <a:gd name="connsiteY8" fmla="*/ 136985 h 451685"/>
                <a:gd name="connsiteX9" fmla="*/ 61373 w 136946"/>
                <a:gd name="connsiteY9" fmla="*/ 145006 h 451685"/>
                <a:gd name="connsiteX10" fmla="*/ 54982 w 136946"/>
                <a:gd name="connsiteY10" fmla="*/ 168442 h 451685"/>
                <a:gd name="connsiteX11" fmla="*/ 36683 w 136946"/>
                <a:gd name="connsiteY11" fmla="*/ 184484 h 451685"/>
                <a:gd name="connsiteX12" fmla="*/ 40694 w 136946"/>
                <a:gd name="connsiteY12" fmla="*/ 208547 h 451685"/>
                <a:gd name="connsiteX13" fmla="*/ 36683 w 136946"/>
                <a:gd name="connsiteY13" fmla="*/ 236621 h 451685"/>
                <a:gd name="connsiteX14" fmla="*/ 24652 w 136946"/>
                <a:gd name="connsiteY14" fmla="*/ 248652 h 451685"/>
                <a:gd name="connsiteX15" fmla="*/ 20641 w 136946"/>
                <a:gd name="connsiteY15" fmla="*/ 260684 h 451685"/>
                <a:gd name="connsiteX16" fmla="*/ 12620 w 136946"/>
                <a:gd name="connsiteY16" fmla="*/ 272716 h 451685"/>
                <a:gd name="connsiteX17" fmla="*/ 15752 w 136946"/>
                <a:gd name="connsiteY17" fmla="*/ 294272 h 451685"/>
                <a:gd name="connsiteX18" fmla="*/ 588 w 136946"/>
                <a:gd name="connsiteY18" fmla="*/ 316831 h 451685"/>
                <a:gd name="connsiteX19" fmla="*/ 4599 w 136946"/>
                <a:gd name="connsiteY19" fmla="*/ 328863 h 451685"/>
                <a:gd name="connsiteX20" fmla="*/ 16630 w 136946"/>
                <a:gd name="connsiteY20" fmla="*/ 332873 h 451685"/>
                <a:gd name="connsiteX21" fmla="*/ 24652 w 136946"/>
                <a:gd name="connsiteY21" fmla="*/ 340895 h 451685"/>
                <a:gd name="connsiteX22" fmla="*/ 28662 w 136946"/>
                <a:gd name="connsiteY22" fmla="*/ 360947 h 451685"/>
                <a:gd name="connsiteX23" fmla="*/ 27911 w 136946"/>
                <a:gd name="connsiteY23" fmla="*/ 382504 h 451685"/>
                <a:gd name="connsiteX24" fmla="*/ 24652 w 136946"/>
                <a:gd name="connsiteY24" fmla="*/ 425116 h 451685"/>
                <a:gd name="connsiteX25" fmla="*/ 16630 w 136946"/>
                <a:gd name="connsiteY25" fmla="*/ 433137 h 451685"/>
                <a:gd name="connsiteX26" fmla="*/ 42072 w 136946"/>
                <a:gd name="connsiteY26" fmla="*/ 451685 h 451685"/>
                <a:gd name="connsiteX0" fmla="*/ 136946 w 136946"/>
                <a:gd name="connsiteY0" fmla="*/ 0 h 451685"/>
                <a:gd name="connsiteX1" fmla="*/ 128925 w 136946"/>
                <a:gd name="connsiteY1" fmla="*/ 20052 h 451685"/>
                <a:gd name="connsiteX2" fmla="*/ 124915 w 136946"/>
                <a:gd name="connsiteY2" fmla="*/ 32084 h 451685"/>
                <a:gd name="connsiteX3" fmla="*/ 116894 w 136946"/>
                <a:gd name="connsiteY3" fmla="*/ 44116 h 451685"/>
                <a:gd name="connsiteX4" fmla="*/ 120904 w 136946"/>
                <a:gd name="connsiteY4" fmla="*/ 56147 h 451685"/>
                <a:gd name="connsiteX5" fmla="*/ 116894 w 136946"/>
                <a:gd name="connsiteY5" fmla="*/ 88231 h 451685"/>
                <a:gd name="connsiteX6" fmla="*/ 92830 w 136946"/>
                <a:gd name="connsiteY6" fmla="*/ 108284 h 451685"/>
                <a:gd name="connsiteX7" fmla="*/ 73529 w 136946"/>
                <a:gd name="connsiteY7" fmla="*/ 128211 h 451685"/>
                <a:gd name="connsiteX8" fmla="*/ 71023 w 136946"/>
                <a:gd name="connsiteY8" fmla="*/ 136985 h 451685"/>
                <a:gd name="connsiteX9" fmla="*/ 61373 w 136946"/>
                <a:gd name="connsiteY9" fmla="*/ 145006 h 451685"/>
                <a:gd name="connsiteX10" fmla="*/ 54982 w 136946"/>
                <a:gd name="connsiteY10" fmla="*/ 168442 h 451685"/>
                <a:gd name="connsiteX11" fmla="*/ 36683 w 136946"/>
                <a:gd name="connsiteY11" fmla="*/ 184484 h 451685"/>
                <a:gd name="connsiteX12" fmla="*/ 40694 w 136946"/>
                <a:gd name="connsiteY12" fmla="*/ 208547 h 451685"/>
                <a:gd name="connsiteX13" fmla="*/ 36683 w 136946"/>
                <a:gd name="connsiteY13" fmla="*/ 236621 h 451685"/>
                <a:gd name="connsiteX14" fmla="*/ 24652 w 136946"/>
                <a:gd name="connsiteY14" fmla="*/ 248652 h 451685"/>
                <a:gd name="connsiteX15" fmla="*/ 20641 w 136946"/>
                <a:gd name="connsiteY15" fmla="*/ 260684 h 451685"/>
                <a:gd name="connsiteX16" fmla="*/ 12620 w 136946"/>
                <a:gd name="connsiteY16" fmla="*/ 272716 h 451685"/>
                <a:gd name="connsiteX17" fmla="*/ 15752 w 136946"/>
                <a:gd name="connsiteY17" fmla="*/ 294272 h 451685"/>
                <a:gd name="connsiteX18" fmla="*/ 588 w 136946"/>
                <a:gd name="connsiteY18" fmla="*/ 316831 h 451685"/>
                <a:gd name="connsiteX19" fmla="*/ 4599 w 136946"/>
                <a:gd name="connsiteY19" fmla="*/ 328863 h 451685"/>
                <a:gd name="connsiteX20" fmla="*/ 16630 w 136946"/>
                <a:gd name="connsiteY20" fmla="*/ 332873 h 451685"/>
                <a:gd name="connsiteX21" fmla="*/ 24652 w 136946"/>
                <a:gd name="connsiteY21" fmla="*/ 340895 h 451685"/>
                <a:gd name="connsiteX22" fmla="*/ 28662 w 136946"/>
                <a:gd name="connsiteY22" fmla="*/ 360947 h 451685"/>
                <a:gd name="connsiteX23" fmla="*/ 27911 w 136946"/>
                <a:gd name="connsiteY23" fmla="*/ 382504 h 451685"/>
                <a:gd name="connsiteX24" fmla="*/ 24652 w 136946"/>
                <a:gd name="connsiteY24" fmla="*/ 425116 h 451685"/>
                <a:gd name="connsiteX25" fmla="*/ 26155 w 136946"/>
                <a:gd name="connsiteY25" fmla="*/ 437900 h 451685"/>
                <a:gd name="connsiteX26" fmla="*/ 42072 w 136946"/>
                <a:gd name="connsiteY26" fmla="*/ 451685 h 451685"/>
                <a:gd name="connsiteX0" fmla="*/ 144090 w 144090"/>
                <a:gd name="connsiteY0" fmla="*/ 0 h 442160"/>
                <a:gd name="connsiteX1" fmla="*/ 128925 w 144090"/>
                <a:gd name="connsiteY1" fmla="*/ 10527 h 442160"/>
                <a:gd name="connsiteX2" fmla="*/ 124915 w 144090"/>
                <a:gd name="connsiteY2" fmla="*/ 22559 h 442160"/>
                <a:gd name="connsiteX3" fmla="*/ 116894 w 144090"/>
                <a:gd name="connsiteY3" fmla="*/ 34591 h 442160"/>
                <a:gd name="connsiteX4" fmla="*/ 120904 w 144090"/>
                <a:gd name="connsiteY4" fmla="*/ 46622 h 442160"/>
                <a:gd name="connsiteX5" fmla="*/ 116894 w 144090"/>
                <a:gd name="connsiteY5" fmla="*/ 78706 h 442160"/>
                <a:gd name="connsiteX6" fmla="*/ 92830 w 144090"/>
                <a:gd name="connsiteY6" fmla="*/ 98759 h 442160"/>
                <a:gd name="connsiteX7" fmla="*/ 73529 w 144090"/>
                <a:gd name="connsiteY7" fmla="*/ 118686 h 442160"/>
                <a:gd name="connsiteX8" fmla="*/ 71023 w 144090"/>
                <a:gd name="connsiteY8" fmla="*/ 127460 h 442160"/>
                <a:gd name="connsiteX9" fmla="*/ 61373 w 144090"/>
                <a:gd name="connsiteY9" fmla="*/ 135481 h 442160"/>
                <a:gd name="connsiteX10" fmla="*/ 54982 w 144090"/>
                <a:gd name="connsiteY10" fmla="*/ 158917 h 442160"/>
                <a:gd name="connsiteX11" fmla="*/ 36683 w 144090"/>
                <a:gd name="connsiteY11" fmla="*/ 174959 h 442160"/>
                <a:gd name="connsiteX12" fmla="*/ 40694 w 144090"/>
                <a:gd name="connsiteY12" fmla="*/ 199022 h 442160"/>
                <a:gd name="connsiteX13" fmla="*/ 36683 w 144090"/>
                <a:gd name="connsiteY13" fmla="*/ 227096 h 442160"/>
                <a:gd name="connsiteX14" fmla="*/ 24652 w 144090"/>
                <a:gd name="connsiteY14" fmla="*/ 239127 h 442160"/>
                <a:gd name="connsiteX15" fmla="*/ 20641 w 144090"/>
                <a:gd name="connsiteY15" fmla="*/ 251159 h 442160"/>
                <a:gd name="connsiteX16" fmla="*/ 12620 w 144090"/>
                <a:gd name="connsiteY16" fmla="*/ 263191 h 442160"/>
                <a:gd name="connsiteX17" fmla="*/ 15752 w 144090"/>
                <a:gd name="connsiteY17" fmla="*/ 284747 h 442160"/>
                <a:gd name="connsiteX18" fmla="*/ 588 w 144090"/>
                <a:gd name="connsiteY18" fmla="*/ 307306 h 442160"/>
                <a:gd name="connsiteX19" fmla="*/ 4599 w 144090"/>
                <a:gd name="connsiteY19" fmla="*/ 319338 h 442160"/>
                <a:gd name="connsiteX20" fmla="*/ 16630 w 144090"/>
                <a:gd name="connsiteY20" fmla="*/ 323348 h 442160"/>
                <a:gd name="connsiteX21" fmla="*/ 24652 w 144090"/>
                <a:gd name="connsiteY21" fmla="*/ 331370 h 442160"/>
                <a:gd name="connsiteX22" fmla="*/ 28662 w 144090"/>
                <a:gd name="connsiteY22" fmla="*/ 351422 h 442160"/>
                <a:gd name="connsiteX23" fmla="*/ 27911 w 144090"/>
                <a:gd name="connsiteY23" fmla="*/ 372979 h 442160"/>
                <a:gd name="connsiteX24" fmla="*/ 24652 w 144090"/>
                <a:gd name="connsiteY24" fmla="*/ 415591 h 442160"/>
                <a:gd name="connsiteX25" fmla="*/ 26155 w 144090"/>
                <a:gd name="connsiteY25" fmla="*/ 428375 h 442160"/>
                <a:gd name="connsiteX26" fmla="*/ 42072 w 144090"/>
                <a:gd name="connsiteY26" fmla="*/ 442160 h 442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4090" h="442160">
                  <a:moveTo>
                    <a:pt x="144090" y="0"/>
                  </a:moveTo>
                  <a:cubicBezTo>
                    <a:pt x="141416" y="6684"/>
                    <a:pt x="132121" y="6767"/>
                    <a:pt x="128925" y="10527"/>
                  </a:cubicBezTo>
                  <a:cubicBezTo>
                    <a:pt x="125729" y="14287"/>
                    <a:pt x="126805" y="18778"/>
                    <a:pt x="124915" y="22559"/>
                  </a:cubicBezTo>
                  <a:cubicBezTo>
                    <a:pt x="122760" y="26870"/>
                    <a:pt x="119568" y="30580"/>
                    <a:pt x="116894" y="34591"/>
                  </a:cubicBezTo>
                  <a:cubicBezTo>
                    <a:pt x="118231" y="38601"/>
                    <a:pt x="120904" y="42395"/>
                    <a:pt x="120904" y="46622"/>
                  </a:cubicBezTo>
                  <a:cubicBezTo>
                    <a:pt x="120904" y="57400"/>
                    <a:pt x="119730" y="68308"/>
                    <a:pt x="116894" y="78706"/>
                  </a:cubicBezTo>
                  <a:cubicBezTo>
                    <a:pt x="113579" y="90863"/>
                    <a:pt x="100057" y="92096"/>
                    <a:pt x="92830" y="98759"/>
                  </a:cubicBezTo>
                  <a:cubicBezTo>
                    <a:pt x="85603" y="105422"/>
                    <a:pt x="77164" y="113903"/>
                    <a:pt x="73529" y="118686"/>
                  </a:cubicBezTo>
                  <a:cubicBezTo>
                    <a:pt x="69895" y="123470"/>
                    <a:pt x="73049" y="124661"/>
                    <a:pt x="71023" y="127460"/>
                  </a:cubicBezTo>
                  <a:cubicBezTo>
                    <a:pt x="68997" y="130259"/>
                    <a:pt x="59827" y="127251"/>
                    <a:pt x="61373" y="135481"/>
                  </a:cubicBezTo>
                  <a:cubicBezTo>
                    <a:pt x="60036" y="148849"/>
                    <a:pt x="59097" y="152337"/>
                    <a:pt x="54982" y="158917"/>
                  </a:cubicBezTo>
                  <a:cubicBezTo>
                    <a:pt x="50867" y="165497"/>
                    <a:pt x="39064" y="168275"/>
                    <a:pt x="36683" y="174959"/>
                  </a:cubicBezTo>
                  <a:cubicBezTo>
                    <a:pt x="34302" y="181643"/>
                    <a:pt x="39357" y="191001"/>
                    <a:pt x="40694" y="199022"/>
                  </a:cubicBezTo>
                  <a:cubicBezTo>
                    <a:pt x="39357" y="208380"/>
                    <a:pt x="40194" y="218319"/>
                    <a:pt x="36683" y="227096"/>
                  </a:cubicBezTo>
                  <a:cubicBezTo>
                    <a:pt x="34577" y="232362"/>
                    <a:pt x="27798" y="234408"/>
                    <a:pt x="24652" y="239127"/>
                  </a:cubicBezTo>
                  <a:cubicBezTo>
                    <a:pt x="22307" y="242645"/>
                    <a:pt x="22532" y="247378"/>
                    <a:pt x="20641" y="251159"/>
                  </a:cubicBezTo>
                  <a:cubicBezTo>
                    <a:pt x="18485" y="255470"/>
                    <a:pt x="13435" y="257593"/>
                    <a:pt x="12620" y="263191"/>
                  </a:cubicBezTo>
                  <a:cubicBezTo>
                    <a:pt x="11805" y="268789"/>
                    <a:pt x="16864" y="280669"/>
                    <a:pt x="15752" y="284747"/>
                  </a:cubicBezTo>
                  <a:cubicBezTo>
                    <a:pt x="12851" y="295382"/>
                    <a:pt x="2447" y="301541"/>
                    <a:pt x="588" y="307306"/>
                  </a:cubicBezTo>
                  <a:cubicBezTo>
                    <a:pt x="-1271" y="313071"/>
                    <a:pt x="1610" y="316349"/>
                    <a:pt x="4599" y="319338"/>
                  </a:cubicBezTo>
                  <a:cubicBezTo>
                    <a:pt x="7588" y="322327"/>
                    <a:pt x="13005" y="321173"/>
                    <a:pt x="16630" y="323348"/>
                  </a:cubicBezTo>
                  <a:cubicBezTo>
                    <a:pt x="19873" y="325294"/>
                    <a:pt x="21978" y="328696"/>
                    <a:pt x="24652" y="331370"/>
                  </a:cubicBezTo>
                  <a:cubicBezTo>
                    <a:pt x="25989" y="338054"/>
                    <a:pt x="28119" y="344487"/>
                    <a:pt x="28662" y="351422"/>
                  </a:cubicBezTo>
                  <a:cubicBezTo>
                    <a:pt x="29205" y="358357"/>
                    <a:pt x="27911" y="368751"/>
                    <a:pt x="27911" y="372979"/>
                  </a:cubicBezTo>
                  <a:cubicBezTo>
                    <a:pt x="27911" y="374900"/>
                    <a:pt x="24945" y="406358"/>
                    <a:pt x="24652" y="415591"/>
                  </a:cubicBezTo>
                  <a:cubicBezTo>
                    <a:pt x="24359" y="424824"/>
                    <a:pt x="28829" y="425701"/>
                    <a:pt x="26155" y="428375"/>
                  </a:cubicBezTo>
                  <a:lnTo>
                    <a:pt x="42072" y="44216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0" name="Forma livre 323"/>
            <p:cNvSpPr/>
            <p:nvPr/>
          </p:nvSpPr>
          <p:spPr bwMode="auto">
            <a:xfrm>
              <a:off x="4638675" y="4418013"/>
              <a:ext cx="438150" cy="590550"/>
            </a:xfrm>
            <a:custGeom>
              <a:avLst/>
              <a:gdLst>
                <a:gd name="connsiteX0" fmla="*/ 438150 w 438150"/>
                <a:gd name="connsiteY0" fmla="*/ 0 h 590550"/>
                <a:gd name="connsiteX1" fmla="*/ 426244 w 438150"/>
                <a:gd name="connsiteY1" fmla="*/ 2381 h 590550"/>
                <a:gd name="connsiteX2" fmla="*/ 411956 w 438150"/>
                <a:gd name="connsiteY2" fmla="*/ 11906 h 590550"/>
                <a:gd name="connsiteX3" fmla="*/ 407194 w 438150"/>
                <a:gd name="connsiteY3" fmla="*/ 19050 h 590550"/>
                <a:gd name="connsiteX4" fmla="*/ 400050 w 438150"/>
                <a:gd name="connsiteY4" fmla="*/ 23812 h 590550"/>
                <a:gd name="connsiteX5" fmla="*/ 397669 w 438150"/>
                <a:gd name="connsiteY5" fmla="*/ 30956 h 590550"/>
                <a:gd name="connsiteX6" fmla="*/ 383381 w 438150"/>
                <a:gd name="connsiteY6" fmla="*/ 40481 h 590550"/>
                <a:gd name="connsiteX7" fmla="*/ 378619 w 438150"/>
                <a:gd name="connsiteY7" fmla="*/ 47625 h 590550"/>
                <a:gd name="connsiteX8" fmla="*/ 373856 w 438150"/>
                <a:gd name="connsiteY8" fmla="*/ 61912 h 590550"/>
                <a:gd name="connsiteX9" fmla="*/ 366713 w 438150"/>
                <a:gd name="connsiteY9" fmla="*/ 66675 h 590550"/>
                <a:gd name="connsiteX10" fmla="*/ 357188 w 438150"/>
                <a:gd name="connsiteY10" fmla="*/ 76200 h 590550"/>
                <a:gd name="connsiteX11" fmla="*/ 340519 w 438150"/>
                <a:gd name="connsiteY11" fmla="*/ 92869 h 590550"/>
                <a:gd name="connsiteX12" fmla="*/ 333375 w 438150"/>
                <a:gd name="connsiteY12" fmla="*/ 100012 h 590550"/>
                <a:gd name="connsiteX13" fmla="*/ 326231 w 438150"/>
                <a:gd name="connsiteY13" fmla="*/ 104775 h 590550"/>
                <a:gd name="connsiteX14" fmla="*/ 314325 w 438150"/>
                <a:gd name="connsiteY14" fmla="*/ 116681 h 590550"/>
                <a:gd name="connsiteX15" fmla="*/ 304800 w 438150"/>
                <a:gd name="connsiteY15" fmla="*/ 130969 h 590550"/>
                <a:gd name="connsiteX16" fmla="*/ 300038 w 438150"/>
                <a:gd name="connsiteY16" fmla="*/ 145256 h 590550"/>
                <a:gd name="connsiteX17" fmla="*/ 297656 w 438150"/>
                <a:gd name="connsiteY17" fmla="*/ 152400 h 590550"/>
                <a:gd name="connsiteX18" fmla="*/ 290513 w 438150"/>
                <a:gd name="connsiteY18" fmla="*/ 159544 h 590550"/>
                <a:gd name="connsiteX19" fmla="*/ 280988 w 438150"/>
                <a:gd name="connsiteY19" fmla="*/ 171450 h 590550"/>
                <a:gd name="connsiteX20" fmla="*/ 278606 w 438150"/>
                <a:gd name="connsiteY20" fmla="*/ 178594 h 590550"/>
                <a:gd name="connsiteX21" fmla="*/ 264319 w 438150"/>
                <a:gd name="connsiteY21" fmla="*/ 188119 h 590550"/>
                <a:gd name="connsiteX22" fmla="*/ 259556 w 438150"/>
                <a:gd name="connsiteY22" fmla="*/ 202406 h 590550"/>
                <a:gd name="connsiteX23" fmla="*/ 254794 w 438150"/>
                <a:gd name="connsiteY23" fmla="*/ 223837 h 590550"/>
                <a:gd name="connsiteX24" fmla="*/ 250031 w 438150"/>
                <a:gd name="connsiteY24" fmla="*/ 238125 h 590550"/>
                <a:gd name="connsiteX25" fmla="*/ 245269 w 438150"/>
                <a:gd name="connsiteY25" fmla="*/ 245269 h 590550"/>
                <a:gd name="connsiteX26" fmla="*/ 240506 w 438150"/>
                <a:gd name="connsiteY26" fmla="*/ 259556 h 590550"/>
                <a:gd name="connsiteX27" fmla="*/ 238125 w 438150"/>
                <a:gd name="connsiteY27" fmla="*/ 266700 h 590550"/>
                <a:gd name="connsiteX28" fmla="*/ 230981 w 438150"/>
                <a:gd name="connsiteY28" fmla="*/ 273844 h 590550"/>
                <a:gd name="connsiteX29" fmla="*/ 228600 w 438150"/>
                <a:gd name="connsiteY29" fmla="*/ 280987 h 590550"/>
                <a:gd name="connsiteX30" fmla="*/ 214313 w 438150"/>
                <a:gd name="connsiteY30" fmla="*/ 292894 h 590550"/>
                <a:gd name="connsiteX31" fmla="*/ 202406 w 438150"/>
                <a:gd name="connsiteY31" fmla="*/ 304800 h 590550"/>
                <a:gd name="connsiteX32" fmla="*/ 190500 w 438150"/>
                <a:gd name="connsiteY32" fmla="*/ 314325 h 590550"/>
                <a:gd name="connsiteX33" fmla="*/ 178594 w 438150"/>
                <a:gd name="connsiteY33" fmla="*/ 326231 h 590550"/>
                <a:gd name="connsiteX34" fmla="*/ 173831 w 438150"/>
                <a:gd name="connsiteY34" fmla="*/ 333375 h 590550"/>
                <a:gd name="connsiteX35" fmla="*/ 166688 w 438150"/>
                <a:gd name="connsiteY35" fmla="*/ 340519 h 590550"/>
                <a:gd name="connsiteX36" fmla="*/ 157163 w 438150"/>
                <a:gd name="connsiteY36" fmla="*/ 354806 h 590550"/>
                <a:gd name="connsiteX37" fmla="*/ 154781 w 438150"/>
                <a:gd name="connsiteY37" fmla="*/ 361950 h 590550"/>
                <a:gd name="connsiteX38" fmla="*/ 147638 w 438150"/>
                <a:gd name="connsiteY38" fmla="*/ 366712 h 590550"/>
                <a:gd name="connsiteX39" fmla="*/ 140494 w 438150"/>
                <a:gd name="connsiteY39" fmla="*/ 383381 h 590550"/>
                <a:gd name="connsiteX40" fmla="*/ 133350 w 438150"/>
                <a:gd name="connsiteY40" fmla="*/ 388144 h 590550"/>
                <a:gd name="connsiteX41" fmla="*/ 123825 w 438150"/>
                <a:gd name="connsiteY41" fmla="*/ 402431 h 590550"/>
                <a:gd name="connsiteX42" fmla="*/ 116681 w 438150"/>
                <a:gd name="connsiteY42" fmla="*/ 416719 h 590550"/>
                <a:gd name="connsiteX43" fmla="*/ 109538 w 438150"/>
                <a:gd name="connsiteY43" fmla="*/ 423862 h 590550"/>
                <a:gd name="connsiteX44" fmla="*/ 107156 w 438150"/>
                <a:gd name="connsiteY44" fmla="*/ 431006 h 590550"/>
                <a:gd name="connsiteX45" fmla="*/ 97631 w 438150"/>
                <a:gd name="connsiteY45" fmla="*/ 447675 h 590550"/>
                <a:gd name="connsiteX46" fmla="*/ 95250 w 438150"/>
                <a:gd name="connsiteY46" fmla="*/ 454819 h 590550"/>
                <a:gd name="connsiteX47" fmla="*/ 71438 w 438150"/>
                <a:gd name="connsiteY47" fmla="*/ 473869 h 590550"/>
                <a:gd name="connsiteX48" fmla="*/ 64294 w 438150"/>
                <a:gd name="connsiteY48" fmla="*/ 476250 h 590550"/>
                <a:gd name="connsiteX49" fmla="*/ 50006 w 438150"/>
                <a:gd name="connsiteY49" fmla="*/ 488156 h 590550"/>
                <a:gd name="connsiteX50" fmla="*/ 42863 w 438150"/>
                <a:gd name="connsiteY50" fmla="*/ 490537 h 590550"/>
                <a:gd name="connsiteX51" fmla="*/ 33338 w 438150"/>
                <a:gd name="connsiteY51" fmla="*/ 497681 h 590550"/>
                <a:gd name="connsiteX52" fmla="*/ 28575 w 438150"/>
                <a:gd name="connsiteY52" fmla="*/ 516731 h 590550"/>
                <a:gd name="connsiteX53" fmla="*/ 23813 w 438150"/>
                <a:gd name="connsiteY53" fmla="*/ 523875 h 590550"/>
                <a:gd name="connsiteX54" fmla="*/ 21431 w 438150"/>
                <a:gd name="connsiteY54" fmla="*/ 531019 h 590550"/>
                <a:gd name="connsiteX55" fmla="*/ 19050 w 438150"/>
                <a:gd name="connsiteY55" fmla="*/ 554831 h 590550"/>
                <a:gd name="connsiteX56" fmla="*/ 14288 w 438150"/>
                <a:gd name="connsiteY56" fmla="*/ 561975 h 590550"/>
                <a:gd name="connsiteX57" fmla="*/ 11906 w 438150"/>
                <a:gd name="connsiteY57" fmla="*/ 569119 h 590550"/>
                <a:gd name="connsiteX58" fmla="*/ 4763 w 438150"/>
                <a:gd name="connsiteY58" fmla="*/ 576262 h 590550"/>
                <a:gd name="connsiteX59" fmla="*/ 0 w 438150"/>
                <a:gd name="connsiteY59" fmla="*/ 583406 h 590550"/>
                <a:gd name="connsiteX60" fmla="*/ 4763 w 438150"/>
                <a:gd name="connsiteY60" fmla="*/ 59055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438150" h="590550">
                  <a:moveTo>
                    <a:pt x="438150" y="0"/>
                  </a:moveTo>
                  <a:cubicBezTo>
                    <a:pt x="434181" y="794"/>
                    <a:pt x="429928" y="706"/>
                    <a:pt x="426244" y="2381"/>
                  </a:cubicBezTo>
                  <a:cubicBezTo>
                    <a:pt x="421033" y="4750"/>
                    <a:pt x="411956" y="11906"/>
                    <a:pt x="411956" y="11906"/>
                  </a:cubicBezTo>
                  <a:cubicBezTo>
                    <a:pt x="410369" y="14287"/>
                    <a:pt x="409218" y="17026"/>
                    <a:pt x="407194" y="19050"/>
                  </a:cubicBezTo>
                  <a:cubicBezTo>
                    <a:pt x="405170" y="21074"/>
                    <a:pt x="401838" y="21577"/>
                    <a:pt x="400050" y="23812"/>
                  </a:cubicBezTo>
                  <a:cubicBezTo>
                    <a:pt x="398482" y="25772"/>
                    <a:pt x="399444" y="29181"/>
                    <a:pt x="397669" y="30956"/>
                  </a:cubicBezTo>
                  <a:cubicBezTo>
                    <a:pt x="393622" y="35003"/>
                    <a:pt x="383381" y="40481"/>
                    <a:pt x="383381" y="40481"/>
                  </a:cubicBezTo>
                  <a:cubicBezTo>
                    <a:pt x="381794" y="42862"/>
                    <a:pt x="379781" y="45010"/>
                    <a:pt x="378619" y="47625"/>
                  </a:cubicBezTo>
                  <a:cubicBezTo>
                    <a:pt x="376580" y="52212"/>
                    <a:pt x="378033" y="59127"/>
                    <a:pt x="373856" y="61912"/>
                  </a:cubicBezTo>
                  <a:lnTo>
                    <a:pt x="366713" y="66675"/>
                  </a:lnTo>
                  <a:cubicBezTo>
                    <a:pt x="360360" y="85727"/>
                    <a:pt x="369889" y="63499"/>
                    <a:pt x="357188" y="76200"/>
                  </a:cubicBezTo>
                  <a:cubicBezTo>
                    <a:pt x="338082" y="95306"/>
                    <a:pt x="356684" y="87479"/>
                    <a:pt x="340519" y="92869"/>
                  </a:cubicBezTo>
                  <a:cubicBezTo>
                    <a:pt x="338138" y="95250"/>
                    <a:pt x="335962" y="97856"/>
                    <a:pt x="333375" y="100012"/>
                  </a:cubicBezTo>
                  <a:cubicBezTo>
                    <a:pt x="331176" y="101844"/>
                    <a:pt x="328255" y="102751"/>
                    <a:pt x="326231" y="104775"/>
                  </a:cubicBezTo>
                  <a:cubicBezTo>
                    <a:pt x="310360" y="120647"/>
                    <a:pt x="333372" y="103985"/>
                    <a:pt x="314325" y="116681"/>
                  </a:cubicBezTo>
                  <a:cubicBezTo>
                    <a:pt x="311150" y="121444"/>
                    <a:pt x="306610" y="125539"/>
                    <a:pt x="304800" y="130969"/>
                  </a:cubicBezTo>
                  <a:lnTo>
                    <a:pt x="300038" y="145256"/>
                  </a:lnTo>
                  <a:cubicBezTo>
                    <a:pt x="299244" y="147637"/>
                    <a:pt x="299431" y="150625"/>
                    <a:pt x="297656" y="152400"/>
                  </a:cubicBezTo>
                  <a:lnTo>
                    <a:pt x="290513" y="159544"/>
                  </a:lnTo>
                  <a:cubicBezTo>
                    <a:pt x="284525" y="177500"/>
                    <a:pt x="293298" y="156061"/>
                    <a:pt x="280988" y="171450"/>
                  </a:cubicBezTo>
                  <a:cubicBezTo>
                    <a:pt x="279420" y="173410"/>
                    <a:pt x="280381" y="176819"/>
                    <a:pt x="278606" y="178594"/>
                  </a:cubicBezTo>
                  <a:cubicBezTo>
                    <a:pt x="274559" y="182641"/>
                    <a:pt x="264319" y="188119"/>
                    <a:pt x="264319" y="188119"/>
                  </a:cubicBezTo>
                  <a:cubicBezTo>
                    <a:pt x="262731" y="192881"/>
                    <a:pt x="260540" y="197483"/>
                    <a:pt x="259556" y="202406"/>
                  </a:cubicBezTo>
                  <a:cubicBezTo>
                    <a:pt x="258197" y="209200"/>
                    <a:pt x="256811" y="217114"/>
                    <a:pt x="254794" y="223837"/>
                  </a:cubicBezTo>
                  <a:cubicBezTo>
                    <a:pt x="253351" y="228646"/>
                    <a:pt x="252816" y="233948"/>
                    <a:pt x="250031" y="238125"/>
                  </a:cubicBezTo>
                  <a:cubicBezTo>
                    <a:pt x="248444" y="240506"/>
                    <a:pt x="246431" y="242654"/>
                    <a:pt x="245269" y="245269"/>
                  </a:cubicBezTo>
                  <a:cubicBezTo>
                    <a:pt x="243230" y="249856"/>
                    <a:pt x="242094" y="254794"/>
                    <a:pt x="240506" y="259556"/>
                  </a:cubicBezTo>
                  <a:cubicBezTo>
                    <a:pt x="239712" y="261937"/>
                    <a:pt x="239900" y="264925"/>
                    <a:pt x="238125" y="266700"/>
                  </a:cubicBezTo>
                  <a:lnTo>
                    <a:pt x="230981" y="273844"/>
                  </a:lnTo>
                  <a:cubicBezTo>
                    <a:pt x="230187" y="276225"/>
                    <a:pt x="229992" y="278899"/>
                    <a:pt x="228600" y="280987"/>
                  </a:cubicBezTo>
                  <a:cubicBezTo>
                    <a:pt x="224934" y="286486"/>
                    <a:pt x="219583" y="289380"/>
                    <a:pt x="214313" y="292894"/>
                  </a:cubicBezTo>
                  <a:cubicBezTo>
                    <a:pt x="201607" y="311949"/>
                    <a:pt x="218287" y="288918"/>
                    <a:pt x="202406" y="304800"/>
                  </a:cubicBezTo>
                  <a:cubicBezTo>
                    <a:pt x="191636" y="315571"/>
                    <a:pt x="204408" y="309690"/>
                    <a:pt x="190500" y="314325"/>
                  </a:cubicBezTo>
                  <a:cubicBezTo>
                    <a:pt x="177804" y="333372"/>
                    <a:pt x="194466" y="310360"/>
                    <a:pt x="178594" y="326231"/>
                  </a:cubicBezTo>
                  <a:cubicBezTo>
                    <a:pt x="176570" y="328255"/>
                    <a:pt x="175663" y="331176"/>
                    <a:pt x="173831" y="333375"/>
                  </a:cubicBezTo>
                  <a:cubicBezTo>
                    <a:pt x="171675" y="335962"/>
                    <a:pt x="168755" y="337861"/>
                    <a:pt x="166688" y="340519"/>
                  </a:cubicBezTo>
                  <a:cubicBezTo>
                    <a:pt x="163174" y="345037"/>
                    <a:pt x="158973" y="349376"/>
                    <a:pt x="157163" y="354806"/>
                  </a:cubicBezTo>
                  <a:cubicBezTo>
                    <a:pt x="156369" y="357187"/>
                    <a:pt x="156349" y="359990"/>
                    <a:pt x="154781" y="361950"/>
                  </a:cubicBezTo>
                  <a:cubicBezTo>
                    <a:pt x="152993" y="364185"/>
                    <a:pt x="150019" y="365125"/>
                    <a:pt x="147638" y="366712"/>
                  </a:cubicBezTo>
                  <a:cubicBezTo>
                    <a:pt x="145984" y="371673"/>
                    <a:pt x="143761" y="379460"/>
                    <a:pt x="140494" y="383381"/>
                  </a:cubicBezTo>
                  <a:cubicBezTo>
                    <a:pt x="138662" y="385580"/>
                    <a:pt x="135731" y="386556"/>
                    <a:pt x="133350" y="388144"/>
                  </a:cubicBezTo>
                  <a:cubicBezTo>
                    <a:pt x="129165" y="400698"/>
                    <a:pt x="133735" y="390538"/>
                    <a:pt x="123825" y="402431"/>
                  </a:cubicBezTo>
                  <a:cubicBezTo>
                    <a:pt x="105094" y="424910"/>
                    <a:pt x="131000" y="395242"/>
                    <a:pt x="116681" y="416719"/>
                  </a:cubicBezTo>
                  <a:cubicBezTo>
                    <a:pt x="114813" y="419521"/>
                    <a:pt x="111919" y="421481"/>
                    <a:pt x="109538" y="423862"/>
                  </a:cubicBezTo>
                  <a:cubicBezTo>
                    <a:pt x="108744" y="426243"/>
                    <a:pt x="108279" y="428761"/>
                    <a:pt x="107156" y="431006"/>
                  </a:cubicBezTo>
                  <a:cubicBezTo>
                    <a:pt x="95207" y="454905"/>
                    <a:pt x="110147" y="418472"/>
                    <a:pt x="97631" y="447675"/>
                  </a:cubicBezTo>
                  <a:cubicBezTo>
                    <a:pt x="96642" y="449982"/>
                    <a:pt x="96709" y="452776"/>
                    <a:pt x="95250" y="454819"/>
                  </a:cubicBezTo>
                  <a:cubicBezTo>
                    <a:pt x="91186" y="460508"/>
                    <a:pt x="77340" y="471902"/>
                    <a:pt x="71438" y="473869"/>
                  </a:cubicBezTo>
                  <a:cubicBezTo>
                    <a:pt x="69057" y="474663"/>
                    <a:pt x="66539" y="475128"/>
                    <a:pt x="64294" y="476250"/>
                  </a:cubicBezTo>
                  <a:cubicBezTo>
                    <a:pt x="48716" y="484038"/>
                    <a:pt x="65801" y="477625"/>
                    <a:pt x="50006" y="488156"/>
                  </a:cubicBezTo>
                  <a:cubicBezTo>
                    <a:pt x="47918" y="489548"/>
                    <a:pt x="45244" y="489743"/>
                    <a:pt x="42863" y="490537"/>
                  </a:cubicBezTo>
                  <a:cubicBezTo>
                    <a:pt x="39688" y="492918"/>
                    <a:pt x="35879" y="494632"/>
                    <a:pt x="33338" y="497681"/>
                  </a:cubicBezTo>
                  <a:cubicBezTo>
                    <a:pt x="31333" y="500087"/>
                    <a:pt x="28777" y="516192"/>
                    <a:pt x="28575" y="516731"/>
                  </a:cubicBezTo>
                  <a:cubicBezTo>
                    <a:pt x="27570" y="519411"/>
                    <a:pt x="25093" y="521315"/>
                    <a:pt x="23813" y="523875"/>
                  </a:cubicBezTo>
                  <a:cubicBezTo>
                    <a:pt x="22690" y="526120"/>
                    <a:pt x="22225" y="528638"/>
                    <a:pt x="21431" y="531019"/>
                  </a:cubicBezTo>
                  <a:cubicBezTo>
                    <a:pt x="20637" y="538956"/>
                    <a:pt x="20844" y="547058"/>
                    <a:pt x="19050" y="554831"/>
                  </a:cubicBezTo>
                  <a:cubicBezTo>
                    <a:pt x="18407" y="557620"/>
                    <a:pt x="15568" y="559415"/>
                    <a:pt x="14288" y="561975"/>
                  </a:cubicBezTo>
                  <a:cubicBezTo>
                    <a:pt x="13165" y="564220"/>
                    <a:pt x="13298" y="567030"/>
                    <a:pt x="11906" y="569119"/>
                  </a:cubicBezTo>
                  <a:cubicBezTo>
                    <a:pt x="10038" y="571921"/>
                    <a:pt x="6919" y="573675"/>
                    <a:pt x="4763" y="576262"/>
                  </a:cubicBezTo>
                  <a:cubicBezTo>
                    <a:pt x="2931" y="578461"/>
                    <a:pt x="1588" y="581025"/>
                    <a:pt x="0" y="583406"/>
                  </a:cubicBezTo>
                  <a:lnTo>
                    <a:pt x="4763" y="59055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1" name="Forma livre 324"/>
            <p:cNvSpPr/>
            <p:nvPr/>
          </p:nvSpPr>
          <p:spPr bwMode="auto">
            <a:xfrm>
              <a:off x="5065713" y="4738688"/>
              <a:ext cx="234950" cy="104775"/>
            </a:xfrm>
            <a:custGeom>
              <a:avLst/>
              <a:gdLst>
                <a:gd name="connsiteX0" fmla="*/ 0 w 235744"/>
                <a:gd name="connsiteY0" fmla="*/ 104775 h 104775"/>
                <a:gd name="connsiteX1" fmla="*/ 14287 w 235744"/>
                <a:gd name="connsiteY1" fmla="*/ 102393 h 104775"/>
                <a:gd name="connsiteX2" fmla="*/ 33337 w 235744"/>
                <a:gd name="connsiteY2" fmla="*/ 97631 h 104775"/>
                <a:gd name="connsiteX3" fmla="*/ 42862 w 235744"/>
                <a:gd name="connsiteY3" fmla="*/ 95250 h 104775"/>
                <a:gd name="connsiteX4" fmla="*/ 57150 w 235744"/>
                <a:gd name="connsiteY4" fmla="*/ 90487 h 104775"/>
                <a:gd name="connsiteX5" fmla="*/ 71437 w 235744"/>
                <a:gd name="connsiteY5" fmla="*/ 85725 h 104775"/>
                <a:gd name="connsiteX6" fmla="*/ 78581 w 235744"/>
                <a:gd name="connsiteY6" fmla="*/ 83343 h 104775"/>
                <a:gd name="connsiteX7" fmla="*/ 85725 w 235744"/>
                <a:gd name="connsiteY7" fmla="*/ 76200 h 104775"/>
                <a:gd name="connsiteX8" fmla="*/ 92869 w 235744"/>
                <a:gd name="connsiteY8" fmla="*/ 73818 h 104775"/>
                <a:gd name="connsiteX9" fmla="*/ 100012 w 235744"/>
                <a:gd name="connsiteY9" fmla="*/ 69056 h 104775"/>
                <a:gd name="connsiteX10" fmla="*/ 111919 w 235744"/>
                <a:gd name="connsiteY10" fmla="*/ 57150 h 104775"/>
                <a:gd name="connsiteX11" fmla="*/ 116681 w 235744"/>
                <a:gd name="connsiteY11" fmla="*/ 50006 h 104775"/>
                <a:gd name="connsiteX12" fmla="*/ 130969 w 235744"/>
                <a:gd name="connsiteY12" fmla="*/ 45243 h 104775"/>
                <a:gd name="connsiteX13" fmla="*/ 173831 w 235744"/>
                <a:gd name="connsiteY13" fmla="*/ 35718 h 104775"/>
                <a:gd name="connsiteX14" fmla="*/ 195262 w 235744"/>
                <a:gd name="connsiteY14" fmla="*/ 23812 h 104775"/>
                <a:gd name="connsiteX15" fmla="*/ 211931 w 235744"/>
                <a:gd name="connsiteY15" fmla="*/ 14287 h 104775"/>
                <a:gd name="connsiteX16" fmla="*/ 226219 w 235744"/>
                <a:gd name="connsiteY16" fmla="*/ 4762 h 104775"/>
                <a:gd name="connsiteX17" fmla="*/ 235744 w 235744"/>
                <a:gd name="connsiteY17" fmla="*/ 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5744" h="104775">
                  <a:moveTo>
                    <a:pt x="0" y="104775"/>
                  </a:moveTo>
                  <a:cubicBezTo>
                    <a:pt x="4762" y="103981"/>
                    <a:pt x="9566" y="103405"/>
                    <a:pt x="14287" y="102393"/>
                  </a:cubicBezTo>
                  <a:cubicBezTo>
                    <a:pt x="20687" y="101021"/>
                    <a:pt x="26987" y="99218"/>
                    <a:pt x="33337" y="97631"/>
                  </a:cubicBezTo>
                  <a:cubicBezTo>
                    <a:pt x="36512" y="96837"/>
                    <a:pt x="39757" y="96285"/>
                    <a:pt x="42862" y="95250"/>
                  </a:cubicBezTo>
                  <a:lnTo>
                    <a:pt x="57150" y="90487"/>
                  </a:lnTo>
                  <a:lnTo>
                    <a:pt x="71437" y="85725"/>
                  </a:lnTo>
                  <a:lnTo>
                    <a:pt x="78581" y="83343"/>
                  </a:lnTo>
                  <a:cubicBezTo>
                    <a:pt x="80962" y="80962"/>
                    <a:pt x="82923" y="78068"/>
                    <a:pt x="85725" y="76200"/>
                  </a:cubicBezTo>
                  <a:cubicBezTo>
                    <a:pt x="87814" y="74808"/>
                    <a:pt x="90624" y="74941"/>
                    <a:pt x="92869" y="73818"/>
                  </a:cubicBezTo>
                  <a:cubicBezTo>
                    <a:pt x="95428" y="72538"/>
                    <a:pt x="97631" y="70643"/>
                    <a:pt x="100012" y="69056"/>
                  </a:cubicBezTo>
                  <a:cubicBezTo>
                    <a:pt x="112716" y="50001"/>
                    <a:pt x="96040" y="73029"/>
                    <a:pt x="111919" y="57150"/>
                  </a:cubicBezTo>
                  <a:cubicBezTo>
                    <a:pt x="113943" y="55126"/>
                    <a:pt x="114254" y="51523"/>
                    <a:pt x="116681" y="50006"/>
                  </a:cubicBezTo>
                  <a:cubicBezTo>
                    <a:pt x="120938" y="47345"/>
                    <a:pt x="130969" y="45243"/>
                    <a:pt x="130969" y="45243"/>
                  </a:cubicBezTo>
                  <a:cubicBezTo>
                    <a:pt x="143072" y="27089"/>
                    <a:pt x="131620" y="40162"/>
                    <a:pt x="173831" y="35718"/>
                  </a:cubicBezTo>
                  <a:cubicBezTo>
                    <a:pt x="181298" y="34932"/>
                    <a:pt x="190531" y="26966"/>
                    <a:pt x="195262" y="23812"/>
                  </a:cubicBezTo>
                  <a:cubicBezTo>
                    <a:pt x="219961" y="7346"/>
                    <a:pt x="181735" y="32405"/>
                    <a:pt x="211931" y="14287"/>
                  </a:cubicBezTo>
                  <a:cubicBezTo>
                    <a:pt x="216839" y="11342"/>
                    <a:pt x="220789" y="6572"/>
                    <a:pt x="226219" y="4762"/>
                  </a:cubicBezTo>
                  <a:cubicBezTo>
                    <a:pt x="234427" y="2026"/>
                    <a:pt x="231587" y="4155"/>
                    <a:pt x="235744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2" name="Forma livre 325"/>
            <p:cNvSpPr/>
            <p:nvPr/>
          </p:nvSpPr>
          <p:spPr bwMode="auto">
            <a:xfrm>
              <a:off x="5184775" y="4079875"/>
              <a:ext cx="587375" cy="820738"/>
            </a:xfrm>
            <a:custGeom>
              <a:avLst/>
              <a:gdLst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69119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0069 w 588169"/>
                <a:gd name="connsiteY14" fmla="*/ 192882 h 821532"/>
                <a:gd name="connsiteX15" fmla="*/ 545307 w 588169"/>
                <a:gd name="connsiteY15" fmla="*/ 216694 h 821532"/>
                <a:gd name="connsiteX16" fmla="*/ 540544 w 588169"/>
                <a:gd name="connsiteY16" fmla="*/ 230982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5300 w 588169"/>
                <a:gd name="connsiteY24" fmla="*/ 311944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0069 w 588169"/>
                <a:gd name="connsiteY14" fmla="*/ 192882 h 821532"/>
                <a:gd name="connsiteX15" fmla="*/ 545307 w 588169"/>
                <a:gd name="connsiteY15" fmla="*/ 216694 h 821532"/>
                <a:gd name="connsiteX16" fmla="*/ 540544 w 588169"/>
                <a:gd name="connsiteY16" fmla="*/ 230982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5300 w 588169"/>
                <a:gd name="connsiteY24" fmla="*/ 311944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45307 w 588169"/>
                <a:gd name="connsiteY15" fmla="*/ 216694 h 821532"/>
                <a:gd name="connsiteX16" fmla="*/ 540544 w 588169"/>
                <a:gd name="connsiteY16" fmla="*/ 230982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5300 w 588169"/>
                <a:gd name="connsiteY24" fmla="*/ 311944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40544 w 588169"/>
                <a:gd name="connsiteY16" fmla="*/ 230982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5300 w 588169"/>
                <a:gd name="connsiteY24" fmla="*/ 311944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5300 w 588169"/>
                <a:gd name="connsiteY24" fmla="*/ 311944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33375 w 588169"/>
                <a:gd name="connsiteY48" fmla="*/ 564357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35757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47625 w 588169"/>
                <a:gd name="connsiteY75" fmla="*/ 809625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33338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495300 w 588169"/>
                <a:gd name="connsiteY25" fmla="*/ 357188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47625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88156 w 588169"/>
                <a:gd name="connsiteY24" fmla="*/ 326231 h 821532"/>
                <a:gd name="connsiteX25" fmla="*/ 500063 w 588169"/>
                <a:gd name="connsiteY25" fmla="*/ 347663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47625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2919 w 588169"/>
                <a:gd name="connsiteY23" fmla="*/ 302419 h 821532"/>
                <a:gd name="connsiteX24" fmla="*/ 497681 w 588169"/>
                <a:gd name="connsiteY24" fmla="*/ 326231 h 821532"/>
                <a:gd name="connsiteX25" fmla="*/ 500063 w 588169"/>
                <a:gd name="connsiteY25" fmla="*/ 347663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47625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81026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7682 w 588169"/>
                <a:gd name="connsiteY23" fmla="*/ 311944 h 821532"/>
                <a:gd name="connsiteX24" fmla="*/ 497681 w 588169"/>
                <a:gd name="connsiteY24" fmla="*/ 326231 h 821532"/>
                <a:gd name="connsiteX25" fmla="*/ 500063 w 588169"/>
                <a:gd name="connsiteY25" fmla="*/ 347663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47625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  <a:gd name="connsiteX0" fmla="*/ 588169 w 588169"/>
                <a:gd name="connsiteY0" fmla="*/ 0 h 821532"/>
                <a:gd name="connsiteX1" fmla="*/ 585788 w 588169"/>
                <a:gd name="connsiteY1" fmla="*/ 16669 h 821532"/>
                <a:gd name="connsiteX2" fmla="*/ 578644 w 588169"/>
                <a:gd name="connsiteY2" fmla="*/ 30957 h 821532"/>
                <a:gd name="connsiteX3" fmla="*/ 569119 w 588169"/>
                <a:gd name="connsiteY3" fmla="*/ 47625 h 821532"/>
                <a:gd name="connsiteX4" fmla="*/ 564357 w 588169"/>
                <a:gd name="connsiteY4" fmla="*/ 61913 h 821532"/>
                <a:gd name="connsiteX5" fmla="*/ 561975 w 588169"/>
                <a:gd name="connsiteY5" fmla="*/ 69057 h 821532"/>
                <a:gd name="connsiteX6" fmla="*/ 564357 w 588169"/>
                <a:gd name="connsiteY6" fmla="*/ 78582 h 821532"/>
                <a:gd name="connsiteX7" fmla="*/ 573882 w 588169"/>
                <a:gd name="connsiteY7" fmla="*/ 102394 h 821532"/>
                <a:gd name="connsiteX8" fmla="*/ 578644 w 588169"/>
                <a:gd name="connsiteY8" fmla="*/ 116682 h 821532"/>
                <a:gd name="connsiteX9" fmla="*/ 583407 w 588169"/>
                <a:gd name="connsiteY9" fmla="*/ 123825 h 821532"/>
                <a:gd name="connsiteX10" fmla="*/ 581025 w 588169"/>
                <a:gd name="connsiteY10" fmla="*/ 142875 h 821532"/>
                <a:gd name="connsiteX11" fmla="*/ 578644 w 588169"/>
                <a:gd name="connsiteY11" fmla="*/ 150019 h 821532"/>
                <a:gd name="connsiteX12" fmla="*/ 569119 w 588169"/>
                <a:gd name="connsiteY12" fmla="*/ 157163 h 821532"/>
                <a:gd name="connsiteX13" fmla="*/ 561975 w 588169"/>
                <a:gd name="connsiteY13" fmla="*/ 171450 h 821532"/>
                <a:gd name="connsiteX14" fmla="*/ 552450 w 588169"/>
                <a:gd name="connsiteY14" fmla="*/ 197644 h 821532"/>
                <a:gd name="connsiteX15" fmla="*/ 557213 w 588169"/>
                <a:gd name="connsiteY15" fmla="*/ 221456 h 821532"/>
                <a:gd name="connsiteX16" fmla="*/ 550069 w 588169"/>
                <a:gd name="connsiteY16" fmla="*/ 245269 h 821532"/>
                <a:gd name="connsiteX17" fmla="*/ 535782 w 588169"/>
                <a:gd name="connsiteY17" fmla="*/ 261938 h 821532"/>
                <a:gd name="connsiteX18" fmla="*/ 531019 w 588169"/>
                <a:gd name="connsiteY18" fmla="*/ 269082 h 821532"/>
                <a:gd name="connsiteX19" fmla="*/ 523875 w 588169"/>
                <a:gd name="connsiteY19" fmla="*/ 283369 h 821532"/>
                <a:gd name="connsiteX20" fmla="*/ 516732 w 588169"/>
                <a:gd name="connsiteY20" fmla="*/ 288132 h 821532"/>
                <a:gd name="connsiteX21" fmla="*/ 509588 w 588169"/>
                <a:gd name="connsiteY21" fmla="*/ 290513 h 821532"/>
                <a:gd name="connsiteX22" fmla="*/ 502444 w 588169"/>
                <a:gd name="connsiteY22" fmla="*/ 297657 h 821532"/>
                <a:gd name="connsiteX23" fmla="*/ 497682 w 588169"/>
                <a:gd name="connsiteY23" fmla="*/ 311944 h 821532"/>
                <a:gd name="connsiteX24" fmla="*/ 497681 w 588169"/>
                <a:gd name="connsiteY24" fmla="*/ 326231 h 821532"/>
                <a:gd name="connsiteX25" fmla="*/ 500063 w 588169"/>
                <a:gd name="connsiteY25" fmla="*/ 347663 h 821532"/>
                <a:gd name="connsiteX26" fmla="*/ 497682 w 588169"/>
                <a:gd name="connsiteY26" fmla="*/ 364332 h 821532"/>
                <a:gd name="connsiteX27" fmla="*/ 504825 w 588169"/>
                <a:gd name="connsiteY27" fmla="*/ 366713 h 821532"/>
                <a:gd name="connsiteX28" fmla="*/ 511969 w 588169"/>
                <a:gd name="connsiteY28" fmla="*/ 371475 h 821532"/>
                <a:gd name="connsiteX29" fmla="*/ 516732 w 588169"/>
                <a:gd name="connsiteY29" fmla="*/ 378619 h 821532"/>
                <a:gd name="connsiteX30" fmla="*/ 495300 w 588169"/>
                <a:gd name="connsiteY30" fmla="*/ 385763 h 821532"/>
                <a:gd name="connsiteX31" fmla="*/ 485775 w 588169"/>
                <a:gd name="connsiteY31" fmla="*/ 407194 h 821532"/>
                <a:gd name="connsiteX32" fmla="*/ 483394 w 588169"/>
                <a:gd name="connsiteY32" fmla="*/ 414338 h 821532"/>
                <a:gd name="connsiteX33" fmla="*/ 478632 w 588169"/>
                <a:gd name="connsiteY33" fmla="*/ 423863 h 821532"/>
                <a:gd name="connsiteX34" fmla="*/ 476250 w 588169"/>
                <a:gd name="connsiteY34" fmla="*/ 447675 h 821532"/>
                <a:gd name="connsiteX35" fmla="*/ 466725 w 588169"/>
                <a:gd name="connsiteY35" fmla="*/ 452438 h 821532"/>
                <a:gd name="connsiteX36" fmla="*/ 452438 w 588169"/>
                <a:gd name="connsiteY36" fmla="*/ 457200 h 821532"/>
                <a:gd name="connsiteX37" fmla="*/ 445294 w 588169"/>
                <a:gd name="connsiteY37" fmla="*/ 459582 h 821532"/>
                <a:gd name="connsiteX38" fmla="*/ 438150 w 588169"/>
                <a:gd name="connsiteY38" fmla="*/ 461963 h 821532"/>
                <a:gd name="connsiteX39" fmla="*/ 423863 w 588169"/>
                <a:gd name="connsiteY39" fmla="*/ 471488 h 821532"/>
                <a:gd name="connsiteX40" fmla="*/ 416719 w 588169"/>
                <a:gd name="connsiteY40" fmla="*/ 476250 h 821532"/>
                <a:gd name="connsiteX41" fmla="*/ 402432 w 588169"/>
                <a:gd name="connsiteY41" fmla="*/ 488157 h 821532"/>
                <a:gd name="connsiteX42" fmla="*/ 388144 w 588169"/>
                <a:gd name="connsiteY42" fmla="*/ 492919 h 821532"/>
                <a:gd name="connsiteX43" fmla="*/ 371475 w 588169"/>
                <a:gd name="connsiteY43" fmla="*/ 500063 h 821532"/>
                <a:gd name="connsiteX44" fmla="*/ 354807 w 588169"/>
                <a:gd name="connsiteY44" fmla="*/ 521494 h 821532"/>
                <a:gd name="connsiteX45" fmla="*/ 352425 w 588169"/>
                <a:gd name="connsiteY45" fmla="*/ 528638 h 821532"/>
                <a:gd name="connsiteX46" fmla="*/ 345282 w 588169"/>
                <a:gd name="connsiteY46" fmla="*/ 533400 h 821532"/>
                <a:gd name="connsiteX47" fmla="*/ 340519 w 588169"/>
                <a:gd name="connsiteY47" fmla="*/ 547688 h 821532"/>
                <a:gd name="connsiteX48" fmla="*/ 340519 w 588169"/>
                <a:gd name="connsiteY48" fmla="*/ 573882 h 821532"/>
                <a:gd name="connsiteX49" fmla="*/ 345282 w 588169"/>
                <a:gd name="connsiteY49" fmla="*/ 616744 h 821532"/>
                <a:gd name="connsiteX50" fmla="*/ 333375 w 588169"/>
                <a:gd name="connsiteY50" fmla="*/ 633413 h 821532"/>
                <a:gd name="connsiteX51" fmla="*/ 326232 w 588169"/>
                <a:gd name="connsiteY51" fmla="*/ 638175 h 821532"/>
                <a:gd name="connsiteX52" fmla="*/ 321469 w 588169"/>
                <a:gd name="connsiteY52" fmla="*/ 645319 h 821532"/>
                <a:gd name="connsiteX53" fmla="*/ 307182 w 588169"/>
                <a:gd name="connsiteY53" fmla="*/ 654844 h 821532"/>
                <a:gd name="connsiteX54" fmla="*/ 300038 w 588169"/>
                <a:gd name="connsiteY54" fmla="*/ 659607 h 821532"/>
                <a:gd name="connsiteX55" fmla="*/ 292894 w 588169"/>
                <a:gd name="connsiteY55" fmla="*/ 666750 h 821532"/>
                <a:gd name="connsiteX56" fmla="*/ 283369 w 588169"/>
                <a:gd name="connsiteY56" fmla="*/ 681038 h 821532"/>
                <a:gd name="connsiteX57" fmla="*/ 276225 w 588169"/>
                <a:gd name="connsiteY57" fmla="*/ 695325 h 821532"/>
                <a:gd name="connsiteX58" fmla="*/ 273844 w 588169"/>
                <a:gd name="connsiteY58" fmla="*/ 702469 h 821532"/>
                <a:gd name="connsiteX59" fmla="*/ 266700 w 588169"/>
                <a:gd name="connsiteY59" fmla="*/ 707232 h 821532"/>
                <a:gd name="connsiteX60" fmla="*/ 259557 w 588169"/>
                <a:gd name="connsiteY60" fmla="*/ 714375 h 821532"/>
                <a:gd name="connsiteX61" fmla="*/ 245269 w 588169"/>
                <a:gd name="connsiteY61" fmla="*/ 721519 h 821532"/>
                <a:gd name="connsiteX62" fmla="*/ 238125 w 588169"/>
                <a:gd name="connsiteY62" fmla="*/ 728663 h 821532"/>
                <a:gd name="connsiteX63" fmla="*/ 230982 w 588169"/>
                <a:gd name="connsiteY63" fmla="*/ 731044 h 821532"/>
                <a:gd name="connsiteX64" fmla="*/ 223838 w 588169"/>
                <a:gd name="connsiteY64" fmla="*/ 735807 h 821532"/>
                <a:gd name="connsiteX65" fmla="*/ 216694 w 588169"/>
                <a:gd name="connsiteY65" fmla="*/ 738188 h 821532"/>
                <a:gd name="connsiteX66" fmla="*/ 209550 w 588169"/>
                <a:gd name="connsiteY66" fmla="*/ 742950 h 821532"/>
                <a:gd name="connsiteX67" fmla="*/ 202407 w 588169"/>
                <a:gd name="connsiteY67" fmla="*/ 745332 h 821532"/>
                <a:gd name="connsiteX68" fmla="*/ 188119 w 588169"/>
                <a:gd name="connsiteY68" fmla="*/ 752475 h 821532"/>
                <a:gd name="connsiteX69" fmla="*/ 166688 w 588169"/>
                <a:gd name="connsiteY69" fmla="*/ 766763 h 821532"/>
                <a:gd name="connsiteX70" fmla="*/ 152400 w 588169"/>
                <a:gd name="connsiteY70" fmla="*/ 776288 h 821532"/>
                <a:gd name="connsiteX71" fmla="*/ 145257 w 588169"/>
                <a:gd name="connsiteY71" fmla="*/ 783432 h 821532"/>
                <a:gd name="connsiteX72" fmla="*/ 130969 w 588169"/>
                <a:gd name="connsiteY72" fmla="*/ 788194 h 821532"/>
                <a:gd name="connsiteX73" fmla="*/ 123825 w 588169"/>
                <a:gd name="connsiteY73" fmla="*/ 795338 h 821532"/>
                <a:gd name="connsiteX74" fmla="*/ 100013 w 588169"/>
                <a:gd name="connsiteY74" fmla="*/ 802482 h 821532"/>
                <a:gd name="connsiteX75" fmla="*/ 76200 w 588169"/>
                <a:gd name="connsiteY75" fmla="*/ 797719 h 821532"/>
                <a:gd name="connsiteX76" fmla="*/ 47625 w 588169"/>
                <a:gd name="connsiteY76" fmla="*/ 819150 h 821532"/>
                <a:gd name="connsiteX77" fmla="*/ 26194 w 588169"/>
                <a:gd name="connsiteY77" fmla="*/ 821532 h 821532"/>
                <a:gd name="connsiteX78" fmla="*/ 7144 w 588169"/>
                <a:gd name="connsiteY78" fmla="*/ 816769 h 821532"/>
                <a:gd name="connsiteX79" fmla="*/ 0 w 588169"/>
                <a:gd name="connsiteY79" fmla="*/ 812007 h 821532"/>
                <a:gd name="connsiteX80" fmla="*/ 4763 w 588169"/>
                <a:gd name="connsiteY80" fmla="*/ 809625 h 821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588169" h="821532">
                  <a:moveTo>
                    <a:pt x="588169" y="0"/>
                  </a:moveTo>
                  <a:cubicBezTo>
                    <a:pt x="587375" y="5556"/>
                    <a:pt x="586889" y="11165"/>
                    <a:pt x="585788" y="16669"/>
                  </a:cubicBezTo>
                  <a:cubicBezTo>
                    <a:pt x="584109" y="25067"/>
                    <a:pt x="582968" y="23391"/>
                    <a:pt x="578644" y="30957"/>
                  </a:cubicBezTo>
                  <a:cubicBezTo>
                    <a:pt x="566564" y="52097"/>
                    <a:pt x="580719" y="30228"/>
                    <a:pt x="569119" y="47625"/>
                  </a:cubicBezTo>
                  <a:lnTo>
                    <a:pt x="564357" y="61913"/>
                  </a:lnTo>
                  <a:lnTo>
                    <a:pt x="561975" y="69057"/>
                  </a:lnTo>
                  <a:cubicBezTo>
                    <a:pt x="562769" y="72232"/>
                    <a:pt x="562373" y="73026"/>
                    <a:pt x="564357" y="78582"/>
                  </a:cubicBezTo>
                  <a:cubicBezTo>
                    <a:pt x="566341" y="84138"/>
                    <a:pt x="569392" y="95659"/>
                    <a:pt x="573882" y="102394"/>
                  </a:cubicBezTo>
                  <a:cubicBezTo>
                    <a:pt x="573088" y="107157"/>
                    <a:pt x="577057" y="113110"/>
                    <a:pt x="578644" y="116682"/>
                  </a:cubicBezTo>
                  <a:cubicBezTo>
                    <a:pt x="580232" y="120254"/>
                    <a:pt x="581819" y="121444"/>
                    <a:pt x="583407" y="123825"/>
                  </a:cubicBezTo>
                  <a:cubicBezTo>
                    <a:pt x="582613" y="130175"/>
                    <a:pt x="582170" y="136579"/>
                    <a:pt x="581025" y="142875"/>
                  </a:cubicBezTo>
                  <a:cubicBezTo>
                    <a:pt x="580576" y="145345"/>
                    <a:pt x="580251" y="148091"/>
                    <a:pt x="578644" y="150019"/>
                  </a:cubicBezTo>
                  <a:cubicBezTo>
                    <a:pt x="576103" y="153068"/>
                    <a:pt x="572294" y="154782"/>
                    <a:pt x="569119" y="157163"/>
                  </a:cubicBezTo>
                  <a:cubicBezTo>
                    <a:pt x="560435" y="183218"/>
                    <a:pt x="564753" y="164703"/>
                    <a:pt x="561975" y="171450"/>
                  </a:cubicBezTo>
                  <a:cubicBezTo>
                    <a:pt x="559197" y="178197"/>
                    <a:pt x="565491" y="184603"/>
                    <a:pt x="552450" y="197644"/>
                  </a:cubicBezTo>
                  <a:cubicBezTo>
                    <a:pt x="550842" y="207295"/>
                    <a:pt x="557610" y="213519"/>
                    <a:pt x="557213" y="221456"/>
                  </a:cubicBezTo>
                  <a:cubicBezTo>
                    <a:pt x="556816" y="229393"/>
                    <a:pt x="553641" y="238522"/>
                    <a:pt x="550069" y="245269"/>
                  </a:cubicBezTo>
                  <a:cubicBezTo>
                    <a:pt x="546497" y="252016"/>
                    <a:pt x="538957" y="257969"/>
                    <a:pt x="535782" y="261938"/>
                  </a:cubicBezTo>
                  <a:cubicBezTo>
                    <a:pt x="532607" y="265907"/>
                    <a:pt x="532607" y="266701"/>
                    <a:pt x="531019" y="269082"/>
                  </a:cubicBezTo>
                  <a:cubicBezTo>
                    <a:pt x="529082" y="274893"/>
                    <a:pt x="528492" y="278752"/>
                    <a:pt x="523875" y="283369"/>
                  </a:cubicBezTo>
                  <a:cubicBezTo>
                    <a:pt x="521851" y="285393"/>
                    <a:pt x="519292" y="286852"/>
                    <a:pt x="516732" y="288132"/>
                  </a:cubicBezTo>
                  <a:cubicBezTo>
                    <a:pt x="514487" y="289255"/>
                    <a:pt x="511969" y="289719"/>
                    <a:pt x="509588" y="290513"/>
                  </a:cubicBezTo>
                  <a:cubicBezTo>
                    <a:pt x="507207" y="292894"/>
                    <a:pt x="504428" y="294085"/>
                    <a:pt x="502444" y="297657"/>
                  </a:cubicBezTo>
                  <a:cubicBezTo>
                    <a:pt x="500460" y="301229"/>
                    <a:pt x="498476" y="307182"/>
                    <a:pt x="497682" y="311944"/>
                  </a:cubicBezTo>
                  <a:cubicBezTo>
                    <a:pt x="496888" y="316706"/>
                    <a:pt x="496887" y="323056"/>
                    <a:pt x="497681" y="326231"/>
                  </a:cubicBezTo>
                  <a:cubicBezTo>
                    <a:pt x="494789" y="349368"/>
                    <a:pt x="500063" y="341313"/>
                    <a:pt x="500063" y="347663"/>
                  </a:cubicBezTo>
                  <a:cubicBezTo>
                    <a:pt x="500063" y="354013"/>
                    <a:pt x="496888" y="361157"/>
                    <a:pt x="497682" y="364332"/>
                  </a:cubicBezTo>
                  <a:cubicBezTo>
                    <a:pt x="498476" y="367507"/>
                    <a:pt x="502580" y="365591"/>
                    <a:pt x="504825" y="366713"/>
                  </a:cubicBezTo>
                  <a:cubicBezTo>
                    <a:pt x="507385" y="367993"/>
                    <a:pt x="509588" y="369888"/>
                    <a:pt x="511969" y="371475"/>
                  </a:cubicBezTo>
                  <a:cubicBezTo>
                    <a:pt x="513557" y="373856"/>
                    <a:pt x="517293" y="375812"/>
                    <a:pt x="516732" y="378619"/>
                  </a:cubicBezTo>
                  <a:cubicBezTo>
                    <a:pt x="515577" y="384393"/>
                    <a:pt x="495530" y="385725"/>
                    <a:pt x="495300" y="385763"/>
                  </a:cubicBezTo>
                  <a:cubicBezTo>
                    <a:pt x="489633" y="402765"/>
                    <a:pt x="493323" y="395873"/>
                    <a:pt x="485775" y="407194"/>
                  </a:cubicBezTo>
                  <a:cubicBezTo>
                    <a:pt x="484981" y="409575"/>
                    <a:pt x="484383" y="412031"/>
                    <a:pt x="483394" y="414338"/>
                  </a:cubicBezTo>
                  <a:cubicBezTo>
                    <a:pt x="481996" y="417601"/>
                    <a:pt x="479376" y="420392"/>
                    <a:pt x="478632" y="423863"/>
                  </a:cubicBezTo>
                  <a:cubicBezTo>
                    <a:pt x="476961" y="431663"/>
                    <a:pt x="479318" y="440312"/>
                    <a:pt x="476250" y="447675"/>
                  </a:cubicBezTo>
                  <a:cubicBezTo>
                    <a:pt x="474885" y="450952"/>
                    <a:pt x="470021" y="451120"/>
                    <a:pt x="466725" y="452438"/>
                  </a:cubicBezTo>
                  <a:cubicBezTo>
                    <a:pt x="462064" y="454302"/>
                    <a:pt x="457200" y="455613"/>
                    <a:pt x="452438" y="457200"/>
                  </a:cubicBezTo>
                  <a:lnTo>
                    <a:pt x="445294" y="459582"/>
                  </a:lnTo>
                  <a:lnTo>
                    <a:pt x="438150" y="461963"/>
                  </a:lnTo>
                  <a:lnTo>
                    <a:pt x="423863" y="471488"/>
                  </a:lnTo>
                  <a:cubicBezTo>
                    <a:pt x="421482" y="473075"/>
                    <a:pt x="418743" y="474226"/>
                    <a:pt x="416719" y="476250"/>
                  </a:cubicBezTo>
                  <a:cubicBezTo>
                    <a:pt x="412236" y="480733"/>
                    <a:pt x="408397" y="485506"/>
                    <a:pt x="402432" y="488157"/>
                  </a:cubicBezTo>
                  <a:cubicBezTo>
                    <a:pt x="397844" y="490196"/>
                    <a:pt x="392634" y="490674"/>
                    <a:pt x="388144" y="492919"/>
                  </a:cubicBezTo>
                  <a:cubicBezTo>
                    <a:pt x="376374" y="498805"/>
                    <a:pt x="381987" y="496560"/>
                    <a:pt x="371475" y="500063"/>
                  </a:cubicBezTo>
                  <a:cubicBezTo>
                    <a:pt x="365312" y="506227"/>
                    <a:pt x="357656" y="512951"/>
                    <a:pt x="354807" y="521494"/>
                  </a:cubicBezTo>
                  <a:cubicBezTo>
                    <a:pt x="354013" y="523875"/>
                    <a:pt x="353993" y="526678"/>
                    <a:pt x="352425" y="528638"/>
                  </a:cubicBezTo>
                  <a:cubicBezTo>
                    <a:pt x="350637" y="530873"/>
                    <a:pt x="347663" y="531813"/>
                    <a:pt x="345282" y="533400"/>
                  </a:cubicBezTo>
                  <a:cubicBezTo>
                    <a:pt x="343694" y="538163"/>
                    <a:pt x="341313" y="540941"/>
                    <a:pt x="340519" y="547688"/>
                  </a:cubicBezTo>
                  <a:cubicBezTo>
                    <a:pt x="339725" y="554435"/>
                    <a:pt x="344024" y="563371"/>
                    <a:pt x="340519" y="573882"/>
                  </a:cubicBezTo>
                  <a:cubicBezTo>
                    <a:pt x="341313" y="591344"/>
                    <a:pt x="346473" y="606822"/>
                    <a:pt x="345282" y="616744"/>
                  </a:cubicBezTo>
                  <a:cubicBezTo>
                    <a:pt x="344091" y="626666"/>
                    <a:pt x="336550" y="629841"/>
                    <a:pt x="333375" y="633413"/>
                  </a:cubicBezTo>
                  <a:cubicBezTo>
                    <a:pt x="330200" y="636985"/>
                    <a:pt x="328613" y="636588"/>
                    <a:pt x="326232" y="638175"/>
                  </a:cubicBezTo>
                  <a:cubicBezTo>
                    <a:pt x="324644" y="640556"/>
                    <a:pt x="323623" y="643434"/>
                    <a:pt x="321469" y="645319"/>
                  </a:cubicBezTo>
                  <a:cubicBezTo>
                    <a:pt x="317162" y="649088"/>
                    <a:pt x="311944" y="651669"/>
                    <a:pt x="307182" y="654844"/>
                  </a:cubicBezTo>
                  <a:cubicBezTo>
                    <a:pt x="304801" y="656432"/>
                    <a:pt x="302062" y="657583"/>
                    <a:pt x="300038" y="659607"/>
                  </a:cubicBezTo>
                  <a:cubicBezTo>
                    <a:pt x="297657" y="661988"/>
                    <a:pt x="294961" y="664092"/>
                    <a:pt x="292894" y="666750"/>
                  </a:cubicBezTo>
                  <a:cubicBezTo>
                    <a:pt x="289380" y="671268"/>
                    <a:pt x="283369" y="681038"/>
                    <a:pt x="283369" y="681038"/>
                  </a:cubicBezTo>
                  <a:cubicBezTo>
                    <a:pt x="277384" y="698995"/>
                    <a:pt x="285458" y="676861"/>
                    <a:pt x="276225" y="695325"/>
                  </a:cubicBezTo>
                  <a:cubicBezTo>
                    <a:pt x="275102" y="697570"/>
                    <a:pt x="275412" y="700509"/>
                    <a:pt x="273844" y="702469"/>
                  </a:cubicBezTo>
                  <a:cubicBezTo>
                    <a:pt x="272056" y="704704"/>
                    <a:pt x="268899" y="705400"/>
                    <a:pt x="266700" y="707232"/>
                  </a:cubicBezTo>
                  <a:cubicBezTo>
                    <a:pt x="264113" y="709388"/>
                    <a:pt x="262144" y="712219"/>
                    <a:pt x="259557" y="714375"/>
                  </a:cubicBezTo>
                  <a:cubicBezTo>
                    <a:pt x="253401" y="719505"/>
                    <a:pt x="252430" y="719132"/>
                    <a:pt x="245269" y="721519"/>
                  </a:cubicBezTo>
                  <a:cubicBezTo>
                    <a:pt x="242888" y="723900"/>
                    <a:pt x="240927" y="726795"/>
                    <a:pt x="238125" y="728663"/>
                  </a:cubicBezTo>
                  <a:cubicBezTo>
                    <a:pt x="236037" y="730055"/>
                    <a:pt x="233227" y="729922"/>
                    <a:pt x="230982" y="731044"/>
                  </a:cubicBezTo>
                  <a:cubicBezTo>
                    <a:pt x="228422" y="732324"/>
                    <a:pt x="226398" y="734527"/>
                    <a:pt x="223838" y="735807"/>
                  </a:cubicBezTo>
                  <a:cubicBezTo>
                    <a:pt x="221593" y="736930"/>
                    <a:pt x="218939" y="737066"/>
                    <a:pt x="216694" y="738188"/>
                  </a:cubicBezTo>
                  <a:cubicBezTo>
                    <a:pt x="214134" y="739468"/>
                    <a:pt x="212110" y="741670"/>
                    <a:pt x="209550" y="742950"/>
                  </a:cubicBezTo>
                  <a:cubicBezTo>
                    <a:pt x="207305" y="744073"/>
                    <a:pt x="204652" y="744209"/>
                    <a:pt x="202407" y="745332"/>
                  </a:cubicBezTo>
                  <a:cubicBezTo>
                    <a:pt x="183953" y="754559"/>
                    <a:pt x="206066" y="746494"/>
                    <a:pt x="188119" y="752475"/>
                  </a:cubicBezTo>
                  <a:lnTo>
                    <a:pt x="166688" y="766763"/>
                  </a:lnTo>
                  <a:cubicBezTo>
                    <a:pt x="166683" y="766766"/>
                    <a:pt x="152404" y="776284"/>
                    <a:pt x="152400" y="776288"/>
                  </a:cubicBezTo>
                  <a:cubicBezTo>
                    <a:pt x="150019" y="778669"/>
                    <a:pt x="148201" y="781797"/>
                    <a:pt x="145257" y="783432"/>
                  </a:cubicBezTo>
                  <a:cubicBezTo>
                    <a:pt x="140869" y="785870"/>
                    <a:pt x="130969" y="788194"/>
                    <a:pt x="130969" y="788194"/>
                  </a:cubicBezTo>
                  <a:cubicBezTo>
                    <a:pt x="128588" y="790575"/>
                    <a:pt x="126769" y="793703"/>
                    <a:pt x="123825" y="795338"/>
                  </a:cubicBezTo>
                  <a:cubicBezTo>
                    <a:pt x="121344" y="796716"/>
                    <a:pt x="107950" y="802085"/>
                    <a:pt x="100013" y="802482"/>
                  </a:cubicBezTo>
                  <a:cubicBezTo>
                    <a:pt x="92076" y="802879"/>
                    <a:pt x="84931" y="794941"/>
                    <a:pt x="76200" y="797719"/>
                  </a:cubicBezTo>
                  <a:cubicBezTo>
                    <a:pt x="67469" y="800497"/>
                    <a:pt x="55959" y="815181"/>
                    <a:pt x="47625" y="819150"/>
                  </a:cubicBezTo>
                  <a:cubicBezTo>
                    <a:pt x="39291" y="823119"/>
                    <a:pt x="28575" y="820738"/>
                    <a:pt x="26194" y="821532"/>
                  </a:cubicBezTo>
                  <a:cubicBezTo>
                    <a:pt x="19844" y="819944"/>
                    <a:pt x="13295" y="819006"/>
                    <a:pt x="7144" y="816769"/>
                  </a:cubicBezTo>
                  <a:cubicBezTo>
                    <a:pt x="4454" y="815791"/>
                    <a:pt x="0" y="814869"/>
                    <a:pt x="0" y="812007"/>
                  </a:cubicBezTo>
                  <a:cubicBezTo>
                    <a:pt x="0" y="809374"/>
                    <a:pt x="12151" y="809625"/>
                    <a:pt x="4763" y="809625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3" name="Forma livre 326"/>
            <p:cNvSpPr/>
            <p:nvPr/>
          </p:nvSpPr>
          <p:spPr bwMode="auto">
            <a:xfrm>
              <a:off x="5519738" y="3148013"/>
              <a:ext cx="481012" cy="581025"/>
            </a:xfrm>
            <a:custGeom>
              <a:avLst/>
              <a:gdLst>
                <a:gd name="connsiteX0" fmla="*/ 469106 w 481012"/>
                <a:gd name="connsiteY0" fmla="*/ 123825 h 581025"/>
                <a:gd name="connsiteX1" fmla="*/ 481012 w 481012"/>
                <a:gd name="connsiteY1" fmla="*/ 104775 h 581025"/>
                <a:gd name="connsiteX2" fmla="*/ 478631 w 481012"/>
                <a:gd name="connsiteY2" fmla="*/ 97631 h 581025"/>
                <a:gd name="connsiteX3" fmla="*/ 471487 w 481012"/>
                <a:gd name="connsiteY3" fmla="*/ 90487 h 581025"/>
                <a:gd name="connsiteX4" fmla="*/ 466725 w 481012"/>
                <a:gd name="connsiteY4" fmla="*/ 76200 h 581025"/>
                <a:gd name="connsiteX5" fmla="*/ 457200 w 481012"/>
                <a:gd name="connsiteY5" fmla="*/ 61912 h 581025"/>
                <a:gd name="connsiteX6" fmla="*/ 454818 w 481012"/>
                <a:gd name="connsiteY6" fmla="*/ 52387 h 581025"/>
                <a:gd name="connsiteX7" fmla="*/ 440531 w 481012"/>
                <a:gd name="connsiteY7" fmla="*/ 42862 h 581025"/>
                <a:gd name="connsiteX8" fmla="*/ 433387 w 481012"/>
                <a:gd name="connsiteY8" fmla="*/ 35718 h 581025"/>
                <a:gd name="connsiteX9" fmla="*/ 426243 w 481012"/>
                <a:gd name="connsiteY9" fmla="*/ 33337 h 581025"/>
                <a:gd name="connsiteX10" fmla="*/ 416718 w 481012"/>
                <a:gd name="connsiteY10" fmla="*/ 26193 h 581025"/>
                <a:gd name="connsiteX11" fmla="*/ 409575 w 481012"/>
                <a:gd name="connsiteY11" fmla="*/ 21431 h 581025"/>
                <a:gd name="connsiteX12" fmla="*/ 397668 w 481012"/>
                <a:gd name="connsiteY12" fmla="*/ 2381 h 581025"/>
                <a:gd name="connsiteX13" fmla="*/ 390525 w 481012"/>
                <a:gd name="connsiteY13" fmla="*/ 0 h 581025"/>
                <a:gd name="connsiteX14" fmla="*/ 383381 w 481012"/>
                <a:gd name="connsiteY14" fmla="*/ 2381 h 581025"/>
                <a:gd name="connsiteX15" fmla="*/ 376237 w 481012"/>
                <a:gd name="connsiteY15" fmla="*/ 16668 h 581025"/>
                <a:gd name="connsiteX16" fmla="*/ 361950 w 481012"/>
                <a:gd name="connsiteY16" fmla="*/ 23812 h 581025"/>
                <a:gd name="connsiteX17" fmla="*/ 347662 w 481012"/>
                <a:gd name="connsiteY17" fmla="*/ 33337 h 581025"/>
                <a:gd name="connsiteX18" fmla="*/ 333375 w 481012"/>
                <a:gd name="connsiteY18" fmla="*/ 38100 h 581025"/>
                <a:gd name="connsiteX19" fmla="*/ 302418 w 481012"/>
                <a:gd name="connsiteY19" fmla="*/ 42862 h 581025"/>
                <a:gd name="connsiteX20" fmla="*/ 283368 w 481012"/>
                <a:gd name="connsiteY20" fmla="*/ 54768 h 581025"/>
                <a:gd name="connsiteX21" fmla="*/ 278606 w 481012"/>
                <a:gd name="connsiteY21" fmla="*/ 69056 h 581025"/>
                <a:gd name="connsiteX22" fmla="*/ 266700 w 481012"/>
                <a:gd name="connsiteY22" fmla="*/ 90487 h 581025"/>
                <a:gd name="connsiteX23" fmla="*/ 259556 w 481012"/>
                <a:gd name="connsiteY23" fmla="*/ 95250 h 581025"/>
                <a:gd name="connsiteX24" fmla="*/ 254793 w 481012"/>
                <a:gd name="connsiteY24" fmla="*/ 102393 h 581025"/>
                <a:gd name="connsiteX25" fmla="*/ 240506 w 481012"/>
                <a:gd name="connsiteY25" fmla="*/ 111918 h 581025"/>
                <a:gd name="connsiteX26" fmla="*/ 233362 w 481012"/>
                <a:gd name="connsiteY26" fmla="*/ 119062 h 581025"/>
                <a:gd name="connsiteX27" fmla="*/ 226218 w 481012"/>
                <a:gd name="connsiteY27" fmla="*/ 138112 h 581025"/>
                <a:gd name="connsiteX28" fmla="*/ 221456 w 481012"/>
                <a:gd name="connsiteY28" fmla="*/ 159543 h 581025"/>
                <a:gd name="connsiteX29" fmla="*/ 219075 w 481012"/>
                <a:gd name="connsiteY29" fmla="*/ 169068 h 581025"/>
                <a:gd name="connsiteX30" fmla="*/ 214312 w 481012"/>
                <a:gd name="connsiteY30" fmla="*/ 183356 h 581025"/>
                <a:gd name="connsiteX31" fmla="*/ 211931 w 481012"/>
                <a:gd name="connsiteY31" fmla="*/ 223837 h 581025"/>
                <a:gd name="connsiteX32" fmla="*/ 209550 w 481012"/>
                <a:gd name="connsiteY32" fmla="*/ 230981 h 581025"/>
                <a:gd name="connsiteX33" fmla="*/ 207168 w 481012"/>
                <a:gd name="connsiteY33" fmla="*/ 273843 h 581025"/>
                <a:gd name="connsiteX34" fmla="*/ 200025 w 481012"/>
                <a:gd name="connsiteY34" fmla="*/ 278606 h 581025"/>
                <a:gd name="connsiteX35" fmla="*/ 195262 w 481012"/>
                <a:gd name="connsiteY35" fmla="*/ 285750 h 581025"/>
                <a:gd name="connsiteX36" fmla="*/ 188118 w 481012"/>
                <a:gd name="connsiteY36" fmla="*/ 290512 h 581025"/>
                <a:gd name="connsiteX37" fmla="*/ 183356 w 481012"/>
                <a:gd name="connsiteY37" fmla="*/ 304800 h 581025"/>
                <a:gd name="connsiteX38" fmla="*/ 180975 w 481012"/>
                <a:gd name="connsiteY38" fmla="*/ 311943 h 581025"/>
                <a:gd name="connsiteX39" fmla="*/ 178593 w 481012"/>
                <a:gd name="connsiteY39" fmla="*/ 319087 h 581025"/>
                <a:gd name="connsiteX40" fmla="*/ 171450 w 481012"/>
                <a:gd name="connsiteY40" fmla="*/ 342900 h 581025"/>
                <a:gd name="connsiteX41" fmla="*/ 169068 w 481012"/>
                <a:gd name="connsiteY41" fmla="*/ 350043 h 581025"/>
                <a:gd name="connsiteX42" fmla="*/ 166687 w 481012"/>
                <a:gd name="connsiteY42" fmla="*/ 378618 h 581025"/>
                <a:gd name="connsiteX43" fmla="*/ 154781 w 481012"/>
                <a:gd name="connsiteY43" fmla="*/ 392906 h 581025"/>
                <a:gd name="connsiteX44" fmla="*/ 150018 w 481012"/>
                <a:gd name="connsiteY44" fmla="*/ 400050 h 581025"/>
                <a:gd name="connsiteX45" fmla="*/ 142875 w 481012"/>
                <a:gd name="connsiteY45" fmla="*/ 402431 h 581025"/>
                <a:gd name="connsiteX46" fmla="*/ 135731 w 481012"/>
                <a:gd name="connsiteY46" fmla="*/ 407193 h 581025"/>
                <a:gd name="connsiteX47" fmla="*/ 102393 w 481012"/>
                <a:gd name="connsiteY47" fmla="*/ 416718 h 581025"/>
                <a:gd name="connsiteX48" fmla="*/ 97631 w 481012"/>
                <a:gd name="connsiteY48" fmla="*/ 431006 h 581025"/>
                <a:gd name="connsiteX49" fmla="*/ 88106 w 481012"/>
                <a:gd name="connsiteY49" fmla="*/ 445293 h 581025"/>
                <a:gd name="connsiteX50" fmla="*/ 83343 w 481012"/>
                <a:gd name="connsiteY50" fmla="*/ 452437 h 581025"/>
                <a:gd name="connsiteX51" fmla="*/ 78581 w 481012"/>
                <a:gd name="connsiteY51" fmla="*/ 459581 h 581025"/>
                <a:gd name="connsiteX52" fmla="*/ 71437 w 481012"/>
                <a:gd name="connsiteY52" fmla="*/ 466725 h 581025"/>
                <a:gd name="connsiteX53" fmla="*/ 66675 w 481012"/>
                <a:gd name="connsiteY53" fmla="*/ 473868 h 581025"/>
                <a:gd name="connsiteX54" fmla="*/ 52387 w 481012"/>
                <a:gd name="connsiteY54" fmla="*/ 483393 h 581025"/>
                <a:gd name="connsiteX55" fmla="*/ 45243 w 481012"/>
                <a:gd name="connsiteY55" fmla="*/ 490537 h 581025"/>
                <a:gd name="connsiteX56" fmla="*/ 38100 w 481012"/>
                <a:gd name="connsiteY56" fmla="*/ 504825 h 581025"/>
                <a:gd name="connsiteX57" fmla="*/ 30956 w 481012"/>
                <a:gd name="connsiteY57" fmla="*/ 511968 h 581025"/>
                <a:gd name="connsiteX58" fmla="*/ 26193 w 481012"/>
                <a:gd name="connsiteY58" fmla="*/ 519112 h 581025"/>
                <a:gd name="connsiteX59" fmla="*/ 14287 w 481012"/>
                <a:gd name="connsiteY59" fmla="*/ 533400 h 581025"/>
                <a:gd name="connsiteX60" fmla="*/ 9525 w 481012"/>
                <a:gd name="connsiteY60" fmla="*/ 547687 h 581025"/>
                <a:gd name="connsiteX61" fmla="*/ 7143 w 481012"/>
                <a:gd name="connsiteY61" fmla="*/ 554831 h 581025"/>
                <a:gd name="connsiteX62" fmla="*/ 0 w 481012"/>
                <a:gd name="connsiteY62" fmla="*/ 559593 h 581025"/>
                <a:gd name="connsiteX63" fmla="*/ 2381 w 481012"/>
                <a:gd name="connsiteY63" fmla="*/ 581025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481012" h="581025">
                  <a:moveTo>
                    <a:pt x="469106" y="123825"/>
                  </a:moveTo>
                  <a:cubicBezTo>
                    <a:pt x="472122" y="120055"/>
                    <a:pt x="481012" y="111754"/>
                    <a:pt x="481012" y="104775"/>
                  </a:cubicBezTo>
                  <a:cubicBezTo>
                    <a:pt x="481012" y="102265"/>
                    <a:pt x="480023" y="99720"/>
                    <a:pt x="478631" y="97631"/>
                  </a:cubicBezTo>
                  <a:cubicBezTo>
                    <a:pt x="476763" y="94829"/>
                    <a:pt x="473868" y="92868"/>
                    <a:pt x="471487" y="90487"/>
                  </a:cubicBezTo>
                  <a:cubicBezTo>
                    <a:pt x="469900" y="85725"/>
                    <a:pt x="469509" y="80377"/>
                    <a:pt x="466725" y="76200"/>
                  </a:cubicBezTo>
                  <a:lnTo>
                    <a:pt x="457200" y="61912"/>
                  </a:lnTo>
                  <a:cubicBezTo>
                    <a:pt x="456406" y="58737"/>
                    <a:pt x="456973" y="54850"/>
                    <a:pt x="454818" y="52387"/>
                  </a:cubicBezTo>
                  <a:cubicBezTo>
                    <a:pt x="451049" y="48080"/>
                    <a:pt x="444578" y="46909"/>
                    <a:pt x="440531" y="42862"/>
                  </a:cubicBezTo>
                  <a:cubicBezTo>
                    <a:pt x="438150" y="40481"/>
                    <a:pt x="436189" y="37586"/>
                    <a:pt x="433387" y="35718"/>
                  </a:cubicBezTo>
                  <a:cubicBezTo>
                    <a:pt x="431298" y="34326"/>
                    <a:pt x="428624" y="34131"/>
                    <a:pt x="426243" y="33337"/>
                  </a:cubicBezTo>
                  <a:cubicBezTo>
                    <a:pt x="423068" y="30956"/>
                    <a:pt x="419948" y="28500"/>
                    <a:pt x="416718" y="26193"/>
                  </a:cubicBezTo>
                  <a:cubicBezTo>
                    <a:pt x="414389" y="24530"/>
                    <a:pt x="411092" y="23858"/>
                    <a:pt x="409575" y="21431"/>
                  </a:cubicBezTo>
                  <a:cubicBezTo>
                    <a:pt x="399703" y="5635"/>
                    <a:pt x="411386" y="9240"/>
                    <a:pt x="397668" y="2381"/>
                  </a:cubicBezTo>
                  <a:cubicBezTo>
                    <a:pt x="395423" y="1259"/>
                    <a:pt x="392906" y="794"/>
                    <a:pt x="390525" y="0"/>
                  </a:cubicBezTo>
                  <a:cubicBezTo>
                    <a:pt x="388144" y="794"/>
                    <a:pt x="385341" y="813"/>
                    <a:pt x="383381" y="2381"/>
                  </a:cubicBezTo>
                  <a:cubicBezTo>
                    <a:pt x="372227" y="11304"/>
                    <a:pt x="383906" y="7081"/>
                    <a:pt x="376237" y="16668"/>
                  </a:cubicBezTo>
                  <a:cubicBezTo>
                    <a:pt x="372879" y="20865"/>
                    <a:pt x="366657" y="22243"/>
                    <a:pt x="361950" y="23812"/>
                  </a:cubicBezTo>
                  <a:cubicBezTo>
                    <a:pt x="357187" y="26987"/>
                    <a:pt x="353092" y="31527"/>
                    <a:pt x="347662" y="33337"/>
                  </a:cubicBezTo>
                  <a:cubicBezTo>
                    <a:pt x="342900" y="34925"/>
                    <a:pt x="338345" y="37390"/>
                    <a:pt x="333375" y="38100"/>
                  </a:cubicBezTo>
                  <a:cubicBezTo>
                    <a:pt x="311926" y="41164"/>
                    <a:pt x="322242" y="39558"/>
                    <a:pt x="302418" y="42862"/>
                  </a:cubicBezTo>
                  <a:cubicBezTo>
                    <a:pt x="285416" y="48530"/>
                    <a:pt x="290916" y="43448"/>
                    <a:pt x="283368" y="54768"/>
                  </a:cubicBezTo>
                  <a:lnTo>
                    <a:pt x="278606" y="69056"/>
                  </a:lnTo>
                  <a:cubicBezTo>
                    <a:pt x="276125" y="76501"/>
                    <a:pt x="273719" y="85807"/>
                    <a:pt x="266700" y="90487"/>
                  </a:cubicBezTo>
                  <a:lnTo>
                    <a:pt x="259556" y="95250"/>
                  </a:lnTo>
                  <a:cubicBezTo>
                    <a:pt x="257968" y="97631"/>
                    <a:pt x="256947" y="100509"/>
                    <a:pt x="254793" y="102393"/>
                  </a:cubicBezTo>
                  <a:cubicBezTo>
                    <a:pt x="250485" y="106162"/>
                    <a:pt x="244553" y="107871"/>
                    <a:pt x="240506" y="111918"/>
                  </a:cubicBezTo>
                  <a:lnTo>
                    <a:pt x="233362" y="119062"/>
                  </a:lnTo>
                  <a:cubicBezTo>
                    <a:pt x="230852" y="125338"/>
                    <a:pt x="228082" y="131588"/>
                    <a:pt x="226218" y="138112"/>
                  </a:cubicBezTo>
                  <a:cubicBezTo>
                    <a:pt x="223317" y="148266"/>
                    <a:pt x="223908" y="148506"/>
                    <a:pt x="221456" y="159543"/>
                  </a:cubicBezTo>
                  <a:cubicBezTo>
                    <a:pt x="220746" y="162738"/>
                    <a:pt x="220015" y="165933"/>
                    <a:pt x="219075" y="169068"/>
                  </a:cubicBezTo>
                  <a:cubicBezTo>
                    <a:pt x="217632" y="173877"/>
                    <a:pt x="214312" y="183356"/>
                    <a:pt x="214312" y="183356"/>
                  </a:cubicBezTo>
                  <a:cubicBezTo>
                    <a:pt x="213518" y="196850"/>
                    <a:pt x="213276" y="210387"/>
                    <a:pt x="211931" y="223837"/>
                  </a:cubicBezTo>
                  <a:cubicBezTo>
                    <a:pt x="211681" y="226335"/>
                    <a:pt x="209788" y="228482"/>
                    <a:pt x="209550" y="230981"/>
                  </a:cubicBezTo>
                  <a:cubicBezTo>
                    <a:pt x="208193" y="245226"/>
                    <a:pt x="209974" y="259811"/>
                    <a:pt x="207168" y="273843"/>
                  </a:cubicBezTo>
                  <a:cubicBezTo>
                    <a:pt x="206607" y="276649"/>
                    <a:pt x="202406" y="277018"/>
                    <a:pt x="200025" y="278606"/>
                  </a:cubicBezTo>
                  <a:cubicBezTo>
                    <a:pt x="198437" y="280987"/>
                    <a:pt x="197286" y="283726"/>
                    <a:pt x="195262" y="285750"/>
                  </a:cubicBezTo>
                  <a:cubicBezTo>
                    <a:pt x="193238" y="287774"/>
                    <a:pt x="189635" y="288085"/>
                    <a:pt x="188118" y="290512"/>
                  </a:cubicBezTo>
                  <a:cubicBezTo>
                    <a:pt x="185457" y="294769"/>
                    <a:pt x="184943" y="300037"/>
                    <a:pt x="183356" y="304800"/>
                  </a:cubicBezTo>
                  <a:lnTo>
                    <a:pt x="180975" y="311943"/>
                  </a:lnTo>
                  <a:cubicBezTo>
                    <a:pt x="180181" y="314324"/>
                    <a:pt x="179202" y="316652"/>
                    <a:pt x="178593" y="319087"/>
                  </a:cubicBezTo>
                  <a:cubicBezTo>
                    <a:pt x="174997" y="333474"/>
                    <a:pt x="177244" y="325520"/>
                    <a:pt x="171450" y="342900"/>
                  </a:cubicBezTo>
                  <a:lnTo>
                    <a:pt x="169068" y="350043"/>
                  </a:lnTo>
                  <a:cubicBezTo>
                    <a:pt x="168274" y="359568"/>
                    <a:pt x="168561" y="369246"/>
                    <a:pt x="166687" y="378618"/>
                  </a:cubicBezTo>
                  <a:cubicBezTo>
                    <a:pt x="165753" y="383287"/>
                    <a:pt x="157246" y="389949"/>
                    <a:pt x="154781" y="392906"/>
                  </a:cubicBezTo>
                  <a:cubicBezTo>
                    <a:pt x="152949" y="395105"/>
                    <a:pt x="152253" y="398262"/>
                    <a:pt x="150018" y="400050"/>
                  </a:cubicBezTo>
                  <a:cubicBezTo>
                    <a:pt x="148058" y="401618"/>
                    <a:pt x="145120" y="401309"/>
                    <a:pt x="142875" y="402431"/>
                  </a:cubicBezTo>
                  <a:cubicBezTo>
                    <a:pt x="140315" y="403711"/>
                    <a:pt x="138112" y="405606"/>
                    <a:pt x="135731" y="407193"/>
                  </a:cubicBezTo>
                  <a:cubicBezTo>
                    <a:pt x="121744" y="428172"/>
                    <a:pt x="146917" y="394455"/>
                    <a:pt x="102393" y="416718"/>
                  </a:cubicBezTo>
                  <a:cubicBezTo>
                    <a:pt x="97903" y="418963"/>
                    <a:pt x="100416" y="426829"/>
                    <a:pt x="97631" y="431006"/>
                  </a:cubicBezTo>
                  <a:lnTo>
                    <a:pt x="88106" y="445293"/>
                  </a:lnTo>
                  <a:lnTo>
                    <a:pt x="83343" y="452437"/>
                  </a:lnTo>
                  <a:cubicBezTo>
                    <a:pt x="81756" y="454818"/>
                    <a:pt x="80605" y="457557"/>
                    <a:pt x="78581" y="459581"/>
                  </a:cubicBezTo>
                  <a:cubicBezTo>
                    <a:pt x="76200" y="461962"/>
                    <a:pt x="73593" y="464138"/>
                    <a:pt x="71437" y="466725"/>
                  </a:cubicBezTo>
                  <a:cubicBezTo>
                    <a:pt x="69605" y="468923"/>
                    <a:pt x="68829" y="471984"/>
                    <a:pt x="66675" y="473868"/>
                  </a:cubicBezTo>
                  <a:cubicBezTo>
                    <a:pt x="62367" y="477637"/>
                    <a:pt x="56434" y="479346"/>
                    <a:pt x="52387" y="483393"/>
                  </a:cubicBezTo>
                  <a:lnTo>
                    <a:pt x="45243" y="490537"/>
                  </a:lnTo>
                  <a:cubicBezTo>
                    <a:pt x="42857" y="497695"/>
                    <a:pt x="43228" y="498671"/>
                    <a:pt x="38100" y="504825"/>
                  </a:cubicBezTo>
                  <a:cubicBezTo>
                    <a:pt x="35944" y="507412"/>
                    <a:pt x="33112" y="509381"/>
                    <a:pt x="30956" y="511968"/>
                  </a:cubicBezTo>
                  <a:cubicBezTo>
                    <a:pt x="29124" y="514167"/>
                    <a:pt x="28025" y="516913"/>
                    <a:pt x="26193" y="519112"/>
                  </a:cubicBezTo>
                  <a:cubicBezTo>
                    <a:pt x="10914" y="537448"/>
                    <a:pt x="26113" y="515662"/>
                    <a:pt x="14287" y="533400"/>
                  </a:cubicBezTo>
                  <a:lnTo>
                    <a:pt x="9525" y="547687"/>
                  </a:lnTo>
                  <a:cubicBezTo>
                    <a:pt x="8731" y="550068"/>
                    <a:pt x="9232" y="553439"/>
                    <a:pt x="7143" y="554831"/>
                  </a:cubicBezTo>
                  <a:lnTo>
                    <a:pt x="0" y="559593"/>
                  </a:lnTo>
                  <a:lnTo>
                    <a:pt x="2381" y="581025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4" name="Forma livre 327"/>
            <p:cNvSpPr/>
            <p:nvPr/>
          </p:nvSpPr>
          <p:spPr bwMode="auto">
            <a:xfrm>
              <a:off x="4581525" y="4659313"/>
              <a:ext cx="19050" cy="246062"/>
            </a:xfrm>
            <a:custGeom>
              <a:avLst/>
              <a:gdLst>
                <a:gd name="connsiteX0" fmla="*/ 16615 w 18254"/>
                <a:gd name="connsiteY0" fmla="*/ 0 h 244929"/>
                <a:gd name="connsiteX1" fmla="*/ 13349 w 18254"/>
                <a:gd name="connsiteY1" fmla="*/ 16329 h 244929"/>
                <a:gd name="connsiteX2" fmla="*/ 16615 w 18254"/>
                <a:gd name="connsiteY2" fmla="*/ 26126 h 244929"/>
                <a:gd name="connsiteX3" fmla="*/ 6818 w 18254"/>
                <a:gd name="connsiteY3" fmla="*/ 97972 h 244929"/>
                <a:gd name="connsiteX4" fmla="*/ 10083 w 18254"/>
                <a:gd name="connsiteY4" fmla="*/ 117566 h 244929"/>
                <a:gd name="connsiteX5" fmla="*/ 13349 w 18254"/>
                <a:gd name="connsiteY5" fmla="*/ 130629 h 244929"/>
                <a:gd name="connsiteX6" fmla="*/ 16615 w 18254"/>
                <a:gd name="connsiteY6" fmla="*/ 160020 h 244929"/>
                <a:gd name="connsiteX7" fmla="*/ 13349 w 18254"/>
                <a:gd name="connsiteY7" fmla="*/ 199209 h 244929"/>
                <a:gd name="connsiteX8" fmla="*/ 3552 w 18254"/>
                <a:gd name="connsiteY8" fmla="*/ 218803 h 244929"/>
                <a:gd name="connsiteX9" fmla="*/ 286 w 18254"/>
                <a:gd name="connsiteY9" fmla="*/ 244929 h 244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8254" h="244929">
                  <a:moveTo>
                    <a:pt x="16615" y="0"/>
                  </a:moveTo>
                  <a:cubicBezTo>
                    <a:pt x="15526" y="5443"/>
                    <a:pt x="13349" y="10778"/>
                    <a:pt x="13349" y="16329"/>
                  </a:cubicBezTo>
                  <a:cubicBezTo>
                    <a:pt x="13349" y="19771"/>
                    <a:pt x="16615" y="22684"/>
                    <a:pt x="16615" y="26126"/>
                  </a:cubicBezTo>
                  <a:cubicBezTo>
                    <a:pt x="16615" y="86886"/>
                    <a:pt x="24179" y="71929"/>
                    <a:pt x="6818" y="97972"/>
                  </a:cubicBezTo>
                  <a:cubicBezTo>
                    <a:pt x="7906" y="104503"/>
                    <a:pt x="8785" y="111073"/>
                    <a:pt x="10083" y="117566"/>
                  </a:cubicBezTo>
                  <a:cubicBezTo>
                    <a:pt x="10963" y="121967"/>
                    <a:pt x="12666" y="126193"/>
                    <a:pt x="13349" y="130629"/>
                  </a:cubicBezTo>
                  <a:cubicBezTo>
                    <a:pt x="14848" y="140372"/>
                    <a:pt x="15526" y="150223"/>
                    <a:pt x="16615" y="160020"/>
                  </a:cubicBezTo>
                  <a:cubicBezTo>
                    <a:pt x="15526" y="173083"/>
                    <a:pt x="15082" y="186216"/>
                    <a:pt x="13349" y="199209"/>
                  </a:cubicBezTo>
                  <a:cubicBezTo>
                    <a:pt x="11857" y="210400"/>
                    <a:pt x="8555" y="208797"/>
                    <a:pt x="3552" y="218803"/>
                  </a:cubicBezTo>
                  <a:cubicBezTo>
                    <a:pt x="-1435" y="228778"/>
                    <a:pt x="286" y="233041"/>
                    <a:pt x="286" y="24492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5" name="Forma livre 328"/>
            <p:cNvSpPr/>
            <p:nvPr/>
          </p:nvSpPr>
          <p:spPr bwMode="auto">
            <a:xfrm>
              <a:off x="4419600" y="4724400"/>
              <a:ext cx="238125" cy="295275"/>
            </a:xfrm>
            <a:custGeom>
              <a:avLst/>
              <a:gdLst>
                <a:gd name="connsiteX0" fmla="*/ 238406 w 238406"/>
                <a:gd name="connsiteY0" fmla="*/ 0 h 293914"/>
                <a:gd name="connsiteX1" fmla="*/ 222077 w 238406"/>
                <a:gd name="connsiteY1" fmla="*/ 22860 h 293914"/>
                <a:gd name="connsiteX2" fmla="*/ 212280 w 238406"/>
                <a:gd name="connsiteY2" fmla="*/ 29391 h 293914"/>
                <a:gd name="connsiteX3" fmla="*/ 195951 w 238406"/>
                <a:gd name="connsiteY3" fmla="*/ 39188 h 293914"/>
                <a:gd name="connsiteX4" fmla="*/ 173091 w 238406"/>
                <a:gd name="connsiteY4" fmla="*/ 58782 h 293914"/>
                <a:gd name="connsiteX5" fmla="*/ 163294 w 238406"/>
                <a:gd name="connsiteY5" fmla="*/ 75111 h 293914"/>
                <a:gd name="connsiteX6" fmla="*/ 153497 w 238406"/>
                <a:gd name="connsiteY6" fmla="*/ 94705 h 293914"/>
                <a:gd name="connsiteX7" fmla="*/ 143700 w 238406"/>
                <a:gd name="connsiteY7" fmla="*/ 97971 h 293914"/>
                <a:gd name="connsiteX8" fmla="*/ 133903 w 238406"/>
                <a:gd name="connsiteY8" fmla="*/ 104502 h 293914"/>
                <a:gd name="connsiteX9" fmla="*/ 127371 w 238406"/>
                <a:gd name="connsiteY9" fmla="*/ 111034 h 293914"/>
                <a:gd name="connsiteX10" fmla="*/ 117574 w 238406"/>
                <a:gd name="connsiteY10" fmla="*/ 114300 h 293914"/>
                <a:gd name="connsiteX11" fmla="*/ 104511 w 238406"/>
                <a:gd name="connsiteY11" fmla="*/ 130628 h 293914"/>
                <a:gd name="connsiteX12" fmla="*/ 94714 w 238406"/>
                <a:gd name="connsiteY12" fmla="*/ 133894 h 293914"/>
                <a:gd name="connsiteX13" fmla="*/ 84917 w 238406"/>
                <a:gd name="connsiteY13" fmla="*/ 140425 h 293914"/>
                <a:gd name="connsiteX14" fmla="*/ 65323 w 238406"/>
                <a:gd name="connsiteY14" fmla="*/ 137160 h 293914"/>
                <a:gd name="connsiteX15" fmla="*/ 62057 w 238406"/>
                <a:gd name="connsiteY15" fmla="*/ 179614 h 293914"/>
                <a:gd name="connsiteX16" fmla="*/ 55526 w 238406"/>
                <a:gd name="connsiteY16" fmla="*/ 189411 h 293914"/>
                <a:gd name="connsiteX17" fmla="*/ 48994 w 238406"/>
                <a:gd name="connsiteY17" fmla="*/ 212271 h 293914"/>
                <a:gd name="connsiteX18" fmla="*/ 35931 w 238406"/>
                <a:gd name="connsiteY18" fmla="*/ 228600 h 293914"/>
                <a:gd name="connsiteX19" fmla="*/ 29400 w 238406"/>
                <a:gd name="connsiteY19" fmla="*/ 238397 h 293914"/>
                <a:gd name="connsiteX20" fmla="*/ 16337 w 238406"/>
                <a:gd name="connsiteY20" fmla="*/ 254725 h 293914"/>
                <a:gd name="connsiteX21" fmla="*/ 3274 w 238406"/>
                <a:gd name="connsiteY21" fmla="*/ 280851 h 293914"/>
                <a:gd name="connsiteX22" fmla="*/ 8 w 238406"/>
                <a:gd name="connsiteY22" fmla="*/ 293914 h 29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8406" h="293914">
                  <a:moveTo>
                    <a:pt x="238406" y="0"/>
                  </a:moveTo>
                  <a:cubicBezTo>
                    <a:pt x="232270" y="10225"/>
                    <a:pt x="230551" y="16081"/>
                    <a:pt x="222077" y="22860"/>
                  </a:cubicBezTo>
                  <a:cubicBezTo>
                    <a:pt x="219012" y="25312"/>
                    <a:pt x="215345" y="26939"/>
                    <a:pt x="212280" y="29391"/>
                  </a:cubicBezTo>
                  <a:cubicBezTo>
                    <a:pt x="199472" y="39637"/>
                    <a:pt x="212964" y="33516"/>
                    <a:pt x="195951" y="39188"/>
                  </a:cubicBezTo>
                  <a:cubicBezTo>
                    <a:pt x="180113" y="55026"/>
                    <a:pt x="188012" y="48835"/>
                    <a:pt x="173091" y="58782"/>
                  </a:cubicBezTo>
                  <a:cubicBezTo>
                    <a:pt x="163845" y="86530"/>
                    <a:pt x="176740" y="52704"/>
                    <a:pt x="163294" y="75111"/>
                  </a:cubicBezTo>
                  <a:cubicBezTo>
                    <a:pt x="157832" y="84212"/>
                    <a:pt x="163025" y="87082"/>
                    <a:pt x="153497" y="94705"/>
                  </a:cubicBezTo>
                  <a:cubicBezTo>
                    <a:pt x="150809" y="96855"/>
                    <a:pt x="146779" y="96432"/>
                    <a:pt x="143700" y="97971"/>
                  </a:cubicBezTo>
                  <a:cubicBezTo>
                    <a:pt x="140190" y="99726"/>
                    <a:pt x="136968" y="102050"/>
                    <a:pt x="133903" y="104502"/>
                  </a:cubicBezTo>
                  <a:cubicBezTo>
                    <a:pt x="131499" y="106426"/>
                    <a:pt x="130011" y="109450"/>
                    <a:pt x="127371" y="111034"/>
                  </a:cubicBezTo>
                  <a:cubicBezTo>
                    <a:pt x="124419" y="112805"/>
                    <a:pt x="120840" y="113211"/>
                    <a:pt x="117574" y="114300"/>
                  </a:cubicBezTo>
                  <a:cubicBezTo>
                    <a:pt x="114606" y="118752"/>
                    <a:pt x="109684" y="127525"/>
                    <a:pt x="104511" y="130628"/>
                  </a:cubicBezTo>
                  <a:cubicBezTo>
                    <a:pt x="101559" y="132399"/>
                    <a:pt x="97793" y="132355"/>
                    <a:pt x="94714" y="133894"/>
                  </a:cubicBezTo>
                  <a:cubicBezTo>
                    <a:pt x="91204" y="135649"/>
                    <a:pt x="88183" y="138248"/>
                    <a:pt x="84917" y="140425"/>
                  </a:cubicBezTo>
                  <a:cubicBezTo>
                    <a:pt x="78386" y="139337"/>
                    <a:pt x="68659" y="131441"/>
                    <a:pt x="65323" y="137160"/>
                  </a:cubicBezTo>
                  <a:cubicBezTo>
                    <a:pt x="58172" y="149420"/>
                    <a:pt x="64673" y="165664"/>
                    <a:pt x="62057" y="179614"/>
                  </a:cubicBezTo>
                  <a:cubicBezTo>
                    <a:pt x="61334" y="183472"/>
                    <a:pt x="57281" y="185901"/>
                    <a:pt x="55526" y="189411"/>
                  </a:cubicBezTo>
                  <a:cubicBezTo>
                    <a:pt x="49170" y="202123"/>
                    <a:pt x="55273" y="197619"/>
                    <a:pt x="48994" y="212271"/>
                  </a:cubicBezTo>
                  <a:cubicBezTo>
                    <a:pt x="44354" y="223097"/>
                    <a:pt x="42414" y="220496"/>
                    <a:pt x="35931" y="228600"/>
                  </a:cubicBezTo>
                  <a:cubicBezTo>
                    <a:pt x="33479" y="231665"/>
                    <a:pt x="31852" y="235332"/>
                    <a:pt x="29400" y="238397"/>
                  </a:cubicBezTo>
                  <a:cubicBezTo>
                    <a:pt x="22612" y="246881"/>
                    <a:pt x="21364" y="243414"/>
                    <a:pt x="16337" y="254725"/>
                  </a:cubicBezTo>
                  <a:cubicBezTo>
                    <a:pt x="4330" y="281743"/>
                    <a:pt x="16688" y="267439"/>
                    <a:pt x="3274" y="280851"/>
                  </a:cubicBezTo>
                  <a:cubicBezTo>
                    <a:pt x="-336" y="291681"/>
                    <a:pt x="8" y="287206"/>
                    <a:pt x="8" y="293914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6" name="Forma livre 329"/>
            <p:cNvSpPr/>
            <p:nvPr/>
          </p:nvSpPr>
          <p:spPr bwMode="auto">
            <a:xfrm>
              <a:off x="4441825" y="4421188"/>
              <a:ext cx="255588" cy="657225"/>
            </a:xfrm>
            <a:custGeom>
              <a:avLst/>
              <a:gdLst>
                <a:gd name="connsiteX0" fmla="*/ 32658 w 251460"/>
                <a:gd name="connsiteY0" fmla="*/ 0 h 656409"/>
                <a:gd name="connsiteX1" fmla="*/ 32658 w 251460"/>
                <a:gd name="connsiteY1" fmla="*/ 29392 h 656409"/>
                <a:gd name="connsiteX2" fmla="*/ 39189 w 251460"/>
                <a:gd name="connsiteY2" fmla="*/ 48986 h 656409"/>
                <a:gd name="connsiteX3" fmla="*/ 32658 w 251460"/>
                <a:gd name="connsiteY3" fmla="*/ 84909 h 656409"/>
                <a:gd name="connsiteX4" fmla="*/ 29392 w 251460"/>
                <a:gd name="connsiteY4" fmla="*/ 94706 h 656409"/>
                <a:gd name="connsiteX5" fmla="*/ 22860 w 251460"/>
                <a:gd name="connsiteY5" fmla="*/ 182880 h 656409"/>
                <a:gd name="connsiteX6" fmla="*/ 13063 w 251460"/>
                <a:gd name="connsiteY6" fmla="*/ 235132 h 656409"/>
                <a:gd name="connsiteX7" fmla="*/ 6532 w 251460"/>
                <a:gd name="connsiteY7" fmla="*/ 297180 h 656409"/>
                <a:gd name="connsiteX8" fmla="*/ 0 w 251460"/>
                <a:gd name="connsiteY8" fmla="*/ 316774 h 656409"/>
                <a:gd name="connsiteX9" fmla="*/ 9798 w 251460"/>
                <a:gd name="connsiteY9" fmla="*/ 342900 h 656409"/>
                <a:gd name="connsiteX10" fmla="*/ 13063 w 251460"/>
                <a:gd name="connsiteY10" fmla="*/ 352697 h 656409"/>
                <a:gd name="connsiteX11" fmla="*/ 29392 w 251460"/>
                <a:gd name="connsiteY11" fmla="*/ 369026 h 656409"/>
                <a:gd name="connsiteX12" fmla="*/ 45720 w 251460"/>
                <a:gd name="connsiteY12" fmla="*/ 382089 h 656409"/>
                <a:gd name="connsiteX13" fmla="*/ 52252 w 251460"/>
                <a:gd name="connsiteY13" fmla="*/ 388620 h 656409"/>
                <a:gd name="connsiteX14" fmla="*/ 65315 w 251460"/>
                <a:gd name="connsiteY14" fmla="*/ 408214 h 656409"/>
                <a:gd name="connsiteX15" fmla="*/ 84909 w 251460"/>
                <a:gd name="connsiteY15" fmla="*/ 414746 h 656409"/>
                <a:gd name="connsiteX16" fmla="*/ 91440 w 251460"/>
                <a:gd name="connsiteY16" fmla="*/ 424543 h 656409"/>
                <a:gd name="connsiteX17" fmla="*/ 97972 w 251460"/>
                <a:gd name="connsiteY17" fmla="*/ 431074 h 656409"/>
                <a:gd name="connsiteX18" fmla="*/ 101238 w 251460"/>
                <a:gd name="connsiteY18" fmla="*/ 444137 h 656409"/>
                <a:gd name="connsiteX19" fmla="*/ 117566 w 251460"/>
                <a:gd name="connsiteY19" fmla="*/ 457200 h 656409"/>
                <a:gd name="connsiteX20" fmla="*/ 124098 w 251460"/>
                <a:gd name="connsiteY20" fmla="*/ 466997 h 656409"/>
                <a:gd name="connsiteX21" fmla="*/ 140426 w 251460"/>
                <a:gd name="connsiteY21" fmla="*/ 483326 h 656409"/>
                <a:gd name="connsiteX22" fmla="*/ 156755 w 251460"/>
                <a:gd name="connsiteY22" fmla="*/ 499654 h 656409"/>
                <a:gd name="connsiteX23" fmla="*/ 163286 w 251460"/>
                <a:gd name="connsiteY23" fmla="*/ 519249 h 656409"/>
                <a:gd name="connsiteX24" fmla="*/ 166552 w 251460"/>
                <a:gd name="connsiteY24" fmla="*/ 529046 h 656409"/>
                <a:gd name="connsiteX25" fmla="*/ 173083 w 251460"/>
                <a:gd name="connsiteY25" fmla="*/ 538843 h 656409"/>
                <a:gd name="connsiteX26" fmla="*/ 179615 w 251460"/>
                <a:gd name="connsiteY26" fmla="*/ 561703 h 656409"/>
                <a:gd name="connsiteX27" fmla="*/ 189412 w 251460"/>
                <a:gd name="connsiteY27" fmla="*/ 594360 h 656409"/>
                <a:gd name="connsiteX28" fmla="*/ 199209 w 251460"/>
                <a:gd name="connsiteY28" fmla="*/ 620486 h 656409"/>
                <a:gd name="connsiteX29" fmla="*/ 209006 w 251460"/>
                <a:gd name="connsiteY29" fmla="*/ 623752 h 656409"/>
                <a:gd name="connsiteX30" fmla="*/ 215538 w 251460"/>
                <a:gd name="connsiteY30" fmla="*/ 630283 h 656409"/>
                <a:gd name="connsiteX31" fmla="*/ 225335 w 251460"/>
                <a:gd name="connsiteY31" fmla="*/ 636814 h 656409"/>
                <a:gd name="connsiteX32" fmla="*/ 238398 w 251460"/>
                <a:gd name="connsiteY32" fmla="*/ 653143 h 656409"/>
                <a:gd name="connsiteX33" fmla="*/ 251460 w 251460"/>
                <a:gd name="connsiteY33" fmla="*/ 656409 h 656409"/>
                <a:gd name="connsiteX0" fmla="*/ 32658 w 251460"/>
                <a:gd name="connsiteY0" fmla="*/ 0 h 656409"/>
                <a:gd name="connsiteX1" fmla="*/ 32658 w 251460"/>
                <a:gd name="connsiteY1" fmla="*/ 29392 h 656409"/>
                <a:gd name="connsiteX2" fmla="*/ 39189 w 251460"/>
                <a:gd name="connsiteY2" fmla="*/ 48986 h 656409"/>
                <a:gd name="connsiteX3" fmla="*/ 32658 w 251460"/>
                <a:gd name="connsiteY3" fmla="*/ 84909 h 656409"/>
                <a:gd name="connsiteX4" fmla="*/ 29392 w 251460"/>
                <a:gd name="connsiteY4" fmla="*/ 94706 h 656409"/>
                <a:gd name="connsiteX5" fmla="*/ 22860 w 251460"/>
                <a:gd name="connsiteY5" fmla="*/ 182880 h 656409"/>
                <a:gd name="connsiteX6" fmla="*/ 13063 w 251460"/>
                <a:gd name="connsiteY6" fmla="*/ 235132 h 656409"/>
                <a:gd name="connsiteX7" fmla="*/ 6532 w 251460"/>
                <a:gd name="connsiteY7" fmla="*/ 297180 h 656409"/>
                <a:gd name="connsiteX8" fmla="*/ 0 w 251460"/>
                <a:gd name="connsiteY8" fmla="*/ 316774 h 656409"/>
                <a:gd name="connsiteX9" fmla="*/ 9798 w 251460"/>
                <a:gd name="connsiteY9" fmla="*/ 342900 h 656409"/>
                <a:gd name="connsiteX10" fmla="*/ 13063 w 251460"/>
                <a:gd name="connsiteY10" fmla="*/ 352697 h 656409"/>
                <a:gd name="connsiteX11" fmla="*/ 29392 w 251460"/>
                <a:gd name="connsiteY11" fmla="*/ 369026 h 656409"/>
                <a:gd name="connsiteX12" fmla="*/ 45720 w 251460"/>
                <a:gd name="connsiteY12" fmla="*/ 382089 h 656409"/>
                <a:gd name="connsiteX13" fmla="*/ 52252 w 251460"/>
                <a:gd name="connsiteY13" fmla="*/ 388620 h 656409"/>
                <a:gd name="connsiteX14" fmla="*/ 65315 w 251460"/>
                <a:gd name="connsiteY14" fmla="*/ 408214 h 656409"/>
                <a:gd name="connsiteX15" fmla="*/ 84909 w 251460"/>
                <a:gd name="connsiteY15" fmla="*/ 414746 h 656409"/>
                <a:gd name="connsiteX16" fmla="*/ 91440 w 251460"/>
                <a:gd name="connsiteY16" fmla="*/ 424543 h 656409"/>
                <a:gd name="connsiteX17" fmla="*/ 97972 w 251460"/>
                <a:gd name="connsiteY17" fmla="*/ 431074 h 656409"/>
                <a:gd name="connsiteX18" fmla="*/ 101238 w 251460"/>
                <a:gd name="connsiteY18" fmla="*/ 444137 h 656409"/>
                <a:gd name="connsiteX19" fmla="*/ 117566 w 251460"/>
                <a:gd name="connsiteY19" fmla="*/ 457200 h 656409"/>
                <a:gd name="connsiteX20" fmla="*/ 124098 w 251460"/>
                <a:gd name="connsiteY20" fmla="*/ 466997 h 656409"/>
                <a:gd name="connsiteX21" fmla="*/ 140426 w 251460"/>
                <a:gd name="connsiteY21" fmla="*/ 483326 h 656409"/>
                <a:gd name="connsiteX22" fmla="*/ 156755 w 251460"/>
                <a:gd name="connsiteY22" fmla="*/ 499654 h 656409"/>
                <a:gd name="connsiteX23" fmla="*/ 163286 w 251460"/>
                <a:gd name="connsiteY23" fmla="*/ 519249 h 656409"/>
                <a:gd name="connsiteX24" fmla="*/ 166552 w 251460"/>
                <a:gd name="connsiteY24" fmla="*/ 529046 h 656409"/>
                <a:gd name="connsiteX25" fmla="*/ 173083 w 251460"/>
                <a:gd name="connsiteY25" fmla="*/ 538843 h 656409"/>
                <a:gd name="connsiteX26" fmla="*/ 179615 w 251460"/>
                <a:gd name="connsiteY26" fmla="*/ 561703 h 656409"/>
                <a:gd name="connsiteX27" fmla="*/ 202475 w 251460"/>
                <a:gd name="connsiteY27" fmla="*/ 587828 h 656409"/>
                <a:gd name="connsiteX28" fmla="*/ 199209 w 251460"/>
                <a:gd name="connsiteY28" fmla="*/ 620486 h 656409"/>
                <a:gd name="connsiteX29" fmla="*/ 209006 w 251460"/>
                <a:gd name="connsiteY29" fmla="*/ 623752 h 656409"/>
                <a:gd name="connsiteX30" fmla="*/ 215538 w 251460"/>
                <a:gd name="connsiteY30" fmla="*/ 630283 h 656409"/>
                <a:gd name="connsiteX31" fmla="*/ 225335 w 251460"/>
                <a:gd name="connsiteY31" fmla="*/ 636814 h 656409"/>
                <a:gd name="connsiteX32" fmla="*/ 238398 w 251460"/>
                <a:gd name="connsiteY32" fmla="*/ 653143 h 656409"/>
                <a:gd name="connsiteX33" fmla="*/ 251460 w 251460"/>
                <a:gd name="connsiteY33" fmla="*/ 656409 h 656409"/>
                <a:gd name="connsiteX0" fmla="*/ 32658 w 251460"/>
                <a:gd name="connsiteY0" fmla="*/ 0 h 656409"/>
                <a:gd name="connsiteX1" fmla="*/ 32658 w 251460"/>
                <a:gd name="connsiteY1" fmla="*/ 29392 h 656409"/>
                <a:gd name="connsiteX2" fmla="*/ 39189 w 251460"/>
                <a:gd name="connsiteY2" fmla="*/ 48986 h 656409"/>
                <a:gd name="connsiteX3" fmla="*/ 32658 w 251460"/>
                <a:gd name="connsiteY3" fmla="*/ 84909 h 656409"/>
                <a:gd name="connsiteX4" fmla="*/ 29392 w 251460"/>
                <a:gd name="connsiteY4" fmla="*/ 94706 h 656409"/>
                <a:gd name="connsiteX5" fmla="*/ 22860 w 251460"/>
                <a:gd name="connsiteY5" fmla="*/ 182880 h 656409"/>
                <a:gd name="connsiteX6" fmla="*/ 13063 w 251460"/>
                <a:gd name="connsiteY6" fmla="*/ 235132 h 656409"/>
                <a:gd name="connsiteX7" fmla="*/ 6532 w 251460"/>
                <a:gd name="connsiteY7" fmla="*/ 297180 h 656409"/>
                <a:gd name="connsiteX8" fmla="*/ 0 w 251460"/>
                <a:gd name="connsiteY8" fmla="*/ 316774 h 656409"/>
                <a:gd name="connsiteX9" fmla="*/ 9798 w 251460"/>
                <a:gd name="connsiteY9" fmla="*/ 342900 h 656409"/>
                <a:gd name="connsiteX10" fmla="*/ 13063 w 251460"/>
                <a:gd name="connsiteY10" fmla="*/ 352697 h 656409"/>
                <a:gd name="connsiteX11" fmla="*/ 29392 w 251460"/>
                <a:gd name="connsiteY11" fmla="*/ 369026 h 656409"/>
                <a:gd name="connsiteX12" fmla="*/ 45720 w 251460"/>
                <a:gd name="connsiteY12" fmla="*/ 382089 h 656409"/>
                <a:gd name="connsiteX13" fmla="*/ 52252 w 251460"/>
                <a:gd name="connsiteY13" fmla="*/ 388620 h 656409"/>
                <a:gd name="connsiteX14" fmla="*/ 65315 w 251460"/>
                <a:gd name="connsiteY14" fmla="*/ 408214 h 656409"/>
                <a:gd name="connsiteX15" fmla="*/ 84909 w 251460"/>
                <a:gd name="connsiteY15" fmla="*/ 414746 h 656409"/>
                <a:gd name="connsiteX16" fmla="*/ 91440 w 251460"/>
                <a:gd name="connsiteY16" fmla="*/ 424543 h 656409"/>
                <a:gd name="connsiteX17" fmla="*/ 97972 w 251460"/>
                <a:gd name="connsiteY17" fmla="*/ 431074 h 656409"/>
                <a:gd name="connsiteX18" fmla="*/ 101238 w 251460"/>
                <a:gd name="connsiteY18" fmla="*/ 444137 h 656409"/>
                <a:gd name="connsiteX19" fmla="*/ 117566 w 251460"/>
                <a:gd name="connsiteY19" fmla="*/ 457200 h 656409"/>
                <a:gd name="connsiteX20" fmla="*/ 124098 w 251460"/>
                <a:gd name="connsiteY20" fmla="*/ 466997 h 656409"/>
                <a:gd name="connsiteX21" fmla="*/ 140426 w 251460"/>
                <a:gd name="connsiteY21" fmla="*/ 483326 h 656409"/>
                <a:gd name="connsiteX22" fmla="*/ 156755 w 251460"/>
                <a:gd name="connsiteY22" fmla="*/ 499654 h 656409"/>
                <a:gd name="connsiteX23" fmla="*/ 163286 w 251460"/>
                <a:gd name="connsiteY23" fmla="*/ 519249 h 656409"/>
                <a:gd name="connsiteX24" fmla="*/ 166552 w 251460"/>
                <a:gd name="connsiteY24" fmla="*/ 529046 h 656409"/>
                <a:gd name="connsiteX25" fmla="*/ 173083 w 251460"/>
                <a:gd name="connsiteY25" fmla="*/ 538843 h 656409"/>
                <a:gd name="connsiteX26" fmla="*/ 179615 w 251460"/>
                <a:gd name="connsiteY26" fmla="*/ 561703 h 656409"/>
                <a:gd name="connsiteX27" fmla="*/ 202475 w 251460"/>
                <a:gd name="connsiteY27" fmla="*/ 587828 h 656409"/>
                <a:gd name="connsiteX28" fmla="*/ 199209 w 251460"/>
                <a:gd name="connsiteY28" fmla="*/ 620486 h 656409"/>
                <a:gd name="connsiteX29" fmla="*/ 228600 w 251460"/>
                <a:gd name="connsiteY29" fmla="*/ 607423 h 656409"/>
                <a:gd name="connsiteX30" fmla="*/ 215538 w 251460"/>
                <a:gd name="connsiteY30" fmla="*/ 630283 h 656409"/>
                <a:gd name="connsiteX31" fmla="*/ 225335 w 251460"/>
                <a:gd name="connsiteY31" fmla="*/ 636814 h 656409"/>
                <a:gd name="connsiteX32" fmla="*/ 238398 w 251460"/>
                <a:gd name="connsiteY32" fmla="*/ 653143 h 656409"/>
                <a:gd name="connsiteX33" fmla="*/ 251460 w 251460"/>
                <a:gd name="connsiteY33" fmla="*/ 656409 h 656409"/>
                <a:gd name="connsiteX0" fmla="*/ 32658 w 251460"/>
                <a:gd name="connsiteY0" fmla="*/ 0 h 656409"/>
                <a:gd name="connsiteX1" fmla="*/ 32658 w 251460"/>
                <a:gd name="connsiteY1" fmla="*/ 29392 h 656409"/>
                <a:gd name="connsiteX2" fmla="*/ 39189 w 251460"/>
                <a:gd name="connsiteY2" fmla="*/ 48986 h 656409"/>
                <a:gd name="connsiteX3" fmla="*/ 32658 w 251460"/>
                <a:gd name="connsiteY3" fmla="*/ 84909 h 656409"/>
                <a:gd name="connsiteX4" fmla="*/ 29392 w 251460"/>
                <a:gd name="connsiteY4" fmla="*/ 94706 h 656409"/>
                <a:gd name="connsiteX5" fmla="*/ 22860 w 251460"/>
                <a:gd name="connsiteY5" fmla="*/ 182880 h 656409"/>
                <a:gd name="connsiteX6" fmla="*/ 13063 w 251460"/>
                <a:gd name="connsiteY6" fmla="*/ 235132 h 656409"/>
                <a:gd name="connsiteX7" fmla="*/ 6532 w 251460"/>
                <a:gd name="connsiteY7" fmla="*/ 297180 h 656409"/>
                <a:gd name="connsiteX8" fmla="*/ 0 w 251460"/>
                <a:gd name="connsiteY8" fmla="*/ 316774 h 656409"/>
                <a:gd name="connsiteX9" fmla="*/ 9798 w 251460"/>
                <a:gd name="connsiteY9" fmla="*/ 342900 h 656409"/>
                <a:gd name="connsiteX10" fmla="*/ 13063 w 251460"/>
                <a:gd name="connsiteY10" fmla="*/ 352697 h 656409"/>
                <a:gd name="connsiteX11" fmla="*/ 29392 w 251460"/>
                <a:gd name="connsiteY11" fmla="*/ 369026 h 656409"/>
                <a:gd name="connsiteX12" fmla="*/ 45720 w 251460"/>
                <a:gd name="connsiteY12" fmla="*/ 382089 h 656409"/>
                <a:gd name="connsiteX13" fmla="*/ 52252 w 251460"/>
                <a:gd name="connsiteY13" fmla="*/ 388620 h 656409"/>
                <a:gd name="connsiteX14" fmla="*/ 65315 w 251460"/>
                <a:gd name="connsiteY14" fmla="*/ 408214 h 656409"/>
                <a:gd name="connsiteX15" fmla="*/ 84909 w 251460"/>
                <a:gd name="connsiteY15" fmla="*/ 414746 h 656409"/>
                <a:gd name="connsiteX16" fmla="*/ 91440 w 251460"/>
                <a:gd name="connsiteY16" fmla="*/ 424543 h 656409"/>
                <a:gd name="connsiteX17" fmla="*/ 97972 w 251460"/>
                <a:gd name="connsiteY17" fmla="*/ 431074 h 656409"/>
                <a:gd name="connsiteX18" fmla="*/ 101238 w 251460"/>
                <a:gd name="connsiteY18" fmla="*/ 444137 h 656409"/>
                <a:gd name="connsiteX19" fmla="*/ 117566 w 251460"/>
                <a:gd name="connsiteY19" fmla="*/ 457200 h 656409"/>
                <a:gd name="connsiteX20" fmla="*/ 124098 w 251460"/>
                <a:gd name="connsiteY20" fmla="*/ 466997 h 656409"/>
                <a:gd name="connsiteX21" fmla="*/ 140426 w 251460"/>
                <a:gd name="connsiteY21" fmla="*/ 483326 h 656409"/>
                <a:gd name="connsiteX22" fmla="*/ 156755 w 251460"/>
                <a:gd name="connsiteY22" fmla="*/ 499654 h 656409"/>
                <a:gd name="connsiteX23" fmla="*/ 163286 w 251460"/>
                <a:gd name="connsiteY23" fmla="*/ 519249 h 656409"/>
                <a:gd name="connsiteX24" fmla="*/ 166552 w 251460"/>
                <a:gd name="connsiteY24" fmla="*/ 529046 h 656409"/>
                <a:gd name="connsiteX25" fmla="*/ 173083 w 251460"/>
                <a:gd name="connsiteY25" fmla="*/ 538843 h 656409"/>
                <a:gd name="connsiteX26" fmla="*/ 179615 w 251460"/>
                <a:gd name="connsiteY26" fmla="*/ 561703 h 656409"/>
                <a:gd name="connsiteX27" fmla="*/ 202475 w 251460"/>
                <a:gd name="connsiteY27" fmla="*/ 587828 h 656409"/>
                <a:gd name="connsiteX28" fmla="*/ 199209 w 251460"/>
                <a:gd name="connsiteY28" fmla="*/ 620486 h 656409"/>
                <a:gd name="connsiteX29" fmla="*/ 228600 w 251460"/>
                <a:gd name="connsiteY29" fmla="*/ 607423 h 656409"/>
                <a:gd name="connsiteX30" fmla="*/ 215538 w 251460"/>
                <a:gd name="connsiteY30" fmla="*/ 630283 h 656409"/>
                <a:gd name="connsiteX31" fmla="*/ 244929 w 251460"/>
                <a:gd name="connsiteY31" fmla="*/ 636814 h 656409"/>
                <a:gd name="connsiteX32" fmla="*/ 238398 w 251460"/>
                <a:gd name="connsiteY32" fmla="*/ 653143 h 656409"/>
                <a:gd name="connsiteX33" fmla="*/ 251460 w 251460"/>
                <a:gd name="connsiteY33" fmla="*/ 656409 h 656409"/>
                <a:gd name="connsiteX0" fmla="*/ 32658 w 254900"/>
                <a:gd name="connsiteY0" fmla="*/ 0 h 656409"/>
                <a:gd name="connsiteX1" fmla="*/ 32658 w 254900"/>
                <a:gd name="connsiteY1" fmla="*/ 29392 h 656409"/>
                <a:gd name="connsiteX2" fmla="*/ 39189 w 254900"/>
                <a:gd name="connsiteY2" fmla="*/ 48986 h 656409"/>
                <a:gd name="connsiteX3" fmla="*/ 32658 w 254900"/>
                <a:gd name="connsiteY3" fmla="*/ 84909 h 656409"/>
                <a:gd name="connsiteX4" fmla="*/ 29392 w 254900"/>
                <a:gd name="connsiteY4" fmla="*/ 94706 h 656409"/>
                <a:gd name="connsiteX5" fmla="*/ 22860 w 254900"/>
                <a:gd name="connsiteY5" fmla="*/ 182880 h 656409"/>
                <a:gd name="connsiteX6" fmla="*/ 13063 w 254900"/>
                <a:gd name="connsiteY6" fmla="*/ 235132 h 656409"/>
                <a:gd name="connsiteX7" fmla="*/ 6532 w 254900"/>
                <a:gd name="connsiteY7" fmla="*/ 297180 h 656409"/>
                <a:gd name="connsiteX8" fmla="*/ 0 w 254900"/>
                <a:gd name="connsiteY8" fmla="*/ 316774 h 656409"/>
                <a:gd name="connsiteX9" fmla="*/ 9798 w 254900"/>
                <a:gd name="connsiteY9" fmla="*/ 342900 h 656409"/>
                <a:gd name="connsiteX10" fmla="*/ 13063 w 254900"/>
                <a:gd name="connsiteY10" fmla="*/ 352697 h 656409"/>
                <a:gd name="connsiteX11" fmla="*/ 29392 w 254900"/>
                <a:gd name="connsiteY11" fmla="*/ 369026 h 656409"/>
                <a:gd name="connsiteX12" fmla="*/ 45720 w 254900"/>
                <a:gd name="connsiteY12" fmla="*/ 382089 h 656409"/>
                <a:gd name="connsiteX13" fmla="*/ 52252 w 254900"/>
                <a:gd name="connsiteY13" fmla="*/ 388620 h 656409"/>
                <a:gd name="connsiteX14" fmla="*/ 65315 w 254900"/>
                <a:gd name="connsiteY14" fmla="*/ 408214 h 656409"/>
                <a:gd name="connsiteX15" fmla="*/ 84909 w 254900"/>
                <a:gd name="connsiteY15" fmla="*/ 414746 h 656409"/>
                <a:gd name="connsiteX16" fmla="*/ 91440 w 254900"/>
                <a:gd name="connsiteY16" fmla="*/ 424543 h 656409"/>
                <a:gd name="connsiteX17" fmla="*/ 97972 w 254900"/>
                <a:gd name="connsiteY17" fmla="*/ 431074 h 656409"/>
                <a:gd name="connsiteX18" fmla="*/ 101238 w 254900"/>
                <a:gd name="connsiteY18" fmla="*/ 444137 h 656409"/>
                <a:gd name="connsiteX19" fmla="*/ 117566 w 254900"/>
                <a:gd name="connsiteY19" fmla="*/ 457200 h 656409"/>
                <a:gd name="connsiteX20" fmla="*/ 124098 w 254900"/>
                <a:gd name="connsiteY20" fmla="*/ 466997 h 656409"/>
                <a:gd name="connsiteX21" fmla="*/ 140426 w 254900"/>
                <a:gd name="connsiteY21" fmla="*/ 483326 h 656409"/>
                <a:gd name="connsiteX22" fmla="*/ 156755 w 254900"/>
                <a:gd name="connsiteY22" fmla="*/ 499654 h 656409"/>
                <a:gd name="connsiteX23" fmla="*/ 163286 w 254900"/>
                <a:gd name="connsiteY23" fmla="*/ 519249 h 656409"/>
                <a:gd name="connsiteX24" fmla="*/ 166552 w 254900"/>
                <a:gd name="connsiteY24" fmla="*/ 529046 h 656409"/>
                <a:gd name="connsiteX25" fmla="*/ 173083 w 254900"/>
                <a:gd name="connsiteY25" fmla="*/ 538843 h 656409"/>
                <a:gd name="connsiteX26" fmla="*/ 179615 w 254900"/>
                <a:gd name="connsiteY26" fmla="*/ 561703 h 656409"/>
                <a:gd name="connsiteX27" fmla="*/ 202475 w 254900"/>
                <a:gd name="connsiteY27" fmla="*/ 587828 h 656409"/>
                <a:gd name="connsiteX28" fmla="*/ 199209 w 254900"/>
                <a:gd name="connsiteY28" fmla="*/ 620486 h 656409"/>
                <a:gd name="connsiteX29" fmla="*/ 228600 w 254900"/>
                <a:gd name="connsiteY29" fmla="*/ 607423 h 656409"/>
                <a:gd name="connsiteX30" fmla="*/ 215538 w 254900"/>
                <a:gd name="connsiteY30" fmla="*/ 630283 h 656409"/>
                <a:gd name="connsiteX31" fmla="*/ 244929 w 254900"/>
                <a:gd name="connsiteY31" fmla="*/ 636814 h 656409"/>
                <a:gd name="connsiteX32" fmla="*/ 254726 w 254900"/>
                <a:gd name="connsiteY32" fmla="*/ 653143 h 656409"/>
                <a:gd name="connsiteX33" fmla="*/ 251460 w 254900"/>
                <a:gd name="connsiteY33" fmla="*/ 656409 h 656409"/>
                <a:gd name="connsiteX0" fmla="*/ 32658 w 254900"/>
                <a:gd name="connsiteY0" fmla="*/ 0 h 656409"/>
                <a:gd name="connsiteX1" fmla="*/ 32658 w 254900"/>
                <a:gd name="connsiteY1" fmla="*/ 29392 h 656409"/>
                <a:gd name="connsiteX2" fmla="*/ 39189 w 254900"/>
                <a:gd name="connsiteY2" fmla="*/ 48986 h 656409"/>
                <a:gd name="connsiteX3" fmla="*/ 32658 w 254900"/>
                <a:gd name="connsiteY3" fmla="*/ 84909 h 656409"/>
                <a:gd name="connsiteX4" fmla="*/ 29392 w 254900"/>
                <a:gd name="connsiteY4" fmla="*/ 94706 h 656409"/>
                <a:gd name="connsiteX5" fmla="*/ 22860 w 254900"/>
                <a:gd name="connsiteY5" fmla="*/ 182880 h 656409"/>
                <a:gd name="connsiteX6" fmla="*/ 13063 w 254900"/>
                <a:gd name="connsiteY6" fmla="*/ 235132 h 656409"/>
                <a:gd name="connsiteX7" fmla="*/ 6532 w 254900"/>
                <a:gd name="connsiteY7" fmla="*/ 297180 h 656409"/>
                <a:gd name="connsiteX8" fmla="*/ 0 w 254900"/>
                <a:gd name="connsiteY8" fmla="*/ 316774 h 656409"/>
                <a:gd name="connsiteX9" fmla="*/ 9798 w 254900"/>
                <a:gd name="connsiteY9" fmla="*/ 342900 h 656409"/>
                <a:gd name="connsiteX10" fmla="*/ 13063 w 254900"/>
                <a:gd name="connsiteY10" fmla="*/ 352697 h 656409"/>
                <a:gd name="connsiteX11" fmla="*/ 29392 w 254900"/>
                <a:gd name="connsiteY11" fmla="*/ 369026 h 656409"/>
                <a:gd name="connsiteX12" fmla="*/ 45720 w 254900"/>
                <a:gd name="connsiteY12" fmla="*/ 382089 h 656409"/>
                <a:gd name="connsiteX13" fmla="*/ 52252 w 254900"/>
                <a:gd name="connsiteY13" fmla="*/ 388620 h 656409"/>
                <a:gd name="connsiteX14" fmla="*/ 65315 w 254900"/>
                <a:gd name="connsiteY14" fmla="*/ 408214 h 656409"/>
                <a:gd name="connsiteX15" fmla="*/ 84909 w 254900"/>
                <a:gd name="connsiteY15" fmla="*/ 414746 h 656409"/>
                <a:gd name="connsiteX16" fmla="*/ 91440 w 254900"/>
                <a:gd name="connsiteY16" fmla="*/ 424543 h 656409"/>
                <a:gd name="connsiteX17" fmla="*/ 97972 w 254900"/>
                <a:gd name="connsiteY17" fmla="*/ 431074 h 656409"/>
                <a:gd name="connsiteX18" fmla="*/ 101238 w 254900"/>
                <a:gd name="connsiteY18" fmla="*/ 444137 h 656409"/>
                <a:gd name="connsiteX19" fmla="*/ 117566 w 254900"/>
                <a:gd name="connsiteY19" fmla="*/ 457200 h 656409"/>
                <a:gd name="connsiteX20" fmla="*/ 124098 w 254900"/>
                <a:gd name="connsiteY20" fmla="*/ 466997 h 656409"/>
                <a:gd name="connsiteX21" fmla="*/ 140426 w 254900"/>
                <a:gd name="connsiteY21" fmla="*/ 483326 h 656409"/>
                <a:gd name="connsiteX22" fmla="*/ 156755 w 254900"/>
                <a:gd name="connsiteY22" fmla="*/ 499654 h 656409"/>
                <a:gd name="connsiteX23" fmla="*/ 163286 w 254900"/>
                <a:gd name="connsiteY23" fmla="*/ 519249 h 656409"/>
                <a:gd name="connsiteX24" fmla="*/ 166552 w 254900"/>
                <a:gd name="connsiteY24" fmla="*/ 529046 h 656409"/>
                <a:gd name="connsiteX25" fmla="*/ 173083 w 254900"/>
                <a:gd name="connsiteY25" fmla="*/ 538843 h 656409"/>
                <a:gd name="connsiteX26" fmla="*/ 179615 w 254900"/>
                <a:gd name="connsiteY26" fmla="*/ 561703 h 656409"/>
                <a:gd name="connsiteX27" fmla="*/ 202475 w 254900"/>
                <a:gd name="connsiteY27" fmla="*/ 587828 h 656409"/>
                <a:gd name="connsiteX28" fmla="*/ 199209 w 254900"/>
                <a:gd name="connsiteY28" fmla="*/ 620486 h 656409"/>
                <a:gd name="connsiteX29" fmla="*/ 228600 w 254900"/>
                <a:gd name="connsiteY29" fmla="*/ 607423 h 656409"/>
                <a:gd name="connsiteX30" fmla="*/ 238398 w 254900"/>
                <a:gd name="connsiteY30" fmla="*/ 623752 h 656409"/>
                <a:gd name="connsiteX31" fmla="*/ 244929 w 254900"/>
                <a:gd name="connsiteY31" fmla="*/ 636814 h 656409"/>
                <a:gd name="connsiteX32" fmla="*/ 254726 w 254900"/>
                <a:gd name="connsiteY32" fmla="*/ 653143 h 656409"/>
                <a:gd name="connsiteX33" fmla="*/ 251460 w 254900"/>
                <a:gd name="connsiteY33" fmla="*/ 656409 h 656409"/>
                <a:gd name="connsiteX0" fmla="*/ 32658 w 254900"/>
                <a:gd name="connsiteY0" fmla="*/ 0 h 656409"/>
                <a:gd name="connsiteX1" fmla="*/ 32658 w 254900"/>
                <a:gd name="connsiteY1" fmla="*/ 29392 h 656409"/>
                <a:gd name="connsiteX2" fmla="*/ 39189 w 254900"/>
                <a:gd name="connsiteY2" fmla="*/ 48986 h 656409"/>
                <a:gd name="connsiteX3" fmla="*/ 32658 w 254900"/>
                <a:gd name="connsiteY3" fmla="*/ 84909 h 656409"/>
                <a:gd name="connsiteX4" fmla="*/ 29392 w 254900"/>
                <a:gd name="connsiteY4" fmla="*/ 94706 h 656409"/>
                <a:gd name="connsiteX5" fmla="*/ 22860 w 254900"/>
                <a:gd name="connsiteY5" fmla="*/ 182880 h 656409"/>
                <a:gd name="connsiteX6" fmla="*/ 13063 w 254900"/>
                <a:gd name="connsiteY6" fmla="*/ 235132 h 656409"/>
                <a:gd name="connsiteX7" fmla="*/ 6532 w 254900"/>
                <a:gd name="connsiteY7" fmla="*/ 297180 h 656409"/>
                <a:gd name="connsiteX8" fmla="*/ 0 w 254900"/>
                <a:gd name="connsiteY8" fmla="*/ 316774 h 656409"/>
                <a:gd name="connsiteX9" fmla="*/ 9798 w 254900"/>
                <a:gd name="connsiteY9" fmla="*/ 342900 h 656409"/>
                <a:gd name="connsiteX10" fmla="*/ 13063 w 254900"/>
                <a:gd name="connsiteY10" fmla="*/ 352697 h 656409"/>
                <a:gd name="connsiteX11" fmla="*/ 29392 w 254900"/>
                <a:gd name="connsiteY11" fmla="*/ 369026 h 656409"/>
                <a:gd name="connsiteX12" fmla="*/ 45720 w 254900"/>
                <a:gd name="connsiteY12" fmla="*/ 382089 h 656409"/>
                <a:gd name="connsiteX13" fmla="*/ 52252 w 254900"/>
                <a:gd name="connsiteY13" fmla="*/ 388620 h 656409"/>
                <a:gd name="connsiteX14" fmla="*/ 65315 w 254900"/>
                <a:gd name="connsiteY14" fmla="*/ 408214 h 656409"/>
                <a:gd name="connsiteX15" fmla="*/ 84909 w 254900"/>
                <a:gd name="connsiteY15" fmla="*/ 414746 h 656409"/>
                <a:gd name="connsiteX16" fmla="*/ 91440 w 254900"/>
                <a:gd name="connsiteY16" fmla="*/ 424543 h 656409"/>
                <a:gd name="connsiteX17" fmla="*/ 97972 w 254900"/>
                <a:gd name="connsiteY17" fmla="*/ 431074 h 656409"/>
                <a:gd name="connsiteX18" fmla="*/ 101238 w 254900"/>
                <a:gd name="connsiteY18" fmla="*/ 444137 h 656409"/>
                <a:gd name="connsiteX19" fmla="*/ 117566 w 254900"/>
                <a:gd name="connsiteY19" fmla="*/ 457200 h 656409"/>
                <a:gd name="connsiteX20" fmla="*/ 124098 w 254900"/>
                <a:gd name="connsiteY20" fmla="*/ 466997 h 656409"/>
                <a:gd name="connsiteX21" fmla="*/ 140426 w 254900"/>
                <a:gd name="connsiteY21" fmla="*/ 483326 h 656409"/>
                <a:gd name="connsiteX22" fmla="*/ 156755 w 254900"/>
                <a:gd name="connsiteY22" fmla="*/ 499654 h 656409"/>
                <a:gd name="connsiteX23" fmla="*/ 163286 w 254900"/>
                <a:gd name="connsiteY23" fmla="*/ 519249 h 656409"/>
                <a:gd name="connsiteX24" fmla="*/ 166552 w 254900"/>
                <a:gd name="connsiteY24" fmla="*/ 529046 h 656409"/>
                <a:gd name="connsiteX25" fmla="*/ 173083 w 254900"/>
                <a:gd name="connsiteY25" fmla="*/ 538843 h 656409"/>
                <a:gd name="connsiteX26" fmla="*/ 179615 w 254900"/>
                <a:gd name="connsiteY26" fmla="*/ 561703 h 656409"/>
                <a:gd name="connsiteX27" fmla="*/ 202475 w 254900"/>
                <a:gd name="connsiteY27" fmla="*/ 587828 h 656409"/>
                <a:gd name="connsiteX28" fmla="*/ 209007 w 254900"/>
                <a:gd name="connsiteY28" fmla="*/ 607424 h 656409"/>
                <a:gd name="connsiteX29" fmla="*/ 228600 w 254900"/>
                <a:gd name="connsiteY29" fmla="*/ 607423 h 656409"/>
                <a:gd name="connsiteX30" fmla="*/ 238398 w 254900"/>
                <a:gd name="connsiteY30" fmla="*/ 623752 h 656409"/>
                <a:gd name="connsiteX31" fmla="*/ 244929 w 254900"/>
                <a:gd name="connsiteY31" fmla="*/ 636814 h 656409"/>
                <a:gd name="connsiteX32" fmla="*/ 254726 w 254900"/>
                <a:gd name="connsiteY32" fmla="*/ 653143 h 656409"/>
                <a:gd name="connsiteX33" fmla="*/ 251460 w 254900"/>
                <a:gd name="connsiteY33" fmla="*/ 656409 h 656409"/>
                <a:gd name="connsiteX0" fmla="*/ 32658 w 254900"/>
                <a:gd name="connsiteY0" fmla="*/ 0 h 656409"/>
                <a:gd name="connsiteX1" fmla="*/ 32658 w 254900"/>
                <a:gd name="connsiteY1" fmla="*/ 29392 h 656409"/>
                <a:gd name="connsiteX2" fmla="*/ 39189 w 254900"/>
                <a:gd name="connsiteY2" fmla="*/ 48986 h 656409"/>
                <a:gd name="connsiteX3" fmla="*/ 32658 w 254900"/>
                <a:gd name="connsiteY3" fmla="*/ 84909 h 656409"/>
                <a:gd name="connsiteX4" fmla="*/ 29392 w 254900"/>
                <a:gd name="connsiteY4" fmla="*/ 94706 h 656409"/>
                <a:gd name="connsiteX5" fmla="*/ 22860 w 254900"/>
                <a:gd name="connsiteY5" fmla="*/ 182880 h 656409"/>
                <a:gd name="connsiteX6" fmla="*/ 13063 w 254900"/>
                <a:gd name="connsiteY6" fmla="*/ 235132 h 656409"/>
                <a:gd name="connsiteX7" fmla="*/ 6532 w 254900"/>
                <a:gd name="connsiteY7" fmla="*/ 297180 h 656409"/>
                <a:gd name="connsiteX8" fmla="*/ 0 w 254900"/>
                <a:gd name="connsiteY8" fmla="*/ 316774 h 656409"/>
                <a:gd name="connsiteX9" fmla="*/ 9798 w 254900"/>
                <a:gd name="connsiteY9" fmla="*/ 342900 h 656409"/>
                <a:gd name="connsiteX10" fmla="*/ 13063 w 254900"/>
                <a:gd name="connsiteY10" fmla="*/ 352697 h 656409"/>
                <a:gd name="connsiteX11" fmla="*/ 29392 w 254900"/>
                <a:gd name="connsiteY11" fmla="*/ 369026 h 656409"/>
                <a:gd name="connsiteX12" fmla="*/ 45720 w 254900"/>
                <a:gd name="connsiteY12" fmla="*/ 382089 h 656409"/>
                <a:gd name="connsiteX13" fmla="*/ 52252 w 254900"/>
                <a:gd name="connsiteY13" fmla="*/ 388620 h 656409"/>
                <a:gd name="connsiteX14" fmla="*/ 65315 w 254900"/>
                <a:gd name="connsiteY14" fmla="*/ 408214 h 656409"/>
                <a:gd name="connsiteX15" fmla="*/ 84909 w 254900"/>
                <a:gd name="connsiteY15" fmla="*/ 414746 h 656409"/>
                <a:gd name="connsiteX16" fmla="*/ 91440 w 254900"/>
                <a:gd name="connsiteY16" fmla="*/ 424543 h 656409"/>
                <a:gd name="connsiteX17" fmla="*/ 97972 w 254900"/>
                <a:gd name="connsiteY17" fmla="*/ 431074 h 656409"/>
                <a:gd name="connsiteX18" fmla="*/ 101238 w 254900"/>
                <a:gd name="connsiteY18" fmla="*/ 444137 h 656409"/>
                <a:gd name="connsiteX19" fmla="*/ 117566 w 254900"/>
                <a:gd name="connsiteY19" fmla="*/ 457200 h 656409"/>
                <a:gd name="connsiteX20" fmla="*/ 124098 w 254900"/>
                <a:gd name="connsiteY20" fmla="*/ 466997 h 656409"/>
                <a:gd name="connsiteX21" fmla="*/ 140426 w 254900"/>
                <a:gd name="connsiteY21" fmla="*/ 483326 h 656409"/>
                <a:gd name="connsiteX22" fmla="*/ 156755 w 254900"/>
                <a:gd name="connsiteY22" fmla="*/ 499654 h 656409"/>
                <a:gd name="connsiteX23" fmla="*/ 163286 w 254900"/>
                <a:gd name="connsiteY23" fmla="*/ 519249 h 656409"/>
                <a:gd name="connsiteX24" fmla="*/ 166552 w 254900"/>
                <a:gd name="connsiteY24" fmla="*/ 529046 h 656409"/>
                <a:gd name="connsiteX25" fmla="*/ 173083 w 254900"/>
                <a:gd name="connsiteY25" fmla="*/ 538843 h 656409"/>
                <a:gd name="connsiteX26" fmla="*/ 179615 w 254900"/>
                <a:gd name="connsiteY26" fmla="*/ 561703 h 656409"/>
                <a:gd name="connsiteX27" fmla="*/ 202475 w 254900"/>
                <a:gd name="connsiteY27" fmla="*/ 587828 h 656409"/>
                <a:gd name="connsiteX28" fmla="*/ 215539 w 254900"/>
                <a:gd name="connsiteY28" fmla="*/ 600892 h 656409"/>
                <a:gd name="connsiteX29" fmla="*/ 228600 w 254900"/>
                <a:gd name="connsiteY29" fmla="*/ 607423 h 656409"/>
                <a:gd name="connsiteX30" fmla="*/ 238398 w 254900"/>
                <a:gd name="connsiteY30" fmla="*/ 623752 h 656409"/>
                <a:gd name="connsiteX31" fmla="*/ 244929 w 254900"/>
                <a:gd name="connsiteY31" fmla="*/ 636814 h 656409"/>
                <a:gd name="connsiteX32" fmla="*/ 254726 w 254900"/>
                <a:gd name="connsiteY32" fmla="*/ 653143 h 656409"/>
                <a:gd name="connsiteX33" fmla="*/ 251460 w 254900"/>
                <a:gd name="connsiteY33" fmla="*/ 656409 h 656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54900" h="656409">
                  <a:moveTo>
                    <a:pt x="32658" y="0"/>
                  </a:moveTo>
                  <a:cubicBezTo>
                    <a:pt x="28968" y="18450"/>
                    <a:pt x="27677" y="12788"/>
                    <a:pt x="32658" y="29392"/>
                  </a:cubicBezTo>
                  <a:cubicBezTo>
                    <a:pt x="34636" y="35986"/>
                    <a:pt x="39189" y="48986"/>
                    <a:pt x="39189" y="48986"/>
                  </a:cubicBezTo>
                  <a:cubicBezTo>
                    <a:pt x="37736" y="57704"/>
                    <a:pt x="34936" y="75794"/>
                    <a:pt x="32658" y="84909"/>
                  </a:cubicBezTo>
                  <a:cubicBezTo>
                    <a:pt x="31823" y="88249"/>
                    <a:pt x="30481" y="91440"/>
                    <a:pt x="29392" y="94706"/>
                  </a:cubicBezTo>
                  <a:cubicBezTo>
                    <a:pt x="23363" y="161025"/>
                    <a:pt x="28594" y="99737"/>
                    <a:pt x="22860" y="182880"/>
                  </a:cubicBezTo>
                  <a:cubicBezTo>
                    <a:pt x="19705" y="228631"/>
                    <a:pt x="27354" y="213695"/>
                    <a:pt x="13063" y="235132"/>
                  </a:cubicBezTo>
                  <a:cubicBezTo>
                    <a:pt x="2907" y="265606"/>
                    <a:pt x="16976" y="220600"/>
                    <a:pt x="6532" y="297180"/>
                  </a:cubicBezTo>
                  <a:cubicBezTo>
                    <a:pt x="5602" y="304002"/>
                    <a:pt x="0" y="316774"/>
                    <a:pt x="0" y="316774"/>
                  </a:cubicBezTo>
                  <a:cubicBezTo>
                    <a:pt x="6302" y="348283"/>
                    <a:pt x="-1416" y="320472"/>
                    <a:pt x="9798" y="342900"/>
                  </a:cubicBezTo>
                  <a:cubicBezTo>
                    <a:pt x="11337" y="345979"/>
                    <a:pt x="10998" y="349943"/>
                    <a:pt x="13063" y="352697"/>
                  </a:cubicBezTo>
                  <a:cubicBezTo>
                    <a:pt x="17681" y="358855"/>
                    <a:pt x="25122" y="362621"/>
                    <a:pt x="29392" y="369026"/>
                  </a:cubicBezTo>
                  <a:cubicBezTo>
                    <a:pt x="37832" y="381687"/>
                    <a:pt x="32200" y="377582"/>
                    <a:pt x="45720" y="382089"/>
                  </a:cubicBezTo>
                  <a:cubicBezTo>
                    <a:pt x="47897" y="384266"/>
                    <a:pt x="50405" y="386157"/>
                    <a:pt x="52252" y="388620"/>
                  </a:cubicBezTo>
                  <a:cubicBezTo>
                    <a:pt x="56962" y="394900"/>
                    <a:pt x="57868" y="405731"/>
                    <a:pt x="65315" y="408214"/>
                  </a:cubicBezTo>
                  <a:lnTo>
                    <a:pt x="84909" y="414746"/>
                  </a:lnTo>
                  <a:cubicBezTo>
                    <a:pt x="87086" y="418012"/>
                    <a:pt x="88988" y="421478"/>
                    <a:pt x="91440" y="424543"/>
                  </a:cubicBezTo>
                  <a:cubicBezTo>
                    <a:pt x="93363" y="426947"/>
                    <a:pt x="96595" y="428320"/>
                    <a:pt x="97972" y="431074"/>
                  </a:cubicBezTo>
                  <a:cubicBezTo>
                    <a:pt x="99979" y="435088"/>
                    <a:pt x="99231" y="440122"/>
                    <a:pt x="101238" y="444137"/>
                  </a:cubicBezTo>
                  <a:cubicBezTo>
                    <a:pt x="103566" y="448792"/>
                    <a:pt x="114103" y="454891"/>
                    <a:pt x="117566" y="457200"/>
                  </a:cubicBezTo>
                  <a:cubicBezTo>
                    <a:pt x="119743" y="460466"/>
                    <a:pt x="121513" y="464043"/>
                    <a:pt x="124098" y="466997"/>
                  </a:cubicBezTo>
                  <a:cubicBezTo>
                    <a:pt x="129167" y="472790"/>
                    <a:pt x="136156" y="476922"/>
                    <a:pt x="140426" y="483326"/>
                  </a:cubicBezTo>
                  <a:cubicBezTo>
                    <a:pt x="149135" y="496389"/>
                    <a:pt x="143692" y="490946"/>
                    <a:pt x="156755" y="499654"/>
                  </a:cubicBezTo>
                  <a:lnTo>
                    <a:pt x="163286" y="519249"/>
                  </a:lnTo>
                  <a:cubicBezTo>
                    <a:pt x="164375" y="522515"/>
                    <a:pt x="164643" y="526182"/>
                    <a:pt x="166552" y="529046"/>
                  </a:cubicBezTo>
                  <a:cubicBezTo>
                    <a:pt x="168729" y="532312"/>
                    <a:pt x="171328" y="535333"/>
                    <a:pt x="173083" y="538843"/>
                  </a:cubicBezTo>
                  <a:cubicBezTo>
                    <a:pt x="175693" y="544064"/>
                    <a:pt x="174716" y="553539"/>
                    <a:pt x="179615" y="561703"/>
                  </a:cubicBezTo>
                  <a:cubicBezTo>
                    <a:pt x="184514" y="569867"/>
                    <a:pt x="196488" y="581297"/>
                    <a:pt x="202475" y="587828"/>
                  </a:cubicBezTo>
                  <a:cubicBezTo>
                    <a:pt x="208462" y="594359"/>
                    <a:pt x="211185" y="597626"/>
                    <a:pt x="215539" y="600892"/>
                  </a:cubicBezTo>
                  <a:cubicBezTo>
                    <a:pt x="219893" y="604158"/>
                    <a:pt x="225334" y="606334"/>
                    <a:pt x="228600" y="607423"/>
                  </a:cubicBezTo>
                  <a:cubicBezTo>
                    <a:pt x="230777" y="609600"/>
                    <a:pt x="235677" y="618854"/>
                    <a:pt x="238398" y="623752"/>
                  </a:cubicBezTo>
                  <a:cubicBezTo>
                    <a:pt x="241119" y="628650"/>
                    <a:pt x="242208" y="631916"/>
                    <a:pt x="244929" y="636814"/>
                  </a:cubicBezTo>
                  <a:cubicBezTo>
                    <a:pt x="247650" y="641712"/>
                    <a:pt x="253638" y="649877"/>
                    <a:pt x="254726" y="653143"/>
                  </a:cubicBezTo>
                  <a:cubicBezTo>
                    <a:pt x="255814" y="656409"/>
                    <a:pt x="251460" y="656409"/>
                    <a:pt x="251460" y="65640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7" name="Forma livre 330"/>
            <p:cNvSpPr/>
            <p:nvPr/>
          </p:nvSpPr>
          <p:spPr bwMode="auto">
            <a:xfrm>
              <a:off x="4203700" y="4565650"/>
              <a:ext cx="244475" cy="182563"/>
            </a:xfrm>
            <a:custGeom>
              <a:avLst/>
              <a:gdLst>
                <a:gd name="connsiteX0" fmla="*/ 0 w 244929"/>
                <a:gd name="connsiteY0" fmla="*/ 0 h 182880"/>
                <a:gd name="connsiteX1" fmla="*/ 22860 w 244929"/>
                <a:gd name="connsiteY1" fmla="*/ 22860 h 182880"/>
                <a:gd name="connsiteX2" fmla="*/ 29392 w 244929"/>
                <a:gd name="connsiteY2" fmla="*/ 29391 h 182880"/>
                <a:gd name="connsiteX3" fmla="*/ 39189 w 244929"/>
                <a:gd name="connsiteY3" fmla="*/ 35922 h 182880"/>
                <a:gd name="connsiteX4" fmla="*/ 52252 w 244929"/>
                <a:gd name="connsiteY4" fmla="*/ 48985 h 182880"/>
                <a:gd name="connsiteX5" fmla="*/ 71846 w 244929"/>
                <a:gd name="connsiteY5" fmla="*/ 58782 h 182880"/>
                <a:gd name="connsiteX6" fmla="*/ 81643 w 244929"/>
                <a:gd name="connsiteY6" fmla="*/ 62048 h 182880"/>
                <a:gd name="connsiteX7" fmla="*/ 97972 w 244929"/>
                <a:gd name="connsiteY7" fmla="*/ 75111 h 182880"/>
                <a:gd name="connsiteX8" fmla="*/ 117566 w 244929"/>
                <a:gd name="connsiteY8" fmla="*/ 84908 h 182880"/>
                <a:gd name="connsiteX9" fmla="*/ 140426 w 244929"/>
                <a:gd name="connsiteY9" fmla="*/ 101237 h 182880"/>
                <a:gd name="connsiteX10" fmla="*/ 150223 w 244929"/>
                <a:gd name="connsiteY10" fmla="*/ 111034 h 182880"/>
                <a:gd name="connsiteX11" fmla="*/ 160020 w 244929"/>
                <a:gd name="connsiteY11" fmla="*/ 114300 h 182880"/>
                <a:gd name="connsiteX12" fmla="*/ 163286 w 244929"/>
                <a:gd name="connsiteY12" fmla="*/ 124097 h 182880"/>
                <a:gd name="connsiteX13" fmla="*/ 182880 w 244929"/>
                <a:gd name="connsiteY13" fmla="*/ 133894 h 182880"/>
                <a:gd name="connsiteX14" fmla="*/ 205740 w 244929"/>
                <a:gd name="connsiteY14" fmla="*/ 160020 h 182880"/>
                <a:gd name="connsiteX15" fmla="*/ 212272 w 244929"/>
                <a:gd name="connsiteY15" fmla="*/ 166551 h 182880"/>
                <a:gd name="connsiteX16" fmla="*/ 231866 w 244929"/>
                <a:gd name="connsiteY16" fmla="*/ 176348 h 182880"/>
                <a:gd name="connsiteX17" fmla="*/ 244929 w 244929"/>
                <a:gd name="connsiteY17" fmla="*/ 182880 h 182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4929" h="182880">
                  <a:moveTo>
                    <a:pt x="0" y="0"/>
                  </a:moveTo>
                  <a:lnTo>
                    <a:pt x="22860" y="22860"/>
                  </a:lnTo>
                  <a:cubicBezTo>
                    <a:pt x="25037" y="25037"/>
                    <a:pt x="26830" y="27683"/>
                    <a:pt x="29392" y="29391"/>
                  </a:cubicBezTo>
                  <a:cubicBezTo>
                    <a:pt x="32658" y="31568"/>
                    <a:pt x="36209" y="33368"/>
                    <a:pt x="39189" y="35922"/>
                  </a:cubicBezTo>
                  <a:cubicBezTo>
                    <a:pt x="43864" y="39930"/>
                    <a:pt x="46410" y="47038"/>
                    <a:pt x="52252" y="48985"/>
                  </a:cubicBezTo>
                  <a:cubicBezTo>
                    <a:pt x="76877" y="57194"/>
                    <a:pt x="46523" y="46121"/>
                    <a:pt x="71846" y="58782"/>
                  </a:cubicBezTo>
                  <a:cubicBezTo>
                    <a:pt x="74925" y="60321"/>
                    <a:pt x="78377" y="60959"/>
                    <a:pt x="81643" y="62048"/>
                  </a:cubicBezTo>
                  <a:cubicBezTo>
                    <a:pt x="87719" y="68124"/>
                    <a:pt x="89732" y="70991"/>
                    <a:pt x="97972" y="75111"/>
                  </a:cubicBezTo>
                  <a:cubicBezTo>
                    <a:pt x="111877" y="82064"/>
                    <a:pt x="104466" y="73679"/>
                    <a:pt x="117566" y="84908"/>
                  </a:cubicBezTo>
                  <a:cubicBezTo>
                    <a:pt x="137290" y="101814"/>
                    <a:pt x="122424" y="95236"/>
                    <a:pt x="140426" y="101237"/>
                  </a:cubicBezTo>
                  <a:cubicBezTo>
                    <a:pt x="143692" y="104503"/>
                    <a:pt x="146380" y="108472"/>
                    <a:pt x="150223" y="111034"/>
                  </a:cubicBezTo>
                  <a:cubicBezTo>
                    <a:pt x="153087" y="112944"/>
                    <a:pt x="157586" y="111866"/>
                    <a:pt x="160020" y="114300"/>
                  </a:cubicBezTo>
                  <a:cubicBezTo>
                    <a:pt x="162454" y="116734"/>
                    <a:pt x="161136" y="121409"/>
                    <a:pt x="163286" y="124097"/>
                  </a:cubicBezTo>
                  <a:cubicBezTo>
                    <a:pt x="167890" y="129851"/>
                    <a:pt x="176427" y="131743"/>
                    <a:pt x="182880" y="133894"/>
                  </a:cubicBezTo>
                  <a:cubicBezTo>
                    <a:pt x="193681" y="150094"/>
                    <a:pt x="186639" y="140919"/>
                    <a:pt x="205740" y="160020"/>
                  </a:cubicBezTo>
                  <a:cubicBezTo>
                    <a:pt x="207917" y="162197"/>
                    <a:pt x="209351" y="165577"/>
                    <a:pt x="212272" y="166551"/>
                  </a:cubicBezTo>
                  <a:cubicBezTo>
                    <a:pt x="236897" y="174760"/>
                    <a:pt x="206543" y="163687"/>
                    <a:pt x="231866" y="176348"/>
                  </a:cubicBezTo>
                  <a:cubicBezTo>
                    <a:pt x="246875" y="183853"/>
                    <a:pt x="237551" y="175502"/>
                    <a:pt x="244929" y="18288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8" name="Forma livre 338"/>
            <p:cNvSpPr/>
            <p:nvPr/>
          </p:nvSpPr>
          <p:spPr bwMode="auto">
            <a:xfrm>
              <a:off x="3830638" y="4551363"/>
              <a:ext cx="777875" cy="412750"/>
            </a:xfrm>
            <a:custGeom>
              <a:avLst/>
              <a:gdLst>
                <a:gd name="connsiteX0" fmla="*/ 0 w 777240"/>
                <a:gd name="connsiteY0" fmla="*/ 0 h 411480"/>
                <a:gd name="connsiteX1" fmla="*/ 16328 w 777240"/>
                <a:gd name="connsiteY1" fmla="*/ 9797 h 411480"/>
                <a:gd name="connsiteX2" fmla="*/ 32657 w 777240"/>
                <a:gd name="connsiteY2" fmla="*/ 19594 h 411480"/>
                <a:gd name="connsiteX3" fmla="*/ 39188 w 777240"/>
                <a:gd name="connsiteY3" fmla="*/ 29391 h 411480"/>
                <a:gd name="connsiteX4" fmla="*/ 48986 w 777240"/>
                <a:gd name="connsiteY4" fmla="*/ 32657 h 411480"/>
                <a:gd name="connsiteX5" fmla="*/ 58783 w 777240"/>
                <a:gd name="connsiteY5" fmla="*/ 39188 h 411480"/>
                <a:gd name="connsiteX6" fmla="*/ 81643 w 777240"/>
                <a:gd name="connsiteY6" fmla="*/ 55517 h 411480"/>
                <a:gd name="connsiteX7" fmla="*/ 91440 w 777240"/>
                <a:gd name="connsiteY7" fmla="*/ 68580 h 411480"/>
                <a:gd name="connsiteX8" fmla="*/ 111034 w 777240"/>
                <a:gd name="connsiteY8" fmla="*/ 75111 h 411480"/>
                <a:gd name="connsiteX9" fmla="*/ 215537 w 777240"/>
                <a:gd name="connsiteY9" fmla="*/ 81643 h 411480"/>
                <a:gd name="connsiteX10" fmla="*/ 231866 w 777240"/>
                <a:gd name="connsiteY10" fmla="*/ 97971 h 411480"/>
                <a:gd name="connsiteX11" fmla="*/ 238397 w 777240"/>
                <a:gd name="connsiteY11" fmla="*/ 104503 h 411480"/>
                <a:gd name="connsiteX12" fmla="*/ 257991 w 777240"/>
                <a:gd name="connsiteY12" fmla="*/ 117565 h 411480"/>
                <a:gd name="connsiteX13" fmla="*/ 267788 w 777240"/>
                <a:gd name="connsiteY13" fmla="*/ 127363 h 411480"/>
                <a:gd name="connsiteX14" fmla="*/ 287383 w 777240"/>
                <a:gd name="connsiteY14" fmla="*/ 140425 h 411480"/>
                <a:gd name="connsiteX15" fmla="*/ 293914 w 777240"/>
                <a:gd name="connsiteY15" fmla="*/ 146957 h 411480"/>
                <a:gd name="connsiteX16" fmla="*/ 313508 w 777240"/>
                <a:gd name="connsiteY16" fmla="*/ 153488 h 411480"/>
                <a:gd name="connsiteX17" fmla="*/ 329837 w 777240"/>
                <a:gd name="connsiteY17" fmla="*/ 166551 h 411480"/>
                <a:gd name="connsiteX18" fmla="*/ 339634 w 777240"/>
                <a:gd name="connsiteY18" fmla="*/ 169817 h 411480"/>
                <a:gd name="connsiteX19" fmla="*/ 352697 w 777240"/>
                <a:gd name="connsiteY19" fmla="*/ 182880 h 411480"/>
                <a:gd name="connsiteX20" fmla="*/ 359228 w 777240"/>
                <a:gd name="connsiteY20" fmla="*/ 192677 h 411480"/>
                <a:gd name="connsiteX21" fmla="*/ 372291 w 777240"/>
                <a:gd name="connsiteY21" fmla="*/ 205740 h 411480"/>
                <a:gd name="connsiteX22" fmla="*/ 385354 w 777240"/>
                <a:gd name="connsiteY22" fmla="*/ 225334 h 411480"/>
                <a:gd name="connsiteX23" fmla="*/ 408214 w 777240"/>
                <a:gd name="connsiteY23" fmla="*/ 244928 h 411480"/>
                <a:gd name="connsiteX24" fmla="*/ 414746 w 777240"/>
                <a:gd name="connsiteY24" fmla="*/ 251460 h 411480"/>
                <a:gd name="connsiteX25" fmla="*/ 424543 w 777240"/>
                <a:gd name="connsiteY25" fmla="*/ 257991 h 411480"/>
                <a:gd name="connsiteX26" fmla="*/ 437606 w 777240"/>
                <a:gd name="connsiteY26" fmla="*/ 271054 h 411480"/>
                <a:gd name="connsiteX27" fmla="*/ 447403 w 777240"/>
                <a:gd name="connsiteY27" fmla="*/ 280851 h 411480"/>
                <a:gd name="connsiteX28" fmla="*/ 460466 w 777240"/>
                <a:gd name="connsiteY28" fmla="*/ 293914 h 411480"/>
                <a:gd name="connsiteX29" fmla="*/ 470263 w 777240"/>
                <a:gd name="connsiteY29" fmla="*/ 300445 h 411480"/>
                <a:gd name="connsiteX30" fmla="*/ 502920 w 777240"/>
                <a:gd name="connsiteY30" fmla="*/ 326571 h 411480"/>
                <a:gd name="connsiteX31" fmla="*/ 512717 w 777240"/>
                <a:gd name="connsiteY31" fmla="*/ 329837 h 411480"/>
                <a:gd name="connsiteX32" fmla="*/ 522514 w 777240"/>
                <a:gd name="connsiteY32" fmla="*/ 333103 h 411480"/>
                <a:gd name="connsiteX33" fmla="*/ 538843 w 777240"/>
                <a:gd name="connsiteY33" fmla="*/ 342900 h 411480"/>
                <a:gd name="connsiteX34" fmla="*/ 548640 w 777240"/>
                <a:gd name="connsiteY34" fmla="*/ 349431 h 411480"/>
                <a:gd name="connsiteX35" fmla="*/ 558437 w 777240"/>
                <a:gd name="connsiteY35" fmla="*/ 352697 h 411480"/>
                <a:gd name="connsiteX36" fmla="*/ 587828 w 777240"/>
                <a:gd name="connsiteY36" fmla="*/ 359228 h 411480"/>
                <a:gd name="connsiteX37" fmla="*/ 597626 w 777240"/>
                <a:gd name="connsiteY37" fmla="*/ 362494 h 411480"/>
                <a:gd name="connsiteX38" fmla="*/ 633548 w 777240"/>
                <a:gd name="connsiteY38" fmla="*/ 372291 h 411480"/>
                <a:gd name="connsiteX39" fmla="*/ 656408 w 777240"/>
                <a:gd name="connsiteY39" fmla="*/ 378823 h 411480"/>
                <a:gd name="connsiteX40" fmla="*/ 672737 w 777240"/>
                <a:gd name="connsiteY40" fmla="*/ 382088 h 411480"/>
                <a:gd name="connsiteX41" fmla="*/ 692331 w 777240"/>
                <a:gd name="connsiteY41" fmla="*/ 388620 h 411480"/>
                <a:gd name="connsiteX42" fmla="*/ 698863 w 777240"/>
                <a:gd name="connsiteY42" fmla="*/ 395151 h 411480"/>
                <a:gd name="connsiteX43" fmla="*/ 708660 w 777240"/>
                <a:gd name="connsiteY43" fmla="*/ 398417 h 411480"/>
                <a:gd name="connsiteX44" fmla="*/ 721723 w 777240"/>
                <a:gd name="connsiteY44" fmla="*/ 404948 h 411480"/>
                <a:gd name="connsiteX45" fmla="*/ 741317 w 777240"/>
                <a:gd name="connsiteY45" fmla="*/ 411480 h 411480"/>
                <a:gd name="connsiteX46" fmla="*/ 751114 w 777240"/>
                <a:gd name="connsiteY46" fmla="*/ 408214 h 411480"/>
                <a:gd name="connsiteX47" fmla="*/ 760911 w 777240"/>
                <a:gd name="connsiteY47" fmla="*/ 401683 h 411480"/>
                <a:gd name="connsiteX48" fmla="*/ 777240 w 777240"/>
                <a:gd name="connsiteY48" fmla="*/ 401683 h 411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77240" h="411480">
                  <a:moveTo>
                    <a:pt x="0" y="0"/>
                  </a:moveTo>
                  <a:cubicBezTo>
                    <a:pt x="5443" y="3266"/>
                    <a:pt x="11163" y="6108"/>
                    <a:pt x="16328" y="9797"/>
                  </a:cubicBezTo>
                  <a:cubicBezTo>
                    <a:pt x="32017" y="21003"/>
                    <a:pt x="12423" y="12849"/>
                    <a:pt x="32657" y="19594"/>
                  </a:cubicBezTo>
                  <a:cubicBezTo>
                    <a:pt x="34834" y="22860"/>
                    <a:pt x="36123" y="26939"/>
                    <a:pt x="39188" y="29391"/>
                  </a:cubicBezTo>
                  <a:cubicBezTo>
                    <a:pt x="41876" y="31542"/>
                    <a:pt x="45907" y="31117"/>
                    <a:pt x="48986" y="32657"/>
                  </a:cubicBezTo>
                  <a:cubicBezTo>
                    <a:pt x="52496" y="34412"/>
                    <a:pt x="55803" y="36634"/>
                    <a:pt x="58783" y="39188"/>
                  </a:cubicBezTo>
                  <a:cubicBezTo>
                    <a:pt x="78507" y="56094"/>
                    <a:pt x="63641" y="49516"/>
                    <a:pt x="81643" y="55517"/>
                  </a:cubicBezTo>
                  <a:cubicBezTo>
                    <a:pt x="84909" y="59871"/>
                    <a:pt x="86911" y="65561"/>
                    <a:pt x="91440" y="68580"/>
                  </a:cubicBezTo>
                  <a:cubicBezTo>
                    <a:pt x="97168" y="72399"/>
                    <a:pt x="104355" y="73441"/>
                    <a:pt x="111034" y="75111"/>
                  </a:cubicBezTo>
                  <a:cubicBezTo>
                    <a:pt x="153686" y="85775"/>
                    <a:pt x="119611" y="78217"/>
                    <a:pt x="215537" y="81643"/>
                  </a:cubicBezTo>
                  <a:lnTo>
                    <a:pt x="231866" y="97971"/>
                  </a:lnTo>
                  <a:cubicBezTo>
                    <a:pt x="234043" y="100148"/>
                    <a:pt x="235835" y="102795"/>
                    <a:pt x="238397" y="104503"/>
                  </a:cubicBezTo>
                  <a:cubicBezTo>
                    <a:pt x="244928" y="108857"/>
                    <a:pt x="252441" y="112014"/>
                    <a:pt x="257991" y="117565"/>
                  </a:cubicBezTo>
                  <a:cubicBezTo>
                    <a:pt x="261257" y="120831"/>
                    <a:pt x="264142" y="124527"/>
                    <a:pt x="267788" y="127363"/>
                  </a:cubicBezTo>
                  <a:cubicBezTo>
                    <a:pt x="273984" y="132182"/>
                    <a:pt x="281833" y="134874"/>
                    <a:pt x="287383" y="140425"/>
                  </a:cubicBezTo>
                  <a:cubicBezTo>
                    <a:pt x="289560" y="142602"/>
                    <a:pt x="291160" y="145580"/>
                    <a:pt x="293914" y="146957"/>
                  </a:cubicBezTo>
                  <a:cubicBezTo>
                    <a:pt x="300072" y="150036"/>
                    <a:pt x="313508" y="153488"/>
                    <a:pt x="313508" y="153488"/>
                  </a:cubicBezTo>
                  <a:cubicBezTo>
                    <a:pt x="319584" y="159564"/>
                    <a:pt x="321597" y="162431"/>
                    <a:pt x="329837" y="166551"/>
                  </a:cubicBezTo>
                  <a:cubicBezTo>
                    <a:pt x="332916" y="168090"/>
                    <a:pt x="336368" y="168728"/>
                    <a:pt x="339634" y="169817"/>
                  </a:cubicBezTo>
                  <a:cubicBezTo>
                    <a:pt x="343988" y="174171"/>
                    <a:pt x="349281" y="177756"/>
                    <a:pt x="352697" y="182880"/>
                  </a:cubicBezTo>
                  <a:cubicBezTo>
                    <a:pt x="354874" y="186146"/>
                    <a:pt x="356674" y="189697"/>
                    <a:pt x="359228" y="192677"/>
                  </a:cubicBezTo>
                  <a:cubicBezTo>
                    <a:pt x="363236" y="197352"/>
                    <a:pt x="368875" y="200616"/>
                    <a:pt x="372291" y="205740"/>
                  </a:cubicBezTo>
                  <a:cubicBezTo>
                    <a:pt x="376645" y="212271"/>
                    <a:pt x="379803" y="219783"/>
                    <a:pt x="385354" y="225334"/>
                  </a:cubicBezTo>
                  <a:cubicBezTo>
                    <a:pt x="416801" y="256781"/>
                    <a:pt x="383345" y="225033"/>
                    <a:pt x="408214" y="244928"/>
                  </a:cubicBezTo>
                  <a:cubicBezTo>
                    <a:pt x="410618" y="246852"/>
                    <a:pt x="412342" y="249536"/>
                    <a:pt x="414746" y="251460"/>
                  </a:cubicBezTo>
                  <a:cubicBezTo>
                    <a:pt x="417811" y="253912"/>
                    <a:pt x="421563" y="255437"/>
                    <a:pt x="424543" y="257991"/>
                  </a:cubicBezTo>
                  <a:cubicBezTo>
                    <a:pt x="429218" y="261999"/>
                    <a:pt x="433252" y="266700"/>
                    <a:pt x="437606" y="271054"/>
                  </a:cubicBezTo>
                  <a:lnTo>
                    <a:pt x="447403" y="280851"/>
                  </a:lnTo>
                  <a:lnTo>
                    <a:pt x="460466" y="293914"/>
                  </a:lnTo>
                  <a:lnTo>
                    <a:pt x="470263" y="300445"/>
                  </a:lnTo>
                  <a:cubicBezTo>
                    <a:pt x="487145" y="325769"/>
                    <a:pt x="475878" y="317557"/>
                    <a:pt x="502920" y="326571"/>
                  </a:cubicBezTo>
                  <a:lnTo>
                    <a:pt x="512717" y="329837"/>
                  </a:lnTo>
                  <a:lnTo>
                    <a:pt x="522514" y="333103"/>
                  </a:lnTo>
                  <a:cubicBezTo>
                    <a:pt x="535272" y="345860"/>
                    <a:pt x="521885" y="334421"/>
                    <a:pt x="538843" y="342900"/>
                  </a:cubicBezTo>
                  <a:cubicBezTo>
                    <a:pt x="542353" y="344655"/>
                    <a:pt x="545130" y="347676"/>
                    <a:pt x="548640" y="349431"/>
                  </a:cubicBezTo>
                  <a:cubicBezTo>
                    <a:pt x="551719" y="350970"/>
                    <a:pt x="555127" y="351751"/>
                    <a:pt x="558437" y="352697"/>
                  </a:cubicBezTo>
                  <a:cubicBezTo>
                    <a:pt x="581904" y="359402"/>
                    <a:pt x="560892" y="352494"/>
                    <a:pt x="587828" y="359228"/>
                  </a:cubicBezTo>
                  <a:cubicBezTo>
                    <a:pt x="591168" y="360063"/>
                    <a:pt x="594286" y="361659"/>
                    <a:pt x="597626" y="362494"/>
                  </a:cubicBezTo>
                  <a:cubicBezTo>
                    <a:pt x="634554" y="371727"/>
                    <a:pt x="591510" y="358279"/>
                    <a:pt x="633548" y="372291"/>
                  </a:cubicBezTo>
                  <a:cubicBezTo>
                    <a:pt x="644454" y="375926"/>
                    <a:pt x="644112" y="376091"/>
                    <a:pt x="656408" y="378823"/>
                  </a:cubicBezTo>
                  <a:cubicBezTo>
                    <a:pt x="661827" y="380027"/>
                    <a:pt x="667382" y="380628"/>
                    <a:pt x="672737" y="382088"/>
                  </a:cubicBezTo>
                  <a:cubicBezTo>
                    <a:pt x="679379" y="383899"/>
                    <a:pt x="692331" y="388620"/>
                    <a:pt x="692331" y="388620"/>
                  </a:cubicBezTo>
                  <a:cubicBezTo>
                    <a:pt x="694508" y="390797"/>
                    <a:pt x="696223" y="393567"/>
                    <a:pt x="698863" y="395151"/>
                  </a:cubicBezTo>
                  <a:cubicBezTo>
                    <a:pt x="701815" y="396922"/>
                    <a:pt x="705496" y="397061"/>
                    <a:pt x="708660" y="398417"/>
                  </a:cubicBezTo>
                  <a:cubicBezTo>
                    <a:pt x="713135" y="400335"/>
                    <a:pt x="717203" y="403140"/>
                    <a:pt x="721723" y="404948"/>
                  </a:cubicBezTo>
                  <a:cubicBezTo>
                    <a:pt x="728115" y="407505"/>
                    <a:pt x="741317" y="411480"/>
                    <a:pt x="741317" y="411480"/>
                  </a:cubicBezTo>
                  <a:cubicBezTo>
                    <a:pt x="744583" y="410391"/>
                    <a:pt x="748035" y="409753"/>
                    <a:pt x="751114" y="408214"/>
                  </a:cubicBezTo>
                  <a:cubicBezTo>
                    <a:pt x="754624" y="406459"/>
                    <a:pt x="757103" y="402635"/>
                    <a:pt x="760911" y="401683"/>
                  </a:cubicBezTo>
                  <a:cubicBezTo>
                    <a:pt x="766192" y="400363"/>
                    <a:pt x="771797" y="401683"/>
                    <a:pt x="777240" y="401683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49" name="Forma livre 346"/>
            <p:cNvSpPr/>
            <p:nvPr/>
          </p:nvSpPr>
          <p:spPr bwMode="auto">
            <a:xfrm>
              <a:off x="3746500" y="4708525"/>
              <a:ext cx="385763" cy="196850"/>
            </a:xfrm>
            <a:custGeom>
              <a:avLst/>
              <a:gdLst>
                <a:gd name="connsiteX0" fmla="*/ 0 w 385355"/>
                <a:gd name="connsiteY0" fmla="*/ 0 h 195945"/>
                <a:gd name="connsiteX1" fmla="*/ 16329 w 385355"/>
                <a:gd name="connsiteY1" fmla="*/ 9797 h 195945"/>
                <a:gd name="connsiteX2" fmla="*/ 26126 w 385355"/>
                <a:gd name="connsiteY2" fmla="*/ 16329 h 195945"/>
                <a:gd name="connsiteX3" fmla="*/ 45720 w 385355"/>
                <a:gd name="connsiteY3" fmla="*/ 22860 h 195945"/>
                <a:gd name="connsiteX4" fmla="*/ 62049 w 385355"/>
                <a:gd name="connsiteY4" fmla="*/ 35923 h 195945"/>
                <a:gd name="connsiteX5" fmla="*/ 71846 w 385355"/>
                <a:gd name="connsiteY5" fmla="*/ 39189 h 195945"/>
                <a:gd name="connsiteX6" fmla="*/ 91440 w 385355"/>
                <a:gd name="connsiteY6" fmla="*/ 48986 h 195945"/>
                <a:gd name="connsiteX7" fmla="*/ 94706 w 385355"/>
                <a:gd name="connsiteY7" fmla="*/ 58783 h 195945"/>
                <a:gd name="connsiteX8" fmla="*/ 104503 w 385355"/>
                <a:gd name="connsiteY8" fmla="*/ 62049 h 195945"/>
                <a:gd name="connsiteX9" fmla="*/ 124097 w 385355"/>
                <a:gd name="connsiteY9" fmla="*/ 71846 h 195945"/>
                <a:gd name="connsiteX10" fmla="*/ 140426 w 385355"/>
                <a:gd name="connsiteY10" fmla="*/ 81643 h 195945"/>
                <a:gd name="connsiteX11" fmla="*/ 150223 w 385355"/>
                <a:gd name="connsiteY11" fmla="*/ 91440 h 195945"/>
                <a:gd name="connsiteX12" fmla="*/ 153489 w 385355"/>
                <a:gd name="connsiteY12" fmla="*/ 101237 h 195945"/>
                <a:gd name="connsiteX13" fmla="*/ 182880 w 385355"/>
                <a:gd name="connsiteY13" fmla="*/ 117566 h 195945"/>
                <a:gd name="connsiteX14" fmla="*/ 192677 w 385355"/>
                <a:gd name="connsiteY14" fmla="*/ 124097 h 195945"/>
                <a:gd name="connsiteX15" fmla="*/ 215537 w 385355"/>
                <a:gd name="connsiteY15" fmla="*/ 130629 h 195945"/>
                <a:gd name="connsiteX16" fmla="*/ 235132 w 385355"/>
                <a:gd name="connsiteY16" fmla="*/ 140426 h 195945"/>
                <a:gd name="connsiteX17" fmla="*/ 244929 w 385355"/>
                <a:gd name="connsiteY17" fmla="*/ 150223 h 195945"/>
                <a:gd name="connsiteX18" fmla="*/ 264523 w 385355"/>
                <a:gd name="connsiteY18" fmla="*/ 156754 h 195945"/>
                <a:gd name="connsiteX19" fmla="*/ 274320 w 385355"/>
                <a:gd name="connsiteY19" fmla="*/ 163286 h 195945"/>
                <a:gd name="connsiteX20" fmla="*/ 284117 w 385355"/>
                <a:gd name="connsiteY20" fmla="*/ 166551 h 195945"/>
                <a:gd name="connsiteX21" fmla="*/ 293915 w 385355"/>
                <a:gd name="connsiteY21" fmla="*/ 176349 h 195945"/>
                <a:gd name="connsiteX22" fmla="*/ 303712 w 385355"/>
                <a:gd name="connsiteY22" fmla="*/ 179614 h 195945"/>
                <a:gd name="connsiteX23" fmla="*/ 346166 w 385355"/>
                <a:gd name="connsiteY23" fmla="*/ 186146 h 195945"/>
                <a:gd name="connsiteX24" fmla="*/ 362495 w 385355"/>
                <a:gd name="connsiteY24" fmla="*/ 189411 h 195945"/>
                <a:gd name="connsiteX25" fmla="*/ 385355 w 385355"/>
                <a:gd name="connsiteY25" fmla="*/ 195943 h 195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85355" h="195945">
                  <a:moveTo>
                    <a:pt x="0" y="0"/>
                  </a:moveTo>
                  <a:cubicBezTo>
                    <a:pt x="5443" y="3266"/>
                    <a:pt x="10946" y="6433"/>
                    <a:pt x="16329" y="9797"/>
                  </a:cubicBezTo>
                  <a:cubicBezTo>
                    <a:pt x="19657" y="11877"/>
                    <a:pt x="22539" y="14735"/>
                    <a:pt x="26126" y="16329"/>
                  </a:cubicBezTo>
                  <a:cubicBezTo>
                    <a:pt x="32417" y="19125"/>
                    <a:pt x="45720" y="22860"/>
                    <a:pt x="45720" y="22860"/>
                  </a:cubicBezTo>
                  <a:cubicBezTo>
                    <a:pt x="51794" y="28933"/>
                    <a:pt x="53812" y="31804"/>
                    <a:pt x="62049" y="35923"/>
                  </a:cubicBezTo>
                  <a:cubicBezTo>
                    <a:pt x="65128" y="37463"/>
                    <a:pt x="68767" y="37650"/>
                    <a:pt x="71846" y="39189"/>
                  </a:cubicBezTo>
                  <a:cubicBezTo>
                    <a:pt x="97169" y="51850"/>
                    <a:pt x="66815" y="40777"/>
                    <a:pt x="91440" y="48986"/>
                  </a:cubicBezTo>
                  <a:cubicBezTo>
                    <a:pt x="92529" y="52252"/>
                    <a:pt x="92272" y="56349"/>
                    <a:pt x="94706" y="58783"/>
                  </a:cubicBezTo>
                  <a:cubicBezTo>
                    <a:pt x="97140" y="61217"/>
                    <a:pt x="101551" y="60278"/>
                    <a:pt x="104503" y="62049"/>
                  </a:cubicBezTo>
                  <a:cubicBezTo>
                    <a:pt x="125299" y="74526"/>
                    <a:pt x="91882" y="63791"/>
                    <a:pt x="124097" y="71846"/>
                  </a:cubicBezTo>
                  <a:cubicBezTo>
                    <a:pt x="144444" y="92190"/>
                    <a:pt x="114984" y="64681"/>
                    <a:pt x="140426" y="81643"/>
                  </a:cubicBezTo>
                  <a:cubicBezTo>
                    <a:pt x="144269" y="84205"/>
                    <a:pt x="146957" y="88174"/>
                    <a:pt x="150223" y="91440"/>
                  </a:cubicBezTo>
                  <a:cubicBezTo>
                    <a:pt x="151312" y="94706"/>
                    <a:pt x="151055" y="98803"/>
                    <a:pt x="153489" y="101237"/>
                  </a:cubicBezTo>
                  <a:cubicBezTo>
                    <a:pt x="174080" y="121828"/>
                    <a:pt x="166455" y="109353"/>
                    <a:pt x="182880" y="117566"/>
                  </a:cubicBezTo>
                  <a:cubicBezTo>
                    <a:pt x="186390" y="119321"/>
                    <a:pt x="189070" y="122551"/>
                    <a:pt x="192677" y="124097"/>
                  </a:cubicBezTo>
                  <a:cubicBezTo>
                    <a:pt x="207335" y="130379"/>
                    <a:pt x="202820" y="124271"/>
                    <a:pt x="215537" y="130629"/>
                  </a:cubicBezTo>
                  <a:cubicBezTo>
                    <a:pt x="240860" y="143290"/>
                    <a:pt x="210507" y="132217"/>
                    <a:pt x="235132" y="140426"/>
                  </a:cubicBezTo>
                  <a:cubicBezTo>
                    <a:pt x="238398" y="143692"/>
                    <a:pt x="240892" y="147980"/>
                    <a:pt x="244929" y="150223"/>
                  </a:cubicBezTo>
                  <a:cubicBezTo>
                    <a:pt x="250947" y="153566"/>
                    <a:pt x="264523" y="156754"/>
                    <a:pt x="264523" y="156754"/>
                  </a:cubicBezTo>
                  <a:cubicBezTo>
                    <a:pt x="267789" y="158931"/>
                    <a:pt x="270809" y="161531"/>
                    <a:pt x="274320" y="163286"/>
                  </a:cubicBezTo>
                  <a:cubicBezTo>
                    <a:pt x="277399" y="164825"/>
                    <a:pt x="281253" y="164642"/>
                    <a:pt x="284117" y="166551"/>
                  </a:cubicBezTo>
                  <a:cubicBezTo>
                    <a:pt x="287960" y="169113"/>
                    <a:pt x="290072" y="173787"/>
                    <a:pt x="293915" y="176349"/>
                  </a:cubicBezTo>
                  <a:cubicBezTo>
                    <a:pt x="296779" y="178258"/>
                    <a:pt x="300402" y="178668"/>
                    <a:pt x="303712" y="179614"/>
                  </a:cubicBezTo>
                  <a:cubicBezTo>
                    <a:pt x="324110" y="185442"/>
                    <a:pt x="317206" y="182009"/>
                    <a:pt x="346166" y="186146"/>
                  </a:cubicBezTo>
                  <a:cubicBezTo>
                    <a:pt x="351661" y="186931"/>
                    <a:pt x="357140" y="187951"/>
                    <a:pt x="362495" y="189411"/>
                  </a:cubicBezTo>
                  <a:cubicBezTo>
                    <a:pt x="387709" y="196287"/>
                    <a:pt x="374479" y="195943"/>
                    <a:pt x="385355" y="195943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0" name="Forma livre 369"/>
            <p:cNvSpPr/>
            <p:nvPr/>
          </p:nvSpPr>
          <p:spPr bwMode="auto">
            <a:xfrm>
              <a:off x="4194175" y="4872038"/>
              <a:ext cx="446088" cy="133350"/>
            </a:xfrm>
            <a:custGeom>
              <a:avLst/>
              <a:gdLst>
                <a:gd name="connsiteX0" fmla="*/ 0 w 447403"/>
                <a:gd name="connsiteY0" fmla="*/ 0 h 133894"/>
                <a:gd name="connsiteX1" fmla="*/ 16329 w 447403"/>
                <a:gd name="connsiteY1" fmla="*/ 6531 h 133894"/>
                <a:gd name="connsiteX2" fmla="*/ 32657 w 447403"/>
                <a:gd name="connsiteY2" fmla="*/ 16328 h 133894"/>
                <a:gd name="connsiteX3" fmla="*/ 39189 w 447403"/>
                <a:gd name="connsiteY3" fmla="*/ 22860 h 133894"/>
                <a:gd name="connsiteX4" fmla="*/ 48986 w 447403"/>
                <a:gd name="connsiteY4" fmla="*/ 29391 h 133894"/>
                <a:gd name="connsiteX5" fmla="*/ 55517 w 447403"/>
                <a:gd name="connsiteY5" fmla="*/ 39188 h 133894"/>
                <a:gd name="connsiteX6" fmla="*/ 75112 w 447403"/>
                <a:gd name="connsiteY6" fmla="*/ 45720 h 133894"/>
                <a:gd name="connsiteX7" fmla="*/ 84909 w 447403"/>
                <a:gd name="connsiteY7" fmla="*/ 52251 h 133894"/>
                <a:gd name="connsiteX8" fmla="*/ 140426 w 447403"/>
                <a:gd name="connsiteY8" fmla="*/ 62048 h 133894"/>
                <a:gd name="connsiteX9" fmla="*/ 160020 w 447403"/>
                <a:gd name="connsiteY9" fmla="*/ 68580 h 133894"/>
                <a:gd name="connsiteX10" fmla="*/ 176349 w 447403"/>
                <a:gd name="connsiteY10" fmla="*/ 81643 h 133894"/>
                <a:gd name="connsiteX11" fmla="*/ 238397 w 447403"/>
                <a:gd name="connsiteY11" fmla="*/ 84908 h 133894"/>
                <a:gd name="connsiteX12" fmla="*/ 261257 w 447403"/>
                <a:gd name="connsiteY12" fmla="*/ 91440 h 133894"/>
                <a:gd name="connsiteX13" fmla="*/ 274320 w 447403"/>
                <a:gd name="connsiteY13" fmla="*/ 94705 h 133894"/>
                <a:gd name="connsiteX14" fmla="*/ 293914 w 447403"/>
                <a:gd name="connsiteY14" fmla="*/ 101237 h 133894"/>
                <a:gd name="connsiteX15" fmla="*/ 339634 w 447403"/>
                <a:gd name="connsiteY15" fmla="*/ 111034 h 133894"/>
                <a:gd name="connsiteX16" fmla="*/ 372292 w 447403"/>
                <a:gd name="connsiteY16" fmla="*/ 120831 h 133894"/>
                <a:gd name="connsiteX17" fmla="*/ 411480 w 447403"/>
                <a:gd name="connsiteY17" fmla="*/ 124097 h 133894"/>
                <a:gd name="connsiteX18" fmla="*/ 431074 w 447403"/>
                <a:gd name="connsiteY18" fmla="*/ 130628 h 133894"/>
                <a:gd name="connsiteX19" fmla="*/ 440872 w 447403"/>
                <a:gd name="connsiteY19" fmla="*/ 133894 h 133894"/>
                <a:gd name="connsiteX20" fmla="*/ 447403 w 447403"/>
                <a:gd name="connsiteY20" fmla="*/ 133894 h 1338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47403" h="133894">
                  <a:moveTo>
                    <a:pt x="0" y="0"/>
                  </a:moveTo>
                  <a:cubicBezTo>
                    <a:pt x="5443" y="2177"/>
                    <a:pt x="11239" y="3623"/>
                    <a:pt x="16329" y="6531"/>
                  </a:cubicBezTo>
                  <a:cubicBezTo>
                    <a:pt x="41431" y="20875"/>
                    <a:pt x="1898" y="6077"/>
                    <a:pt x="32657" y="16328"/>
                  </a:cubicBezTo>
                  <a:cubicBezTo>
                    <a:pt x="34834" y="18505"/>
                    <a:pt x="36785" y="20936"/>
                    <a:pt x="39189" y="22860"/>
                  </a:cubicBezTo>
                  <a:cubicBezTo>
                    <a:pt x="42254" y="25312"/>
                    <a:pt x="46211" y="26616"/>
                    <a:pt x="48986" y="29391"/>
                  </a:cubicBezTo>
                  <a:cubicBezTo>
                    <a:pt x="51761" y="32166"/>
                    <a:pt x="52189" y="37108"/>
                    <a:pt x="55517" y="39188"/>
                  </a:cubicBezTo>
                  <a:cubicBezTo>
                    <a:pt x="61355" y="42837"/>
                    <a:pt x="69383" y="41901"/>
                    <a:pt x="75112" y="45720"/>
                  </a:cubicBezTo>
                  <a:cubicBezTo>
                    <a:pt x="78378" y="47897"/>
                    <a:pt x="81323" y="50657"/>
                    <a:pt x="84909" y="52251"/>
                  </a:cubicBezTo>
                  <a:cubicBezTo>
                    <a:pt x="106169" y="61700"/>
                    <a:pt x="114657" y="59706"/>
                    <a:pt x="140426" y="62048"/>
                  </a:cubicBezTo>
                  <a:cubicBezTo>
                    <a:pt x="146957" y="64225"/>
                    <a:pt x="155151" y="63712"/>
                    <a:pt x="160020" y="68580"/>
                  </a:cubicBezTo>
                  <a:cubicBezTo>
                    <a:pt x="163373" y="71932"/>
                    <a:pt x="171581" y="80993"/>
                    <a:pt x="176349" y="81643"/>
                  </a:cubicBezTo>
                  <a:cubicBezTo>
                    <a:pt x="196870" y="84441"/>
                    <a:pt x="217714" y="83820"/>
                    <a:pt x="238397" y="84908"/>
                  </a:cubicBezTo>
                  <a:cubicBezTo>
                    <a:pt x="279287" y="95131"/>
                    <a:pt x="228421" y="82059"/>
                    <a:pt x="261257" y="91440"/>
                  </a:cubicBezTo>
                  <a:cubicBezTo>
                    <a:pt x="265573" y="92673"/>
                    <a:pt x="270021" y="93415"/>
                    <a:pt x="274320" y="94705"/>
                  </a:cubicBezTo>
                  <a:cubicBezTo>
                    <a:pt x="280914" y="96683"/>
                    <a:pt x="287123" y="100105"/>
                    <a:pt x="293914" y="101237"/>
                  </a:cubicBezTo>
                  <a:cubicBezTo>
                    <a:pt x="310358" y="103978"/>
                    <a:pt x="323359" y="105609"/>
                    <a:pt x="339634" y="111034"/>
                  </a:cubicBezTo>
                  <a:cubicBezTo>
                    <a:pt x="345312" y="112926"/>
                    <a:pt x="364398" y="119844"/>
                    <a:pt x="372292" y="120831"/>
                  </a:cubicBezTo>
                  <a:cubicBezTo>
                    <a:pt x="385299" y="122457"/>
                    <a:pt x="398417" y="123008"/>
                    <a:pt x="411480" y="124097"/>
                  </a:cubicBezTo>
                  <a:lnTo>
                    <a:pt x="431074" y="130628"/>
                  </a:lnTo>
                  <a:cubicBezTo>
                    <a:pt x="434340" y="131717"/>
                    <a:pt x="437429" y="133894"/>
                    <a:pt x="440872" y="133894"/>
                  </a:cubicBezTo>
                  <a:lnTo>
                    <a:pt x="447403" y="133894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1" name="Forma livre 370"/>
            <p:cNvSpPr/>
            <p:nvPr/>
          </p:nvSpPr>
          <p:spPr bwMode="auto">
            <a:xfrm>
              <a:off x="4594225" y="4970463"/>
              <a:ext cx="107950" cy="80962"/>
            </a:xfrm>
            <a:custGeom>
              <a:avLst/>
              <a:gdLst>
                <a:gd name="connsiteX0" fmla="*/ 49312 w 107200"/>
                <a:gd name="connsiteY0" fmla="*/ 6532 h 81681"/>
                <a:gd name="connsiteX1" fmla="*/ 32983 w 107200"/>
                <a:gd name="connsiteY1" fmla="*/ 19594 h 81681"/>
                <a:gd name="connsiteX2" fmla="*/ 23186 w 107200"/>
                <a:gd name="connsiteY2" fmla="*/ 22860 h 81681"/>
                <a:gd name="connsiteX3" fmla="*/ 6857 w 107200"/>
                <a:gd name="connsiteY3" fmla="*/ 32657 h 81681"/>
                <a:gd name="connsiteX4" fmla="*/ 326 w 107200"/>
                <a:gd name="connsiteY4" fmla="*/ 42454 h 81681"/>
                <a:gd name="connsiteX5" fmla="*/ 3592 w 107200"/>
                <a:gd name="connsiteY5" fmla="*/ 68580 h 81681"/>
                <a:gd name="connsiteX6" fmla="*/ 13389 w 107200"/>
                <a:gd name="connsiteY6" fmla="*/ 71846 h 81681"/>
                <a:gd name="connsiteX7" fmla="*/ 55843 w 107200"/>
                <a:gd name="connsiteY7" fmla="*/ 78377 h 81681"/>
                <a:gd name="connsiteX8" fmla="*/ 65640 w 107200"/>
                <a:gd name="connsiteY8" fmla="*/ 81643 h 81681"/>
                <a:gd name="connsiteX9" fmla="*/ 85235 w 107200"/>
                <a:gd name="connsiteY9" fmla="*/ 75112 h 81681"/>
                <a:gd name="connsiteX10" fmla="*/ 88500 w 107200"/>
                <a:gd name="connsiteY10" fmla="*/ 62049 h 81681"/>
                <a:gd name="connsiteX11" fmla="*/ 91766 w 107200"/>
                <a:gd name="connsiteY11" fmla="*/ 13063 h 81681"/>
                <a:gd name="connsiteX12" fmla="*/ 72172 w 107200"/>
                <a:gd name="connsiteY12" fmla="*/ 6532 h 81681"/>
                <a:gd name="connsiteX13" fmla="*/ 39515 w 107200"/>
                <a:gd name="connsiteY13" fmla="*/ 0 h 81681"/>
                <a:gd name="connsiteX14" fmla="*/ 49312 w 107200"/>
                <a:gd name="connsiteY14" fmla="*/ 6532 h 81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7200" h="81681">
                  <a:moveTo>
                    <a:pt x="49312" y="6532"/>
                  </a:moveTo>
                  <a:cubicBezTo>
                    <a:pt x="48223" y="9798"/>
                    <a:pt x="38894" y="15900"/>
                    <a:pt x="32983" y="19594"/>
                  </a:cubicBezTo>
                  <a:cubicBezTo>
                    <a:pt x="30064" y="21418"/>
                    <a:pt x="26138" y="21089"/>
                    <a:pt x="23186" y="22860"/>
                  </a:cubicBezTo>
                  <a:cubicBezTo>
                    <a:pt x="779" y="36306"/>
                    <a:pt x="34605" y="23411"/>
                    <a:pt x="6857" y="32657"/>
                  </a:cubicBezTo>
                  <a:cubicBezTo>
                    <a:pt x="4680" y="35923"/>
                    <a:pt x="681" y="38545"/>
                    <a:pt x="326" y="42454"/>
                  </a:cubicBezTo>
                  <a:cubicBezTo>
                    <a:pt x="-468" y="51194"/>
                    <a:pt x="28" y="60560"/>
                    <a:pt x="3592" y="68580"/>
                  </a:cubicBezTo>
                  <a:cubicBezTo>
                    <a:pt x="4990" y="71726"/>
                    <a:pt x="10049" y="71011"/>
                    <a:pt x="13389" y="71846"/>
                  </a:cubicBezTo>
                  <a:cubicBezTo>
                    <a:pt x="28353" y="75587"/>
                    <a:pt x="39974" y="76394"/>
                    <a:pt x="55843" y="78377"/>
                  </a:cubicBezTo>
                  <a:cubicBezTo>
                    <a:pt x="59109" y="79466"/>
                    <a:pt x="62219" y="82023"/>
                    <a:pt x="65640" y="81643"/>
                  </a:cubicBezTo>
                  <a:cubicBezTo>
                    <a:pt x="72483" y="80883"/>
                    <a:pt x="85235" y="75112"/>
                    <a:pt x="85235" y="75112"/>
                  </a:cubicBezTo>
                  <a:cubicBezTo>
                    <a:pt x="86323" y="70758"/>
                    <a:pt x="86493" y="66063"/>
                    <a:pt x="88500" y="62049"/>
                  </a:cubicBezTo>
                  <a:cubicBezTo>
                    <a:pt x="99078" y="40893"/>
                    <a:pt x="122880" y="79736"/>
                    <a:pt x="91766" y="13063"/>
                  </a:cubicBezTo>
                  <a:cubicBezTo>
                    <a:pt x="88855" y="6824"/>
                    <a:pt x="78923" y="7882"/>
                    <a:pt x="72172" y="6532"/>
                  </a:cubicBezTo>
                  <a:lnTo>
                    <a:pt x="39515" y="0"/>
                  </a:lnTo>
                  <a:cubicBezTo>
                    <a:pt x="22118" y="3480"/>
                    <a:pt x="50401" y="3266"/>
                    <a:pt x="49312" y="6532"/>
                  </a:cubicBezTo>
                  <a:close/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2" name="Forma livre 371"/>
            <p:cNvSpPr/>
            <p:nvPr/>
          </p:nvSpPr>
          <p:spPr bwMode="auto">
            <a:xfrm>
              <a:off x="3616325" y="4872038"/>
              <a:ext cx="427038" cy="379412"/>
            </a:xfrm>
            <a:custGeom>
              <a:avLst/>
              <a:gdLst>
                <a:gd name="connsiteX0" fmla="*/ 0 w 427808"/>
                <a:gd name="connsiteY0" fmla="*/ 0 h 378823"/>
                <a:gd name="connsiteX1" fmla="*/ 16328 w 427808"/>
                <a:gd name="connsiteY1" fmla="*/ 9797 h 378823"/>
                <a:gd name="connsiteX2" fmla="*/ 26125 w 427808"/>
                <a:gd name="connsiteY2" fmla="*/ 16328 h 378823"/>
                <a:gd name="connsiteX3" fmla="*/ 35923 w 427808"/>
                <a:gd name="connsiteY3" fmla="*/ 19594 h 378823"/>
                <a:gd name="connsiteX4" fmla="*/ 45720 w 427808"/>
                <a:gd name="connsiteY4" fmla="*/ 29391 h 378823"/>
                <a:gd name="connsiteX5" fmla="*/ 48985 w 427808"/>
                <a:gd name="connsiteY5" fmla="*/ 39188 h 378823"/>
                <a:gd name="connsiteX6" fmla="*/ 75111 w 427808"/>
                <a:gd name="connsiteY6" fmla="*/ 58783 h 378823"/>
                <a:gd name="connsiteX7" fmla="*/ 107768 w 427808"/>
                <a:gd name="connsiteY7" fmla="*/ 68580 h 378823"/>
                <a:gd name="connsiteX8" fmla="*/ 117565 w 427808"/>
                <a:gd name="connsiteY8" fmla="*/ 75111 h 378823"/>
                <a:gd name="connsiteX9" fmla="*/ 124097 w 427808"/>
                <a:gd name="connsiteY9" fmla="*/ 81643 h 378823"/>
                <a:gd name="connsiteX10" fmla="*/ 143691 w 427808"/>
                <a:gd name="connsiteY10" fmla="*/ 88174 h 378823"/>
                <a:gd name="connsiteX11" fmla="*/ 169817 w 427808"/>
                <a:gd name="connsiteY11" fmla="*/ 111034 h 378823"/>
                <a:gd name="connsiteX12" fmla="*/ 176348 w 427808"/>
                <a:gd name="connsiteY12" fmla="*/ 120831 h 378823"/>
                <a:gd name="connsiteX13" fmla="*/ 186145 w 427808"/>
                <a:gd name="connsiteY13" fmla="*/ 124097 h 378823"/>
                <a:gd name="connsiteX14" fmla="*/ 218803 w 427808"/>
                <a:gd name="connsiteY14" fmla="*/ 137160 h 378823"/>
                <a:gd name="connsiteX15" fmla="*/ 238397 w 427808"/>
                <a:gd name="connsiteY15" fmla="*/ 143691 h 378823"/>
                <a:gd name="connsiteX16" fmla="*/ 251460 w 427808"/>
                <a:gd name="connsiteY16" fmla="*/ 150223 h 378823"/>
                <a:gd name="connsiteX17" fmla="*/ 261257 w 427808"/>
                <a:gd name="connsiteY17" fmla="*/ 156754 h 378823"/>
                <a:gd name="connsiteX18" fmla="*/ 271054 w 427808"/>
                <a:gd name="connsiteY18" fmla="*/ 160020 h 378823"/>
                <a:gd name="connsiteX19" fmla="*/ 284117 w 427808"/>
                <a:gd name="connsiteY19" fmla="*/ 176348 h 378823"/>
                <a:gd name="connsiteX20" fmla="*/ 297180 w 427808"/>
                <a:gd name="connsiteY20" fmla="*/ 192677 h 378823"/>
                <a:gd name="connsiteX21" fmla="*/ 306977 w 427808"/>
                <a:gd name="connsiteY21" fmla="*/ 199208 h 378823"/>
                <a:gd name="connsiteX22" fmla="*/ 320040 w 427808"/>
                <a:gd name="connsiteY22" fmla="*/ 215537 h 378823"/>
                <a:gd name="connsiteX23" fmla="*/ 329837 w 427808"/>
                <a:gd name="connsiteY23" fmla="*/ 238397 h 378823"/>
                <a:gd name="connsiteX24" fmla="*/ 333103 w 427808"/>
                <a:gd name="connsiteY24" fmla="*/ 248194 h 378823"/>
                <a:gd name="connsiteX25" fmla="*/ 342900 w 427808"/>
                <a:gd name="connsiteY25" fmla="*/ 254725 h 378823"/>
                <a:gd name="connsiteX26" fmla="*/ 355963 w 427808"/>
                <a:gd name="connsiteY26" fmla="*/ 277585 h 378823"/>
                <a:gd name="connsiteX27" fmla="*/ 359228 w 427808"/>
                <a:gd name="connsiteY27" fmla="*/ 287383 h 378823"/>
                <a:gd name="connsiteX28" fmla="*/ 365760 w 427808"/>
                <a:gd name="connsiteY28" fmla="*/ 293914 h 378823"/>
                <a:gd name="connsiteX29" fmla="*/ 372291 w 427808"/>
                <a:gd name="connsiteY29" fmla="*/ 303711 h 378823"/>
                <a:gd name="connsiteX30" fmla="*/ 375557 w 427808"/>
                <a:gd name="connsiteY30" fmla="*/ 313508 h 378823"/>
                <a:gd name="connsiteX31" fmla="*/ 382088 w 427808"/>
                <a:gd name="connsiteY31" fmla="*/ 323305 h 378823"/>
                <a:gd name="connsiteX32" fmla="*/ 385354 w 427808"/>
                <a:gd name="connsiteY32" fmla="*/ 333103 h 378823"/>
                <a:gd name="connsiteX33" fmla="*/ 395151 w 427808"/>
                <a:gd name="connsiteY33" fmla="*/ 336368 h 378823"/>
                <a:gd name="connsiteX34" fmla="*/ 408214 w 427808"/>
                <a:gd name="connsiteY34" fmla="*/ 352697 h 378823"/>
                <a:gd name="connsiteX35" fmla="*/ 414745 w 427808"/>
                <a:gd name="connsiteY35" fmla="*/ 362494 h 378823"/>
                <a:gd name="connsiteX36" fmla="*/ 424543 w 427808"/>
                <a:gd name="connsiteY36" fmla="*/ 369025 h 378823"/>
                <a:gd name="connsiteX37" fmla="*/ 427808 w 427808"/>
                <a:gd name="connsiteY37" fmla="*/ 378823 h 378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27808" h="378823">
                  <a:moveTo>
                    <a:pt x="0" y="0"/>
                  </a:moveTo>
                  <a:cubicBezTo>
                    <a:pt x="5443" y="3266"/>
                    <a:pt x="10946" y="6433"/>
                    <a:pt x="16328" y="9797"/>
                  </a:cubicBezTo>
                  <a:cubicBezTo>
                    <a:pt x="19656" y="11877"/>
                    <a:pt x="22615" y="14573"/>
                    <a:pt x="26125" y="16328"/>
                  </a:cubicBezTo>
                  <a:cubicBezTo>
                    <a:pt x="29204" y="17868"/>
                    <a:pt x="32657" y="18505"/>
                    <a:pt x="35923" y="19594"/>
                  </a:cubicBezTo>
                  <a:cubicBezTo>
                    <a:pt x="39189" y="22860"/>
                    <a:pt x="43158" y="25548"/>
                    <a:pt x="45720" y="29391"/>
                  </a:cubicBezTo>
                  <a:cubicBezTo>
                    <a:pt x="47629" y="32255"/>
                    <a:pt x="47214" y="36236"/>
                    <a:pt x="48985" y="39188"/>
                  </a:cubicBezTo>
                  <a:cubicBezTo>
                    <a:pt x="52825" y="45589"/>
                    <a:pt x="73967" y="58497"/>
                    <a:pt x="75111" y="58783"/>
                  </a:cubicBezTo>
                  <a:cubicBezTo>
                    <a:pt x="82417" y="60609"/>
                    <a:pt x="102993" y="65397"/>
                    <a:pt x="107768" y="68580"/>
                  </a:cubicBezTo>
                  <a:cubicBezTo>
                    <a:pt x="111034" y="70757"/>
                    <a:pt x="114500" y="72659"/>
                    <a:pt x="117565" y="75111"/>
                  </a:cubicBezTo>
                  <a:cubicBezTo>
                    <a:pt x="119969" y="77035"/>
                    <a:pt x="121343" y="80266"/>
                    <a:pt x="124097" y="81643"/>
                  </a:cubicBezTo>
                  <a:cubicBezTo>
                    <a:pt x="130255" y="84722"/>
                    <a:pt x="137963" y="84355"/>
                    <a:pt x="143691" y="88174"/>
                  </a:cubicBezTo>
                  <a:cubicBezTo>
                    <a:pt x="154048" y="95079"/>
                    <a:pt x="162176" y="99571"/>
                    <a:pt x="169817" y="111034"/>
                  </a:cubicBezTo>
                  <a:cubicBezTo>
                    <a:pt x="171994" y="114300"/>
                    <a:pt x="173283" y="118379"/>
                    <a:pt x="176348" y="120831"/>
                  </a:cubicBezTo>
                  <a:cubicBezTo>
                    <a:pt x="179036" y="122981"/>
                    <a:pt x="182879" y="123008"/>
                    <a:pt x="186145" y="124097"/>
                  </a:cubicBezTo>
                  <a:cubicBezTo>
                    <a:pt x="200273" y="138223"/>
                    <a:pt x="186052" y="126243"/>
                    <a:pt x="218803" y="137160"/>
                  </a:cubicBezTo>
                  <a:cubicBezTo>
                    <a:pt x="225334" y="139337"/>
                    <a:pt x="232239" y="140612"/>
                    <a:pt x="238397" y="143691"/>
                  </a:cubicBezTo>
                  <a:cubicBezTo>
                    <a:pt x="242751" y="145868"/>
                    <a:pt x="247233" y="147808"/>
                    <a:pt x="251460" y="150223"/>
                  </a:cubicBezTo>
                  <a:cubicBezTo>
                    <a:pt x="254868" y="152170"/>
                    <a:pt x="257747" y="154999"/>
                    <a:pt x="261257" y="156754"/>
                  </a:cubicBezTo>
                  <a:cubicBezTo>
                    <a:pt x="264336" y="158293"/>
                    <a:pt x="267788" y="158931"/>
                    <a:pt x="271054" y="160020"/>
                  </a:cubicBezTo>
                  <a:cubicBezTo>
                    <a:pt x="277413" y="179094"/>
                    <a:pt x="269345" y="161576"/>
                    <a:pt x="284117" y="176348"/>
                  </a:cubicBezTo>
                  <a:cubicBezTo>
                    <a:pt x="301092" y="193323"/>
                    <a:pt x="281019" y="179748"/>
                    <a:pt x="297180" y="192677"/>
                  </a:cubicBezTo>
                  <a:cubicBezTo>
                    <a:pt x="300245" y="195129"/>
                    <a:pt x="303912" y="196756"/>
                    <a:pt x="306977" y="199208"/>
                  </a:cubicBezTo>
                  <a:cubicBezTo>
                    <a:pt x="313622" y="204524"/>
                    <a:pt x="315192" y="208266"/>
                    <a:pt x="320040" y="215537"/>
                  </a:cubicBezTo>
                  <a:cubicBezTo>
                    <a:pt x="326834" y="242720"/>
                    <a:pt x="318561" y="215848"/>
                    <a:pt x="329837" y="238397"/>
                  </a:cubicBezTo>
                  <a:cubicBezTo>
                    <a:pt x="331377" y="241476"/>
                    <a:pt x="330953" y="245506"/>
                    <a:pt x="333103" y="248194"/>
                  </a:cubicBezTo>
                  <a:cubicBezTo>
                    <a:pt x="335555" y="251259"/>
                    <a:pt x="339634" y="252548"/>
                    <a:pt x="342900" y="254725"/>
                  </a:cubicBezTo>
                  <a:cubicBezTo>
                    <a:pt x="349455" y="264559"/>
                    <a:pt x="350995" y="265992"/>
                    <a:pt x="355963" y="277585"/>
                  </a:cubicBezTo>
                  <a:cubicBezTo>
                    <a:pt x="357319" y="280749"/>
                    <a:pt x="357457" y="284431"/>
                    <a:pt x="359228" y="287383"/>
                  </a:cubicBezTo>
                  <a:cubicBezTo>
                    <a:pt x="360812" y="290023"/>
                    <a:pt x="363837" y="291510"/>
                    <a:pt x="365760" y="293914"/>
                  </a:cubicBezTo>
                  <a:cubicBezTo>
                    <a:pt x="368212" y="296979"/>
                    <a:pt x="370536" y="300201"/>
                    <a:pt x="372291" y="303711"/>
                  </a:cubicBezTo>
                  <a:cubicBezTo>
                    <a:pt x="373830" y="306790"/>
                    <a:pt x="374018" y="310429"/>
                    <a:pt x="375557" y="313508"/>
                  </a:cubicBezTo>
                  <a:cubicBezTo>
                    <a:pt x="377312" y="317018"/>
                    <a:pt x="380333" y="319795"/>
                    <a:pt x="382088" y="323305"/>
                  </a:cubicBezTo>
                  <a:cubicBezTo>
                    <a:pt x="383628" y="326384"/>
                    <a:pt x="382920" y="330669"/>
                    <a:pt x="385354" y="333103"/>
                  </a:cubicBezTo>
                  <a:cubicBezTo>
                    <a:pt x="387788" y="335537"/>
                    <a:pt x="391885" y="335280"/>
                    <a:pt x="395151" y="336368"/>
                  </a:cubicBezTo>
                  <a:cubicBezTo>
                    <a:pt x="415265" y="366536"/>
                    <a:pt x="389593" y="329419"/>
                    <a:pt x="408214" y="352697"/>
                  </a:cubicBezTo>
                  <a:cubicBezTo>
                    <a:pt x="410666" y="355762"/>
                    <a:pt x="411970" y="359719"/>
                    <a:pt x="414745" y="362494"/>
                  </a:cubicBezTo>
                  <a:cubicBezTo>
                    <a:pt x="417521" y="365269"/>
                    <a:pt x="421277" y="366848"/>
                    <a:pt x="424543" y="369025"/>
                  </a:cubicBezTo>
                  <a:lnTo>
                    <a:pt x="427808" y="378823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3" name="Forma livre 372"/>
            <p:cNvSpPr/>
            <p:nvPr/>
          </p:nvSpPr>
          <p:spPr bwMode="auto">
            <a:xfrm>
              <a:off x="3348038" y="4789488"/>
              <a:ext cx="1109662" cy="536575"/>
            </a:xfrm>
            <a:custGeom>
              <a:avLst/>
              <a:gdLst>
                <a:gd name="connsiteX0" fmla="*/ 0 w 1110343"/>
                <a:gd name="connsiteY0" fmla="*/ 536377 h 536377"/>
                <a:gd name="connsiteX1" fmla="*/ 16329 w 1110343"/>
                <a:gd name="connsiteY1" fmla="*/ 523314 h 536377"/>
                <a:gd name="connsiteX2" fmla="*/ 26126 w 1110343"/>
                <a:gd name="connsiteY2" fmla="*/ 516783 h 536377"/>
                <a:gd name="connsiteX3" fmla="*/ 68580 w 1110343"/>
                <a:gd name="connsiteY3" fmla="*/ 513517 h 536377"/>
                <a:gd name="connsiteX4" fmla="*/ 84909 w 1110343"/>
                <a:gd name="connsiteY4" fmla="*/ 503720 h 536377"/>
                <a:gd name="connsiteX5" fmla="*/ 107769 w 1110343"/>
                <a:gd name="connsiteY5" fmla="*/ 484126 h 536377"/>
                <a:gd name="connsiteX6" fmla="*/ 140426 w 1110343"/>
                <a:gd name="connsiteY6" fmla="*/ 474328 h 536377"/>
                <a:gd name="connsiteX7" fmla="*/ 169817 w 1110343"/>
                <a:gd name="connsiteY7" fmla="*/ 458000 h 536377"/>
                <a:gd name="connsiteX8" fmla="*/ 186146 w 1110343"/>
                <a:gd name="connsiteY8" fmla="*/ 448203 h 536377"/>
                <a:gd name="connsiteX9" fmla="*/ 202474 w 1110343"/>
                <a:gd name="connsiteY9" fmla="*/ 438406 h 536377"/>
                <a:gd name="connsiteX10" fmla="*/ 212272 w 1110343"/>
                <a:gd name="connsiteY10" fmla="*/ 418811 h 536377"/>
                <a:gd name="connsiteX11" fmla="*/ 215537 w 1110343"/>
                <a:gd name="connsiteY11" fmla="*/ 402483 h 536377"/>
                <a:gd name="connsiteX12" fmla="*/ 231866 w 1110343"/>
                <a:gd name="connsiteY12" fmla="*/ 389420 h 536377"/>
                <a:gd name="connsiteX13" fmla="*/ 257992 w 1110343"/>
                <a:gd name="connsiteY13" fmla="*/ 386154 h 536377"/>
                <a:gd name="connsiteX14" fmla="*/ 280852 w 1110343"/>
                <a:gd name="connsiteY14" fmla="*/ 366560 h 536377"/>
                <a:gd name="connsiteX15" fmla="*/ 287383 w 1110343"/>
                <a:gd name="connsiteY15" fmla="*/ 360028 h 536377"/>
                <a:gd name="connsiteX16" fmla="*/ 297180 w 1110343"/>
                <a:gd name="connsiteY16" fmla="*/ 356763 h 536377"/>
                <a:gd name="connsiteX17" fmla="*/ 313509 w 1110343"/>
                <a:gd name="connsiteY17" fmla="*/ 343700 h 536377"/>
                <a:gd name="connsiteX18" fmla="*/ 333103 w 1110343"/>
                <a:gd name="connsiteY18" fmla="*/ 320840 h 536377"/>
                <a:gd name="connsiteX19" fmla="*/ 355963 w 1110343"/>
                <a:gd name="connsiteY19" fmla="*/ 301246 h 536377"/>
                <a:gd name="connsiteX20" fmla="*/ 365760 w 1110343"/>
                <a:gd name="connsiteY20" fmla="*/ 297980 h 536377"/>
                <a:gd name="connsiteX21" fmla="*/ 369026 w 1110343"/>
                <a:gd name="connsiteY21" fmla="*/ 288183 h 536377"/>
                <a:gd name="connsiteX22" fmla="*/ 382089 w 1110343"/>
                <a:gd name="connsiteY22" fmla="*/ 284917 h 536377"/>
                <a:gd name="connsiteX23" fmla="*/ 391886 w 1110343"/>
                <a:gd name="connsiteY23" fmla="*/ 281651 h 536377"/>
                <a:gd name="connsiteX24" fmla="*/ 404949 w 1110343"/>
                <a:gd name="connsiteY24" fmla="*/ 278386 h 536377"/>
                <a:gd name="connsiteX25" fmla="*/ 424543 w 1110343"/>
                <a:gd name="connsiteY25" fmla="*/ 271854 h 536377"/>
                <a:gd name="connsiteX26" fmla="*/ 440872 w 1110343"/>
                <a:gd name="connsiteY26" fmla="*/ 258791 h 536377"/>
                <a:gd name="connsiteX27" fmla="*/ 460466 w 1110343"/>
                <a:gd name="connsiteY27" fmla="*/ 248994 h 536377"/>
                <a:gd name="connsiteX28" fmla="*/ 470263 w 1110343"/>
                <a:gd name="connsiteY28" fmla="*/ 239197 h 536377"/>
                <a:gd name="connsiteX29" fmla="*/ 489857 w 1110343"/>
                <a:gd name="connsiteY29" fmla="*/ 229400 h 536377"/>
                <a:gd name="connsiteX30" fmla="*/ 512717 w 1110343"/>
                <a:gd name="connsiteY30" fmla="*/ 219603 h 536377"/>
                <a:gd name="connsiteX31" fmla="*/ 519249 w 1110343"/>
                <a:gd name="connsiteY31" fmla="*/ 209806 h 536377"/>
                <a:gd name="connsiteX32" fmla="*/ 538843 w 1110343"/>
                <a:gd name="connsiteY32" fmla="*/ 177148 h 536377"/>
                <a:gd name="connsiteX33" fmla="*/ 548640 w 1110343"/>
                <a:gd name="connsiteY33" fmla="*/ 173883 h 536377"/>
                <a:gd name="connsiteX34" fmla="*/ 594360 w 1110343"/>
                <a:gd name="connsiteY34" fmla="*/ 167351 h 536377"/>
                <a:gd name="connsiteX35" fmla="*/ 604157 w 1110343"/>
                <a:gd name="connsiteY35" fmla="*/ 164086 h 536377"/>
                <a:gd name="connsiteX36" fmla="*/ 630283 w 1110343"/>
                <a:gd name="connsiteY36" fmla="*/ 157554 h 536377"/>
                <a:gd name="connsiteX37" fmla="*/ 643346 w 1110343"/>
                <a:gd name="connsiteY37" fmla="*/ 154288 h 536377"/>
                <a:gd name="connsiteX38" fmla="*/ 656409 w 1110343"/>
                <a:gd name="connsiteY38" fmla="*/ 151023 h 536377"/>
                <a:gd name="connsiteX39" fmla="*/ 676003 w 1110343"/>
                <a:gd name="connsiteY39" fmla="*/ 144491 h 536377"/>
                <a:gd name="connsiteX40" fmla="*/ 728254 w 1110343"/>
                <a:gd name="connsiteY40" fmla="*/ 137960 h 536377"/>
                <a:gd name="connsiteX41" fmla="*/ 738052 w 1110343"/>
                <a:gd name="connsiteY41" fmla="*/ 134694 h 536377"/>
                <a:gd name="connsiteX42" fmla="*/ 764177 w 1110343"/>
                <a:gd name="connsiteY42" fmla="*/ 128163 h 536377"/>
                <a:gd name="connsiteX43" fmla="*/ 773974 w 1110343"/>
                <a:gd name="connsiteY43" fmla="*/ 121631 h 536377"/>
                <a:gd name="connsiteX44" fmla="*/ 796834 w 1110343"/>
                <a:gd name="connsiteY44" fmla="*/ 108568 h 536377"/>
                <a:gd name="connsiteX45" fmla="*/ 803366 w 1110343"/>
                <a:gd name="connsiteY45" fmla="*/ 102037 h 536377"/>
                <a:gd name="connsiteX46" fmla="*/ 829492 w 1110343"/>
                <a:gd name="connsiteY46" fmla="*/ 98771 h 536377"/>
                <a:gd name="connsiteX47" fmla="*/ 839289 w 1110343"/>
                <a:gd name="connsiteY47" fmla="*/ 92240 h 536377"/>
                <a:gd name="connsiteX48" fmla="*/ 845820 w 1110343"/>
                <a:gd name="connsiteY48" fmla="*/ 85708 h 536377"/>
                <a:gd name="connsiteX49" fmla="*/ 855617 w 1110343"/>
                <a:gd name="connsiteY49" fmla="*/ 82443 h 536377"/>
                <a:gd name="connsiteX50" fmla="*/ 871946 w 1110343"/>
                <a:gd name="connsiteY50" fmla="*/ 72646 h 536377"/>
                <a:gd name="connsiteX51" fmla="*/ 885009 w 1110343"/>
                <a:gd name="connsiteY51" fmla="*/ 59583 h 536377"/>
                <a:gd name="connsiteX52" fmla="*/ 904603 w 1110343"/>
                <a:gd name="connsiteY52" fmla="*/ 46520 h 536377"/>
                <a:gd name="connsiteX53" fmla="*/ 914400 w 1110343"/>
                <a:gd name="connsiteY53" fmla="*/ 39988 h 536377"/>
                <a:gd name="connsiteX54" fmla="*/ 930729 w 1110343"/>
                <a:gd name="connsiteY54" fmla="*/ 26926 h 536377"/>
                <a:gd name="connsiteX55" fmla="*/ 937260 w 1110343"/>
                <a:gd name="connsiteY55" fmla="*/ 20394 h 536377"/>
                <a:gd name="connsiteX56" fmla="*/ 953589 w 1110343"/>
                <a:gd name="connsiteY56" fmla="*/ 17128 h 536377"/>
                <a:gd name="connsiteX57" fmla="*/ 963386 w 1110343"/>
                <a:gd name="connsiteY57" fmla="*/ 13863 h 536377"/>
                <a:gd name="connsiteX58" fmla="*/ 992777 w 1110343"/>
                <a:gd name="connsiteY58" fmla="*/ 10597 h 536377"/>
                <a:gd name="connsiteX59" fmla="*/ 1031966 w 1110343"/>
                <a:gd name="connsiteY59" fmla="*/ 4066 h 536377"/>
                <a:gd name="connsiteX60" fmla="*/ 1110343 w 1110343"/>
                <a:gd name="connsiteY60" fmla="*/ 800 h 536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10343" h="536377">
                  <a:moveTo>
                    <a:pt x="0" y="536377"/>
                  </a:moveTo>
                  <a:cubicBezTo>
                    <a:pt x="5443" y="532023"/>
                    <a:pt x="10753" y="527496"/>
                    <a:pt x="16329" y="523314"/>
                  </a:cubicBezTo>
                  <a:cubicBezTo>
                    <a:pt x="19469" y="520959"/>
                    <a:pt x="22268" y="517506"/>
                    <a:pt x="26126" y="516783"/>
                  </a:cubicBezTo>
                  <a:cubicBezTo>
                    <a:pt x="40076" y="514167"/>
                    <a:pt x="54429" y="514606"/>
                    <a:pt x="68580" y="513517"/>
                  </a:cubicBezTo>
                  <a:cubicBezTo>
                    <a:pt x="92722" y="489379"/>
                    <a:pt x="55224" y="524924"/>
                    <a:pt x="84909" y="503720"/>
                  </a:cubicBezTo>
                  <a:cubicBezTo>
                    <a:pt x="97078" y="495028"/>
                    <a:pt x="95187" y="489518"/>
                    <a:pt x="107769" y="484126"/>
                  </a:cubicBezTo>
                  <a:cubicBezTo>
                    <a:pt x="120549" y="478649"/>
                    <a:pt x="127253" y="483110"/>
                    <a:pt x="140426" y="474328"/>
                  </a:cubicBezTo>
                  <a:cubicBezTo>
                    <a:pt x="162884" y="459357"/>
                    <a:pt x="152573" y="463748"/>
                    <a:pt x="169817" y="458000"/>
                  </a:cubicBezTo>
                  <a:cubicBezTo>
                    <a:pt x="186370" y="441447"/>
                    <a:pt x="164946" y="460923"/>
                    <a:pt x="186146" y="448203"/>
                  </a:cubicBezTo>
                  <a:cubicBezTo>
                    <a:pt x="208559" y="434755"/>
                    <a:pt x="174721" y="447655"/>
                    <a:pt x="202474" y="438406"/>
                  </a:cubicBezTo>
                  <a:cubicBezTo>
                    <a:pt x="208859" y="428829"/>
                    <a:pt x="209568" y="429626"/>
                    <a:pt x="212272" y="418811"/>
                  </a:cubicBezTo>
                  <a:cubicBezTo>
                    <a:pt x="213618" y="413426"/>
                    <a:pt x="213351" y="407585"/>
                    <a:pt x="215537" y="402483"/>
                  </a:cubicBezTo>
                  <a:cubicBezTo>
                    <a:pt x="216968" y="399143"/>
                    <a:pt x="229546" y="390053"/>
                    <a:pt x="231866" y="389420"/>
                  </a:cubicBezTo>
                  <a:cubicBezTo>
                    <a:pt x="240333" y="387111"/>
                    <a:pt x="249283" y="387243"/>
                    <a:pt x="257992" y="386154"/>
                  </a:cubicBezTo>
                  <a:cubicBezTo>
                    <a:pt x="272911" y="376208"/>
                    <a:pt x="265016" y="382397"/>
                    <a:pt x="280852" y="366560"/>
                  </a:cubicBezTo>
                  <a:cubicBezTo>
                    <a:pt x="283029" y="364383"/>
                    <a:pt x="284462" y="361001"/>
                    <a:pt x="287383" y="360028"/>
                  </a:cubicBezTo>
                  <a:lnTo>
                    <a:pt x="297180" y="356763"/>
                  </a:lnTo>
                  <a:cubicBezTo>
                    <a:pt x="313097" y="332889"/>
                    <a:pt x="293432" y="358041"/>
                    <a:pt x="313509" y="343700"/>
                  </a:cubicBezTo>
                  <a:cubicBezTo>
                    <a:pt x="330846" y="331316"/>
                    <a:pt x="322201" y="333559"/>
                    <a:pt x="333103" y="320840"/>
                  </a:cubicBezTo>
                  <a:cubicBezTo>
                    <a:pt x="339130" y="313808"/>
                    <a:pt x="347295" y="305580"/>
                    <a:pt x="355963" y="301246"/>
                  </a:cubicBezTo>
                  <a:cubicBezTo>
                    <a:pt x="359042" y="299707"/>
                    <a:pt x="362494" y="299069"/>
                    <a:pt x="365760" y="297980"/>
                  </a:cubicBezTo>
                  <a:cubicBezTo>
                    <a:pt x="366849" y="294714"/>
                    <a:pt x="366338" y="290333"/>
                    <a:pt x="369026" y="288183"/>
                  </a:cubicBezTo>
                  <a:cubicBezTo>
                    <a:pt x="372531" y="285379"/>
                    <a:pt x="377773" y="286150"/>
                    <a:pt x="382089" y="284917"/>
                  </a:cubicBezTo>
                  <a:cubicBezTo>
                    <a:pt x="385399" y="283971"/>
                    <a:pt x="388576" y="282597"/>
                    <a:pt x="391886" y="281651"/>
                  </a:cubicBezTo>
                  <a:cubicBezTo>
                    <a:pt x="396202" y="280418"/>
                    <a:pt x="400650" y="279676"/>
                    <a:pt x="404949" y="278386"/>
                  </a:cubicBezTo>
                  <a:cubicBezTo>
                    <a:pt x="411543" y="276408"/>
                    <a:pt x="424543" y="271854"/>
                    <a:pt x="424543" y="271854"/>
                  </a:cubicBezTo>
                  <a:cubicBezTo>
                    <a:pt x="429986" y="267500"/>
                    <a:pt x="434961" y="262485"/>
                    <a:pt x="440872" y="258791"/>
                  </a:cubicBezTo>
                  <a:cubicBezTo>
                    <a:pt x="464440" y="244062"/>
                    <a:pt x="436349" y="269092"/>
                    <a:pt x="460466" y="248994"/>
                  </a:cubicBezTo>
                  <a:cubicBezTo>
                    <a:pt x="464014" y="246037"/>
                    <a:pt x="466715" y="242154"/>
                    <a:pt x="470263" y="239197"/>
                  </a:cubicBezTo>
                  <a:cubicBezTo>
                    <a:pt x="481337" y="229969"/>
                    <a:pt x="477729" y="234598"/>
                    <a:pt x="489857" y="229400"/>
                  </a:cubicBezTo>
                  <a:cubicBezTo>
                    <a:pt x="518092" y="217298"/>
                    <a:pt x="489751" y="227257"/>
                    <a:pt x="512717" y="219603"/>
                  </a:cubicBezTo>
                  <a:cubicBezTo>
                    <a:pt x="514894" y="216337"/>
                    <a:pt x="517655" y="213393"/>
                    <a:pt x="519249" y="209806"/>
                  </a:cubicBezTo>
                  <a:cubicBezTo>
                    <a:pt x="524072" y="198954"/>
                    <a:pt x="524181" y="182034"/>
                    <a:pt x="538843" y="177148"/>
                  </a:cubicBezTo>
                  <a:cubicBezTo>
                    <a:pt x="542109" y="176060"/>
                    <a:pt x="545245" y="174449"/>
                    <a:pt x="548640" y="173883"/>
                  </a:cubicBezTo>
                  <a:cubicBezTo>
                    <a:pt x="579132" y="168801"/>
                    <a:pt x="570853" y="173228"/>
                    <a:pt x="594360" y="167351"/>
                  </a:cubicBezTo>
                  <a:cubicBezTo>
                    <a:pt x="597699" y="166516"/>
                    <a:pt x="600836" y="164992"/>
                    <a:pt x="604157" y="164086"/>
                  </a:cubicBezTo>
                  <a:cubicBezTo>
                    <a:pt x="612817" y="161724"/>
                    <a:pt x="621574" y="159731"/>
                    <a:pt x="630283" y="157554"/>
                  </a:cubicBezTo>
                  <a:lnTo>
                    <a:pt x="643346" y="154288"/>
                  </a:lnTo>
                  <a:cubicBezTo>
                    <a:pt x="647700" y="153200"/>
                    <a:pt x="652151" y="152442"/>
                    <a:pt x="656409" y="151023"/>
                  </a:cubicBezTo>
                  <a:cubicBezTo>
                    <a:pt x="662940" y="148846"/>
                    <a:pt x="669152" y="145176"/>
                    <a:pt x="676003" y="144491"/>
                  </a:cubicBezTo>
                  <a:cubicBezTo>
                    <a:pt x="692437" y="142848"/>
                    <a:pt x="711676" y="141644"/>
                    <a:pt x="728254" y="137960"/>
                  </a:cubicBezTo>
                  <a:cubicBezTo>
                    <a:pt x="731615" y="137213"/>
                    <a:pt x="734712" y="135529"/>
                    <a:pt x="738052" y="134694"/>
                  </a:cubicBezTo>
                  <a:lnTo>
                    <a:pt x="764177" y="128163"/>
                  </a:lnTo>
                  <a:cubicBezTo>
                    <a:pt x="767443" y="125986"/>
                    <a:pt x="770566" y="123578"/>
                    <a:pt x="773974" y="121631"/>
                  </a:cubicBezTo>
                  <a:cubicBezTo>
                    <a:pt x="785717" y="114921"/>
                    <a:pt x="786881" y="116530"/>
                    <a:pt x="796834" y="108568"/>
                  </a:cubicBezTo>
                  <a:cubicBezTo>
                    <a:pt x="799238" y="106645"/>
                    <a:pt x="800417" y="102922"/>
                    <a:pt x="803366" y="102037"/>
                  </a:cubicBezTo>
                  <a:cubicBezTo>
                    <a:pt x="811772" y="99515"/>
                    <a:pt x="820783" y="99860"/>
                    <a:pt x="829492" y="98771"/>
                  </a:cubicBezTo>
                  <a:cubicBezTo>
                    <a:pt x="832758" y="96594"/>
                    <a:pt x="836224" y="94692"/>
                    <a:pt x="839289" y="92240"/>
                  </a:cubicBezTo>
                  <a:cubicBezTo>
                    <a:pt x="841693" y="90317"/>
                    <a:pt x="843180" y="87292"/>
                    <a:pt x="845820" y="85708"/>
                  </a:cubicBezTo>
                  <a:cubicBezTo>
                    <a:pt x="848772" y="83937"/>
                    <a:pt x="852351" y="83531"/>
                    <a:pt x="855617" y="82443"/>
                  </a:cubicBezTo>
                  <a:cubicBezTo>
                    <a:pt x="879753" y="58307"/>
                    <a:pt x="842270" y="93843"/>
                    <a:pt x="871946" y="72646"/>
                  </a:cubicBezTo>
                  <a:cubicBezTo>
                    <a:pt x="876957" y="69067"/>
                    <a:pt x="879885" y="62999"/>
                    <a:pt x="885009" y="59583"/>
                  </a:cubicBezTo>
                  <a:lnTo>
                    <a:pt x="904603" y="46520"/>
                  </a:lnTo>
                  <a:cubicBezTo>
                    <a:pt x="907869" y="44343"/>
                    <a:pt x="911624" y="42763"/>
                    <a:pt x="914400" y="39988"/>
                  </a:cubicBezTo>
                  <a:cubicBezTo>
                    <a:pt x="930181" y="24210"/>
                    <a:pt x="910119" y="43415"/>
                    <a:pt x="930729" y="26926"/>
                  </a:cubicBezTo>
                  <a:cubicBezTo>
                    <a:pt x="933133" y="25003"/>
                    <a:pt x="934430" y="21607"/>
                    <a:pt x="937260" y="20394"/>
                  </a:cubicBezTo>
                  <a:cubicBezTo>
                    <a:pt x="942362" y="18207"/>
                    <a:pt x="948204" y="18474"/>
                    <a:pt x="953589" y="17128"/>
                  </a:cubicBezTo>
                  <a:cubicBezTo>
                    <a:pt x="956928" y="16293"/>
                    <a:pt x="959991" y="14429"/>
                    <a:pt x="963386" y="13863"/>
                  </a:cubicBezTo>
                  <a:cubicBezTo>
                    <a:pt x="973109" y="12243"/>
                    <a:pt x="982980" y="11686"/>
                    <a:pt x="992777" y="10597"/>
                  </a:cubicBezTo>
                  <a:cubicBezTo>
                    <a:pt x="1013200" y="3789"/>
                    <a:pt x="995505" y="8927"/>
                    <a:pt x="1031966" y="4066"/>
                  </a:cubicBezTo>
                  <a:cubicBezTo>
                    <a:pt x="1080627" y="-2422"/>
                    <a:pt x="1016119" y="800"/>
                    <a:pt x="1110343" y="80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4" name="Forma livre 373"/>
            <p:cNvSpPr/>
            <p:nvPr/>
          </p:nvSpPr>
          <p:spPr bwMode="auto">
            <a:xfrm>
              <a:off x="4083050" y="4930775"/>
              <a:ext cx="9525" cy="52388"/>
            </a:xfrm>
            <a:custGeom>
              <a:avLst/>
              <a:gdLst>
                <a:gd name="connsiteX0" fmla="*/ 0 w 9797"/>
                <a:gd name="connsiteY0" fmla="*/ 52251 h 52251"/>
                <a:gd name="connsiteX1" fmla="*/ 3266 w 9797"/>
                <a:gd name="connsiteY1" fmla="*/ 35922 h 52251"/>
                <a:gd name="connsiteX2" fmla="*/ 9797 w 9797"/>
                <a:gd name="connsiteY2" fmla="*/ 16328 h 52251"/>
                <a:gd name="connsiteX3" fmla="*/ 6531 w 9797"/>
                <a:gd name="connsiteY3" fmla="*/ 0 h 522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97" h="52251">
                  <a:moveTo>
                    <a:pt x="0" y="52251"/>
                  </a:moveTo>
                  <a:cubicBezTo>
                    <a:pt x="1089" y="46808"/>
                    <a:pt x="1806" y="41277"/>
                    <a:pt x="3266" y="35922"/>
                  </a:cubicBezTo>
                  <a:cubicBezTo>
                    <a:pt x="5077" y="29280"/>
                    <a:pt x="9797" y="16328"/>
                    <a:pt x="9797" y="16328"/>
                  </a:cubicBezTo>
                  <a:cubicBezTo>
                    <a:pt x="5843" y="4466"/>
                    <a:pt x="6531" y="9973"/>
                    <a:pt x="6531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5" name="Forma livre 374"/>
            <p:cNvSpPr/>
            <p:nvPr/>
          </p:nvSpPr>
          <p:spPr bwMode="auto">
            <a:xfrm>
              <a:off x="3536950" y="5237163"/>
              <a:ext cx="601663" cy="85725"/>
            </a:xfrm>
            <a:custGeom>
              <a:avLst/>
              <a:gdLst>
                <a:gd name="connsiteX0" fmla="*/ 0 w 600891"/>
                <a:gd name="connsiteY0" fmla="*/ 0 h 84908"/>
                <a:gd name="connsiteX1" fmla="*/ 16328 w 600891"/>
                <a:gd name="connsiteY1" fmla="*/ 16328 h 84908"/>
                <a:gd name="connsiteX2" fmla="*/ 39188 w 600891"/>
                <a:gd name="connsiteY2" fmla="*/ 22860 h 84908"/>
                <a:gd name="connsiteX3" fmla="*/ 101237 w 600891"/>
                <a:gd name="connsiteY3" fmla="*/ 26125 h 84908"/>
                <a:gd name="connsiteX4" fmla="*/ 124097 w 600891"/>
                <a:gd name="connsiteY4" fmla="*/ 42454 h 84908"/>
                <a:gd name="connsiteX5" fmla="*/ 143691 w 600891"/>
                <a:gd name="connsiteY5" fmla="*/ 52251 h 84908"/>
                <a:gd name="connsiteX6" fmla="*/ 169817 w 600891"/>
                <a:gd name="connsiteY6" fmla="*/ 65314 h 84908"/>
                <a:gd name="connsiteX7" fmla="*/ 189411 w 600891"/>
                <a:gd name="connsiteY7" fmla="*/ 71845 h 84908"/>
                <a:gd name="connsiteX8" fmla="*/ 218802 w 600891"/>
                <a:gd name="connsiteY8" fmla="*/ 75111 h 84908"/>
                <a:gd name="connsiteX9" fmla="*/ 254725 w 600891"/>
                <a:gd name="connsiteY9" fmla="*/ 84908 h 84908"/>
                <a:gd name="connsiteX10" fmla="*/ 264522 w 600891"/>
                <a:gd name="connsiteY10" fmla="*/ 81643 h 84908"/>
                <a:gd name="connsiteX11" fmla="*/ 271054 w 600891"/>
                <a:gd name="connsiteY11" fmla="*/ 71845 h 84908"/>
                <a:gd name="connsiteX12" fmla="*/ 303711 w 600891"/>
                <a:gd name="connsiteY12" fmla="*/ 75111 h 84908"/>
                <a:gd name="connsiteX13" fmla="*/ 333102 w 600891"/>
                <a:gd name="connsiteY13" fmla="*/ 71845 h 84908"/>
                <a:gd name="connsiteX14" fmla="*/ 342900 w 600891"/>
                <a:gd name="connsiteY14" fmla="*/ 68580 h 84908"/>
                <a:gd name="connsiteX15" fmla="*/ 359228 w 600891"/>
                <a:gd name="connsiteY15" fmla="*/ 65314 h 84908"/>
                <a:gd name="connsiteX16" fmla="*/ 362494 w 600891"/>
                <a:gd name="connsiteY16" fmla="*/ 55517 h 84908"/>
                <a:gd name="connsiteX17" fmla="*/ 382088 w 600891"/>
                <a:gd name="connsiteY17" fmla="*/ 48985 h 84908"/>
                <a:gd name="connsiteX18" fmla="*/ 391885 w 600891"/>
                <a:gd name="connsiteY18" fmla="*/ 45720 h 84908"/>
                <a:gd name="connsiteX19" fmla="*/ 414745 w 600891"/>
                <a:gd name="connsiteY19" fmla="*/ 35923 h 84908"/>
                <a:gd name="connsiteX20" fmla="*/ 493122 w 600891"/>
                <a:gd name="connsiteY20" fmla="*/ 32657 h 84908"/>
                <a:gd name="connsiteX21" fmla="*/ 512717 w 600891"/>
                <a:gd name="connsiteY21" fmla="*/ 19594 h 84908"/>
                <a:gd name="connsiteX22" fmla="*/ 522514 w 600891"/>
                <a:gd name="connsiteY22" fmla="*/ 9797 h 84908"/>
                <a:gd name="connsiteX23" fmla="*/ 535577 w 600891"/>
                <a:gd name="connsiteY23" fmla="*/ 29391 h 84908"/>
                <a:gd name="connsiteX24" fmla="*/ 538842 w 600891"/>
                <a:gd name="connsiteY24" fmla="*/ 39188 h 84908"/>
                <a:gd name="connsiteX25" fmla="*/ 548640 w 600891"/>
                <a:gd name="connsiteY25" fmla="*/ 42454 h 84908"/>
                <a:gd name="connsiteX26" fmla="*/ 571500 w 600891"/>
                <a:gd name="connsiteY26" fmla="*/ 52251 h 84908"/>
                <a:gd name="connsiteX27" fmla="*/ 578031 w 600891"/>
                <a:gd name="connsiteY27" fmla="*/ 58783 h 84908"/>
                <a:gd name="connsiteX28" fmla="*/ 597625 w 600891"/>
                <a:gd name="connsiteY28" fmla="*/ 71845 h 84908"/>
                <a:gd name="connsiteX29" fmla="*/ 600891 w 600891"/>
                <a:gd name="connsiteY29" fmla="*/ 81643 h 84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600891" h="84908">
                  <a:moveTo>
                    <a:pt x="0" y="0"/>
                  </a:moveTo>
                  <a:cubicBezTo>
                    <a:pt x="5443" y="5443"/>
                    <a:pt x="10170" y="11710"/>
                    <a:pt x="16328" y="16328"/>
                  </a:cubicBezTo>
                  <a:cubicBezTo>
                    <a:pt x="18458" y="17925"/>
                    <a:pt x="38335" y="22786"/>
                    <a:pt x="39188" y="22860"/>
                  </a:cubicBezTo>
                  <a:cubicBezTo>
                    <a:pt x="59822" y="24654"/>
                    <a:pt x="80554" y="25037"/>
                    <a:pt x="101237" y="26125"/>
                  </a:cubicBezTo>
                  <a:cubicBezTo>
                    <a:pt x="125542" y="34227"/>
                    <a:pt x="93098" y="21789"/>
                    <a:pt x="124097" y="42454"/>
                  </a:cubicBezTo>
                  <a:cubicBezTo>
                    <a:pt x="136758" y="50894"/>
                    <a:pt x="130171" y="47744"/>
                    <a:pt x="143691" y="52251"/>
                  </a:cubicBezTo>
                  <a:cubicBezTo>
                    <a:pt x="155090" y="63652"/>
                    <a:pt x="147300" y="57809"/>
                    <a:pt x="169817" y="65314"/>
                  </a:cubicBezTo>
                  <a:cubicBezTo>
                    <a:pt x="169822" y="65316"/>
                    <a:pt x="189405" y="71844"/>
                    <a:pt x="189411" y="71845"/>
                  </a:cubicBezTo>
                  <a:lnTo>
                    <a:pt x="218802" y="75111"/>
                  </a:lnTo>
                  <a:cubicBezTo>
                    <a:pt x="248267" y="82478"/>
                    <a:pt x="236412" y="78805"/>
                    <a:pt x="254725" y="84908"/>
                  </a:cubicBezTo>
                  <a:cubicBezTo>
                    <a:pt x="257991" y="83820"/>
                    <a:pt x="261834" y="83793"/>
                    <a:pt x="264522" y="81643"/>
                  </a:cubicBezTo>
                  <a:cubicBezTo>
                    <a:pt x="267587" y="79191"/>
                    <a:pt x="267182" y="72490"/>
                    <a:pt x="271054" y="71845"/>
                  </a:cubicBezTo>
                  <a:cubicBezTo>
                    <a:pt x="281845" y="70046"/>
                    <a:pt x="292825" y="74022"/>
                    <a:pt x="303711" y="75111"/>
                  </a:cubicBezTo>
                  <a:cubicBezTo>
                    <a:pt x="313508" y="74022"/>
                    <a:pt x="323379" y="73465"/>
                    <a:pt x="333102" y="71845"/>
                  </a:cubicBezTo>
                  <a:cubicBezTo>
                    <a:pt x="336498" y="71279"/>
                    <a:pt x="339560" y="69415"/>
                    <a:pt x="342900" y="68580"/>
                  </a:cubicBezTo>
                  <a:cubicBezTo>
                    <a:pt x="348285" y="67234"/>
                    <a:pt x="353785" y="66403"/>
                    <a:pt x="359228" y="65314"/>
                  </a:cubicBezTo>
                  <a:cubicBezTo>
                    <a:pt x="360317" y="62048"/>
                    <a:pt x="359693" y="57518"/>
                    <a:pt x="362494" y="55517"/>
                  </a:cubicBezTo>
                  <a:cubicBezTo>
                    <a:pt x="368096" y="51515"/>
                    <a:pt x="375557" y="51162"/>
                    <a:pt x="382088" y="48985"/>
                  </a:cubicBezTo>
                  <a:cubicBezTo>
                    <a:pt x="385354" y="47896"/>
                    <a:pt x="388806" y="47260"/>
                    <a:pt x="391885" y="45720"/>
                  </a:cubicBezTo>
                  <a:cubicBezTo>
                    <a:pt x="395621" y="43852"/>
                    <a:pt x="409101" y="36341"/>
                    <a:pt x="414745" y="35923"/>
                  </a:cubicBezTo>
                  <a:cubicBezTo>
                    <a:pt x="440822" y="33991"/>
                    <a:pt x="466996" y="33746"/>
                    <a:pt x="493122" y="32657"/>
                  </a:cubicBezTo>
                  <a:cubicBezTo>
                    <a:pt x="510600" y="15179"/>
                    <a:pt x="485037" y="39365"/>
                    <a:pt x="512717" y="19594"/>
                  </a:cubicBezTo>
                  <a:cubicBezTo>
                    <a:pt x="516475" y="16910"/>
                    <a:pt x="519248" y="13063"/>
                    <a:pt x="522514" y="9797"/>
                  </a:cubicBezTo>
                  <a:cubicBezTo>
                    <a:pt x="530281" y="33095"/>
                    <a:pt x="519267" y="4925"/>
                    <a:pt x="535577" y="29391"/>
                  </a:cubicBezTo>
                  <a:cubicBezTo>
                    <a:pt x="537486" y="32255"/>
                    <a:pt x="536408" y="36754"/>
                    <a:pt x="538842" y="39188"/>
                  </a:cubicBezTo>
                  <a:cubicBezTo>
                    <a:pt x="541276" y="41622"/>
                    <a:pt x="545561" y="40914"/>
                    <a:pt x="548640" y="42454"/>
                  </a:cubicBezTo>
                  <a:cubicBezTo>
                    <a:pt x="571194" y="53730"/>
                    <a:pt x="544312" y="45453"/>
                    <a:pt x="571500" y="52251"/>
                  </a:cubicBezTo>
                  <a:cubicBezTo>
                    <a:pt x="573677" y="54428"/>
                    <a:pt x="575568" y="56936"/>
                    <a:pt x="578031" y="58783"/>
                  </a:cubicBezTo>
                  <a:cubicBezTo>
                    <a:pt x="584311" y="63493"/>
                    <a:pt x="597625" y="71845"/>
                    <a:pt x="597625" y="71845"/>
                  </a:cubicBezTo>
                  <a:lnTo>
                    <a:pt x="600891" y="81643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6" name="Forma livre 375"/>
            <p:cNvSpPr/>
            <p:nvPr/>
          </p:nvSpPr>
          <p:spPr bwMode="auto">
            <a:xfrm>
              <a:off x="3903663" y="5295900"/>
              <a:ext cx="436562" cy="46038"/>
            </a:xfrm>
            <a:custGeom>
              <a:avLst/>
              <a:gdLst>
                <a:gd name="connsiteX0" fmla="*/ 0 w 437605"/>
                <a:gd name="connsiteY0" fmla="*/ 0 h 45720"/>
                <a:gd name="connsiteX1" fmla="*/ 32657 w 437605"/>
                <a:gd name="connsiteY1" fmla="*/ 3265 h 45720"/>
                <a:gd name="connsiteX2" fmla="*/ 52251 w 437605"/>
                <a:gd name="connsiteY2" fmla="*/ 16328 h 45720"/>
                <a:gd name="connsiteX3" fmla="*/ 62048 w 437605"/>
                <a:gd name="connsiteY3" fmla="*/ 19594 h 45720"/>
                <a:gd name="connsiteX4" fmla="*/ 71845 w 437605"/>
                <a:gd name="connsiteY4" fmla="*/ 26125 h 45720"/>
                <a:gd name="connsiteX5" fmla="*/ 225334 w 437605"/>
                <a:gd name="connsiteY5" fmla="*/ 22860 h 45720"/>
                <a:gd name="connsiteX6" fmla="*/ 244928 w 437605"/>
                <a:gd name="connsiteY6" fmla="*/ 16328 h 45720"/>
                <a:gd name="connsiteX7" fmla="*/ 274320 w 437605"/>
                <a:gd name="connsiteY7" fmla="*/ 19594 h 45720"/>
                <a:gd name="connsiteX8" fmla="*/ 284117 w 437605"/>
                <a:gd name="connsiteY8" fmla="*/ 22860 h 45720"/>
                <a:gd name="connsiteX9" fmla="*/ 297180 w 437605"/>
                <a:gd name="connsiteY9" fmla="*/ 39188 h 45720"/>
                <a:gd name="connsiteX10" fmla="*/ 316774 w 437605"/>
                <a:gd name="connsiteY10" fmla="*/ 45720 h 45720"/>
                <a:gd name="connsiteX11" fmla="*/ 359228 w 437605"/>
                <a:gd name="connsiteY11" fmla="*/ 42454 h 45720"/>
                <a:gd name="connsiteX12" fmla="*/ 378822 w 437605"/>
                <a:gd name="connsiteY12" fmla="*/ 35922 h 45720"/>
                <a:gd name="connsiteX13" fmla="*/ 421277 w 437605"/>
                <a:gd name="connsiteY13" fmla="*/ 35922 h 45720"/>
                <a:gd name="connsiteX14" fmla="*/ 437605 w 437605"/>
                <a:gd name="connsiteY14" fmla="*/ 26125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37605" h="45720">
                  <a:moveTo>
                    <a:pt x="0" y="0"/>
                  </a:moveTo>
                  <a:cubicBezTo>
                    <a:pt x="10886" y="1088"/>
                    <a:pt x="21844" y="1602"/>
                    <a:pt x="32657" y="3265"/>
                  </a:cubicBezTo>
                  <a:cubicBezTo>
                    <a:pt x="47797" y="5594"/>
                    <a:pt x="38729" y="7313"/>
                    <a:pt x="52251" y="16328"/>
                  </a:cubicBezTo>
                  <a:cubicBezTo>
                    <a:pt x="55115" y="18238"/>
                    <a:pt x="58969" y="18055"/>
                    <a:pt x="62048" y="19594"/>
                  </a:cubicBezTo>
                  <a:cubicBezTo>
                    <a:pt x="65558" y="21349"/>
                    <a:pt x="68579" y="23948"/>
                    <a:pt x="71845" y="26125"/>
                  </a:cubicBezTo>
                  <a:cubicBezTo>
                    <a:pt x="123008" y="25037"/>
                    <a:pt x="174241" y="25752"/>
                    <a:pt x="225334" y="22860"/>
                  </a:cubicBezTo>
                  <a:cubicBezTo>
                    <a:pt x="232208" y="22471"/>
                    <a:pt x="244928" y="16328"/>
                    <a:pt x="244928" y="16328"/>
                  </a:cubicBezTo>
                  <a:cubicBezTo>
                    <a:pt x="254725" y="17417"/>
                    <a:pt x="264597" y="17973"/>
                    <a:pt x="274320" y="19594"/>
                  </a:cubicBezTo>
                  <a:cubicBezTo>
                    <a:pt x="277716" y="20160"/>
                    <a:pt x="281429" y="20710"/>
                    <a:pt x="284117" y="22860"/>
                  </a:cubicBezTo>
                  <a:cubicBezTo>
                    <a:pt x="291813" y="29017"/>
                    <a:pt x="288298" y="34747"/>
                    <a:pt x="297180" y="39188"/>
                  </a:cubicBezTo>
                  <a:cubicBezTo>
                    <a:pt x="303338" y="42267"/>
                    <a:pt x="316774" y="45720"/>
                    <a:pt x="316774" y="45720"/>
                  </a:cubicBezTo>
                  <a:cubicBezTo>
                    <a:pt x="330925" y="44631"/>
                    <a:pt x="345209" y="44668"/>
                    <a:pt x="359228" y="42454"/>
                  </a:cubicBezTo>
                  <a:cubicBezTo>
                    <a:pt x="366028" y="41380"/>
                    <a:pt x="378822" y="35922"/>
                    <a:pt x="378822" y="35922"/>
                  </a:cubicBezTo>
                  <a:cubicBezTo>
                    <a:pt x="389274" y="37083"/>
                    <a:pt x="409305" y="42763"/>
                    <a:pt x="421277" y="35922"/>
                  </a:cubicBezTo>
                  <a:cubicBezTo>
                    <a:pt x="441115" y="24586"/>
                    <a:pt x="422448" y="26125"/>
                    <a:pt x="437605" y="26125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7" name="Forma livre 376"/>
            <p:cNvSpPr/>
            <p:nvPr/>
          </p:nvSpPr>
          <p:spPr bwMode="auto">
            <a:xfrm>
              <a:off x="3622675" y="5727700"/>
              <a:ext cx="204788" cy="287338"/>
            </a:xfrm>
            <a:custGeom>
              <a:avLst/>
              <a:gdLst>
                <a:gd name="connsiteX0" fmla="*/ 0 w 205766"/>
                <a:gd name="connsiteY0" fmla="*/ 0 h 287383"/>
                <a:gd name="connsiteX1" fmla="*/ 9797 w 205766"/>
                <a:gd name="connsiteY1" fmla="*/ 16328 h 287383"/>
                <a:gd name="connsiteX2" fmla="*/ 16329 w 205766"/>
                <a:gd name="connsiteY2" fmla="*/ 42454 h 287383"/>
                <a:gd name="connsiteX3" fmla="*/ 29392 w 205766"/>
                <a:gd name="connsiteY3" fmla="*/ 58783 h 287383"/>
                <a:gd name="connsiteX4" fmla="*/ 35923 w 205766"/>
                <a:gd name="connsiteY4" fmla="*/ 68580 h 287383"/>
                <a:gd name="connsiteX5" fmla="*/ 42454 w 205766"/>
                <a:gd name="connsiteY5" fmla="*/ 107768 h 287383"/>
                <a:gd name="connsiteX6" fmla="*/ 48986 w 205766"/>
                <a:gd name="connsiteY6" fmla="*/ 117566 h 287383"/>
                <a:gd name="connsiteX7" fmla="*/ 55517 w 205766"/>
                <a:gd name="connsiteY7" fmla="*/ 130628 h 287383"/>
                <a:gd name="connsiteX8" fmla="*/ 75112 w 205766"/>
                <a:gd name="connsiteY8" fmla="*/ 137160 h 287383"/>
                <a:gd name="connsiteX9" fmla="*/ 91440 w 205766"/>
                <a:gd name="connsiteY9" fmla="*/ 150223 h 287383"/>
                <a:gd name="connsiteX10" fmla="*/ 107769 w 205766"/>
                <a:gd name="connsiteY10" fmla="*/ 179614 h 287383"/>
                <a:gd name="connsiteX11" fmla="*/ 120832 w 205766"/>
                <a:gd name="connsiteY11" fmla="*/ 195943 h 287383"/>
                <a:gd name="connsiteX12" fmla="*/ 124097 w 205766"/>
                <a:gd name="connsiteY12" fmla="*/ 205740 h 287383"/>
                <a:gd name="connsiteX13" fmla="*/ 137160 w 205766"/>
                <a:gd name="connsiteY13" fmla="*/ 218803 h 287383"/>
                <a:gd name="connsiteX14" fmla="*/ 143692 w 205766"/>
                <a:gd name="connsiteY14" fmla="*/ 228600 h 287383"/>
                <a:gd name="connsiteX15" fmla="*/ 160020 w 205766"/>
                <a:gd name="connsiteY15" fmla="*/ 251460 h 287383"/>
                <a:gd name="connsiteX16" fmla="*/ 166552 w 205766"/>
                <a:gd name="connsiteY16" fmla="*/ 257991 h 287383"/>
                <a:gd name="connsiteX17" fmla="*/ 173083 w 205766"/>
                <a:gd name="connsiteY17" fmla="*/ 264523 h 287383"/>
                <a:gd name="connsiteX18" fmla="*/ 176349 w 205766"/>
                <a:gd name="connsiteY18" fmla="*/ 274320 h 287383"/>
                <a:gd name="connsiteX19" fmla="*/ 195943 w 205766"/>
                <a:gd name="connsiteY19" fmla="*/ 280851 h 287383"/>
                <a:gd name="connsiteX20" fmla="*/ 205740 w 205766"/>
                <a:gd name="connsiteY20" fmla="*/ 287383 h 287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05766" h="287383">
                  <a:moveTo>
                    <a:pt x="0" y="0"/>
                  </a:moveTo>
                  <a:cubicBezTo>
                    <a:pt x="3266" y="5443"/>
                    <a:pt x="7440" y="10435"/>
                    <a:pt x="9797" y="16328"/>
                  </a:cubicBezTo>
                  <a:cubicBezTo>
                    <a:pt x="17253" y="34967"/>
                    <a:pt x="9128" y="28052"/>
                    <a:pt x="16329" y="42454"/>
                  </a:cubicBezTo>
                  <a:cubicBezTo>
                    <a:pt x="23031" y="55858"/>
                    <a:pt x="21291" y="48656"/>
                    <a:pt x="29392" y="58783"/>
                  </a:cubicBezTo>
                  <a:cubicBezTo>
                    <a:pt x="31844" y="61848"/>
                    <a:pt x="33746" y="65314"/>
                    <a:pt x="35923" y="68580"/>
                  </a:cubicBezTo>
                  <a:cubicBezTo>
                    <a:pt x="36957" y="77883"/>
                    <a:pt x="36985" y="96829"/>
                    <a:pt x="42454" y="107768"/>
                  </a:cubicBezTo>
                  <a:cubicBezTo>
                    <a:pt x="44209" y="111279"/>
                    <a:pt x="47039" y="114158"/>
                    <a:pt x="48986" y="117566"/>
                  </a:cubicBezTo>
                  <a:cubicBezTo>
                    <a:pt x="51401" y="121793"/>
                    <a:pt x="51623" y="127707"/>
                    <a:pt x="55517" y="130628"/>
                  </a:cubicBezTo>
                  <a:cubicBezTo>
                    <a:pt x="61025" y="134759"/>
                    <a:pt x="69383" y="133341"/>
                    <a:pt x="75112" y="137160"/>
                  </a:cubicBezTo>
                  <a:cubicBezTo>
                    <a:pt x="87471" y="145399"/>
                    <a:pt x="82134" y="140916"/>
                    <a:pt x="91440" y="150223"/>
                  </a:cubicBezTo>
                  <a:cubicBezTo>
                    <a:pt x="97189" y="167467"/>
                    <a:pt x="92796" y="157155"/>
                    <a:pt x="107769" y="179614"/>
                  </a:cubicBezTo>
                  <a:cubicBezTo>
                    <a:pt x="116009" y="191974"/>
                    <a:pt x="111524" y="186635"/>
                    <a:pt x="120832" y="195943"/>
                  </a:cubicBezTo>
                  <a:cubicBezTo>
                    <a:pt x="121920" y="199209"/>
                    <a:pt x="122096" y="202939"/>
                    <a:pt x="124097" y="205740"/>
                  </a:cubicBezTo>
                  <a:cubicBezTo>
                    <a:pt x="127676" y="210751"/>
                    <a:pt x="133744" y="213679"/>
                    <a:pt x="137160" y="218803"/>
                  </a:cubicBezTo>
                  <a:lnTo>
                    <a:pt x="143692" y="228600"/>
                  </a:lnTo>
                  <a:cubicBezTo>
                    <a:pt x="148904" y="244238"/>
                    <a:pt x="144523" y="235964"/>
                    <a:pt x="160020" y="251460"/>
                  </a:cubicBezTo>
                  <a:lnTo>
                    <a:pt x="166552" y="257991"/>
                  </a:lnTo>
                  <a:lnTo>
                    <a:pt x="173083" y="264523"/>
                  </a:lnTo>
                  <a:cubicBezTo>
                    <a:pt x="174172" y="267789"/>
                    <a:pt x="173548" y="272319"/>
                    <a:pt x="176349" y="274320"/>
                  </a:cubicBezTo>
                  <a:cubicBezTo>
                    <a:pt x="181951" y="278321"/>
                    <a:pt x="189412" y="278674"/>
                    <a:pt x="195943" y="280851"/>
                  </a:cubicBezTo>
                  <a:cubicBezTo>
                    <a:pt x="206773" y="284461"/>
                    <a:pt x="205740" y="280675"/>
                    <a:pt x="205740" y="287383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8" name="Forma livre 377"/>
            <p:cNvSpPr/>
            <p:nvPr/>
          </p:nvSpPr>
          <p:spPr bwMode="auto">
            <a:xfrm>
              <a:off x="3557588" y="6061075"/>
              <a:ext cx="365125" cy="61913"/>
            </a:xfrm>
            <a:custGeom>
              <a:avLst/>
              <a:gdLst>
                <a:gd name="connsiteX0" fmla="*/ 0 w 365760"/>
                <a:gd name="connsiteY0" fmla="*/ 62048 h 62048"/>
                <a:gd name="connsiteX1" fmla="*/ 16328 w 365760"/>
                <a:gd name="connsiteY1" fmla="*/ 58783 h 62048"/>
                <a:gd name="connsiteX2" fmla="*/ 35923 w 365760"/>
                <a:gd name="connsiteY2" fmla="*/ 52251 h 62048"/>
                <a:gd name="connsiteX3" fmla="*/ 68580 w 365760"/>
                <a:gd name="connsiteY3" fmla="*/ 48985 h 62048"/>
                <a:gd name="connsiteX4" fmla="*/ 97971 w 365760"/>
                <a:gd name="connsiteY4" fmla="*/ 32657 h 62048"/>
                <a:gd name="connsiteX5" fmla="*/ 182880 w 365760"/>
                <a:gd name="connsiteY5" fmla="*/ 35923 h 62048"/>
                <a:gd name="connsiteX6" fmla="*/ 225334 w 365760"/>
                <a:gd name="connsiteY6" fmla="*/ 35923 h 62048"/>
                <a:gd name="connsiteX7" fmla="*/ 244928 w 365760"/>
                <a:gd name="connsiteY7" fmla="*/ 26125 h 62048"/>
                <a:gd name="connsiteX8" fmla="*/ 254726 w 365760"/>
                <a:gd name="connsiteY8" fmla="*/ 19594 h 62048"/>
                <a:gd name="connsiteX9" fmla="*/ 300446 w 365760"/>
                <a:gd name="connsiteY9" fmla="*/ 13063 h 62048"/>
                <a:gd name="connsiteX10" fmla="*/ 355963 w 365760"/>
                <a:gd name="connsiteY10" fmla="*/ 3265 h 62048"/>
                <a:gd name="connsiteX11" fmla="*/ 365760 w 365760"/>
                <a:gd name="connsiteY11" fmla="*/ 0 h 6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65760" h="62048">
                  <a:moveTo>
                    <a:pt x="0" y="62048"/>
                  </a:moveTo>
                  <a:cubicBezTo>
                    <a:pt x="5443" y="60960"/>
                    <a:pt x="10973" y="60243"/>
                    <a:pt x="16328" y="58783"/>
                  </a:cubicBezTo>
                  <a:cubicBezTo>
                    <a:pt x="22970" y="56971"/>
                    <a:pt x="29072" y="52936"/>
                    <a:pt x="35923" y="52251"/>
                  </a:cubicBezTo>
                  <a:lnTo>
                    <a:pt x="68580" y="48985"/>
                  </a:lnTo>
                  <a:cubicBezTo>
                    <a:pt x="91038" y="34014"/>
                    <a:pt x="80727" y="38405"/>
                    <a:pt x="97971" y="32657"/>
                  </a:cubicBezTo>
                  <a:cubicBezTo>
                    <a:pt x="126274" y="33746"/>
                    <a:pt x="154615" y="34100"/>
                    <a:pt x="182880" y="35923"/>
                  </a:cubicBezTo>
                  <a:cubicBezTo>
                    <a:pt x="225638" y="38681"/>
                    <a:pt x="165517" y="43398"/>
                    <a:pt x="225334" y="35923"/>
                  </a:cubicBezTo>
                  <a:cubicBezTo>
                    <a:pt x="253397" y="17212"/>
                    <a:pt x="217899" y="39639"/>
                    <a:pt x="244928" y="26125"/>
                  </a:cubicBezTo>
                  <a:cubicBezTo>
                    <a:pt x="248439" y="24370"/>
                    <a:pt x="250905" y="20493"/>
                    <a:pt x="254726" y="19594"/>
                  </a:cubicBezTo>
                  <a:cubicBezTo>
                    <a:pt x="269712" y="16068"/>
                    <a:pt x="300446" y="13063"/>
                    <a:pt x="300446" y="13063"/>
                  </a:cubicBezTo>
                  <a:cubicBezTo>
                    <a:pt x="331447" y="2728"/>
                    <a:pt x="313184" y="7154"/>
                    <a:pt x="355963" y="3265"/>
                  </a:cubicBezTo>
                  <a:lnTo>
                    <a:pt x="365760" y="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59" name="Forma livre 378"/>
            <p:cNvSpPr/>
            <p:nvPr/>
          </p:nvSpPr>
          <p:spPr bwMode="auto">
            <a:xfrm>
              <a:off x="3903663" y="5776913"/>
              <a:ext cx="84137" cy="176212"/>
            </a:xfrm>
            <a:custGeom>
              <a:avLst/>
              <a:gdLst>
                <a:gd name="connsiteX0" fmla="*/ 0 w 84908"/>
                <a:gd name="connsiteY0" fmla="*/ 176348 h 176348"/>
                <a:gd name="connsiteX1" fmla="*/ 13062 w 84908"/>
                <a:gd name="connsiteY1" fmla="*/ 160020 h 176348"/>
                <a:gd name="connsiteX2" fmla="*/ 16328 w 84908"/>
                <a:gd name="connsiteY2" fmla="*/ 143691 h 176348"/>
                <a:gd name="connsiteX3" fmla="*/ 26125 w 84908"/>
                <a:gd name="connsiteY3" fmla="*/ 137160 h 176348"/>
                <a:gd name="connsiteX4" fmla="*/ 32657 w 84908"/>
                <a:gd name="connsiteY4" fmla="*/ 130628 h 176348"/>
                <a:gd name="connsiteX5" fmla="*/ 32657 w 84908"/>
                <a:gd name="connsiteY5" fmla="*/ 68580 h 176348"/>
                <a:gd name="connsiteX6" fmla="*/ 35922 w 84908"/>
                <a:gd name="connsiteY6" fmla="*/ 58782 h 176348"/>
                <a:gd name="connsiteX7" fmla="*/ 45720 w 84908"/>
                <a:gd name="connsiteY7" fmla="*/ 52251 h 176348"/>
                <a:gd name="connsiteX8" fmla="*/ 55517 w 84908"/>
                <a:gd name="connsiteY8" fmla="*/ 32657 h 176348"/>
                <a:gd name="connsiteX9" fmla="*/ 62048 w 84908"/>
                <a:gd name="connsiteY9" fmla="*/ 19594 h 176348"/>
                <a:gd name="connsiteX10" fmla="*/ 84908 w 84908"/>
                <a:gd name="connsiteY10" fmla="*/ 0 h 1763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908" h="176348">
                  <a:moveTo>
                    <a:pt x="0" y="176348"/>
                  </a:moveTo>
                  <a:cubicBezTo>
                    <a:pt x="4354" y="170905"/>
                    <a:pt x="9945" y="166254"/>
                    <a:pt x="13062" y="160020"/>
                  </a:cubicBezTo>
                  <a:cubicBezTo>
                    <a:pt x="15544" y="155055"/>
                    <a:pt x="13574" y="148510"/>
                    <a:pt x="16328" y="143691"/>
                  </a:cubicBezTo>
                  <a:cubicBezTo>
                    <a:pt x="18275" y="140283"/>
                    <a:pt x="23060" y="139612"/>
                    <a:pt x="26125" y="137160"/>
                  </a:cubicBezTo>
                  <a:cubicBezTo>
                    <a:pt x="28529" y="135236"/>
                    <a:pt x="30480" y="132805"/>
                    <a:pt x="32657" y="130628"/>
                  </a:cubicBezTo>
                  <a:cubicBezTo>
                    <a:pt x="24229" y="105346"/>
                    <a:pt x="27367" y="118839"/>
                    <a:pt x="32657" y="68580"/>
                  </a:cubicBezTo>
                  <a:cubicBezTo>
                    <a:pt x="33017" y="65156"/>
                    <a:pt x="33771" y="61470"/>
                    <a:pt x="35922" y="58782"/>
                  </a:cubicBezTo>
                  <a:cubicBezTo>
                    <a:pt x="38374" y="55717"/>
                    <a:pt x="42454" y="54428"/>
                    <a:pt x="45720" y="52251"/>
                  </a:cubicBezTo>
                  <a:cubicBezTo>
                    <a:pt x="51707" y="34287"/>
                    <a:pt x="45387" y="50384"/>
                    <a:pt x="55517" y="32657"/>
                  </a:cubicBezTo>
                  <a:cubicBezTo>
                    <a:pt x="57932" y="28430"/>
                    <a:pt x="59059" y="23437"/>
                    <a:pt x="62048" y="19594"/>
                  </a:cubicBezTo>
                  <a:cubicBezTo>
                    <a:pt x="73535" y="4825"/>
                    <a:pt x="73567" y="5670"/>
                    <a:pt x="84908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0" name="Forma livre 379"/>
            <p:cNvSpPr/>
            <p:nvPr/>
          </p:nvSpPr>
          <p:spPr bwMode="auto">
            <a:xfrm>
              <a:off x="3675063" y="5672138"/>
              <a:ext cx="52387" cy="179387"/>
            </a:xfrm>
            <a:custGeom>
              <a:avLst/>
              <a:gdLst>
                <a:gd name="connsiteX0" fmla="*/ 48985 w 52660"/>
                <a:gd name="connsiteY0" fmla="*/ 0 h 179614"/>
                <a:gd name="connsiteX1" fmla="*/ 48985 w 52660"/>
                <a:gd name="connsiteY1" fmla="*/ 48985 h 179614"/>
                <a:gd name="connsiteX2" fmla="*/ 45720 w 52660"/>
                <a:gd name="connsiteY2" fmla="*/ 58783 h 179614"/>
                <a:gd name="connsiteX3" fmla="*/ 32657 w 52660"/>
                <a:gd name="connsiteY3" fmla="*/ 75111 h 179614"/>
                <a:gd name="connsiteX4" fmla="*/ 22860 w 52660"/>
                <a:gd name="connsiteY4" fmla="*/ 91440 h 179614"/>
                <a:gd name="connsiteX5" fmla="*/ 32657 w 52660"/>
                <a:gd name="connsiteY5" fmla="*/ 104503 h 179614"/>
                <a:gd name="connsiteX6" fmla="*/ 26125 w 52660"/>
                <a:gd name="connsiteY6" fmla="*/ 114300 h 179614"/>
                <a:gd name="connsiteX7" fmla="*/ 6531 w 52660"/>
                <a:gd name="connsiteY7" fmla="*/ 130628 h 179614"/>
                <a:gd name="connsiteX8" fmla="*/ 0 w 52660"/>
                <a:gd name="connsiteY8" fmla="*/ 137160 h 179614"/>
                <a:gd name="connsiteX9" fmla="*/ 3265 w 52660"/>
                <a:gd name="connsiteY9" fmla="*/ 179614 h 17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660" h="179614">
                  <a:moveTo>
                    <a:pt x="48985" y="0"/>
                  </a:moveTo>
                  <a:cubicBezTo>
                    <a:pt x="53807" y="24109"/>
                    <a:pt x="53965" y="16613"/>
                    <a:pt x="48985" y="48985"/>
                  </a:cubicBezTo>
                  <a:cubicBezTo>
                    <a:pt x="48462" y="52388"/>
                    <a:pt x="47491" y="55831"/>
                    <a:pt x="45720" y="58783"/>
                  </a:cubicBezTo>
                  <a:cubicBezTo>
                    <a:pt x="27483" y="89179"/>
                    <a:pt x="52278" y="35869"/>
                    <a:pt x="32657" y="75111"/>
                  </a:cubicBezTo>
                  <a:cubicBezTo>
                    <a:pt x="24178" y="92069"/>
                    <a:pt x="35617" y="78682"/>
                    <a:pt x="22860" y="91440"/>
                  </a:cubicBezTo>
                  <a:cubicBezTo>
                    <a:pt x="13771" y="118704"/>
                    <a:pt x="21996" y="83179"/>
                    <a:pt x="32657" y="104503"/>
                  </a:cubicBezTo>
                  <a:cubicBezTo>
                    <a:pt x="34412" y="108014"/>
                    <a:pt x="28638" y="111285"/>
                    <a:pt x="26125" y="114300"/>
                  </a:cubicBezTo>
                  <a:cubicBezTo>
                    <a:pt x="14485" y="128268"/>
                    <a:pt x="19379" y="120349"/>
                    <a:pt x="6531" y="130628"/>
                  </a:cubicBezTo>
                  <a:cubicBezTo>
                    <a:pt x="4127" y="132551"/>
                    <a:pt x="2177" y="134983"/>
                    <a:pt x="0" y="137160"/>
                  </a:cubicBezTo>
                  <a:lnTo>
                    <a:pt x="3265" y="179614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1" name="Forma livre 380"/>
            <p:cNvSpPr/>
            <p:nvPr/>
          </p:nvSpPr>
          <p:spPr bwMode="auto">
            <a:xfrm>
              <a:off x="3854450" y="5773738"/>
              <a:ext cx="104775" cy="46037"/>
            </a:xfrm>
            <a:custGeom>
              <a:avLst/>
              <a:gdLst>
                <a:gd name="connsiteX0" fmla="*/ 0 w 104503"/>
                <a:gd name="connsiteY0" fmla="*/ 0 h 45720"/>
                <a:gd name="connsiteX1" fmla="*/ 22860 w 104503"/>
                <a:gd name="connsiteY1" fmla="*/ 3266 h 45720"/>
                <a:gd name="connsiteX2" fmla="*/ 42454 w 104503"/>
                <a:gd name="connsiteY2" fmla="*/ 13063 h 45720"/>
                <a:gd name="connsiteX3" fmla="*/ 75111 w 104503"/>
                <a:gd name="connsiteY3" fmla="*/ 16328 h 45720"/>
                <a:gd name="connsiteX4" fmla="*/ 84908 w 104503"/>
                <a:gd name="connsiteY4" fmla="*/ 22860 h 45720"/>
                <a:gd name="connsiteX5" fmla="*/ 97971 w 104503"/>
                <a:gd name="connsiteY5" fmla="*/ 39188 h 45720"/>
                <a:gd name="connsiteX6" fmla="*/ 104503 w 104503"/>
                <a:gd name="connsiteY6" fmla="*/ 45720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503" h="45720">
                  <a:moveTo>
                    <a:pt x="0" y="0"/>
                  </a:moveTo>
                  <a:cubicBezTo>
                    <a:pt x="7620" y="1089"/>
                    <a:pt x="15487" y="1054"/>
                    <a:pt x="22860" y="3266"/>
                  </a:cubicBezTo>
                  <a:cubicBezTo>
                    <a:pt x="48347" y="10912"/>
                    <a:pt x="17685" y="9253"/>
                    <a:pt x="42454" y="13063"/>
                  </a:cubicBezTo>
                  <a:cubicBezTo>
                    <a:pt x="53267" y="14726"/>
                    <a:pt x="64225" y="15240"/>
                    <a:pt x="75111" y="16328"/>
                  </a:cubicBezTo>
                  <a:cubicBezTo>
                    <a:pt x="78377" y="18505"/>
                    <a:pt x="82731" y="19594"/>
                    <a:pt x="84908" y="22860"/>
                  </a:cubicBezTo>
                  <a:cubicBezTo>
                    <a:pt x="97795" y="42190"/>
                    <a:pt x="77178" y="32258"/>
                    <a:pt x="97971" y="39188"/>
                  </a:cubicBezTo>
                  <a:lnTo>
                    <a:pt x="104503" y="4572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2" name="Forma livre 381"/>
            <p:cNvSpPr/>
            <p:nvPr/>
          </p:nvSpPr>
          <p:spPr bwMode="auto">
            <a:xfrm>
              <a:off x="3703638" y="6018213"/>
              <a:ext cx="6350" cy="82550"/>
            </a:xfrm>
            <a:custGeom>
              <a:avLst/>
              <a:gdLst>
                <a:gd name="connsiteX0" fmla="*/ 0 w 6543"/>
                <a:gd name="connsiteY0" fmla="*/ 81643 h 81643"/>
                <a:gd name="connsiteX1" fmla="*/ 6531 w 6543"/>
                <a:gd name="connsiteY1" fmla="*/ 62049 h 81643"/>
                <a:gd name="connsiteX2" fmla="*/ 0 w 6543"/>
                <a:gd name="connsiteY2" fmla="*/ 39189 h 81643"/>
                <a:gd name="connsiteX3" fmla="*/ 3266 w 6543"/>
                <a:gd name="connsiteY3" fmla="*/ 0 h 81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43" h="81643">
                  <a:moveTo>
                    <a:pt x="0" y="81643"/>
                  </a:moveTo>
                  <a:cubicBezTo>
                    <a:pt x="2177" y="75112"/>
                    <a:pt x="5846" y="68899"/>
                    <a:pt x="6531" y="62049"/>
                  </a:cubicBezTo>
                  <a:cubicBezTo>
                    <a:pt x="6847" y="58892"/>
                    <a:pt x="1299" y="43085"/>
                    <a:pt x="0" y="39189"/>
                  </a:cubicBezTo>
                  <a:cubicBezTo>
                    <a:pt x="3806" y="8742"/>
                    <a:pt x="3266" y="21839"/>
                    <a:pt x="3266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3" name="Forma livre 382"/>
            <p:cNvSpPr/>
            <p:nvPr/>
          </p:nvSpPr>
          <p:spPr bwMode="auto">
            <a:xfrm>
              <a:off x="3805238" y="6076950"/>
              <a:ext cx="58737" cy="127000"/>
            </a:xfrm>
            <a:custGeom>
              <a:avLst/>
              <a:gdLst>
                <a:gd name="connsiteX0" fmla="*/ 0 w 58783"/>
                <a:gd name="connsiteY0" fmla="*/ 127363 h 127363"/>
                <a:gd name="connsiteX1" fmla="*/ 16329 w 58783"/>
                <a:gd name="connsiteY1" fmla="*/ 124097 h 127363"/>
                <a:gd name="connsiteX2" fmla="*/ 42454 w 58783"/>
                <a:gd name="connsiteY2" fmla="*/ 104503 h 127363"/>
                <a:gd name="connsiteX3" fmla="*/ 48986 w 58783"/>
                <a:gd name="connsiteY3" fmla="*/ 91440 h 127363"/>
                <a:gd name="connsiteX4" fmla="*/ 52252 w 58783"/>
                <a:gd name="connsiteY4" fmla="*/ 75112 h 127363"/>
                <a:gd name="connsiteX5" fmla="*/ 55517 w 58783"/>
                <a:gd name="connsiteY5" fmla="*/ 65315 h 127363"/>
                <a:gd name="connsiteX6" fmla="*/ 58783 w 58783"/>
                <a:gd name="connsiteY6" fmla="*/ 35923 h 127363"/>
                <a:gd name="connsiteX7" fmla="*/ 55517 w 58783"/>
                <a:gd name="connsiteY7" fmla="*/ 0 h 127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783" h="127363">
                  <a:moveTo>
                    <a:pt x="0" y="127363"/>
                  </a:moveTo>
                  <a:cubicBezTo>
                    <a:pt x="5443" y="126274"/>
                    <a:pt x="11276" y="126394"/>
                    <a:pt x="16329" y="124097"/>
                  </a:cubicBezTo>
                  <a:cubicBezTo>
                    <a:pt x="19264" y="122763"/>
                    <a:pt x="37912" y="111316"/>
                    <a:pt x="42454" y="104503"/>
                  </a:cubicBezTo>
                  <a:cubicBezTo>
                    <a:pt x="45154" y="100452"/>
                    <a:pt x="46809" y="95794"/>
                    <a:pt x="48986" y="91440"/>
                  </a:cubicBezTo>
                  <a:cubicBezTo>
                    <a:pt x="50075" y="85997"/>
                    <a:pt x="50906" y="80497"/>
                    <a:pt x="52252" y="75112"/>
                  </a:cubicBezTo>
                  <a:cubicBezTo>
                    <a:pt x="53087" y="71773"/>
                    <a:pt x="54951" y="68710"/>
                    <a:pt x="55517" y="65315"/>
                  </a:cubicBezTo>
                  <a:cubicBezTo>
                    <a:pt x="57137" y="55591"/>
                    <a:pt x="57694" y="45720"/>
                    <a:pt x="58783" y="35923"/>
                  </a:cubicBezTo>
                  <a:cubicBezTo>
                    <a:pt x="54901" y="8752"/>
                    <a:pt x="55517" y="20760"/>
                    <a:pt x="55517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4" name="Forma livre 383"/>
            <p:cNvSpPr/>
            <p:nvPr/>
          </p:nvSpPr>
          <p:spPr bwMode="auto">
            <a:xfrm>
              <a:off x="3703638" y="6348413"/>
              <a:ext cx="52387" cy="61912"/>
            </a:xfrm>
            <a:custGeom>
              <a:avLst/>
              <a:gdLst>
                <a:gd name="connsiteX0" fmla="*/ 0 w 52251"/>
                <a:gd name="connsiteY0" fmla="*/ 0 h 62048"/>
                <a:gd name="connsiteX1" fmla="*/ 13063 w 52251"/>
                <a:gd name="connsiteY1" fmla="*/ 16328 h 62048"/>
                <a:gd name="connsiteX2" fmla="*/ 22860 w 52251"/>
                <a:gd name="connsiteY2" fmla="*/ 55517 h 62048"/>
                <a:gd name="connsiteX3" fmla="*/ 32657 w 52251"/>
                <a:gd name="connsiteY3" fmla="*/ 62048 h 62048"/>
                <a:gd name="connsiteX4" fmla="*/ 52251 w 52251"/>
                <a:gd name="connsiteY4" fmla="*/ 55517 h 6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251" h="62048">
                  <a:moveTo>
                    <a:pt x="0" y="0"/>
                  </a:moveTo>
                  <a:cubicBezTo>
                    <a:pt x="4354" y="5443"/>
                    <a:pt x="10719" y="9764"/>
                    <a:pt x="13063" y="16328"/>
                  </a:cubicBezTo>
                  <a:cubicBezTo>
                    <a:pt x="21131" y="38919"/>
                    <a:pt x="9122" y="41779"/>
                    <a:pt x="22860" y="55517"/>
                  </a:cubicBezTo>
                  <a:cubicBezTo>
                    <a:pt x="25635" y="58292"/>
                    <a:pt x="29391" y="59871"/>
                    <a:pt x="32657" y="62048"/>
                  </a:cubicBezTo>
                  <a:cubicBezTo>
                    <a:pt x="50495" y="58480"/>
                    <a:pt x="45061" y="62707"/>
                    <a:pt x="52251" y="55517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5" name="Forma livre 384"/>
            <p:cNvSpPr/>
            <p:nvPr/>
          </p:nvSpPr>
          <p:spPr bwMode="auto">
            <a:xfrm>
              <a:off x="3514725" y="5773738"/>
              <a:ext cx="182563" cy="28575"/>
            </a:xfrm>
            <a:custGeom>
              <a:avLst/>
              <a:gdLst>
                <a:gd name="connsiteX0" fmla="*/ 0 w 182880"/>
                <a:gd name="connsiteY0" fmla="*/ 9797 h 29391"/>
                <a:gd name="connsiteX1" fmla="*/ 42454 w 182880"/>
                <a:gd name="connsiteY1" fmla="*/ 13063 h 29391"/>
                <a:gd name="connsiteX2" fmla="*/ 62048 w 182880"/>
                <a:gd name="connsiteY2" fmla="*/ 19594 h 29391"/>
                <a:gd name="connsiteX3" fmla="*/ 78377 w 182880"/>
                <a:gd name="connsiteY3" fmla="*/ 29391 h 29391"/>
                <a:gd name="connsiteX4" fmla="*/ 114300 w 182880"/>
                <a:gd name="connsiteY4" fmla="*/ 19594 h 29391"/>
                <a:gd name="connsiteX5" fmla="*/ 124097 w 182880"/>
                <a:gd name="connsiteY5" fmla="*/ 16328 h 29391"/>
                <a:gd name="connsiteX6" fmla="*/ 166551 w 182880"/>
                <a:gd name="connsiteY6" fmla="*/ 9797 h 29391"/>
                <a:gd name="connsiteX7" fmla="*/ 182880 w 182880"/>
                <a:gd name="connsiteY7" fmla="*/ 0 h 2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2880" h="29391">
                  <a:moveTo>
                    <a:pt x="0" y="9797"/>
                  </a:moveTo>
                  <a:cubicBezTo>
                    <a:pt x="14151" y="10886"/>
                    <a:pt x="28435" y="10849"/>
                    <a:pt x="42454" y="13063"/>
                  </a:cubicBezTo>
                  <a:cubicBezTo>
                    <a:pt x="49254" y="14137"/>
                    <a:pt x="62048" y="19594"/>
                    <a:pt x="62048" y="19594"/>
                  </a:cubicBezTo>
                  <a:cubicBezTo>
                    <a:pt x="67222" y="24768"/>
                    <a:pt x="69897" y="29391"/>
                    <a:pt x="78377" y="29391"/>
                  </a:cubicBezTo>
                  <a:cubicBezTo>
                    <a:pt x="87612" y="29391"/>
                    <a:pt x="106613" y="22157"/>
                    <a:pt x="114300" y="19594"/>
                  </a:cubicBezTo>
                  <a:cubicBezTo>
                    <a:pt x="117566" y="18505"/>
                    <a:pt x="120701" y="16894"/>
                    <a:pt x="124097" y="16328"/>
                  </a:cubicBezTo>
                  <a:cubicBezTo>
                    <a:pt x="151284" y="11798"/>
                    <a:pt x="137136" y="13999"/>
                    <a:pt x="166551" y="9797"/>
                  </a:cubicBezTo>
                  <a:cubicBezTo>
                    <a:pt x="178374" y="1916"/>
                    <a:pt x="172838" y="5021"/>
                    <a:pt x="182880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6" name="Forma livre 385"/>
            <p:cNvSpPr/>
            <p:nvPr/>
          </p:nvSpPr>
          <p:spPr bwMode="auto">
            <a:xfrm>
              <a:off x="3025775" y="3100388"/>
              <a:ext cx="373063" cy="1992312"/>
            </a:xfrm>
            <a:custGeom>
              <a:avLst/>
              <a:gdLst>
                <a:gd name="connsiteX0" fmla="*/ 176480 w 373800"/>
                <a:gd name="connsiteY0" fmla="*/ 0 h 1992818"/>
                <a:gd name="connsiteX1" fmla="*/ 168279 w 373800"/>
                <a:gd name="connsiteY1" fmla="*/ 20502 h 1992818"/>
                <a:gd name="connsiteX2" fmla="*/ 160078 w 373800"/>
                <a:gd name="connsiteY2" fmla="*/ 53306 h 1992818"/>
                <a:gd name="connsiteX3" fmla="*/ 147777 w 373800"/>
                <a:gd name="connsiteY3" fmla="*/ 61507 h 1992818"/>
                <a:gd name="connsiteX4" fmla="*/ 143677 w 373800"/>
                <a:gd name="connsiteY4" fmla="*/ 77909 h 1992818"/>
                <a:gd name="connsiteX5" fmla="*/ 139576 w 373800"/>
                <a:gd name="connsiteY5" fmla="*/ 90210 h 1992818"/>
                <a:gd name="connsiteX6" fmla="*/ 135476 w 373800"/>
                <a:gd name="connsiteY6" fmla="*/ 114813 h 1992818"/>
                <a:gd name="connsiteX7" fmla="*/ 123174 w 373800"/>
                <a:gd name="connsiteY7" fmla="*/ 127114 h 1992818"/>
                <a:gd name="connsiteX8" fmla="*/ 114973 w 373800"/>
                <a:gd name="connsiteY8" fmla="*/ 139415 h 1992818"/>
                <a:gd name="connsiteX9" fmla="*/ 119074 w 373800"/>
                <a:gd name="connsiteY9" fmla="*/ 155817 h 1992818"/>
                <a:gd name="connsiteX10" fmla="*/ 110873 w 373800"/>
                <a:gd name="connsiteY10" fmla="*/ 172219 h 1992818"/>
                <a:gd name="connsiteX11" fmla="*/ 90371 w 373800"/>
                <a:gd name="connsiteY11" fmla="*/ 192721 h 1992818"/>
                <a:gd name="connsiteX12" fmla="*/ 78069 w 373800"/>
                <a:gd name="connsiteY12" fmla="*/ 205022 h 1992818"/>
                <a:gd name="connsiteX13" fmla="*/ 82170 w 373800"/>
                <a:gd name="connsiteY13" fmla="*/ 233726 h 1992818"/>
                <a:gd name="connsiteX14" fmla="*/ 90371 w 373800"/>
                <a:gd name="connsiteY14" fmla="*/ 246027 h 1992818"/>
                <a:gd name="connsiteX15" fmla="*/ 94471 w 373800"/>
                <a:gd name="connsiteY15" fmla="*/ 270630 h 1992818"/>
                <a:gd name="connsiteX16" fmla="*/ 86270 w 373800"/>
                <a:gd name="connsiteY16" fmla="*/ 303433 h 1992818"/>
                <a:gd name="connsiteX17" fmla="*/ 78069 w 373800"/>
                <a:gd name="connsiteY17" fmla="*/ 315735 h 1992818"/>
                <a:gd name="connsiteX18" fmla="*/ 73969 w 373800"/>
                <a:gd name="connsiteY18" fmla="*/ 328036 h 1992818"/>
                <a:gd name="connsiteX19" fmla="*/ 65768 w 373800"/>
                <a:gd name="connsiteY19" fmla="*/ 340337 h 1992818"/>
                <a:gd name="connsiteX20" fmla="*/ 61668 w 373800"/>
                <a:gd name="connsiteY20" fmla="*/ 381342 h 1992818"/>
                <a:gd name="connsiteX21" fmla="*/ 49366 w 373800"/>
                <a:gd name="connsiteY21" fmla="*/ 422346 h 1992818"/>
                <a:gd name="connsiteX22" fmla="*/ 41165 w 373800"/>
                <a:gd name="connsiteY22" fmla="*/ 446949 h 1992818"/>
                <a:gd name="connsiteX23" fmla="*/ 20663 w 373800"/>
                <a:gd name="connsiteY23" fmla="*/ 471552 h 1992818"/>
                <a:gd name="connsiteX24" fmla="*/ 8362 w 373800"/>
                <a:gd name="connsiteY24" fmla="*/ 483853 h 1992818"/>
                <a:gd name="connsiteX25" fmla="*/ 4261 w 373800"/>
                <a:gd name="connsiteY25" fmla="*/ 528958 h 1992818"/>
                <a:gd name="connsiteX26" fmla="*/ 12462 w 373800"/>
                <a:gd name="connsiteY26" fmla="*/ 541259 h 1992818"/>
                <a:gd name="connsiteX27" fmla="*/ 24764 w 373800"/>
                <a:gd name="connsiteY27" fmla="*/ 549460 h 1992818"/>
                <a:gd name="connsiteX28" fmla="*/ 32965 w 373800"/>
                <a:gd name="connsiteY28" fmla="*/ 582264 h 1992818"/>
                <a:gd name="connsiteX29" fmla="*/ 45266 w 373800"/>
                <a:gd name="connsiteY29" fmla="*/ 594565 h 1992818"/>
                <a:gd name="connsiteX30" fmla="*/ 53467 w 373800"/>
                <a:gd name="connsiteY30" fmla="*/ 606866 h 1992818"/>
                <a:gd name="connsiteX31" fmla="*/ 69869 w 373800"/>
                <a:gd name="connsiteY31" fmla="*/ 610967 h 1992818"/>
                <a:gd name="connsiteX32" fmla="*/ 127275 w 373800"/>
                <a:gd name="connsiteY32" fmla="*/ 610967 h 1992818"/>
                <a:gd name="connsiteX33" fmla="*/ 139576 w 373800"/>
                <a:gd name="connsiteY33" fmla="*/ 619168 h 1992818"/>
                <a:gd name="connsiteX34" fmla="*/ 160078 w 373800"/>
                <a:gd name="connsiteY34" fmla="*/ 639670 h 1992818"/>
                <a:gd name="connsiteX35" fmla="*/ 172380 w 373800"/>
                <a:gd name="connsiteY35" fmla="*/ 635570 h 1992818"/>
                <a:gd name="connsiteX36" fmla="*/ 217485 w 373800"/>
                <a:gd name="connsiteY36" fmla="*/ 639670 h 1992818"/>
                <a:gd name="connsiteX37" fmla="*/ 233887 w 373800"/>
                <a:gd name="connsiteY37" fmla="*/ 643770 h 1992818"/>
                <a:gd name="connsiteX38" fmla="*/ 258489 w 373800"/>
                <a:gd name="connsiteY38" fmla="*/ 660172 h 1992818"/>
                <a:gd name="connsiteX39" fmla="*/ 283092 w 373800"/>
                <a:gd name="connsiteY39" fmla="*/ 684775 h 1992818"/>
                <a:gd name="connsiteX40" fmla="*/ 287192 w 373800"/>
                <a:gd name="connsiteY40" fmla="*/ 697076 h 1992818"/>
                <a:gd name="connsiteX41" fmla="*/ 291293 w 373800"/>
                <a:gd name="connsiteY41" fmla="*/ 717578 h 1992818"/>
                <a:gd name="connsiteX42" fmla="*/ 299494 w 373800"/>
                <a:gd name="connsiteY42" fmla="*/ 729880 h 1992818"/>
                <a:gd name="connsiteX43" fmla="*/ 303594 w 373800"/>
                <a:gd name="connsiteY43" fmla="*/ 742181 h 1992818"/>
                <a:gd name="connsiteX44" fmla="*/ 295393 w 373800"/>
                <a:gd name="connsiteY44" fmla="*/ 779085 h 1992818"/>
                <a:gd name="connsiteX45" fmla="*/ 291293 w 373800"/>
                <a:gd name="connsiteY45" fmla="*/ 820090 h 1992818"/>
                <a:gd name="connsiteX46" fmla="*/ 283092 w 373800"/>
                <a:gd name="connsiteY46" fmla="*/ 844692 h 1992818"/>
                <a:gd name="connsiteX47" fmla="*/ 291293 w 373800"/>
                <a:gd name="connsiteY47" fmla="*/ 856994 h 1992818"/>
                <a:gd name="connsiteX48" fmla="*/ 295393 w 373800"/>
                <a:gd name="connsiteY48" fmla="*/ 885697 h 1992818"/>
                <a:gd name="connsiteX49" fmla="*/ 299494 w 373800"/>
                <a:gd name="connsiteY49" fmla="*/ 910300 h 1992818"/>
                <a:gd name="connsiteX50" fmla="*/ 299494 w 373800"/>
                <a:gd name="connsiteY50" fmla="*/ 992309 h 1992818"/>
                <a:gd name="connsiteX51" fmla="*/ 307695 w 373800"/>
                <a:gd name="connsiteY51" fmla="*/ 1004610 h 1992818"/>
                <a:gd name="connsiteX52" fmla="*/ 307695 w 373800"/>
                <a:gd name="connsiteY52" fmla="*/ 1066117 h 1992818"/>
                <a:gd name="connsiteX53" fmla="*/ 295393 w 373800"/>
                <a:gd name="connsiteY53" fmla="*/ 1078418 h 1992818"/>
                <a:gd name="connsiteX54" fmla="*/ 287192 w 373800"/>
                <a:gd name="connsiteY54" fmla="*/ 1090719 h 1992818"/>
                <a:gd name="connsiteX55" fmla="*/ 287192 w 373800"/>
                <a:gd name="connsiteY55" fmla="*/ 1160427 h 1992818"/>
                <a:gd name="connsiteX56" fmla="*/ 299494 w 373800"/>
                <a:gd name="connsiteY56" fmla="*/ 1197331 h 1992818"/>
                <a:gd name="connsiteX57" fmla="*/ 307695 w 373800"/>
                <a:gd name="connsiteY57" fmla="*/ 1221934 h 1992818"/>
                <a:gd name="connsiteX58" fmla="*/ 311795 w 373800"/>
                <a:gd name="connsiteY58" fmla="*/ 1234235 h 1992818"/>
                <a:gd name="connsiteX59" fmla="*/ 328197 w 373800"/>
                <a:gd name="connsiteY59" fmla="*/ 1246536 h 1992818"/>
                <a:gd name="connsiteX60" fmla="*/ 336398 w 373800"/>
                <a:gd name="connsiteY60" fmla="*/ 1258838 h 1992818"/>
                <a:gd name="connsiteX61" fmla="*/ 356900 w 373800"/>
                <a:gd name="connsiteY61" fmla="*/ 1287541 h 1992818"/>
                <a:gd name="connsiteX62" fmla="*/ 352800 w 373800"/>
                <a:gd name="connsiteY62" fmla="*/ 1312144 h 1992818"/>
                <a:gd name="connsiteX63" fmla="*/ 344599 w 373800"/>
                <a:gd name="connsiteY63" fmla="*/ 1336746 h 1992818"/>
                <a:gd name="connsiteX64" fmla="*/ 340498 w 373800"/>
                <a:gd name="connsiteY64" fmla="*/ 1349048 h 1992818"/>
                <a:gd name="connsiteX65" fmla="*/ 336398 w 373800"/>
                <a:gd name="connsiteY65" fmla="*/ 1365449 h 1992818"/>
                <a:gd name="connsiteX66" fmla="*/ 328197 w 373800"/>
                <a:gd name="connsiteY66" fmla="*/ 1390052 h 1992818"/>
                <a:gd name="connsiteX67" fmla="*/ 324096 w 373800"/>
                <a:gd name="connsiteY67" fmla="*/ 1414655 h 1992818"/>
                <a:gd name="connsiteX68" fmla="*/ 328197 w 373800"/>
                <a:gd name="connsiteY68" fmla="*/ 1480262 h 1992818"/>
                <a:gd name="connsiteX69" fmla="*/ 336398 w 373800"/>
                <a:gd name="connsiteY69" fmla="*/ 1504865 h 1992818"/>
                <a:gd name="connsiteX70" fmla="*/ 340498 w 373800"/>
                <a:gd name="connsiteY70" fmla="*/ 1517166 h 1992818"/>
                <a:gd name="connsiteX71" fmla="*/ 332297 w 373800"/>
                <a:gd name="connsiteY71" fmla="*/ 1603275 h 1992818"/>
                <a:gd name="connsiteX72" fmla="*/ 328197 w 373800"/>
                <a:gd name="connsiteY72" fmla="*/ 1615577 h 1992818"/>
                <a:gd name="connsiteX73" fmla="*/ 324096 w 373800"/>
                <a:gd name="connsiteY73" fmla="*/ 1631978 h 1992818"/>
                <a:gd name="connsiteX74" fmla="*/ 315895 w 373800"/>
                <a:gd name="connsiteY74" fmla="*/ 1644280 h 1992818"/>
                <a:gd name="connsiteX75" fmla="*/ 295393 w 373800"/>
                <a:gd name="connsiteY75" fmla="*/ 1681184 h 1992818"/>
                <a:gd name="connsiteX76" fmla="*/ 287192 w 373800"/>
                <a:gd name="connsiteY76" fmla="*/ 1693485 h 1992818"/>
                <a:gd name="connsiteX77" fmla="*/ 283092 w 373800"/>
                <a:gd name="connsiteY77" fmla="*/ 1705787 h 1992818"/>
                <a:gd name="connsiteX78" fmla="*/ 270791 w 373800"/>
                <a:gd name="connsiteY78" fmla="*/ 1713987 h 1992818"/>
                <a:gd name="connsiteX79" fmla="*/ 274891 w 373800"/>
                <a:gd name="connsiteY79" fmla="*/ 1734490 h 1992818"/>
                <a:gd name="connsiteX80" fmla="*/ 295393 w 373800"/>
                <a:gd name="connsiteY80" fmla="*/ 1775494 h 1992818"/>
                <a:gd name="connsiteX81" fmla="*/ 303594 w 373800"/>
                <a:gd name="connsiteY81" fmla="*/ 1787796 h 1992818"/>
                <a:gd name="connsiteX82" fmla="*/ 328197 w 373800"/>
                <a:gd name="connsiteY82" fmla="*/ 1804197 h 1992818"/>
                <a:gd name="connsiteX83" fmla="*/ 340498 w 373800"/>
                <a:gd name="connsiteY83" fmla="*/ 1808298 h 1992818"/>
                <a:gd name="connsiteX84" fmla="*/ 373302 w 373800"/>
                <a:gd name="connsiteY84" fmla="*/ 1816499 h 1992818"/>
                <a:gd name="connsiteX85" fmla="*/ 369201 w 373800"/>
                <a:gd name="connsiteY85" fmla="*/ 1849302 h 1992818"/>
                <a:gd name="connsiteX86" fmla="*/ 365101 w 373800"/>
                <a:gd name="connsiteY86" fmla="*/ 1861604 h 1992818"/>
                <a:gd name="connsiteX87" fmla="*/ 369201 w 373800"/>
                <a:gd name="connsiteY87" fmla="*/ 1873905 h 1992818"/>
                <a:gd name="connsiteX88" fmla="*/ 373302 w 373800"/>
                <a:gd name="connsiteY88" fmla="*/ 1910809 h 1992818"/>
                <a:gd name="connsiteX89" fmla="*/ 361000 w 373800"/>
                <a:gd name="connsiteY89" fmla="*/ 1923110 h 1992818"/>
                <a:gd name="connsiteX90" fmla="*/ 356900 w 373800"/>
                <a:gd name="connsiteY90" fmla="*/ 1935412 h 1992818"/>
                <a:gd name="connsiteX91" fmla="*/ 369201 w 373800"/>
                <a:gd name="connsiteY91" fmla="*/ 1992818 h 199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73800" h="1992818">
                  <a:moveTo>
                    <a:pt x="176480" y="0"/>
                  </a:moveTo>
                  <a:cubicBezTo>
                    <a:pt x="173746" y="6834"/>
                    <a:pt x="170394" y="13452"/>
                    <a:pt x="168279" y="20502"/>
                  </a:cubicBezTo>
                  <a:cubicBezTo>
                    <a:pt x="167910" y="21732"/>
                    <a:pt x="163543" y="48974"/>
                    <a:pt x="160078" y="53306"/>
                  </a:cubicBezTo>
                  <a:cubicBezTo>
                    <a:pt x="157000" y="57154"/>
                    <a:pt x="151877" y="58773"/>
                    <a:pt x="147777" y="61507"/>
                  </a:cubicBezTo>
                  <a:cubicBezTo>
                    <a:pt x="146410" y="66974"/>
                    <a:pt x="145225" y="72490"/>
                    <a:pt x="143677" y="77909"/>
                  </a:cubicBezTo>
                  <a:cubicBezTo>
                    <a:pt x="142490" y="82065"/>
                    <a:pt x="140514" y="85991"/>
                    <a:pt x="139576" y="90210"/>
                  </a:cubicBezTo>
                  <a:cubicBezTo>
                    <a:pt x="137772" y="98326"/>
                    <a:pt x="138853" y="107216"/>
                    <a:pt x="135476" y="114813"/>
                  </a:cubicBezTo>
                  <a:cubicBezTo>
                    <a:pt x="133121" y="120112"/>
                    <a:pt x="126887" y="122659"/>
                    <a:pt x="123174" y="127114"/>
                  </a:cubicBezTo>
                  <a:cubicBezTo>
                    <a:pt x="120019" y="130900"/>
                    <a:pt x="117707" y="135315"/>
                    <a:pt x="114973" y="139415"/>
                  </a:cubicBezTo>
                  <a:cubicBezTo>
                    <a:pt x="116340" y="144882"/>
                    <a:pt x="119773" y="150225"/>
                    <a:pt x="119074" y="155817"/>
                  </a:cubicBezTo>
                  <a:cubicBezTo>
                    <a:pt x="118316" y="161882"/>
                    <a:pt x="113906" y="166912"/>
                    <a:pt x="110873" y="172219"/>
                  </a:cubicBezTo>
                  <a:cubicBezTo>
                    <a:pt x="99940" y="191352"/>
                    <a:pt x="106771" y="179055"/>
                    <a:pt x="90371" y="192721"/>
                  </a:cubicBezTo>
                  <a:cubicBezTo>
                    <a:pt x="85916" y="196433"/>
                    <a:pt x="82170" y="200922"/>
                    <a:pt x="78069" y="205022"/>
                  </a:cubicBezTo>
                  <a:cubicBezTo>
                    <a:pt x="79436" y="214590"/>
                    <a:pt x="79393" y="224468"/>
                    <a:pt x="82170" y="233726"/>
                  </a:cubicBezTo>
                  <a:cubicBezTo>
                    <a:pt x="83586" y="238446"/>
                    <a:pt x="88813" y="241352"/>
                    <a:pt x="90371" y="246027"/>
                  </a:cubicBezTo>
                  <a:cubicBezTo>
                    <a:pt x="93000" y="253914"/>
                    <a:pt x="93104" y="262429"/>
                    <a:pt x="94471" y="270630"/>
                  </a:cubicBezTo>
                  <a:cubicBezTo>
                    <a:pt x="92910" y="278434"/>
                    <a:pt x="90475" y="295024"/>
                    <a:pt x="86270" y="303433"/>
                  </a:cubicBezTo>
                  <a:cubicBezTo>
                    <a:pt x="84066" y="307841"/>
                    <a:pt x="80803" y="311634"/>
                    <a:pt x="78069" y="315735"/>
                  </a:cubicBezTo>
                  <a:cubicBezTo>
                    <a:pt x="76702" y="319835"/>
                    <a:pt x="75902" y="324170"/>
                    <a:pt x="73969" y="328036"/>
                  </a:cubicBezTo>
                  <a:cubicBezTo>
                    <a:pt x="71765" y="332444"/>
                    <a:pt x="66876" y="335535"/>
                    <a:pt x="65768" y="340337"/>
                  </a:cubicBezTo>
                  <a:cubicBezTo>
                    <a:pt x="62679" y="353722"/>
                    <a:pt x="63611" y="367744"/>
                    <a:pt x="61668" y="381342"/>
                  </a:cubicBezTo>
                  <a:cubicBezTo>
                    <a:pt x="60119" y="392184"/>
                    <a:pt x="52218" y="413788"/>
                    <a:pt x="49366" y="422346"/>
                  </a:cubicBezTo>
                  <a:lnTo>
                    <a:pt x="41165" y="446949"/>
                  </a:lnTo>
                  <a:cubicBezTo>
                    <a:pt x="5229" y="482885"/>
                    <a:pt x="49206" y="437300"/>
                    <a:pt x="20663" y="471552"/>
                  </a:cubicBezTo>
                  <a:cubicBezTo>
                    <a:pt x="16951" y="476007"/>
                    <a:pt x="12462" y="479753"/>
                    <a:pt x="8362" y="483853"/>
                  </a:cubicBezTo>
                  <a:cubicBezTo>
                    <a:pt x="918" y="506186"/>
                    <a:pt x="-3921" y="507139"/>
                    <a:pt x="4261" y="528958"/>
                  </a:cubicBezTo>
                  <a:cubicBezTo>
                    <a:pt x="5991" y="533572"/>
                    <a:pt x="8977" y="537774"/>
                    <a:pt x="12462" y="541259"/>
                  </a:cubicBezTo>
                  <a:cubicBezTo>
                    <a:pt x="15947" y="544744"/>
                    <a:pt x="20663" y="546726"/>
                    <a:pt x="24764" y="549460"/>
                  </a:cubicBezTo>
                  <a:cubicBezTo>
                    <a:pt x="25356" y="552421"/>
                    <a:pt x="29361" y="576858"/>
                    <a:pt x="32965" y="582264"/>
                  </a:cubicBezTo>
                  <a:cubicBezTo>
                    <a:pt x="36182" y="587089"/>
                    <a:pt x="41554" y="590110"/>
                    <a:pt x="45266" y="594565"/>
                  </a:cubicBezTo>
                  <a:cubicBezTo>
                    <a:pt x="48421" y="598351"/>
                    <a:pt x="49367" y="604132"/>
                    <a:pt x="53467" y="606866"/>
                  </a:cubicBezTo>
                  <a:cubicBezTo>
                    <a:pt x="58156" y="609992"/>
                    <a:pt x="64402" y="609600"/>
                    <a:pt x="69869" y="610967"/>
                  </a:cubicBezTo>
                  <a:cubicBezTo>
                    <a:pt x="94561" y="607439"/>
                    <a:pt x="102583" y="603559"/>
                    <a:pt x="127275" y="610967"/>
                  </a:cubicBezTo>
                  <a:cubicBezTo>
                    <a:pt x="131995" y="612383"/>
                    <a:pt x="135476" y="616434"/>
                    <a:pt x="139576" y="619168"/>
                  </a:cubicBezTo>
                  <a:cubicBezTo>
                    <a:pt x="144360" y="626343"/>
                    <a:pt x="149828" y="637961"/>
                    <a:pt x="160078" y="639670"/>
                  </a:cubicBezTo>
                  <a:cubicBezTo>
                    <a:pt x="164342" y="640381"/>
                    <a:pt x="168279" y="636937"/>
                    <a:pt x="172380" y="635570"/>
                  </a:cubicBezTo>
                  <a:cubicBezTo>
                    <a:pt x="187415" y="636937"/>
                    <a:pt x="202520" y="637675"/>
                    <a:pt x="217485" y="639670"/>
                  </a:cubicBezTo>
                  <a:cubicBezTo>
                    <a:pt x="223071" y="640415"/>
                    <a:pt x="228846" y="641250"/>
                    <a:pt x="233887" y="643770"/>
                  </a:cubicBezTo>
                  <a:cubicBezTo>
                    <a:pt x="242703" y="648178"/>
                    <a:pt x="251520" y="653203"/>
                    <a:pt x="258489" y="660172"/>
                  </a:cubicBezTo>
                  <a:lnTo>
                    <a:pt x="283092" y="684775"/>
                  </a:lnTo>
                  <a:cubicBezTo>
                    <a:pt x="284459" y="688875"/>
                    <a:pt x="286144" y="692883"/>
                    <a:pt x="287192" y="697076"/>
                  </a:cubicBezTo>
                  <a:cubicBezTo>
                    <a:pt x="288882" y="703837"/>
                    <a:pt x="288846" y="711052"/>
                    <a:pt x="291293" y="717578"/>
                  </a:cubicBezTo>
                  <a:cubicBezTo>
                    <a:pt x="293024" y="722193"/>
                    <a:pt x="296760" y="725779"/>
                    <a:pt x="299494" y="729880"/>
                  </a:cubicBezTo>
                  <a:cubicBezTo>
                    <a:pt x="300861" y="733980"/>
                    <a:pt x="303594" y="737859"/>
                    <a:pt x="303594" y="742181"/>
                  </a:cubicBezTo>
                  <a:cubicBezTo>
                    <a:pt x="303594" y="756618"/>
                    <a:pt x="299623" y="766398"/>
                    <a:pt x="295393" y="779085"/>
                  </a:cubicBezTo>
                  <a:cubicBezTo>
                    <a:pt x="294026" y="792753"/>
                    <a:pt x="293824" y="806589"/>
                    <a:pt x="291293" y="820090"/>
                  </a:cubicBezTo>
                  <a:cubicBezTo>
                    <a:pt x="289700" y="828586"/>
                    <a:pt x="283092" y="844692"/>
                    <a:pt x="283092" y="844692"/>
                  </a:cubicBezTo>
                  <a:cubicBezTo>
                    <a:pt x="285826" y="848793"/>
                    <a:pt x="289877" y="852274"/>
                    <a:pt x="291293" y="856994"/>
                  </a:cubicBezTo>
                  <a:cubicBezTo>
                    <a:pt x="294070" y="866251"/>
                    <a:pt x="293923" y="876145"/>
                    <a:pt x="295393" y="885697"/>
                  </a:cubicBezTo>
                  <a:cubicBezTo>
                    <a:pt x="296657" y="893914"/>
                    <a:pt x="298127" y="902099"/>
                    <a:pt x="299494" y="910300"/>
                  </a:cubicBezTo>
                  <a:cubicBezTo>
                    <a:pt x="297015" y="940042"/>
                    <a:pt x="291652" y="963558"/>
                    <a:pt x="299494" y="992309"/>
                  </a:cubicBezTo>
                  <a:cubicBezTo>
                    <a:pt x="300791" y="997063"/>
                    <a:pt x="304961" y="1000510"/>
                    <a:pt x="307695" y="1004610"/>
                  </a:cubicBezTo>
                  <a:cubicBezTo>
                    <a:pt x="315568" y="1028231"/>
                    <a:pt x="317604" y="1028957"/>
                    <a:pt x="307695" y="1066117"/>
                  </a:cubicBezTo>
                  <a:cubicBezTo>
                    <a:pt x="306201" y="1071720"/>
                    <a:pt x="299106" y="1073963"/>
                    <a:pt x="295393" y="1078418"/>
                  </a:cubicBezTo>
                  <a:cubicBezTo>
                    <a:pt x="292238" y="1082204"/>
                    <a:pt x="289926" y="1086619"/>
                    <a:pt x="287192" y="1090719"/>
                  </a:cubicBezTo>
                  <a:cubicBezTo>
                    <a:pt x="280945" y="1121956"/>
                    <a:pt x="279961" y="1117040"/>
                    <a:pt x="287192" y="1160427"/>
                  </a:cubicBezTo>
                  <a:cubicBezTo>
                    <a:pt x="287194" y="1160439"/>
                    <a:pt x="297442" y="1191174"/>
                    <a:pt x="299494" y="1197331"/>
                  </a:cubicBezTo>
                  <a:lnTo>
                    <a:pt x="307695" y="1221934"/>
                  </a:lnTo>
                  <a:cubicBezTo>
                    <a:pt x="309062" y="1226034"/>
                    <a:pt x="308337" y="1231642"/>
                    <a:pt x="311795" y="1234235"/>
                  </a:cubicBezTo>
                  <a:lnTo>
                    <a:pt x="328197" y="1246536"/>
                  </a:lnTo>
                  <a:cubicBezTo>
                    <a:pt x="330931" y="1250637"/>
                    <a:pt x="333533" y="1254828"/>
                    <a:pt x="336398" y="1258838"/>
                  </a:cubicBezTo>
                  <a:cubicBezTo>
                    <a:pt x="361828" y="1294441"/>
                    <a:pt x="337572" y="1258548"/>
                    <a:pt x="356900" y="1287541"/>
                  </a:cubicBezTo>
                  <a:cubicBezTo>
                    <a:pt x="355533" y="1295742"/>
                    <a:pt x="354816" y="1304078"/>
                    <a:pt x="352800" y="1312144"/>
                  </a:cubicBezTo>
                  <a:cubicBezTo>
                    <a:pt x="350703" y="1320530"/>
                    <a:pt x="347333" y="1328545"/>
                    <a:pt x="344599" y="1336746"/>
                  </a:cubicBezTo>
                  <a:cubicBezTo>
                    <a:pt x="343232" y="1340847"/>
                    <a:pt x="341546" y="1344855"/>
                    <a:pt x="340498" y="1349048"/>
                  </a:cubicBezTo>
                  <a:cubicBezTo>
                    <a:pt x="339131" y="1354515"/>
                    <a:pt x="338017" y="1360051"/>
                    <a:pt x="336398" y="1365449"/>
                  </a:cubicBezTo>
                  <a:cubicBezTo>
                    <a:pt x="333914" y="1373729"/>
                    <a:pt x="329618" y="1381525"/>
                    <a:pt x="328197" y="1390052"/>
                  </a:cubicBezTo>
                  <a:lnTo>
                    <a:pt x="324096" y="1414655"/>
                  </a:lnTo>
                  <a:cubicBezTo>
                    <a:pt x="325463" y="1436524"/>
                    <a:pt x="325236" y="1458551"/>
                    <a:pt x="328197" y="1480262"/>
                  </a:cubicBezTo>
                  <a:cubicBezTo>
                    <a:pt x="329365" y="1488827"/>
                    <a:pt x="333664" y="1496664"/>
                    <a:pt x="336398" y="1504865"/>
                  </a:cubicBezTo>
                  <a:lnTo>
                    <a:pt x="340498" y="1517166"/>
                  </a:lnTo>
                  <a:cubicBezTo>
                    <a:pt x="338484" y="1547382"/>
                    <a:pt x="338709" y="1574422"/>
                    <a:pt x="332297" y="1603275"/>
                  </a:cubicBezTo>
                  <a:cubicBezTo>
                    <a:pt x="331359" y="1607494"/>
                    <a:pt x="329384" y="1611421"/>
                    <a:pt x="328197" y="1615577"/>
                  </a:cubicBezTo>
                  <a:cubicBezTo>
                    <a:pt x="326649" y="1620995"/>
                    <a:pt x="326316" y="1626798"/>
                    <a:pt x="324096" y="1631978"/>
                  </a:cubicBezTo>
                  <a:cubicBezTo>
                    <a:pt x="322155" y="1636508"/>
                    <a:pt x="318629" y="1640179"/>
                    <a:pt x="315895" y="1644280"/>
                  </a:cubicBezTo>
                  <a:cubicBezTo>
                    <a:pt x="308678" y="1665931"/>
                    <a:pt x="314192" y="1652986"/>
                    <a:pt x="295393" y="1681184"/>
                  </a:cubicBezTo>
                  <a:lnTo>
                    <a:pt x="287192" y="1693485"/>
                  </a:lnTo>
                  <a:cubicBezTo>
                    <a:pt x="285825" y="1697586"/>
                    <a:pt x="285792" y="1702412"/>
                    <a:pt x="283092" y="1705787"/>
                  </a:cubicBezTo>
                  <a:cubicBezTo>
                    <a:pt x="280014" y="1709635"/>
                    <a:pt x="272145" y="1709249"/>
                    <a:pt x="270791" y="1713987"/>
                  </a:cubicBezTo>
                  <a:cubicBezTo>
                    <a:pt x="268876" y="1720688"/>
                    <a:pt x="273745" y="1727615"/>
                    <a:pt x="274891" y="1734490"/>
                  </a:cubicBezTo>
                  <a:cubicBezTo>
                    <a:pt x="280922" y="1770682"/>
                    <a:pt x="270577" y="1756883"/>
                    <a:pt x="295393" y="1775494"/>
                  </a:cubicBezTo>
                  <a:cubicBezTo>
                    <a:pt x="298127" y="1779595"/>
                    <a:pt x="299885" y="1784551"/>
                    <a:pt x="303594" y="1787796"/>
                  </a:cubicBezTo>
                  <a:cubicBezTo>
                    <a:pt x="311012" y="1794286"/>
                    <a:pt x="318847" y="1801080"/>
                    <a:pt x="328197" y="1804197"/>
                  </a:cubicBezTo>
                  <a:cubicBezTo>
                    <a:pt x="332297" y="1805564"/>
                    <a:pt x="336305" y="1807250"/>
                    <a:pt x="340498" y="1808298"/>
                  </a:cubicBezTo>
                  <a:lnTo>
                    <a:pt x="373302" y="1816499"/>
                  </a:lnTo>
                  <a:cubicBezTo>
                    <a:pt x="371935" y="1827433"/>
                    <a:pt x="371172" y="1838460"/>
                    <a:pt x="369201" y="1849302"/>
                  </a:cubicBezTo>
                  <a:cubicBezTo>
                    <a:pt x="368428" y="1853555"/>
                    <a:pt x="365101" y="1857282"/>
                    <a:pt x="365101" y="1861604"/>
                  </a:cubicBezTo>
                  <a:cubicBezTo>
                    <a:pt x="365101" y="1865926"/>
                    <a:pt x="367834" y="1869805"/>
                    <a:pt x="369201" y="1873905"/>
                  </a:cubicBezTo>
                  <a:cubicBezTo>
                    <a:pt x="370568" y="1886206"/>
                    <a:pt x="375337" y="1898600"/>
                    <a:pt x="373302" y="1910809"/>
                  </a:cubicBezTo>
                  <a:cubicBezTo>
                    <a:pt x="372349" y="1916529"/>
                    <a:pt x="364217" y="1918285"/>
                    <a:pt x="361000" y="1923110"/>
                  </a:cubicBezTo>
                  <a:cubicBezTo>
                    <a:pt x="358602" y="1926706"/>
                    <a:pt x="358267" y="1931311"/>
                    <a:pt x="356900" y="1935412"/>
                  </a:cubicBezTo>
                  <a:cubicBezTo>
                    <a:pt x="361234" y="1991765"/>
                    <a:pt x="345060" y="1980749"/>
                    <a:pt x="369201" y="1992818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7" name="Forma livre 386"/>
            <p:cNvSpPr/>
            <p:nvPr/>
          </p:nvSpPr>
          <p:spPr bwMode="auto">
            <a:xfrm>
              <a:off x="3349625" y="4486275"/>
              <a:ext cx="476250" cy="73025"/>
            </a:xfrm>
            <a:custGeom>
              <a:avLst/>
              <a:gdLst>
                <a:gd name="connsiteX0" fmla="*/ 0 w 475652"/>
                <a:gd name="connsiteY0" fmla="*/ 8200 h 73808"/>
                <a:gd name="connsiteX1" fmla="*/ 28704 w 475652"/>
                <a:gd name="connsiteY1" fmla="*/ 12301 h 73808"/>
                <a:gd name="connsiteX2" fmla="*/ 53306 w 475652"/>
                <a:gd name="connsiteY2" fmla="*/ 20502 h 73808"/>
                <a:gd name="connsiteX3" fmla="*/ 98411 w 475652"/>
                <a:gd name="connsiteY3" fmla="*/ 16401 h 73808"/>
                <a:gd name="connsiteX4" fmla="*/ 114813 w 475652"/>
                <a:gd name="connsiteY4" fmla="*/ 12301 h 73808"/>
                <a:gd name="connsiteX5" fmla="*/ 147617 w 475652"/>
                <a:gd name="connsiteY5" fmla="*/ 8200 h 73808"/>
                <a:gd name="connsiteX6" fmla="*/ 262429 w 475652"/>
                <a:gd name="connsiteY6" fmla="*/ 0 h 73808"/>
                <a:gd name="connsiteX7" fmla="*/ 303434 w 475652"/>
                <a:gd name="connsiteY7" fmla="*/ 4100 h 73808"/>
                <a:gd name="connsiteX8" fmla="*/ 319835 w 475652"/>
                <a:gd name="connsiteY8" fmla="*/ 12301 h 73808"/>
                <a:gd name="connsiteX9" fmla="*/ 332137 w 475652"/>
                <a:gd name="connsiteY9" fmla="*/ 16401 h 73808"/>
                <a:gd name="connsiteX10" fmla="*/ 352639 w 475652"/>
                <a:gd name="connsiteY10" fmla="*/ 41004 h 73808"/>
                <a:gd name="connsiteX11" fmla="*/ 377242 w 475652"/>
                <a:gd name="connsiteY11" fmla="*/ 49205 h 73808"/>
                <a:gd name="connsiteX12" fmla="*/ 405945 w 475652"/>
                <a:gd name="connsiteY12" fmla="*/ 57406 h 73808"/>
                <a:gd name="connsiteX13" fmla="*/ 442849 w 475652"/>
                <a:gd name="connsiteY13" fmla="*/ 69707 h 73808"/>
                <a:gd name="connsiteX14" fmla="*/ 455150 w 475652"/>
                <a:gd name="connsiteY14" fmla="*/ 73808 h 73808"/>
                <a:gd name="connsiteX15" fmla="*/ 475652 w 475652"/>
                <a:gd name="connsiteY15" fmla="*/ 69707 h 7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5652" h="73808">
                  <a:moveTo>
                    <a:pt x="0" y="8200"/>
                  </a:moveTo>
                  <a:cubicBezTo>
                    <a:pt x="9568" y="9567"/>
                    <a:pt x="19286" y="10128"/>
                    <a:pt x="28704" y="12301"/>
                  </a:cubicBezTo>
                  <a:cubicBezTo>
                    <a:pt x="37127" y="14245"/>
                    <a:pt x="53306" y="20502"/>
                    <a:pt x="53306" y="20502"/>
                  </a:cubicBezTo>
                  <a:cubicBezTo>
                    <a:pt x="68341" y="19135"/>
                    <a:pt x="83446" y="18396"/>
                    <a:pt x="98411" y="16401"/>
                  </a:cubicBezTo>
                  <a:cubicBezTo>
                    <a:pt x="103997" y="15656"/>
                    <a:pt x="109254" y="13227"/>
                    <a:pt x="114813" y="12301"/>
                  </a:cubicBezTo>
                  <a:cubicBezTo>
                    <a:pt x="125683" y="10489"/>
                    <a:pt x="136635" y="9115"/>
                    <a:pt x="147617" y="8200"/>
                  </a:cubicBezTo>
                  <a:cubicBezTo>
                    <a:pt x="185853" y="5014"/>
                    <a:pt x="262429" y="0"/>
                    <a:pt x="262429" y="0"/>
                  </a:cubicBezTo>
                  <a:cubicBezTo>
                    <a:pt x="276097" y="1367"/>
                    <a:pt x="290002" y="1222"/>
                    <a:pt x="303434" y="4100"/>
                  </a:cubicBezTo>
                  <a:cubicBezTo>
                    <a:pt x="309411" y="5381"/>
                    <a:pt x="314217" y="9893"/>
                    <a:pt x="319835" y="12301"/>
                  </a:cubicBezTo>
                  <a:cubicBezTo>
                    <a:pt x="323808" y="14004"/>
                    <a:pt x="328036" y="15034"/>
                    <a:pt x="332137" y="16401"/>
                  </a:cubicBezTo>
                  <a:cubicBezTo>
                    <a:pt x="337241" y="24058"/>
                    <a:pt x="344281" y="36361"/>
                    <a:pt x="352639" y="41004"/>
                  </a:cubicBezTo>
                  <a:cubicBezTo>
                    <a:pt x="360196" y="45202"/>
                    <a:pt x="369041" y="46471"/>
                    <a:pt x="377242" y="49205"/>
                  </a:cubicBezTo>
                  <a:cubicBezTo>
                    <a:pt x="418587" y="62986"/>
                    <a:pt x="354450" y="41957"/>
                    <a:pt x="405945" y="57406"/>
                  </a:cubicBezTo>
                  <a:cubicBezTo>
                    <a:pt x="418365" y="61132"/>
                    <a:pt x="430548" y="65607"/>
                    <a:pt x="442849" y="69707"/>
                  </a:cubicBezTo>
                  <a:lnTo>
                    <a:pt x="455150" y="73808"/>
                  </a:lnTo>
                  <a:lnTo>
                    <a:pt x="475652" y="69707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8" name="Forma livre 387"/>
            <p:cNvSpPr/>
            <p:nvPr/>
          </p:nvSpPr>
          <p:spPr bwMode="auto">
            <a:xfrm>
              <a:off x="3357563" y="4670425"/>
              <a:ext cx="398462" cy="69850"/>
            </a:xfrm>
            <a:custGeom>
              <a:avLst/>
              <a:gdLst>
                <a:gd name="connsiteX0" fmla="*/ 0 w 397744"/>
                <a:gd name="connsiteY0" fmla="*/ 0 h 69707"/>
                <a:gd name="connsiteX1" fmla="*/ 32804 w 397744"/>
                <a:gd name="connsiteY1" fmla="*/ 8201 h 69707"/>
                <a:gd name="connsiteX2" fmla="*/ 57407 w 397744"/>
                <a:gd name="connsiteY2" fmla="*/ 24602 h 69707"/>
                <a:gd name="connsiteX3" fmla="*/ 73808 w 397744"/>
                <a:gd name="connsiteY3" fmla="*/ 28703 h 69707"/>
                <a:gd name="connsiteX4" fmla="*/ 98411 w 397744"/>
                <a:gd name="connsiteY4" fmla="*/ 36904 h 69707"/>
                <a:gd name="connsiteX5" fmla="*/ 192721 w 397744"/>
                <a:gd name="connsiteY5" fmla="*/ 36904 h 69707"/>
                <a:gd name="connsiteX6" fmla="*/ 205023 w 397744"/>
                <a:gd name="connsiteY6" fmla="*/ 41004 h 69707"/>
                <a:gd name="connsiteX7" fmla="*/ 213224 w 397744"/>
                <a:gd name="connsiteY7" fmla="*/ 53306 h 69707"/>
                <a:gd name="connsiteX8" fmla="*/ 225525 w 397744"/>
                <a:gd name="connsiteY8" fmla="*/ 57406 h 69707"/>
                <a:gd name="connsiteX9" fmla="*/ 241927 w 397744"/>
                <a:gd name="connsiteY9" fmla="*/ 61506 h 69707"/>
                <a:gd name="connsiteX10" fmla="*/ 270630 w 397744"/>
                <a:gd name="connsiteY10" fmla="*/ 69707 h 69707"/>
                <a:gd name="connsiteX11" fmla="*/ 311634 w 397744"/>
                <a:gd name="connsiteY11" fmla="*/ 65607 h 69707"/>
                <a:gd name="connsiteX12" fmla="*/ 340337 w 397744"/>
                <a:gd name="connsiteY12" fmla="*/ 57406 h 69707"/>
                <a:gd name="connsiteX13" fmla="*/ 344438 w 397744"/>
                <a:gd name="connsiteY13" fmla="*/ 45105 h 69707"/>
                <a:gd name="connsiteX14" fmla="*/ 356739 w 397744"/>
                <a:gd name="connsiteY14" fmla="*/ 41004 h 69707"/>
                <a:gd name="connsiteX15" fmla="*/ 397744 w 397744"/>
                <a:gd name="connsiteY15" fmla="*/ 41004 h 6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7744" h="69707">
                  <a:moveTo>
                    <a:pt x="0" y="0"/>
                  </a:moveTo>
                  <a:cubicBezTo>
                    <a:pt x="2962" y="592"/>
                    <a:pt x="27398" y="4597"/>
                    <a:pt x="32804" y="8201"/>
                  </a:cubicBezTo>
                  <a:cubicBezTo>
                    <a:pt x="58616" y="25409"/>
                    <a:pt x="31811" y="17289"/>
                    <a:pt x="57407" y="24602"/>
                  </a:cubicBezTo>
                  <a:cubicBezTo>
                    <a:pt x="62825" y="26150"/>
                    <a:pt x="68410" y="27084"/>
                    <a:pt x="73808" y="28703"/>
                  </a:cubicBezTo>
                  <a:cubicBezTo>
                    <a:pt x="82088" y="31187"/>
                    <a:pt x="98411" y="36904"/>
                    <a:pt x="98411" y="36904"/>
                  </a:cubicBezTo>
                  <a:cubicBezTo>
                    <a:pt x="147268" y="32832"/>
                    <a:pt x="145345" y="30136"/>
                    <a:pt x="192721" y="36904"/>
                  </a:cubicBezTo>
                  <a:cubicBezTo>
                    <a:pt x="197000" y="37515"/>
                    <a:pt x="200922" y="39637"/>
                    <a:pt x="205023" y="41004"/>
                  </a:cubicBezTo>
                  <a:cubicBezTo>
                    <a:pt x="207757" y="45105"/>
                    <a:pt x="209376" y="50227"/>
                    <a:pt x="213224" y="53306"/>
                  </a:cubicBezTo>
                  <a:cubicBezTo>
                    <a:pt x="216599" y="56006"/>
                    <a:pt x="221369" y="56219"/>
                    <a:pt x="225525" y="57406"/>
                  </a:cubicBezTo>
                  <a:cubicBezTo>
                    <a:pt x="230944" y="58954"/>
                    <a:pt x="236508" y="59958"/>
                    <a:pt x="241927" y="61506"/>
                  </a:cubicBezTo>
                  <a:cubicBezTo>
                    <a:pt x="283105" y="73271"/>
                    <a:pt x="219354" y="56890"/>
                    <a:pt x="270630" y="69707"/>
                  </a:cubicBezTo>
                  <a:cubicBezTo>
                    <a:pt x="284298" y="68340"/>
                    <a:pt x="298036" y="67550"/>
                    <a:pt x="311634" y="65607"/>
                  </a:cubicBezTo>
                  <a:cubicBezTo>
                    <a:pt x="320639" y="64320"/>
                    <a:pt x="331578" y="60326"/>
                    <a:pt x="340337" y="57406"/>
                  </a:cubicBezTo>
                  <a:cubicBezTo>
                    <a:pt x="341704" y="53306"/>
                    <a:pt x="341382" y="48161"/>
                    <a:pt x="344438" y="45105"/>
                  </a:cubicBezTo>
                  <a:cubicBezTo>
                    <a:pt x="347494" y="42049"/>
                    <a:pt x="352430" y="41336"/>
                    <a:pt x="356739" y="41004"/>
                  </a:cubicBezTo>
                  <a:cubicBezTo>
                    <a:pt x="370367" y="39956"/>
                    <a:pt x="384076" y="41004"/>
                    <a:pt x="397744" y="41004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69" name="Forma livre 388"/>
            <p:cNvSpPr/>
            <p:nvPr/>
          </p:nvSpPr>
          <p:spPr bwMode="auto">
            <a:xfrm>
              <a:off x="4289425" y="4348163"/>
              <a:ext cx="1381125" cy="146050"/>
            </a:xfrm>
            <a:custGeom>
              <a:avLst/>
              <a:gdLst>
                <a:gd name="connsiteX0" fmla="*/ 1381851 w 1381851"/>
                <a:gd name="connsiteY0" fmla="*/ 139416 h 147616"/>
                <a:gd name="connsiteX1" fmla="*/ 1349048 w 1381851"/>
                <a:gd name="connsiteY1" fmla="*/ 143516 h 147616"/>
                <a:gd name="connsiteX2" fmla="*/ 1336746 w 1381851"/>
                <a:gd name="connsiteY2" fmla="*/ 147616 h 147616"/>
                <a:gd name="connsiteX3" fmla="*/ 1299842 w 1381851"/>
                <a:gd name="connsiteY3" fmla="*/ 143516 h 147616"/>
                <a:gd name="connsiteX4" fmla="*/ 1271139 w 1381851"/>
                <a:gd name="connsiteY4" fmla="*/ 118913 h 147616"/>
                <a:gd name="connsiteX5" fmla="*/ 1254737 w 1381851"/>
                <a:gd name="connsiteY5" fmla="*/ 114813 h 147616"/>
                <a:gd name="connsiteX6" fmla="*/ 1230135 w 1381851"/>
                <a:gd name="connsiteY6" fmla="*/ 106612 h 147616"/>
                <a:gd name="connsiteX7" fmla="*/ 1160427 w 1381851"/>
                <a:gd name="connsiteY7" fmla="*/ 110712 h 147616"/>
                <a:gd name="connsiteX8" fmla="*/ 1135824 w 1381851"/>
                <a:gd name="connsiteY8" fmla="*/ 123014 h 147616"/>
                <a:gd name="connsiteX9" fmla="*/ 1123523 w 1381851"/>
                <a:gd name="connsiteY9" fmla="*/ 127114 h 147616"/>
                <a:gd name="connsiteX10" fmla="*/ 1078418 w 1381851"/>
                <a:gd name="connsiteY10" fmla="*/ 139416 h 147616"/>
                <a:gd name="connsiteX11" fmla="*/ 1057916 w 1381851"/>
                <a:gd name="connsiteY11" fmla="*/ 131215 h 147616"/>
                <a:gd name="connsiteX12" fmla="*/ 1016911 w 1381851"/>
                <a:gd name="connsiteY12" fmla="*/ 102512 h 147616"/>
                <a:gd name="connsiteX13" fmla="*/ 1004610 w 1381851"/>
                <a:gd name="connsiteY13" fmla="*/ 94311 h 147616"/>
                <a:gd name="connsiteX14" fmla="*/ 996409 w 1381851"/>
                <a:gd name="connsiteY14" fmla="*/ 82009 h 147616"/>
                <a:gd name="connsiteX15" fmla="*/ 959505 w 1381851"/>
                <a:gd name="connsiteY15" fmla="*/ 65608 h 147616"/>
                <a:gd name="connsiteX16" fmla="*/ 947204 w 1381851"/>
                <a:gd name="connsiteY16" fmla="*/ 61507 h 147616"/>
                <a:gd name="connsiteX17" fmla="*/ 815989 w 1381851"/>
                <a:gd name="connsiteY17" fmla="*/ 65608 h 147616"/>
                <a:gd name="connsiteX18" fmla="*/ 803688 w 1381851"/>
                <a:gd name="connsiteY18" fmla="*/ 69708 h 147616"/>
                <a:gd name="connsiteX19" fmla="*/ 729880 w 1381851"/>
                <a:gd name="connsiteY19" fmla="*/ 57407 h 147616"/>
                <a:gd name="connsiteX20" fmla="*/ 692976 w 1381851"/>
                <a:gd name="connsiteY20" fmla="*/ 53306 h 147616"/>
                <a:gd name="connsiteX21" fmla="*/ 590465 w 1381851"/>
                <a:gd name="connsiteY21" fmla="*/ 45105 h 147616"/>
                <a:gd name="connsiteX22" fmla="*/ 574063 w 1381851"/>
                <a:gd name="connsiteY22" fmla="*/ 41005 h 147616"/>
                <a:gd name="connsiteX23" fmla="*/ 537159 w 1381851"/>
                <a:gd name="connsiteY23" fmla="*/ 28703 h 147616"/>
                <a:gd name="connsiteX24" fmla="*/ 524857 w 1381851"/>
                <a:gd name="connsiteY24" fmla="*/ 24603 h 147616"/>
                <a:gd name="connsiteX25" fmla="*/ 483853 w 1381851"/>
                <a:gd name="connsiteY25" fmla="*/ 16402 h 147616"/>
                <a:gd name="connsiteX26" fmla="*/ 438748 w 1381851"/>
                <a:gd name="connsiteY26" fmla="*/ 8201 h 147616"/>
                <a:gd name="connsiteX27" fmla="*/ 381342 w 1381851"/>
                <a:gd name="connsiteY27" fmla="*/ 0 h 147616"/>
                <a:gd name="connsiteX28" fmla="*/ 266529 w 1381851"/>
                <a:gd name="connsiteY28" fmla="*/ 4101 h 147616"/>
                <a:gd name="connsiteX29" fmla="*/ 254228 w 1381851"/>
                <a:gd name="connsiteY29" fmla="*/ 8201 h 147616"/>
                <a:gd name="connsiteX30" fmla="*/ 221424 w 1381851"/>
                <a:gd name="connsiteY30" fmla="*/ 16402 h 147616"/>
                <a:gd name="connsiteX31" fmla="*/ 196822 w 1381851"/>
                <a:gd name="connsiteY31" fmla="*/ 24603 h 147616"/>
                <a:gd name="connsiteX32" fmla="*/ 176319 w 1381851"/>
                <a:gd name="connsiteY32" fmla="*/ 28703 h 147616"/>
                <a:gd name="connsiteX33" fmla="*/ 151717 w 1381851"/>
                <a:gd name="connsiteY33" fmla="*/ 36904 h 147616"/>
                <a:gd name="connsiteX34" fmla="*/ 127114 w 1381851"/>
                <a:gd name="connsiteY34" fmla="*/ 41005 h 147616"/>
                <a:gd name="connsiteX35" fmla="*/ 36904 w 1381851"/>
                <a:gd name="connsiteY35" fmla="*/ 36904 h 147616"/>
                <a:gd name="connsiteX36" fmla="*/ 12301 w 1381851"/>
                <a:gd name="connsiteY36" fmla="*/ 24603 h 147616"/>
                <a:gd name="connsiteX37" fmla="*/ 0 w 1381851"/>
                <a:gd name="connsiteY37" fmla="*/ 20503 h 147616"/>
                <a:gd name="connsiteX0" fmla="*/ 1381851 w 1381851"/>
                <a:gd name="connsiteY0" fmla="*/ 139416 h 147616"/>
                <a:gd name="connsiteX1" fmla="*/ 1349048 w 1381851"/>
                <a:gd name="connsiteY1" fmla="*/ 143516 h 147616"/>
                <a:gd name="connsiteX2" fmla="*/ 1336746 w 1381851"/>
                <a:gd name="connsiteY2" fmla="*/ 147616 h 147616"/>
                <a:gd name="connsiteX3" fmla="*/ 1299842 w 1381851"/>
                <a:gd name="connsiteY3" fmla="*/ 143516 h 147616"/>
                <a:gd name="connsiteX4" fmla="*/ 1271139 w 1381851"/>
                <a:gd name="connsiteY4" fmla="*/ 118913 h 147616"/>
                <a:gd name="connsiteX5" fmla="*/ 1254737 w 1381851"/>
                <a:gd name="connsiteY5" fmla="*/ 114813 h 147616"/>
                <a:gd name="connsiteX6" fmla="*/ 1230135 w 1381851"/>
                <a:gd name="connsiteY6" fmla="*/ 106612 h 147616"/>
                <a:gd name="connsiteX7" fmla="*/ 1160427 w 1381851"/>
                <a:gd name="connsiteY7" fmla="*/ 110712 h 147616"/>
                <a:gd name="connsiteX8" fmla="*/ 1135824 w 1381851"/>
                <a:gd name="connsiteY8" fmla="*/ 123014 h 147616"/>
                <a:gd name="connsiteX9" fmla="*/ 1123523 w 1381851"/>
                <a:gd name="connsiteY9" fmla="*/ 127114 h 147616"/>
                <a:gd name="connsiteX10" fmla="*/ 1078418 w 1381851"/>
                <a:gd name="connsiteY10" fmla="*/ 139416 h 147616"/>
                <a:gd name="connsiteX11" fmla="*/ 1057916 w 1381851"/>
                <a:gd name="connsiteY11" fmla="*/ 131215 h 147616"/>
                <a:gd name="connsiteX12" fmla="*/ 1016911 w 1381851"/>
                <a:gd name="connsiteY12" fmla="*/ 102512 h 147616"/>
                <a:gd name="connsiteX13" fmla="*/ 1004610 w 1381851"/>
                <a:gd name="connsiteY13" fmla="*/ 94311 h 147616"/>
                <a:gd name="connsiteX14" fmla="*/ 996409 w 1381851"/>
                <a:gd name="connsiteY14" fmla="*/ 82009 h 147616"/>
                <a:gd name="connsiteX15" fmla="*/ 959505 w 1381851"/>
                <a:gd name="connsiteY15" fmla="*/ 65608 h 147616"/>
                <a:gd name="connsiteX16" fmla="*/ 947204 w 1381851"/>
                <a:gd name="connsiteY16" fmla="*/ 61507 h 147616"/>
                <a:gd name="connsiteX17" fmla="*/ 815989 w 1381851"/>
                <a:gd name="connsiteY17" fmla="*/ 65608 h 147616"/>
                <a:gd name="connsiteX18" fmla="*/ 803688 w 1381851"/>
                <a:gd name="connsiteY18" fmla="*/ 69708 h 147616"/>
                <a:gd name="connsiteX19" fmla="*/ 729880 w 1381851"/>
                <a:gd name="connsiteY19" fmla="*/ 57407 h 147616"/>
                <a:gd name="connsiteX20" fmla="*/ 692976 w 1381851"/>
                <a:gd name="connsiteY20" fmla="*/ 53306 h 147616"/>
                <a:gd name="connsiteX21" fmla="*/ 590465 w 1381851"/>
                <a:gd name="connsiteY21" fmla="*/ 45105 h 147616"/>
                <a:gd name="connsiteX22" fmla="*/ 574063 w 1381851"/>
                <a:gd name="connsiteY22" fmla="*/ 41005 h 147616"/>
                <a:gd name="connsiteX23" fmla="*/ 537159 w 1381851"/>
                <a:gd name="connsiteY23" fmla="*/ 28703 h 147616"/>
                <a:gd name="connsiteX24" fmla="*/ 524857 w 1381851"/>
                <a:gd name="connsiteY24" fmla="*/ 24603 h 147616"/>
                <a:gd name="connsiteX25" fmla="*/ 479753 w 1381851"/>
                <a:gd name="connsiteY25" fmla="*/ 32804 h 147616"/>
                <a:gd name="connsiteX26" fmla="*/ 438748 w 1381851"/>
                <a:gd name="connsiteY26" fmla="*/ 8201 h 147616"/>
                <a:gd name="connsiteX27" fmla="*/ 381342 w 1381851"/>
                <a:gd name="connsiteY27" fmla="*/ 0 h 147616"/>
                <a:gd name="connsiteX28" fmla="*/ 266529 w 1381851"/>
                <a:gd name="connsiteY28" fmla="*/ 4101 h 147616"/>
                <a:gd name="connsiteX29" fmla="*/ 254228 w 1381851"/>
                <a:gd name="connsiteY29" fmla="*/ 8201 h 147616"/>
                <a:gd name="connsiteX30" fmla="*/ 221424 w 1381851"/>
                <a:gd name="connsiteY30" fmla="*/ 16402 h 147616"/>
                <a:gd name="connsiteX31" fmla="*/ 196822 w 1381851"/>
                <a:gd name="connsiteY31" fmla="*/ 24603 h 147616"/>
                <a:gd name="connsiteX32" fmla="*/ 176319 w 1381851"/>
                <a:gd name="connsiteY32" fmla="*/ 28703 h 147616"/>
                <a:gd name="connsiteX33" fmla="*/ 151717 w 1381851"/>
                <a:gd name="connsiteY33" fmla="*/ 36904 h 147616"/>
                <a:gd name="connsiteX34" fmla="*/ 127114 w 1381851"/>
                <a:gd name="connsiteY34" fmla="*/ 41005 h 147616"/>
                <a:gd name="connsiteX35" fmla="*/ 36904 w 1381851"/>
                <a:gd name="connsiteY35" fmla="*/ 36904 h 147616"/>
                <a:gd name="connsiteX36" fmla="*/ 12301 w 1381851"/>
                <a:gd name="connsiteY36" fmla="*/ 24603 h 147616"/>
                <a:gd name="connsiteX37" fmla="*/ 0 w 1381851"/>
                <a:gd name="connsiteY37" fmla="*/ 20503 h 147616"/>
                <a:gd name="connsiteX0" fmla="*/ 1381851 w 1381851"/>
                <a:gd name="connsiteY0" fmla="*/ 139416 h 147616"/>
                <a:gd name="connsiteX1" fmla="*/ 1349048 w 1381851"/>
                <a:gd name="connsiteY1" fmla="*/ 143516 h 147616"/>
                <a:gd name="connsiteX2" fmla="*/ 1336746 w 1381851"/>
                <a:gd name="connsiteY2" fmla="*/ 147616 h 147616"/>
                <a:gd name="connsiteX3" fmla="*/ 1299842 w 1381851"/>
                <a:gd name="connsiteY3" fmla="*/ 143516 h 147616"/>
                <a:gd name="connsiteX4" fmla="*/ 1271139 w 1381851"/>
                <a:gd name="connsiteY4" fmla="*/ 118913 h 147616"/>
                <a:gd name="connsiteX5" fmla="*/ 1254737 w 1381851"/>
                <a:gd name="connsiteY5" fmla="*/ 114813 h 147616"/>
                <a:gd name="connsiteX6" fmla="*/ 1230135 w 1381851"/>
                <a:gd name="connsiteY6" fmla="*/ 106612 h 147616"/>
                <a:gd name="connsiteX7" fmla="*/ 1160427 w 1381851"/>
                <a:gd name="connsiteY7" fmla="*/ 110712 h 147616"/>
                <a:gd name="connsiteX8" fmla="*/ 1135824 w 1381851"/>
                <a:gd name="connsiteY8" fmla="*/ 123014 h 147616"/>
                <a:gd name="connsiteX9" fmla="*/ 1123523 w 1381851"/>
                <a:gd name="connsiteY9" fmla="*/ 127114 h 147616"/>
                <a:gd name="connsiteX10" fmla="*/ 1078418 w 1381851"/>
                <a:gd name="connsiteY10" fmla="*/ 139416 h 147616"/>
                <a:gd name="connsiteX11" fmla="*/ 1057916 w 1381851"/>
                <a:gd name="connsiteY11" fmla="*/ 131215 h 147616"/>
                <a:gd name="connsiteX12" fmla="*/ 1016911 w 1381851"/>
                <a:gd name="connsiteY12" fmla="*/ 102512 h 147616"/>
                <a:gd name="connsiteX13" fmla="*/ 1004610 w 1381851"/>
                <a:gd name="connsiteY13" fmla="*/ 94311 h 147616"/>
                <a:gd name="connsiteX14" fmla="*/ 996409 w 1381851"/>
                <a:gd name="connsiteY14" fmla="*/ 82009 h 147616"/>
                <a:gd name="connsiteX15" fmla="*/ 959505 w 1381851"/>
                <a:gd name="connsiteY15" fmla="*/ 65608 h 147616"/>
                <a:gd name="connsiteX16" fmla="*/ 947204 w 1381851"/>
                <a:gd name="connsiteY16" fmla="*/ 61507 h 147616"/>
                <a:gd name="connsiteX17" fmla="*/ 815989 w 1381851"/>
                <a:gd name="connsiteY17" fmla="*/ 65608 h 147616"/>
                <a:gd name="connsiteX18" fmla="*/ 803688 w 1381851"/>
                <a:gd name="connsiteY18" fmla="*/ 69708 h 147616"/>
                <a:gd name="connsiteX19" fmla="*/ 729880 w 1381851"/>
                <a:gd name="connsiteY19" fmla="*/ 57407 h 147616"/>
                <a:gd name="connsiteX20" fmla="*/ 692976 w 1381851"/>
                <a:gd name="connsiteY20" fmla="*/ 53306 h 147616"/>
                <a:gd name="connsiteX21" fmla="*/ 590465 w 1381851"/>
                <a:gd name="connsiteY21" fmla="*/ 45105 h 147616"/>
                <a:gd name="connsiteX22" fmla="*/ 574063 w 1381851"/>
                <a:gd name="connsiteY22" fmla="*/ 41005 h 147616"/>
                <a:gd name="connsiteX23" fmla="*/ 537159 w 1381851"/>
                <a:gd name="connsiteY23" fmla="*/ 28703 h 147616"/>
                <a:gd name="connsiteX24" fmla="*/ 524857 w 1381851"/>
                <a:gd name="connsiteY24" fmla="*/ 45105 h 147616"/>
                <a:gd name="connsiteX25" fmla="*/ 479753 w 1381851"/>
                <a:gd name="connsiteY25" fmla="*/ 32804 h 147616"/>
                <a:gd name="connsiteX26" fmla="*/ 438748 w 1381851"/>
                <a:gd name="connsiteY26" fmla="*/ 8201 h 147616"/>
                <a:gd name="connsiteX27" fmla="*/ 381342 w 1381851"/>
                <a:gd name="connsiteY27" fmla="*/ 0 h 147616"/>
                <a:gd name="connsiteX28" fmla="*/ 266529 w 1381851"/>
                <a:gd name="connsiteY28" fmla="*/ 4101 h 147616"/>
                <a:gd name="connsiteX29" fmla="*/ 254228 w 1381851"/>
                <a:gd name="connsiteY29" fmla="*/ 8201 h 147616"/>
                <a:gd name="connsiteX30" fmla="*/ 221424 w 1381851"/>
                <a:gd name="connsiteY30" fmla="*/ 16402 h 147616"/>
                <a:gd name="connsiteX31" fmla="*/ 196822 w 1381851"/>
                <a:gd name="connsiteY31" fmla="*/ 24603 h 147616"/>
                <a:gd name="connsiteX32" fmla="*/ 176319 w 1381851"/>
                <a:gd name="connsiteY32" fmla="*/ 28703 h 147616"/>
                <a:gd name="connsiteX33" fmla="*/ 151717 w 1381851"/>
                <a:gd name="connsiteY33" fmla="*/ 36904 h 147616"/>
                <a:gd name="connsiteX34" fmla="*/ 127114 w 1381851"/>
                <a:gd name="connsiteY34" fmla="*/ 41005 h 147616"/>
                <a:gd name="connsiteX35" fmla="*/ 36904 w 1381851"/>
                <a:gd name="connsiteY35" fmla="*/ 36904 h 147616"/>
                <a:gd name="connsiteX36" fmla="*/ 12301 w 1381851"/>
                <a:gd name="connsiteY36" fmla="*/ 24603 h 147616"/>
                <a:gd name="connsiteX37" fmla="*/ 0 w 1381851"/>
                <a:gd name="connsiteY37" fmla="*/ 20503 h 147616"/>
                <a:gd name="connsiteX0" fmla="*/ 1381851 w 1381851"/>
                <a:gd name="connsiteY0" fmla="*/ 139416 h 147616"/>
                <a:gd name="connsiteX1" fmla="*/ 1349048 w 1381851"/>
                <a:gd name="connsiteY1" fmla="*/ 143516 h 147616"/>
                <a:gd name="connsiteX2" fmla="*/ 1336746 w 1381851"/>
                <a:gd name="connsiteY2" fmla="*/ 147616 h 147616"/>
                <a:gd name="connsiteX3" fmla="*/ 1299842 w 1381851"/>
                <a:gd name="connsiteY3" fmla="*/ 143516 h 147616"/>
                <a:gd name="connsiteX4" fmla="*/ 1271139 w 1381851"/>
                <a:gd name="connsiteY4" fmla="*/ 118913 h 147616"/>
                <a:gd name="connsiteX5" fmla="*/ 1254737 w 1381851"/>
                <a:gd name="connsiteY5" fmla="*/ 114813 h 147616"/>
                <a:gd name="connsiteX6" fmla="*/ 1230135 w 1381851"/>
                <a:gd name="connsiteY6" fmla="*/ 106612 h 147616"/>
                <a:gd name="connsiteX7" fmla="*/ 1160427 w 1381851"/>
                <a:gd name="connsiteY7" fmla="*/ 110712 h 147616"/>
                <a:gd name="connsiteX8" fmla="*/ 1135824 w 1381851"/>
                <a:gd name="connsiteY8" fmla="*/ 123014 h 147616"/>
                <a:gd name="connsiteX9" fmla="*/ 1123523 w 1381851"/>
                <a:gd name="connsiteY9" fmla="*/ 127114 h 147616"/>
                <a:gd name="connsiteX10" fmla="*/ 1078418 w 1381851"/>
                <a:gd name="connsiteY10" fmla="*/ 139416 h 147616"/>
                <a:gd name="connsiteX11" fmla="*/ 1057916 w 1381851"/>
                <a:gd name="connsiteY11" fmla="*/ 131215 h 147616"/>
                <a:gd name="connsiteX12" fmla="*/ 1016911 w 1381851"/>
                <a:gd name="connsiteY12" fmla="*/ 102512 h 147616"/>
                <a:gd name="connsiteX13" fmla="*/ 1004610 w 1381851"/>
                <a:gd name="connsiteY13" fmla="*/ 94311 h 147616"/>
                <a:gd name="connsiteX14" fmla="*/ 996409 w 1381851"/>
                <a:gd name="connsiteY14" fmla="*/ 82009 h 147616"/>
                <a:gd name="connsiteX15" fmla="*/ 959505 w 1381851"/>
                <a:gd name="connsiteY15" fmla="*/ 65608 h 147616"/>
                <a:gd name="connsiteX16" fmla="*/ 947204 w 1381851"/>
                <a:gd name="connsiteY16" fmla="*/ 61507 h 147616"/>
                <a:gd name="connsiteX17" fmla="*/ 815989 w 1381851"/>
                <a:gd name="connsiteY17" fmla="*/ 65608 h 147616"/>
                <a:gd name="connsiteX18" fmla="*/ 803688 w 1381851"/>
                <a:gd name="connsiteY18" fmla="*/ 69708 h 147616"/>
                <a:gd name="connsiteX19" fmla="*/ 729880 w 1381851"/>
                <a:gd name="connsiteY19" fmla="*/ 57407 h 147616"/>
                <a:gd name="connsiteX20" fmla="*/ 692976 w 1381851"/>
                <a:gd name="connsiteY20" fmla="*/ 53306 h 147616"/>
                <a:gd name="connsiteX21" fmla="*/ 590465 w 1381851"/>
                <a:gd name="connsiteY21" fmla="*/ 45105 h 147616"/>
                <a:gd name="connsiteX22" fmla="*/ 574063 w 1381851"/>
                <a:gd name="connsiteY22" fmla="*/ 41005 h 147616"/>
                <a:gd name="connsiteX23" fmla="*/ 545360 w 1381851"/>
                <a:gd name="connsiteY23" fmla="*/ 45104 h 147616"/>
                <a:gd name="connsiteX24" fmla="*/ 524857 w 1381851"/>
                <a:gd name="connsiteY24" fmla="*/ 45105 h 147616"/>
                <a:gd name="connsiteX25" fmla="*/ 479753 w 1381851"/>
                <a:gd name="connsiteY25" fmla="*/ 32804 h 147616"/>
                <a:gd name="connsiteX26" fmla="*/ 438748 w 1381851"/>
                <a:gd name="connsiteY26" fmla="*/ 8201 h 147616"/>
                <a:gd name="connsiteX27" fmla="*/ 381342 w 1381851"/>
                <a:gd name="connsiteY27" fmla="*/ 0 h 147616"/>
                <a:gd name="connsiteX28" fmla="*/ 266529 w 1381851"/>
                <a:gd name="connsiteY28" fmla="*/ 4101 h 147616"/>
                <a:gd name="connsiteX29" fmla="*/ 254228 w 1381851"/>
                <a:gd name="connsiteY29" fmla="*/ 8201 h 147616"/>
                <a:gd name="connsiteX30" fmla="*/ 221424 w 1381851"/>
                <a:gd name="connsiteY30" fmla="*/ 16402 h 147616"/>
                <a:gd name="connsiteX31" fmla="*/ 196822 w 1381851"/>
                <a:gd name="connsiteY31" fmla="*/ 24603 h 147616"/>
                <a:gd name="connsiteX32" fmla="*/ 176319 w 1381851"/>
                <a:gd name="connsiteY32" fmla="*/ 28703 h 147616"/>
                <a:gd name="connsiteX33" fmla="*/ 151717 w 1381851"/>
                <a:gd name="connsiteY33" fmla="*/ 36904 h 147616"/>
                <a:gd name="connsiteX34" fmla="*/ 127114 w 1381851"/>
                <a:gd name="connsiteY34" fmla="*/ 41005 h 147616"/>
                <a:gd name="connsiteX35" fmla="*/ 36904 w 1381851"/>
                <a:gd name="connsiteY35" fmla="*/ 36904 h 147616"/>
                <a:gd name="connsiteX36" fmla="*/ 12301 w 1381851"/>
                <a:gd name="connsiteY36" fmla="*/ 24603 h 147616"/>
                <a:gd name="connsiteX37" fmla="*/ 0 w 1381851"/>
                <a:gd name="connsiteY37" fmla="*/ 20503 h 147616"/>
                <a:gd name="connsiteX0" fmla="*/ 1381851 w 1381851"/>
                <a:gd name="connsiteY0" fmla="*/ 140852 h 149052"/>
                <a:gd name="connsiteX1" fmla="*/ 1349048 w 1381851"/>
                <a:gd name="connsiteY1" fmla="*/ 144952 h 149052"/>
                <a:gd name="connsiteX2" fmla="*/ 1336746 w 1381851"/>
                <a:gd name="connsiteY2" fmla="*/ 149052 h 149052"/>
                <a:gd name="connsiteX3" fmla="*/ 1299842 w 1381851"/>
                <a:gd name="connsiteY3" fmla="*/ 144952 h 149052"/>
                <a:gd name="connsiteX4" fmla="*/ 1271139 w 1381851"/>
                <a:gd name="connsiteY4" fmla="*/ 120349 h 149052"/>
                <a:gd name="connsiteX5" fmla="*/ 1254737 w 1381851"/>
                <a:gd name="connsiteY5" fmla="*/ 116249 h 149052"/>
                <a:gd name="connsiteX6" fmla="*/ 1230135 w 1381851"/>
                <a:gd name="connsiteY6" fmla="*/ 108048 h 149052"/>
                <a:gd name="connsiteX7" fmla="*/ 1160427 w 1381851"/>
                <a:gd name="connsiteY7" fmla="*/ 112148 h 149052"/>
                <a:gd name="connsiteX8" fmla="*/ 1135824 w 1381851"/>
                <a:gd name="connsiteY8" fmla="*/ 124450 h 149052"/>
                <a:gd name="connsiteX9" fmla="*/ 1123523 w 1381851"/>
                <a:gd name="connsiteY9" fmla="*/ 128550 h 149052"/>
                <a:gd name="connsiteX10" fmla="*/ 1078418 w 1381851"/>
                <a:gd name="connsiteY10" fmla="*/ 140852 h 149052"/>
                <a:gd name="connsiteX11" fmla="*/ 1057916 w 1381851"/>
                <a:gd name="connsiteY11" fmla="*/ 132651 h 149052"/>
                <a:gd name="connsiteX12" fmla="*/ 1016911 w 1381851"/>
                <a:gd name="connsiteY12" fmla="*/ 103948 h 149052"/>
                <a:gd name="connsiteX13" fmla="*/ 1004610 w 1381851"/>
                <a:gd name="connsiteY13" fmla="*/ 95747 h 149052"/>
                <a:gd name="connsiteX14" fmla="*/ 996409 w 1381851"/>
                <a:gd name="connsiteY14" fmla="*/ 83445 h 149052"/>
                <a:gd name="connsiteX15" fmla="*/ 959505 w 1381851"/>
                <a:gd name="connsiteY15" fmla="*/ 67044 h 149052"/>
                <a:gd name="connsiteX16" fmla="*/ 947204 w 1381851"/>
                <a:gd name="connsiteY16" fmla="*/ 62943 h 149052"/>
                <a:gd name="connsiteX17" fmla="*/ 815989 w 1381851"/>
                <a:gd name="connsiteY17" fmla="*/ 67044 h 149052"/>
                <a:gd name="connsiteX18" fmla="*/ 803688 w 1381851"/>
                <a:gd name="connsiteY18" fmla="*/ 71144 h 149052"/>
                <a:gd name="connsiteX19" fmla="*/ 729880 w 1381851"/>
                <a:gd name="connsiteY19" fmla="*/ 58843 h 149052"/>
                <a:gd name="connsiteX20" fmla="*/ 692976 w 1381851"/>
                <a:gd name="connsiteY20" fmla="*/ 54742 h 149052"/>
                <a:gd name="connsiteX21" fmla="*/ 590465 w 1381851"/>
                <a:gd name="connsiteY21" fmla="*/ 46541 h 149052"/>
                <a:gd name="connsiteX22" fmla="*/ 574063 w 1381851"/>
                <a:gd name="connsiteY22" fmla="*/ 42441 h 149052"/>
                <a:gd name="connsiteX23" fmla="*/ 545360 w 1381851"/>
                <a:gd name="connsiteY23" fmla="*/ 46540 h 149052"/>
                <a:gd name="connsiteX24" fmla="*/ 524857 w 1381851"/>
                <a:gd name="connsiteY24" fmla="*/ 46541 h 149052"/>
                <a:gd name="connsiteX25" fmla="*/ 479753 w 1381851"/>
                <a:gd name="connsiteY25" fmla="*/ 34240 h 149052"/>
                <a:gd name="connsiteX26" fmla="*/ 426447 w 1381851"/>
                <a:gd name="connsiteY26" fmla="*/ 30140 h 149052"/>
                <a:gd name="connsiteX27" fmla="*/ 381342 w 1381851"/>
                <a:gd name="connsiteY27" fmla="*/ 1436 h 149052"/>
                <a:gd name="connsiteX28" fmla="*/ 266529 w 1381851"/>
                <a:gd name="connsiteY28" fmla="*/ 5537 h 149052"/>
                <a:gd name="connsiteX29" fmla="*/ 254228 w 1381851"/>
                <a:gd name="connsiteY29" fmla="*/ 9637 h 149052"/>
                <a:gd name="connsiteX30" fmla="*/ 221424 w 1381851"/>
                <a:gd name="connsiteY30" fmla="*/ 17838 h 149052"/>
                <a:gd name="connsiteX31" fmla="*/ 196822 w 1381851"/>
                <a:gd name="connsiteY31" fmla="*/ 26039 h 149052"/>
                <a:gd name="connsiteX32" fmla="*/ 176319 w 1381851"/>
                <a:gd name="connsiteY32" fmla="*/ 30139 h 149052"/>
                <a:gd name="connsiteX33" fmla="*/ 151717 w 1381851"/>
                <a:gd name="connsiteY33" fmla="*/ 38340 h 149052"/>
                <a:gd name="connsiteX34" fmla="*/ 127114 w 1381851"/>
                <a:gd name="connsiteY34" fmla="*/ 42441 h 149052"/>
                <a:gd name="connsiteX35" fmla="*/ 36904 w 1381851"/>
                <a:gd name="connsiteY35" fmla="*/ 38340 h 149052"/>
                <a:gd name="connsiteX36" fmla="*/ 12301 w 1381851"/>
                <a:gd name="connsiteY36" fmla="*/ 26039 h 149052"/>
                <a:gd name="connsiteX37" fmla="*/ 0 w 1381851"/>
                <a:gd name="connsiteY37" fmla="*/ 21939 h 149052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30135 w 1381851"/>
                <a:gd name="connsiteY6" fmla="*/ 104496 h 145500"/>
                <a:gd name="connsiteX7" fmla="*/ 1160427 w 1381851"/>
                <a:gd name="connsiteY7" fmla="*/ 108596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15989 w 1381851"/>
                <a:gd name="connsiteY17" fmla="*/ 63492 h 145500"/>
                <a:gd name="connsiteX18" fmla="*/ 803688 w 1381851"/>
                <a:gd name="connsiteY18" fmla="*/ 67592 h 145500"/>
                <a:gd name="connsiteX19" fmla="*/ 729880 w 1381851"/>
                <a:gd name="connsiteY19" fmla="*/ 55291 h 145500"/>
                <a:gd name="connsiteX20" fmla="*/ 692976 w 1381851"/>
                <a:gd name="connsiteY20" fmla="*/ 51190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30135 w 1381851"/>
                <a:gd name="connsiteY6" fmla="*/ 104496 h 145500"/>
                <a:gd name="connsiteX7" fmla="*/ 1160427 w 1381851"/>
                <a:gd name="connsiteY7" fmla="*/ 108596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15989 w 1381851"/>
                <a:gd name="connsiteY17" fmla="*/ 63492 h 145500"/>
                <a:gd name="connsiteX18" fmla="*/ 803688 w 1381851"/>
                <a:gd name="connsiteY18" fmla="*/ 67592 h 145500"/>
                <a:gd name="connsiteX19" fmla="*/ 729880 w 1381851"/>
                <a:gd name="connsiteY19" fmla="*/ 55291 h 145500"/>
                <a:gd name="connsiteX20" fmla="*/ 672474 w 1381851"/>
                <a:gd name="connsiteY20" fmla="*/ 59391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30135 w 1381851"/>
                <a:gd name="connsiteY6" fmla="*/ 104496 h 145500"/>
                <a:gd name="connsiteX7" fmla="*/ 1160427 w 1381851"/>
                <a:gd name="connsiteY7" fmla="*/ 108596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15989 w 1381851"/>
                <a:gd name="connsiteY17" fmla="*/ 63492 h 145500"/>
                <a:gd name="connsiteX18" fmla="*/ 803688 w 1381851"/>
                <a:gd name="connsiteY18" fmla="*/ 67592 h 145500"/>
                <a:gd name="connsiteX19" fmla="*/ 733981 w 1381851"/>
                <a:gd name="connsiteY19" fmla="*/ 67592 h 145500"/>
                <a:gd name="connsiteX20" fmla="*/ 672474 w 1381851"/>
                <a:gd name="connsiteY20" fmla="*/ 59391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30135 w 1381851"/>
                <a:gd name="connsiteY6" fmla="*/ 104496 h 145500"/>
                <a:gd name="connsiteX7" fmla="*/ 1160427 w 1381851"/>
                <a:gd name="connsiteY7" fmla="*/ 108596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44692 w 1381851"/>
                <a:gd name="connsiteY17" fmla="*/ 63492 h 145500"/>
                <a:gd name="connsiteX18" fmla="*/ 803688 w 1381851"/>
                <a:gd name="connsiteY18" fmla="*/ 67592 h 145500"/>
                <a:gd name="connsiteX19" fmla="*/ 733981 w 1381851"/>
                <a:gd name="connsiteY19" fmla="*/ 67592 h 145500"/>
                <a:gd name="connsiteX20" fmla="*/ 672474 w 1381851"/>
                <a:gd name="connsiteY20" fmla="*/ 59391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30135 w 1381851"/>
                <a:gd name="connsiteY6" fmla="*/ 104496 h 145500"/>
                <a:gd name="connsiteX7" fmla="*/ 1164527 w 1381851"/>
                <a:gd name="connsiteY7" fmla="*/ 124998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44692 w 1381851"/>
                <a:gd name="connsiteY17" fmla="*/ 63492 h 145500"/>
                <a:gd name="connsiteX18" fmla="*/ 803688 w 1381851"/>
                <a:gd name="connsiteY18" fmla="*/ 67592 h 145500"/>
                <a:gd name="connsiteX19" fmla="*/ 733981 w 1381851"/>
                <a:gd name="connsiteY19" fmla="*/ 67592 h 145500"/>
                <a:gd name="connsiteX20" fmla="*/ 672474 w 1381851"/>
                <a:gd name="connsiteY20" fmla="*/ 59391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  <a:gd name="connsiteX0" fmla="*/ 1381851 w 1381851"/>
                <a:gd name="connsiteY0" fmla="*/ 137300 h 145500"/>
                <a:gd name="connsiteX1" fmla="*/ 1349048 w 1381851"/>
                <a:gd name="connsiteY1" fmla="*/ 141400 h 145500"/>
                <a:gd name="connsiteX2" fmla="*/ 1336746 w 1381851"/>
                <a:gd name="connsiteY2" fmla="*/ 145500 h 145500"/>
                <a:gd name="connsiteX3" fmla="*/ 1299842 w 1381851"/>
                <a:gd name="connsiteY3" fmla="*/ 141400 h 145500"/>
                <a:gd name="connsiteX4" fmla="*/ 1271139 w 1381851"/>
                <a:gd name="connsiteY4" fmla="*/ 116797 h 145500"/>
                <a:gd name="connsiteX5" fmla="*/ 1254737 w 1381851"/>
                <a:gd name="connsiteY5" fmla="*/ 112697 h 145500"/>
                <a:gd name="connsiteX6" fmla="*/ 1217833 w 1381851"/>
                <a:gd name="connsiteY6" fmla="*/ 116797 h 145500"/>
                <a:gd name="connsiteX7" fmla="*/ 1164527 w 1381851"/>
                <a:gd name="connsiteY7" fmla="*/ 124998 h 145500"/>
                <a:gd name="connsiteX8" fmla="*/ 1135824 w 1381851"/>
                <a:gd name="connsiteY8" fmla="*/ 120898 h 145500"/>
                <a:gd name="connsiteX9" fmla="*/ 1123523 w 1381851"/>
                <a:gd name="connsiteY9" fmla="*/ 124998 h 145500"/>
                <a:gd name="connsiteX10" fmla="*/ 1078418 w 1381851"/>
                <a:gd name="connsiteY10" fmla="*/ 137300 h 145500"/>
                <a:gd name="connsiteX11" fmla="*/ 1057916 w 1381851"/>
                <a:gd name="connsiteY11" fmla="*/ 129099 h 145500"/>
                <a:gd name="connsiteX12" fmla="*/ 1016911 w 1381851"/>
                <a:gd name="connsiteY12" fmla="*/ 100396 h 145500"/>
                <a:gd name="connsiteX13" fmla="*/ 1004610 w 1381851"/>
                <a:gd name="connsiteY13" fmla="*/ 92195 h 145500"/>
                <a:gd name="connsiteX14" fmla="*/ 996409 w 1381851"/>
                <a:gd name="connsiteY14" fmla="*/ 79893 h 145500"/>
                <a:gd name="connsiteX15" fmla="*/ 959505 w 1381851"/>
                <a:gd name="connsiteY15" fmla="*/ 63492 h 145500"/>
                <a:gd name="connsiteX16" fmla="*/ 947204 w 1381851"/>
                <a:gd name="connsiteY16" fmla="*/ 59391 h 145500"/>
                <a:gd name="connsiteX17" fmla="*/ 844692 w 1381851"/>
                <a:gd name="connsiteY17" fmla="*/ 63492 h 145500"/>
                <a:gd name="connsiteX18" fmla="*/ 803688 w 1381851"/>
                <a:gd name="connsiteY18" fmla="*/ 67592 h 145500"/>
                <a:gd name="connsiteX19" fmla="*/ 733981 w 1381851"/>
                <a:gd name="connsiteY19" fmla="*/ 67592 h 145500"/>
                <a:gd name="connsiteX20" fmla="*/ 672474 w 1381851"/>
                <a:gd name="connsiteY20" fmla="*/ 59391 h 145500"/>
                <a:gd name="connsiteX21" fmla="*/ 590465 w 1381851"/>
                <a:gd name="connsiteY21" fmla="*/ 42989 h 145500"/>
                <a:gd name="connsiteX22" fmla="*/ 574063 w 1381851"/>
                <a:gd name="connsiteY22" fmla="*/ 38889 h 145500"/>
                <a:gd name="connsiteX23" fmla="*/ 545360 w 1381851"/>
                <a:gd name="connsiteY23" fmla="*/ 42988 h 145500"/>
                <a:gd name="connsiteX24" fmla="*/ 524857 w 1381851"/>
                <a:gd name="connsiteY24" fmla="*/ 42989 h 145500"/>
                <a:gd name="connsiteX25" fmla="*/ 479753 w 1381851"/>
                <a:gd name="connsiteY25" fmla="*/ 30688 h 145500"/>
                <a:gd name="connsiteX26" fmla="*/ 426447 w 1381851"/>
                <a:gd name="connsiteY26" fmla="*/ 26588 h 145500"/>
                <a:gd name="connsiteX27" fmla="*/ 360840 w 1381851"/>
                <a:gd name="connsiteY27" fmla="*/ 1985 h 145500"/>
                <a:gd name="connsiteX28" fmla="*/ 266529 w 1381851"/>
                <a:gd name="connsiteY28" fmla="*/ 1985 h 145500"/>
                <a:gd name="connsiteX29" fmla="*/ 254228 w 1381851"/>
                <a:gd name="connsiteY29" fmla="*/ 6085 h 145500"/>
                <a:gd name="connsiteX30" fmla="*/ 221424 w 1381851"/>
                <a:gd name="connsiteY30" fmla="*/ 14286 h 145500"/>
                <a:gd name="connsiteX31" fmla="*/ 196822 w 1381851"/>
                <a:gd name="connsiteY31" fmla="*/ 22487 h 145500"/>
                <a:gd name="connsiteX32" fmla="*/ 176319 w 1381851"/>
                <a:gd name="connsiteY32" fmla="*/ 26587 h 145500"/>
                <a:gd name="connsiteX33" fmla="*/ 151717 w 1381851"/>
                <a:gd name="connsiteY33" fmla="*/ 34788 h 145500"/>
                <a:gd name="connsiteX34" fmla="*/ 127114 w 1381851"/>
                <a:gd name="connsiteY34" fmla="*/ 38889 h 145500"/>
                <a:gd name="connsiteX35" fmla="*/ 36904 w 1381851"/>
                <a:gd name="connsiteY35" fmla="*/ 34788 h 145500"/>
                <a:gd name="connsiteX36" fmla="*/ 12301 w 1381851"/>
                <a:gd name="connsiteY36" fmla="*/ 22487 h 145500"/>
                <a:gd name="connsiteX37" fmla="*/ 0 w 1381851"/>
                <a:gd name="connsiteY37" fmla="*/ 18387 h 145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381851" h="145500">
                  <a:moveTo>
                    <a:pt x="1381851" y="137300"/>
                  </a:moveTo>
                  <a:cubicBezTo>
                    <a:pt x="1370917" y="138667"/>
                    <a:pt x="1359890" y="139429"/>
                    <a:pt x="1349048" y="141400"/>
                  </a:cubicBezTo>
                  <a:cubicBezTo>
                    <a:pt x="1344795" y="142173"/>
                    <a:pt x="1341068" y="145500"/>
                    <a:pt x="1336746" y="145500"/>
                  </a:cubicBezTo>
                  <a:cubicBezTo>
                    <a:pt x="1324369" y="145500"/>
                    <a:pt x="1312143" y="142767"/>
                    <a:pt x="1299842" y="141400"/>
                  </a:cubicBezTo>
                  <a:cubicBezTo>
                    <a:pt x="1292204" y="133762"/>
                    <a:pt x="1282066" y="121480"/>
                    <a:pt x="1271139" y="116797"/>
                  </a:cubicBezTo>
                  <a:cubicBezTo>
                    <a:pt x="1265959" y="114577"/>
                    <a:pt x="1263621" y="112697"/>
                    <a:pt x="1254737" y="112697"/>
                  </a:cubicBezTo>
                  <a:cubicBezTo>
                    <a:pt x="1245853" y="112697"/>
                    <a:pt x="1232868" y="114747"/>
                    <a:pt x="1217833" y="116797"/>
                  </a:cubicBezTo>
                  <a:cubicBezTo>
                    <a:pt x="1202798" y="118847"/>
                    <a:pt x="1178195" y="124315"/>
                    <a:pt x="1164527" y="124998"/>
                  </a:cubicBezTo>
                  <a:cubicBezTo>
                    <a:pt x="1150859" y="125681"/>
                    <a:pt x="1142658" y="120898"/>
                    <a:pt x="1135824" y="120898"/>
                  </a:cubicBezTo>
                  <a:cubicBezTo>
                    <a:pt x="1128990" y="120898"/>
                    <a:pt x="1127693" y="123861"/>
                    <a:pt x="1123523" y="124998"/>
                  </a:cubicBezTo>
                  <a:cubicBezTo>
                    <a:pt x="1072671" y="138866"/>
                    <a:pt x="1106725" y="127863"/>
                    <a:pt x="1078418" y="137300"/>
                  </a:cubicBezTo>
                  <a:cubicBezTo>
                    <a:pt x="1071584" y="134566"/>
                    <a:pt x="1064378" y="132624"/>
                    <a:pt x="1057916" y="129099"/>
                  </a:cubicBezTo>
                  <a:cubicBezTo>
                    <a:pt x="1041968" y="120400"/>
                    <a:pt x="1031254" y="110641"/>
                    <a:pt x="1016911" y="100396"/>
                  </a:cubicBezTo>
                  <a:cubicBezTo>
                    <a:pt x="1012901" y="97532"/>
                    <a:pt x="1008710" y="94929"/>
                    <a:pt x="1004610" y="92195"/>
                  </a:cubicBezTo>
                  <a:cubicBezTo>
                    <a:pt x="1001876" y="88094"/>
                    <a:pt x="999894" y="83378"/>
                    <a:pt x="996409" y="79893"/>
                  </a:cubicBezTo>
                  <a:cubicBezTo>
                    <a:pt x="986661" y="70145"/>
                    <a:pt x="971688" y="67553"/>
                    <a:pt x="959505" y="63492"/>
                  </a:cubicBezTo>
                  <a:cubicBezTo>
                    <a:pt x="955405" y="62125"/>
                    <a:pt x="966339" y="59391"/>
                    <a:pt x="947204" y="59391"/>
                  </a:cubicBezTo>
                  <a:cubicBezTo>
                    <a:pt x="928069" y="59391"/>
                    <a:pt x="888380" y="60995"/>
                    <a:pt x="844692" y="63492"/>
                  </a:cubicBezTo>
                  <a:cubicBezTo>
                    <a:pt x="840377" y="63739"/>
                    <a:pt x="822140" y="66909"/>
                    <a:pt x="803688" y="67592"/>
                  </a:cubicBezTo>
                  <a:cubicBezTo>
                    <a:pt x="785236" y="68275"/>
                    <a:pt x="755850" y="68959"/>
                    <a:pt x="733981" y="67592"/>
                  </a:cubicBezTo>
                  <a:lnTo>
                    <a:pt x="672474" y="59391"/>
                  </a:lnTo>
                  <a:cubicBezTo>
                    <a:pt x="629950" y="45218"/>
                    <a:pt x="606867" y="46406"/>
                    <a:pt x="590465" y="42989"/>
                  </a:cubicBezTo>
                  <a:cubicBezTo>
                    <a:pt x="574063" y="39572"/>
                    <a:pt x="581580" y="38889"/>
                    <a:pt x="574063" y="38889"/>
                  </a:cubicBezTo>
                  <a:cubicBezTo>
                    <a:pt x="566546" y="38889"/>
                    <a:pt x="553561" y="42305"/>
                    <a:pt x="545360" y="42988"/>
                  </a:cubicBezTo>
                  <a:cubicBezTo>
                    <a:pt x="537159" y="43671"/>
                    <a:pt x="535791" y="45039"/>
                    <a:pt x="524857" y="42989"/>
                  </a:cubicBezTo>
                  <a:cubicBezTo>
                    <a:pt x="513923" y="40939"/>
                    <a:pt x="496155" y="33422"/>
                    <a:pt x="479753" y="30688"/>
                  </a:cubicBezTo>
                  <a:cubicBezTo>
                    <a:pt x="463351" y="27955"/>
                    <a:pt x="446266" y="31372"/>
                    <a:pt x="426447" y="26588"/>
                  </a:cubicBezTo>
                  <a:cubicBezTo>
                    <a:pt x="406628" y="21804"/>
                    <a:pt x="387493" y="6086"/>
                    <a:pt x="360840" y="1985"/>
                  </a:cubicBezTo>
                  <a:cubicBezTo>
                    <a:pt x="334187" y="-2116"/>
                    <a:pt x="284298" y="1302"/>
                    <a:pt x="266529" y="1985"/>
                  </a:cubicBezTo>
                  <a:cubicBezTo>
                    <a:pt x="248760" y="2668"/>
                    <a:pt x="258398" y="4948"/>
                    <a:pt x="254228" y="6085"/>
                  </a:cubicBezTo>
                  <a:cubicBezTo>
                    <a:pt x="243354" y="9051"/>
                    <a:pt x="232117" y="10722"/>
                    <a:pt x="221424" y="14286"/>
                  </a:cubicBezTo>
                  <a:cubicBezTo>
                    <a:pt x="213223" y="17020"/>
                    <a:pt x="205298" y="20792"/>
                    <a:pt x="196822" y="22487"/>
                  </a:cubicBezTo>
                  <a:cubicBezTo>
                    <a:pt x="189988" y="23854"/>
                    <a:pt x="183043" y="24753"/>
                    <a:pt x="176319" y="26587"/>
                  </a:cubicBezTo>
                  <a:cubicBezTo>
                    <a:pt x="167979" y="28861"/>
                    <a:pt x="160244" y="33367"/>
                    <a:pt x="151717" y="34788"/>
                  </a:cubicBezTo>
                  <a:lnTo>
                    <a:pt x="127114" y="38889"/>
                  </a:lnTo>
                  <a:cubicBezTo>
                    <a:pt x="97044" y="37522"/>
                    <a:pt x="66909" y="37188"/>
                    <a:pt x="36904" y="34788"/>
                  </a:cubicBezTo>
                  <a:cubicBezTo>
                    <a:pt x="24634" y="33806"/>
                    <a:pt x="22833" y="27753"/>
                    <a:pt x="12301" y="22487"/>
                  </a:cubicBezTo>
                  <a:cubicBezTo>
                    <a:pt x="8435" y="20554"/>
                    <a:pt x="0" y="18387"/>
                    <a:pt x="0" y="18387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0" name="Forma livre 389"/>
            <p:cNvSpPr/>
            <p:nvPr/>
          </p:nvSpPr>
          <p:spPr bwMode="auto">
            <a:xfrm>
              <a:off x="4221163" y="3751263"/>
              <a:ext cx="190500" cy="722312"/>
            </a:xfrm>
            <a:custGeom>
              <a:avLst/>
              <a:gdLst>
                <a:gd name="connsiteX0" fmla="*/ 190639 w 190639"/>
                <a:gd name="connsiteY0" fmla="*/ 0 h 721679"/>
                <a:gd name="connsiteX1" fmla="*/ 174237 w 190639"/>
                <a:gd name="connsiteY1" fmla="*/ 20503 h 721679"/>
                <a:gd name="connsiteX2" fmla="*/ 166036 w 190639"/>
                <a:gd name="connsiteY2" fmla="*/ 32804 h 721679"/>
                <a:gd name="connsiteX3" fmla="*/ 153734 w 190639"/>
                <a:gd name="connsiteY3" fmla="*/ 36904 h 721679"/>
                <a:gd name="connsiteX4" fmla="*/ 141433 w 190639"/>
                <a:gd name="connsiteY4" fmla="*/ 45105 h 721679"/>
                <a:gd name="connsiteX5" fmla="*/ 96328 w 190639"/>
                <a:gd name="connsiteY5" fmla="*/ 53306 h 721679"/>
                <a:gd name="connsiteX6" fmla="*/ 71726 w 190639"/>
                <a:gd name="connsiteY6" fmla="*/ 61507 h 721679"/>
                <a:gd name="connsiteX7" fmla="*/ 59424 w 190639"/>
                <a:gd name="connsiteY7" fmla="*/ 65607 h 721679"/>
                <a:gd name="connsiteX8" fmla="*/ 34821 w 190639"/>
                <a:gd name="connsiteY8" fmla="*/ 86110 h 721679"/>
                <a:gd name="connsiteX9" fmla="*/ 30721 w 190639"/>
                <a:gd name="connsiteY9" fmla="*/ 98411 h 721679"/>
                <a:gd name="connsiteX10" fmla="*/ 14319 w 190639"/>
                <a:gd name="connsiteY10" fmla="*/ 123014 h 721679"/>
                <a:gd name="connsiteX11" fmla="*/ 6118 w 190639"/>
                <a:gd name="connsiteY11" fmla="*/ 135315 h 721679"/>
                <a:gd name="connsiteX12" fmla="*/ 2018 w 190639"/>
                <a:gd name="connsiteY12" fmla="*/ 147616 h 721679"/>
                <a:gd name="connsiteX13" fmla="*/ 6118 w 190639"/>
                <a:gd name="connsiteY13" fmla="*/ 159918 h 721679"/>
                <a:gd name="connsiteX14" fmla="*/ 10219 w 190639"/>
                <a:gd name="connsiteY14" fmla="*/ 200922 h 721679"/>
                <a:gd name="connsiteX15" fmla="*/ 14319 w 190639"/>
                <a:gd name="connsiteY15" fmla="*/ 278831 h 721679"/>
                <a:gd name="connsiteX16" fmla="*/ 22520 w 190639"/>
                <a:gd name="connsiteY16" fmla="*/ 291132 h 721679"/>
                <a:gd name="connsiteX17" fmla="*/ 26621 w 190639"/>
                <a:gd name="connsiteY17" fmla="*/ 303433 h 721679"/>
                <a:gd name="connsiteX18" fmla="*/ 22520 w 190639"/>
                <a:gd name="connsiteY18" fmla="*/ 315735 h 721679"/>
                <a:gd name="connsiteX19" fmla="*/ 14319 w 190639"/>
                <a:gd name="connsiteY19" fmla="*/ 328036 h 721679"/>
                <a:gd name="connsiteX20" fmla="*/ 2018 w 190639"/>
                <a:gd name="connsiteY20" fmla="*/ 356739 h 721679"/>
                <a:gd name="connsiteX21" fmla="*/ 22520 w 190639"/>
                <a:gd name="connsiteY21" fmla="*/ 467451 h 721679"/>
                <a:gd name="connsiteX22" fmla="*/ 34821 w 190639"/>
                <a:gd name="connsiteY22" fmla="*/ 516657 h 721679"/>
                <a:gd name="connsiteX23" fmla="*/ 51223 w 190639"/>
                <a:gd name="connsiteY23" fmla="*/ 541260 h 721679"/>
                <a:gd name="connsiteX24" fmla="*/ 59424 w 190639"/>
                <a:gd name="connsiteY24" fmla="*/ 553561 h 721679"/>
                <a:gd name="connsiteX25" fmla="*/ 71726 w 190639"/>
                <a:gd name="connsiteY25" fmla="*/ 578164 h 721679"/>
                <a:gd name="connsiteX26" fmla="*/ 75826 w 190639"/>
                <a:gd name="connsiteY26" fmla="*/ 590465 h 721679"/>
                <a:gd name="connsiteX27" fmla="*/ 63525 w 190639"/>
                <a:gd name="connsiteY27" fmla="*/ 627369 h 721679"/>
                <a:gd name="connsiteX28" fmla="*/ 38922 w 190639"/>
                <a:gd name="connsiteY28" fmla="*/ 643771 h 721679"/>
                <a:gd name="connsiteX29" fmla="*/ 38922 w 190639"/>
                <a:gd name="connsiteY29" fmla="*/ 680675 h 721679"/>
                <a:gd name="connsiteX30" fmla="*/ 26621 w 190639"/>
                <a:gd name="connsiteY30" fmla="*/ 692976 h 721679"/>
                <a:gd name="connsiteX31" fmla="*/ 22520 w 190639"/>
                <a:gd name="connsiteY31" fmla="*/ 705277 h 721679"/>
                <a:gd name="connsiteX32" fmla="*/ 10219 w 190639"/>
                <a:gd name="connsiteY32" fmla="*/ 721679 h 721679"/>
                <a:gd name="connsiteX0" fmla="*/ 190639 w 190639"/>
                <a:gd name="connsiteY0" fmla="*/ 0 h 721679"/>
                <a:gd name="connsiteX1" fmla="*/ 174237 w 190639"/>
                <a:gd name="connsiteY1" fmla="*/ 20503 h 721679"/>
                <a:gd name="connsiteX2" fmla="*/ 166036 w 190639"/>
                <a:gd name="connsiteY2" fmla="*/ 32804 h 721679"/>
                <a:gd name="connsiteX3" fmla="*/ 153734 w 190639"/>
                <a:gd name="connsiteY3" fmla="*/ 36904 h 721679"/>
                <a:gd name="connsiteX4" fmla="*/ 120931 w 190639"/>
                <a:gd name="connsiteY4" fmla="*/ 32804 h 721679"/>
                <a:gd name="connsiteX5" fmla="*/ 96328 w 190639"/>
                <a:gd name="connsiteY5" fmla="*/ 53306 h 721679"/>
                <a:gd name="connsiteX6" fmla="*/ 71726 w 190639"/>
                <a:gd name="connsiteY6" fmla="*/ 61507 h 721679"/>
                <a:gd name="connsiteX7" fmla="*/ 59424 w 190639"/>
                <a:gd name="connsiteY7" fmla="*/ 65607 h 721679"/>
                <a:gd name="connsiteX8" fmla="*/ 34821 w 190639"/>
                <a:gd name="connsiteY8" fmla="*/ 86110 h 721679"/>
                <a:gd name="connsiteX9" fmla="*/ 30721 w 190639"/>
                <a:gd name="connsiteY9" fmla="*/ 98411 h 721679"/>
                <a:gd name="connsiteX10" fmla="*/ 14319 w 190639"/>
                <a:gd name="connsiteY10" fmla="*/ 123014 h 721679"/>
                <a:gd name="connsiteX11" fmla="*/ 6118 w 190639"/>
                <a:gd name="connsiteY11" fmla="*/ 135315 h 721679"/>
                <a:gd name="connsiteX12" fmla="*/ 2018 w 190639"/>
                <a:gd name="connsiteY12" fmla="*/ 147616 h 721679"/>
                <a:gd name="connsiteX13" fmla="*/ 6118 w 190639"/>
                <a:gd name="connsiteY13" fmla="*/ 159918 h 721679"/>
                <a:gd name="connsiteX14" fmla="*/ 10219 w 190639"/>
                <a:gd name="connsiteY14" fmla="*/ 200922 h 721679"/>
                <a:gd name="connsiteX15" fmla="*/ 14319 w 190639"/>
                <a:gd name="connsiteY15" fmla="*/ 278831 h 721679"/>
                <a:gd name="connsiteX16" fmla="*/ 22520 w 190639"/>
                <a:gd name="connsiteY16" fmla="*/ 291132 h 721679"/>
                <a:gd name="connsiteX17" fmla="*/ 26621 w 190639"/>
                <a:gd name="connsiteY17" fmla="*/ 303433 h 721679"/>
                <a:gd name="connsiteX18" fmla="*/ 22520 w 190639"/>
                <a:gd name="connsiteY18" fmla="*/ 315735 h 721679"/>
                <a:gd name="connsiteX19" fmla="*/ 14319 w 190639"/>
                <a:gd name="connsiteY19" fmla="*/ 328036 h 721679"/>
                <a:gd name="connsiteX20" fmla="*/ 2018 w 190639"/>
                <a:gd name="connsiteY20" fmla="*/ 356739 h 721679"/>
                <a:gd name="connsiteX21" fmla="*/ 22520 w 190639"/>
                <a:gd name="connsiteY21" fmla="*/ 467451 h 721679"/>
                <a:gd name="connsiteX22" fmla="*/ 34821 w 190639"/>
                <a:gd name="connsiteY22" fmla="*/ 516657 h 721679"/>
                <a:gd name="connsiteX23" fmla="*/ 51223 w 190639"/>
                <a:gd name="connsiteY23" fmla="*/ 541260 h 721679"/>
                <a:gd name="connsiteX24" fmla="*/ 59424 w 190639"/>
                <a:gd name="connsiteY24" fmla="*/ 553561 h 721679"/>
                <a:gd name="connsiteX25" fmla="*/ 71726 w 190639"/>
                <a:gd name="connsiteY25" fmla="*/ 578164 h 721679"/>
                <a:gd name="connsiteX26" fmla="*/ 75826 w 190639"/>
                <a:gd name="connsiteY26" fmla="*/ 590465 h 721679"/>
                <a:gd name="connsiteX27" fmla="*/ 63525 w 190639"/>
                <a:gd name="connsiteY27" fmla="*/ 627369 h 721679"/>
                <a:gd name="connsiteX28" fmla="*/ 38922 w 190639"/>
                <a:gd name="connsiteY28" fmla="*/ 643771 h 721679"/>
                <a:gd name="connsiteX29" fmla="*/ 38922 w 190639"/>
                <a:gd name="connsiteY29" fmla="*/ 680675 h 721679"/>
                <a:gd name="connsiteX30" fmla="*/ 26621 w 190639"/>
                <a:gd name="connsiteY30" fmla="*/ 692976 h 721679"/>
                <a:gd name="connsiteX31" fmla="*/ 22520 w 190639"/>
                <a:gd name="connsiteY31" fmla="*/ 705277 h 721679"/>
                <a:gd name="connsiteX32" fmla="*/ 10219 w 190639"/>
                <a:gd name="connsiteY32" fmla="*/ 721679 h 721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0639" h="721679">
                  <a:moveTo>
                    <a:pt x="190639" y="0"/>
                  </a:moveTo>
                  <a:cubicBezTo>
                    <a:pt x="185172" y="6834"/>
                    <a:pt x="179488" y="13501"/>
                    <a:pt x="174237" y="20503"/>
                  </a:cubicBezTo>
                  <a:cubicBezTo>
                    <a:pt x="171280" y="24445"/>
                    <a:pt x="169884" y="29726"/>
                    <a:pt x="166036" y="32804"/>
                  </a:cubicBezTo>
                  <a:cubicBezTo>
                    <a:pt x="162661" y="35504"/>
                    <a:pt x="157835" y="35537"/>
                    <a:pt x="153734" y="36904"/>
                  </a:cubicBezTo>
                  <a:cubicBezTo>
                    <a:pt x="149634" y="39638"/>
                    <a:pt x="125461" y="30863"/>
                    <a:pt x="120931" y="32804"/>
                  </a:cubicBezTo>
                  <a:cubicBezTo>
                    <a:pt x="111261" y="36948"/>
                    <a:pt x="102985" y="52355"/>
                    <a:pt x="96328" y="53306"/>
                  </a:cubicBezTo>
                  <a:lnTo>
                    <a:pt x="71726" y="61507"/>
                  </a:lnTo>
                  <a:lnTo>
                    <a:pt x="59424" y="65607"/>
                  </a:lnTo>
                  <a:cubicBezTo>
                    <a:pt x="50347" y="71658"/>
                    <a:pt x="41135" y="76638"/>
                    <a:pt x="34821" y="86110"/>
                  </a:cubicBezTo>
                  <a:cubicBezTo>
                    <a:pt x="32424" y="89706"/>
                    <a:pt x="32820" y="94633"/>
                    <a:pt x="30721" y="98411"/>
                  </a:cubicBezTo>
                  <a:cubicBezTo>
                    <a:pt x="25934" y="107027"/>
                    <a:pt x="19786" y="114813"/>
                    <a:pt x="14319" y="123014"/>
                  </a:cubicBezTo>
                  <a:lnTo>
                    <a:pt x="6118" y="135315"/>
                  </a:lnTo>
                  <a:cubicBezTo>
                    <a:pt x="4751" y="139415"/>
                    <a:pt x="2018" y="143294"/>
                    <a:pt x="2018" y="147616"/>
                  </a:cubicBezTo>
                  <a:cubicBezTo>
                    <a:pt x="2018" y="151938"/>
                    <a:pt x="5461" y="155646"/>
                    <a:pt x="6118" y="159918"/>
                  </a:cubicBezTo>
                  <a:cubicBezTo>
                    <a:pt x="8207" y="173494"/>
                    <a:pt x="9274" y="187218"/>
                    <a:pt x="10219" y="200922"/>
                  </a:cubicBezTo>
                  <a:cubicBezTo>
                    <a:pt x="12008" y="226866"/>
                    <a:pt x="10805" y="253064"/>
                    <a:pt x="14319" y="278831"/>
                  </a:cubicBezTo>
                  <a:cubicBezTo>
                    <a:pt x="14985" y="283714"/>
                    <a:pt x="20316" y="286724"/>
                    <a:pt x="22520" y="291132"/>
                  </a:cubicBezTo>
                  <a:cubicBezTo>
                    <a:pt x="24453" y="294998"/>
                    <a:pt x="25254" y="299333"/>
                    <a:pt x="26621" y="303433"/>
                  </a:cubicBezTo>
                  <a:cubicBezTo>
                    <a:pt x="25254" y="307534"/>
                    <a:pt x="24453" y="311869"/>
                    <a:pt x="22520" y="315735"/>
                  </a:cubicBezTo>
                  <a:cubicBezTo>
                    <a:pt x="20316" y="320143"/>
                    <a:pt x="16260" y="323506"/>
                    <a:pt x="14319" y="328036"/>
                  </a:cubicBezTo>
                  <a:cubicBezTo>
                    <a:pt x="-1568" y="365106"/>
                    <a:pt x="22607" y="325857"/>
                    <a:pt x="2018" y="356739"/>
                  </a:cubicBezTo>
                  <a:cubicBezTo>
                    <a:pt x="10612" y="464163"/>
                    <a:pt x="-18304" y="440237"/>
                    <a:pt x="22520" y="467451"/>
                  </a:cubicBezTo>
                  <a:cubicBezTo>
                    <a:pt x="44984" y="501149"/>
                    <a:pt x="11597" y="446984"/>
                    <a:pt x="34821" y="516657"/>
                  </a:cubicBezTo>
                  <a:cubicBezTo>
                    <a:pt x="37938" y="526008"/>
                    <a:pt x="45756" y="533059"/>
                    <a:pt x="51223" y="541260"/>
                  </a:cubicBezTo>
                  <a:cubicBezTo>
                    <a:pt x="53957" y="545360"/>
                    <a:pt x="57865" y="548886"/>
                    <a:pt x="59424" y="553561"/>
                  </a:cubicBezTo>
                  <a:cubicBezTo>
                    <a:pt x="65084" y="570537"/>
                    <a:pt x="61128" y="562266"/>
                    <a:pt x="71726" y="578164"/>
                  </a:cubicBezTo>
                  <a:cubicBezTo>
                    <a:pt x="73093" y="582264"/>
                    <a:pt x="75826" y="586143"/>
                    <a:pt x="75826" y="590465"/>
                  </a:cubicBezTo>
                  <a:cubicBezTo>
                    <a:pt x="75826" y="602123"/>
                    <a:pt x="73428" y="618704"/>
                    <a:pt x="63525" y="627369"/>
                  </a:cubicBezTo>
                  <a:cubicBezTo>
                    <a:pt x="56107" y="633859"/>
                    <a:pt x="38922" y="643771"/>
                    <a:pt x="38922" y="643771"/>
                  </a:cubicBezTo>
                  <a:cubicBezTo>
                    <a:pt x="43865" y="658600"/>
                    <a:pt x="47169" y="662119"/>
                    <a:pt x="38922" y="680675"/>
                  </a:cubicBezTo>
                  <a:cubicBezTo>
                    <a:pt x="36567" y="685974"/>
                    <a:pt x="30721" y="688876"/>
                    <a:pt x="26621" y="692976"/>
                  </a:cubicBezTo>
                  <a:cubicBezTo>
                    <a:pt x="25254" y="697076"/>
                    <a:pt x="24453" y="701411"/>
                    <a:pt x="22520" y="705277"/>
                  </a:cubicBezTo>
                  <a:cubicBezTo>
                    <a:pt x="17883" y="714552"/>
                    <a:pt x="15986" y="715912"/>
                    <a:pt x="10219" y="72167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1" name="Forma livre 390"/>
            <p:cNvSpPr/>
            <p:nvPr/>
          </p:nvSpPr>
          <p:spPr bwMode="auto">
            <a:xfrm>
              <a:off x="4383088" y="3735388"/>
              <a:ext cx="106362" cy="704850"/>
            </a:xfrm>
            <a:custGeom>
              <a:avLst/>
              <a:gdLst>
                <a:gd name="connsiteX0" fmla="*/ 49206 w 106887"/>
                <a:gd name="connsiteY0" fmla="*/ 0 h 705277"/>
                <a:gd name="connsiteX1" fmla="*/ 45105 w 106887"/>
                <a:gd name="connsiteY1" fmla="*/ 20502 h 705277"/>
                <a:gd name="connsiteX2" fmla="*/ 53306 w 106887"/>
                <a:gd name="connsiteY2" fmla="*/ 49205 h 705277"/>
                <a:gd name="connsiteX3" fmla="*/ 57407 w 106887"/>
                <a:gd name="connsiteY3" fmla="*/ 61506 h 705277"/>
                <a:gd name="connsiteX4" fmla="*/ 61507 w 106887"/>
                <a:gd name="connsiteY4" fmla="*/ 77908 h 705277"/>
                <a:gd name="connsiteX5" fmla="*/ 69708 w 106887"/>
                <a:gd name="connsiteY5" fmla="*/ 102511 h 705277"/>
                <a:gd name="connsiteX6" fmla="*/ 86110 w 106887"/>
                <a:gd name="connsiteY6" fmla="*/ 127113 h 705277"/>
                <a:gd name="connsiteX7" fmla="*/ 90210 w 106887"/>
                <a:gd name="connsiteY7" fmla="*/ 139415 h 705277"/>
                <a:gd name="connsiteX8" fmla="*/ 94311 w 106887"/>
                <a:gd name="connsiteY8" fmla="*/ 159917 h 705277"/>
                <a:gd name="connsiteX9" fmla="*/ 102512 w 106887"/>
                <a:gd name="connsiteY9" fmla="*/ 172218 h 705277"/>
                <a:gd name="connsiteX10" fmla="*/ 106612 w 106887"/>
                <a:gd name="connsiteY10" fmla="*/ 184520 h 705277"/>
                <a:gd name="connsiteX11" fmla="*/ 94311 w 106887"/>
                <a:gd name="connsiteY11" fmla="*/ 196821 h 705277"/>
                <a:gd name="connsiteX12" fmla="*/ 90210 w 106887"/>
                <a:gd name="connsiteY12" fmla="*/ 209122 h 705277"/>
                <a:gd name="connsiteX13" fmla="*/ 86110 w 106887"/>
                <a:gd name="connsiteY13" fmla="*/ 229625 h 705277"/>
                <a:gd name="connsiteX14" fmla="*/ 77909 w 106887"/>
                <a:gd name="connsiteY14" fmla="*/ 254227 h 705277"/>
                <a:gd name="connsiteX15" fmla="*/ 73808 w 106887"/>
                <a:gd name="connsiteY15" fmla="*/ 266529 h 705277"/>
                <a:gd name="connsiteX16" fmla="*/ 69708 w 106887"/>
                <a:gd name="connsiteY16" fmla="*/ 282930 h 705277"/>
                <a:gd name="connsiteX17" fmla="*/ 73808 w 106887"/>
                <a:gd name="connsiteY17" fmla="*/ 299332 h 705277"/>
                <a:gd name="connsiteX18" fmla="*/ 86110 w 106887"/>
                <a:gd name="connsiteY18" fmla="*/ 303433 h 705277"/>
                <a:gd name="connsiteX19" fmla="*/ 73808 w 106887"/>
                <a:gd name="connsiteY19" fmla="*/ 364939 h 705277"/>
                <a:gd name="connsiteX20" fmla="*/ 61507 w 106887"/>
                <a:gd name="connsiteY20" fmla="*/ 389542 h 705277"/>
                <a:gd name="connsiteX21" fmla="*/ 57407 w 106887"/>
                <a:gd name="connsiteY21" fmla="*/ 401843 h 705277"/>
                <a:gd name="connsiteX22" fmla="*/ 28704 w 106887"/>
                <a:gd name="connsiteY22" fmla="*/ 438748 h 705277"/>
                <a:gd name="connsiteX23" fmla="*/ 24603 w 106887"/>
                <a:gd name="connsiteY23" fmla="*/ 451049 h 705277"/>
                <a:gd name="connsiteX24" fmla="*/ 16402 w 106887"/>
                <a:gd name="connsiteY24" fmla="*/ 467451 h 705277"/>
                <a:gd name="connsiteX25" fmla="*/ 12302 w 106887"/>
                <a:gd name="connsiteY25" fmla="*/ 483852 h 705277"/>
                <a:gd name="connsiteX26" fmla="*/ 4101 w 106887"/>
                <a:gd name="connsiteY26" fmla="*/ 508455 h 705277"/>
                <a:gd name="connsiteX27" fmla="*/ 0 w 106887"/>
                <a:gd name="connsiteY27" fmla="*/ 520756 h 705277"/>
                <a:gd name="connsiteX28" fmla="*/ 4101 w 106887"/>
                <a:gd name="connsiteY28" fmla="*/ 533058 h 705277"/>
                <a:gd name="connsiteX29" fmla="*/ 24603 w 106887"/>
                <a:gd name="connsiteY29" fmla="*/ 561761 h 705277"/>
                <a:gd name="connsiteX30" fmla="*/ 36904 w 106887"/>
                <a:gd name="connsiteY30" fmla="*/ 602765 h 705277"/>
                <a:gd name="connsiteX31" fmla="*/ 53306 w 106887"/>
                <a:gd name="connsiteY31" fmla="*/ 627368 h 705277"/>
                <a:gd name="connsiteX32" fmla="*/ 57407 w 106887"/>
                <a:gd name="connsiteY32" fmla="*/ 639669 h 705277"/>
                <a:gd name="connsiteX33" fmla="*/ 73808 w 106887"/>
                <a:gd name="connsiteY33" fmla="*/ 664272 h 705277"/>
                <a:gd name="connsiteX34" fmla="*/ 77909 w 106887"/>
                <a:gd name="connsiteY34" fmla="*/ 676574 h 705277"/>
                <a:gd name="connsiteX35" fmla="*/ 82009 w 106887"/>
                <a:gd name="connsiteY35" fmla="*/ 697076 h 705277"/>
                <a:gd name="connsiteX36" fmla="*/ 90210 w 106887"/>
                <a:gd name="connsiteY36" fmla="*/ 705277 h 705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06887" h="705277">
                  <a:moveTo>
                    <a:pt x="49206" y="0"/>
                  </a:moveTo>
                  <a:cubicBezTo>
                    <a:pt x="47839" y="6834"/>
                    <a:pt x="44526" y="13557"/>
                    <a:pt x="45105" y="20502"/>
                  </a:cubicBezTo>
                  <a:cubicBezTo>
                    <a:pt x="45931" y="30418"/>
                    <a:pt x="50447" y="39674"/>
                    <a:pt x="53306" y="49205"/>
                  </a:cubicBezTo>
                  <a:cubicBezTo>
                    <a:pt x="54548" y="53345"/>
                    <a:pt x="56220" y="57350"/>
                    <a:pt x="57407" y="61506"/>
                  </a:cubicBezTo>
                  <a:cubicBezTo>
                    <a:pt x="58955" y="66925"/>
                    <a:pt x="59888" y="72510"/>
                    <a:pt x="61507" y="77908"/>
                  </a:cubicBezTo>
                  <a:cubicBezTo>
                    <a:pt x="63991" y="86188"/>
                    <a:pt x="64913" y="95318"/>
                    <a:pt x="69708" y="102511"/>
                  </a:cubicBezTo>
                  <a:lnTo>
                    <a:pt x="86110" y="127113"/>
                  </a:lnTo>
                  <a:cubicBezTo>
                    <a:pt x="87477" y="131214"/>
                    <a:pt x="89162" y="135222"/>
                    <a:pt x="90210" y="139415"/>
                  </a:cubicBezTo>
                  <a:cubicBezTo>
                    <a:pt x="91900" y="146176"/>
                    <a:pt x="91864" y="153391"/>
                    <a:pt x="94311" y="159917"/>
                  </a:cubicBezTo>
                  <a:cubicBezTo>
                    <a:pt x="96041" y="164531"/>
                    <a:pt x="99778" y="168118"/>
                    <a:pt x="102512" y="172218"/>
                  </a:cubicBezTo>
                  <a:cubicBezTo>
                    <a:pt x="103879" y="176319"/>
                    <a:pt x="107979" y="180419"/>
                    <a:pt x="106612" y="184520"/>
                  </a:cubicBezTo>
                  <a:cubicBezTo>
                    <a:pt x="104778" y="190021"/>
                    <a:pt x="97528" y="191996"/>
                    <a:pt x="94311" y="196821"/>
                  </a:cubicBezTo>
                  <a:cubicBezTo>
                    <a:pt x="91913" y="200417"/>
                    <a:pt x="91258" y="204929"/>
                    <a:pt x="90210" y="209122"/>
                  </a:cubicBezTo>
                  <a:cubicBezTo>
                    <a:pt x="88520" y="215884"/>
                    <a:pt x="87944" y="222901"/>
                    <a:pt x="86110" y="229625"/>
                  </a:cubicBezTo>
                  <a:cubicBezTo>
                    <a:pt x="83836" y="237965"/>
                    <a:pt x="80643" y="246026"/>
                    <a:pt x="77909" y="254227"/>
                  </a:cubicBezTo>
                  <a:cubicBezTo>
                    <a:pt x="76542" y="258328"/>
                    <a:pt x="74856" y="262336"/>
                    <a:pt x="73808" y="266529"/>
                  </a:cubicBezTo>
                  <a:lnTo>
                    <a:pt x="69708" y="282930"/>
                  </a:lnTo>
                  <a:cubicBezTo>
                    <a:pt x="71075" y="288397"/>
                    <a:pt x="70288" y="294931"/>
                    <a:pt x="73808" y="299332"/>
                  </a:cubicBezTo>
                  <a:cubicBezTo>
                    <a:pt x="76508" y="302707"/>
                    <a:pt x="85453" y="299161"/>
                    <a:pt x="86110" y="303433"/>
                  </a:cubicBezTo>
                  <a:cubicBezTo>
                    <a:pt x="92029" y="341906"/>
                    <a:pt x="88016" y="343628"/>
                    <a:pt x="73808" y="364939"/>
                  </a:cubicBezTo>
                  <a:cubicBezTo>
                    <a:pt x="63503" y="395858"/>
                    <a:pt x="77403" y="357750"/>
                    <a:pt x="61507" y="389542"/>
                  </a:cubicBezTo>
                  <a:cubicBezTo>
                    <a:pt x="59574" y="393408"/>
                    <a:pt x="59506" y="398065"/>
                    <a:pt x="57407" y="401843"/>
                  </a:cubicBezTo>
                  <a:cubicBezTo>
                    <a:pt x="45146" y="423912"/>
                    <a:pt x="43645" y="423806"/>
                    <a:pt x="28704" y="438748"/>
                  </a:cubicBezTo>
                  <a:cubicBezTo>
                    <a:pt x="27337" y="442848"/>
                    <a:pt x="26306" y="447076"/>
                    <a:pt x="24603" y="451049"/>
                  </a:cubicBezTo>
                  <a:cubicBezTo>
                    <a:pt x="22195" y="456667"/>
                    <a:pt x="18548" y="461728"/>
                    <a:pt x="16402" y="467451"/>
                  </a:cubicBezTo>
                  <a:cubicBezTo>
                    <a:pt x="14423" y="472727"/>
                    <a:pt x="13921" y="478454"/>
                    <a:pt x="12302" y="483852"/>
                  </a:cubicBezTo>
                  <a:cubicBezTo>
                    <a:pt x="9818" y="492132"/>
                    <a:pt x="6835" y="500254"/>
                    <a:pt x="4101" y="508455"/>
                  </a:cubicBezTo>
                  <a:lnTo>
                    <a:pt x="0" y="520756"/>
                  </a:lnTo>
                  <a:cubicBezTo>
                    <a:pt x="1367" y="524857"/>
                    <a:pt x="1703" y="529461"/>
                    <a:pt x="4101" y="533058"/>
                  </a:cubicBezTo>
                  <a:cubicBezTo>
                    <a:pt x="21998" y="559904"/>
                    <a:pt x="12466" y="529396"/>
                    <a:pt x="24603" y="561761"/>
                  </a:cubicBezTo>
                  <a:cubicBezTo>
                    <a:pt x="29513" y="574854"/>
                    <a:pt x="28897" y="590754"/>
                    <a:pt x="36904" y="602765"/>
                  </a:cubicBezTo>
                  <a:cubicBezTo>
                    <a:pt x="42371" y="610966"/>
                    <a:pt x="50189" y="618018"/>
                    <a:pt x="53306" y="627368"/>
                  </a:cubicBezTo>
                  <a:cubicBezTo>
                    <a:pt x="54673" y="631468"/>
                    <a:pt x="55308" y="635891"/>
                    <a:pt x="57407" y="639669"/>
                  </a:cubicBezTo>
                  <a:cubicBezTo>
                    <a:pt x="62194" y="648285"/>
                    <a:pt x="70691" y="654922"/>
                    <a:pt x="73808" y="664272"/>
                  </a:cubicBezTo>
                  <a:cubicBezTo>
                    <a:pt x="75175" y="668373"/>
                    <a:pt x="76861" y="672381"/>
                    <a:pt x="77909" y="676574"/>
                  </a:cubicBezTo>
                  <a:cubicBezTo>
                    <a:pt x="79599" y="683335"/>
                    <a:pt x="79264" y="690670"/>
                    <a:pt x="82009" y="697076"/>
                  </a:cubicBezTo>
                  <a:cubicBezTo>
                    <a:pt x="83532" y="700629"/>
                    <a:pt x="87476" y="702543"/>
                    <a:pt x="90210" y="705277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2" name="Forma livre 391"/>
            <p:cNvSpPr/>
            <p:nvPr/>
          </p:nvSpPr>
          <p:spPr bwMode="auto">
            <a:xfrm>
              <a:off x="4476750" y="3890963"/>
              <a:ext cx="706438" cy="833437"/>
            </a:xfrm>
            <a:custGeom>
              <a:avLst/>
              <a:gdLst>
                <a:gd name="connsiteX0" fmla="*/ 0 w 705277"/>
                <a:gd name="connsiteY0" fmla="*/ 0 h 832391"/>
                <a:gd name="connsiteX1" fmla="*/ 32803 w 705277"/>
                <a:gd name="connsiteY1" fmla="*/ 4100 h 832391"/>
                <a:gd name="connsiteX2" fmla="*/ 49205 w 705277"/>
                <a:gd name="connsiteY2" fmla="*/ 28703 h 832391"/>
                <a:gd name="connsiteX3" fmla="*/ 73808 w 705277"/>
                <a:gd name="connsiteY3" fmla="*/ 49205 h 832391"/>
                <a:gd name="connsiteX4" fmla="*/ 86109 w 705277"/>
                <a:gd name="connsiteY4" fmla="*/ 53305 h 832391"/>
                <a:gd name="connsiteX5" fmla="*/ 98410 w 705277"/>
                <a:gd name="connsiteY5" fmla="*/ 61506 h 832391"/>
                <a:gd name="connsiteX6" fmla="*/ 127114 w 705277"/>
                <a:gd name="connsiteY6" fmla="*/ 73808 h 832391"/>
                <a:gd name="connsiteX7" fmla="*/ 135314 w 705277"/>
                <a:gd name="connsiteY7" fmla="*/ 86109 h 832391"/>
                <a:gd name="connsiteX8" fmla="*/ 159917 w 705277"/>
                <a:gd name="connsiteY8" fmla="*/ 135314 h 832391"/>
                <a:gd name="connsiteX9" fmla="*/ 188620 w 705277"/>
                <a:gd name="connsiteY9" fmla="*/ 143515 h 832391"/>
                <a:gd name="connsiteX10" fmla="*/ 213223 w 705277"/>
                <a:gd name="connsiteY10" fmla="*/ 151716 h 832391"/>
                <a:gd name="connsiteX11" fmla="*/ 221424 w 705277"/>
                <a:gd name="connsiteY11" fmla="*/ 164017 h 832391"/>
                <a:gd name="connsiteX12" fmla="*/ 270629 w 705277"/>
                <a:gd name="connsiteY12" fmla="*/ 176319 h 832391"/>
                <a:gd name="connsiteX13" fmla="*/ 274730 w 705277"/>
                <a:gd name="connsiteY13" fmla="*/ 188620 h 832391"/>
                <a:gd name="connsiteX14" fmla="*/ 311634 w 705277"/>
                <a:gd name="connsiteY14" fmla="*/ 192721 h 832391"/>
                <a:gd name="connsiteX15" fmla="*/ 323935 w 705277"/>
                <a:gd name="connsiteY15" fmla="*/ 196821 h 832391"/>
                <a:gd name="connsiteX16" fmla="*/ 344437 w 705277"/>
                <a:gd name="connsiteY16" fmla="*/ 200922 h 832391"/>
                <a:gd name="connsiteX17" fmla="*/ 373140 w 705277"/>
                <a:gd name="connsiteY17" fmla="*/ 209122 h 832391"/>
                <a:gd name="connsiteX18" fmla="*/ 381341 w 705277"/>
                <a:gd name="connsiteY18" fmla="*/ 221424 h 832391"/>
                <a:gd name="connsiteX19" fmla="*/ 405944 w 705277"/>
                <a:gd name="connsiteY19" fmla="*/ 237826 h 832391"/>
                <a:gd name="connsiteX20" fmla="*/ 410045 w 705277"/>
                <a:gd name="connsiteY20" fmla="*/ 250127 h 832391"/>
                <a:gd name="connsiteX21" fmla="*/ 418245 w 705277"/>
                <a:gd name="connsiteY21" fmla="*/ 262428 h 832391"/>
                <a:gd name="connsiteX22" fmla="*/ 426446 w 705277"/>
                <a:gd name="connsiteY22" fmla="*/ 291131 h 832391"/>
                <a:gd name="connsiteX23" fmla="*/ 438748 w 705277"/>
                <a:gd name="connsiteY23" fmla="*/ 303433 h 832391"/>
                <a:gd name="connsiteX24" fmla="*/ 442848 w 705277"/>
                <a:gd name="connsiteY24" fmla="*/ 315734 h 832391"/>
                <a:gd name="connsiteX25" fmla="*/ 479752 w 705277"/>
                <a:gd name="connsiteY25" fmla="*/ 332136 h 832391"/>
                <a:gd name="connsiteX26" fmla="*/ 492053 w 705277"/>
                <a:gd name="connsiteY26" fmla="*/ 336236 h 832391"/>
                <a:gd name="connsiteX27" fmla="*/ 504355 w 705277"/>
                <a:gd name="connsiteY27" fmla="*/ 344437 h 832391"/>
                <a:gd name="connsiteX28" fmla="*/ 508455 w 705277"/>
                <a:gd name="connsiteY28" fmla="*/ 356739 h 832391"/>
                <a:gd name="connsiteX29" fmla="*/ 516656 w 705277"/>
                <a:gd name="connsiteY29" fmla="*/ 373140 h 832391"/>
                <a:gd name="connsiteX30" fmla="*/ 524857 w 705277"/>
                <a:gd name="connsiteY30" fmla="*/ 401844 h 832391"/>
                <a:gd name="connsiteX31" fmla="*/ 541259 w 705277"/>
                <a:gd name="connsiteY31" fmla="*/ 430547 h 832391"/>
                <a:gd name="connsiteX32" fmla="*/ 545359 w 705277"/>
                <a:gd name="connsiteY32" fmla="*/ 446948 h 832391"/>
                <a:gd name="connsiteX33" fmla="*/ 569962 w 705277"/>
                <a:gd name="connsiteY33" fmla="*/ 463350 h 832391"/>
                <a:gd name="connsiteX34" fmla="*/ 594565 w 705277"/>
                <a:gd name="connsiteY34" fmla="*/ 492053 h 832391"/>
                <a:gd name="connsiteX35" fmla="*/ 598665 w 705277"/>
                <a:gd name="connsiteY35" fmla="*/ 504355 h 832391"/>
                <a:gd name="connsiteX36" fmla="*/ 610967 w 705277"/>
                <a:gd name="connsiteY36" fmla="*/ 528957 h 832391"/>
                <a:gd name="connsiteX37" fmla="*/ 623268 w 705277"/>
                <a:gd name="connsiteY37" fmla="*/ 582263 h 832391"/>
                <a:gd name="connsiteX38" fmla="*/ 627368 w 705277"/>
                <a:gd name="connsiteY38" fmla="*/ 594565 h 832391"/>
                <a:gd name="connsiteX39" fmla="*/ 647871 w 705277"/>
                <a:gd name="connsiteY39" fmla="*/ 619167 h 832391"/>
                <a:gd name="connsiteX40" fmla="*/ 651971 w 705277"/>
                <a:gd name="connsiteY40" fmla="*/ 631469 h 832391"/>
                <a:gd name="connsiteX41" fmla="*/ 643770 w 705277"/>
                <a:gd name="connsiteY41" fmla="*/ 664272 h 832391"/>
                <a:gd name="connsiteX42" fmla="*/ 647871 w 705277"/>
                <a:gd name="connsiteY42" fmla="*/ 697076 h 832391"/>
                <a:gd name="connsiteX43" fmla="*/ 651971 w 705277"/>
                <a:gd name="connsiteY43" fmla="*/ 733980 h 832391"/>
                <a:gd name="connsiteX44" fmla="*/ 656071 w 705277"/>
                <a:gd name="connsiteY44" fmla="*/ 750382 h 832391"/>
                <a:gd name="connsiteX45" fmla="*/ 668373 w 705277"/>
                <a:gd name="connsiteY45" fmla="*/ 754482 h 832391"/>
                <a:gd name="connsiteX46" fmla="*/ 688875 w 705277"/>
                <a:gd name="connsiteY46" fmla="*/ 787286 h 832391"/>
                <a:gd name="connsiteX47" fmla="*/ 697076 w 705277"/>
                <a:gd name="connsiteY47" fmla="*/ 811888 h 832391"/>
                <a:gd name="connsiteX48" fmla="*/ 701176 w 705277"/>
                <a:gd name="connsiteY48" fmla="*/ 824190 h 832391"/>
                <a:gd name="connsiteX49" fmla="*/ 705277 w 705277"/>
                <a:gd name="connsiteY49" fmla="*/ 832391 h 832391"/>
                <a:gd name="connsiteX0" fmla="*/ 0 w 705277"/>
                <a:gd name="connsiteY0" fmla="*/ 0 h 832391"/>
                <a:gd name="connsiteX1" fmla="*/ 32803 w 705277"/>
                <a:gd name="connsiteY1" fmla="*/ 4100 h 832391"/>
                <a:gd name="connsiteX2" fmla="*/ 49205 w 705277"/>
                <a:gd name="connsiteY2" fmla="*/ 28703 h 832391"/>
                <a:gd name="connsiteX3" fmla="*/ 73808 w 705277"/>
                <a:gd name="connsiteY3" fmla="*/ 49205 h 832391"/>
                <a:gd name="connsiteX4" fmla="*/ 86109 w 705277"/>
                <a:gd name="connsiteY4" fmla="*/ 53305 h 832391"/>
                <a:gd name="connsiteX5" fmla="*/ 98410 w 705277"/>
                <a:gd name="connsiteY5" fmla="*/ 61506 h 832391"/>
                <a:gd name="connsiteX6" fmla="*/ 127114 w 705277"/>
                <a:gd name="connsiteY6" fmla="*/ 73808 h 832391"/>
                <a:gd name="connsiteX7" fmla="*/ 135314 w 705277"/>
                <a:gd name="connsiteY7" fmla="*/ 86109 h 832391"/>
                <a:gd name="connsiteX8" fmla="*/ 159917 w 705277"/>
                <a:gd name="connsiteY8" fmla="*/ 135314 h 832391"/>
                <a:gd name="connsiteX9" fmla="*/ 188620 w 705277"/>
                <a:gd name="connsiteY9" fmla="*/ 143515 h 832391"/>
                <a:gd name="connsiteX10" fmla="*/ 213223 w 705277"/>
                <a:gd name="connsiteY10" fmla="*/ 151716 h 832391"/>
                <a:gd name="connsiteX11" fmla="*/ 221424 w 705277"/>
                <a:gd name="connsiteY11" fmla="*/ 164017 h 832391"/>
                <a:gd name="connsiteX12" fmla="*/ 270629 w 705277"/>
                <a:gd name="connsiteY12" fmla="*/ 176319 h 832391"/>
                <a:gd name="connsiteX13" fmla="*/ 274730 w 705277"/>
                <a:gd name="connsiteY13" fmla="*/ 188620 h 832391"/>
                <a:gd name="connsiteX14" fmla="*/ 311634 w 705277"/>
                <a:gd name="connsiteY14" fmla="*/ 192721 h 832391"/>
                <a:gd name="connsiteX15" fmla="*/ 323935 w 705277"/>
                <a:gd name="connsiteY15" fmla="*/ 196821 h 832391"/>
                <a:gd name="connsiteX16" fmla="*/ 344437 w 705277"/>
                <a:gd name="connsiteY16" fmla="*/ 200922 h 832391"/>
                <a:gd name="connsiteX17" fmla="*/ 373140 w 705277"/>
                <a:gd name="connsiteY17" fmla="*/ 209122 h 832391"/>
                <a:gd name="connsiteX18" fmla="*/ 381341 w 705277"/>
                <a:gd name="connsiteY18" fmla="*/ 221424 h 832391"/>
                <a:gd name="connsiteX19" fmla="*/ 405944 w 705277"/>
                <a:gd name="connsiteY19" fmla="*/ 237826 h 832391"/>
                <a:gd name="connsiteX20" fmla="*/ 410045 w 705277"/>
                <a:gd name="connsiteY20" fmla="*/ 250127 h 832391"/>
                <a:gd name="connsiteX21" fmla="*/ 418245 w 705277"/>
                <a:gd name="connsiteY21" fmla="*/ 262428 h 832391"/>
                <a:gd name="connsiteX22" fmla="*/ 426446 w 705277"/>
                <a:gd name="connsiteY22" fmla="*/ 291131 h 832391"/>
                <a:gd name="connsiteX23" fmla="*/ 438748 w 705277"/>
                <a:gd name="connsiteY23" fmla="*/ 303433 h 832391"/>
                <a:gd name="connsiteX24" fmla="*/ 442848 w 705277"/>
                <a:gd name="connsiteY24" fmla="*/ 315734 h 832391"/>
                <a:gd name="connsiteX25" fmla="*/ 479752 w 705277"/>
                <a:gd name="connsiteY25" fmla="*/ 332136 h 832391"/>
                <a:gd name="connsiteX26" fmla="*/ 492053 w 705277"/>
                <a:gd name="connsiteY26" fmla="*/ 336236 h 832391"/>
                <a:gd name="connsiteX27" fmla="*/ 504355 w 705277"/>
                <a:gd name="connsiteY27" fmla="*/ 344437 h 832391"/>
                <a:gd name="connsiteX28" fmla="*/ 508455 w 705277"/>
                <a:gd name="connsiteY28" fmla="*/ 356739 h 832391"/>
                <a:gd name="connsiteX29" fmla="*/ 516656 w 705277"/>
                <a:gd name="connsiteY29" fmla="*/ 373140 h 832391"/>
                <a:gd name="connsiteX30" fmla="*/ 524857 w 705277"/>
                <a:gd name="connsiteY30" fmla="*/ 401844 h 832391"/>
                <a:gd name="connsiteX31" fmla="*/ 541259 w 705277"/>
                <a:gd name="connsiteY31" fmla="*/ 430547 h 832391"/>
                <a:gd name="connsiteX32" fmla="*/ 565861 w 705277"/>
                <a:gd name="connsiteY32" fmla="*/ 446948 h 832391"/>
                <a:gd name="connsiteX33" fmla="*/ 569962 w 705277"/>
                <a:gd name="connsiteY33" fmla="*/ 463350 h 832391"/>
                <a:gd name="connsiteX34" fmla="*/ 594565 w 705277"/>
                <a:gd name="connsiteY34" fmla="*/ 492053 h 832391"/>
                <a:gd name="connsiteX35" fmla="*/ 598665 w 705277"/>
                <a:gd name="connsiteY35" fmla="*/ 504355 h 832391"/>
                <a:gd name="connsiteX36" fmla="*/ 610967 w 705277"/>
                <a:gd name="connsiteY36" fmla="*/ 528957 h 832391"/>
                <a:gd name="connsiteX37" fmla="*/ 623268 w 705277"/>
                <a:gd name="connsiteY37" fmla="*/ 582263 h 832391"/>
                <a:gd name="connsiteX38" fmla="*/ 627368 w 705277"/>
                <a:gd name="connsiteY38" fmla="*/ 594565 h 832391"/>
                <a:gd name="connsiteX39" fmla="*/ 647871 w 705277"/>
                <a:gd name="connsiteY39" fmla="*/ 619167 h 832391"/>
                <a:gd name="connsiteX40" fmla="*/ 651971 w 705277"/>
                <a:gd name="connsiteY40" fmla="*/ 631469 h 832391"/>
                <a:gd name="connsiteX41" fmla="*/ 643770 w 705277"/>
                <a:gd name="connsiteY41" fmla="*/ 664272 h 832391"/>
                <a:gd name="connsiteX42" fmla="*/ 647871 w 705277"/>
                <a:gd name="connsiteY42" fmla="*/ 697076 h 832391"/>
                <a:gd name="connsiteX43" fmla="*/ 651971 w 705277"/>
                <a:gd name="connsiteY43" fmla="*/ 733980 h 832391"/>
                <a:gd name="connsiteX44" fmla="*/ 656071 w 705277"/>
                <a:gd name="connsiteY44" fmla="*/ 750382 h 832391"/>
                <a:gd name="connsiteX45" fmla="*/ 668373 w 705277"/>
                <a:gd name="connsiteY45" fmla="*/ 754482 h 832391"/>
                <a:gd name="connsiteX46" fmla="*/ 688875 w 705277"/>
                <a:gd name="connsiteY46" fmla="*/ 787286 h 832391"/>
                <a:gd name="connsiteX47" fmla="*/ 697076 w 705277"/>
                <a:gd name="connsiteY47" fmla="*/ 811888 h 832391"/>
                <a:gd name="connsiteX48" fmla="*/ 701176 w 705277"/>
                <a:gd name="connsiteY48" fmla="*/ 824190 h 832391"/>
                <a:gd name="connsiteX49" fmla="*/ 705277 w 705277"/>
                <a:gd name="connsiteY49" fmla="*/ 832391 h 832391"/>
                <a:gd name="connsiteX0" fmla="*/ 0 w 705277"/>
                <a:gd name="connsiteY0" fmla="*/ 0 h 832391"/>
                <a:gd name="connsiteX1" fmla="*/ 32803 w 705277"/>
                <a:gd name="connsiteY1" fmla="*/ 4100 h 832391"/>
                <a:gd name="connsiteX2" fmla="*/ 49205 w 705277"/>
                <a:gd name="connsiteY2" fmla="*/ 28703 h 832391"/>
                <a:gd name="connsiteX3" fmla="*/ 73808 w 705277"/>
                <a:gd name="connsiteY3" fmla="*/ 49205 h 832391"/>
                <a:gd name="connsiteX4" fmla="*/ 86109 w 705277"/>
                <a:gd name="connsiteY4" fmla="*/ 53305 h 832391"/>
                <a:gd name="connsiteX5" fmla="*/ 98410 w 705277"/>
                <a:gd name="connsiteY5" fmla="*/ 61506 h 832391"/>
                <a:gd name="connsiteX6" fmla="*/ 127114 w 705277"/>
                <a:gd name="connsiteY6" fmla="*/ 73808 h 832391"/>
                <a:gd name="connsiteX7" fmla="*/ 135314 w 705277"/>
                <a:gd name="connsiteY7" fmla="*/ 86109 h 832391"/>
                <a:gd name="connsiteX8" fmla="*/ 159917 w 705277"/>
                <a:gd name="connsiteY8" fmla="*/ 135314 h 832391"/>
                <a:gd name="connsiteX9" fmla="*/ 188620 w 705277"/>
                <a:gd name="connsiteY9" fmla="*/ 143515 h 832391"/>
                <a:gd name="connsiteX10" fmla="*/ 213223 w 705277"/>
                <a:gd name="connsiteY10" fmla="*/ 151716 h 832391"/>
                <a:gd name="connsiteX11" fmla="*/ 221424 w 705277"/>
                <a:gd name="connsiteY11" fmla="*/ 164017 h 832391"/>
                <a:gd name="connsiteX12" fmla="*/ 270629 w 705277"/>
                <a:gd name="connsiteY12" fmla="*/ 176319 h 832391"/>
                <a:gd name="connsiteX13" fmla="*/ 274730 w 705277"/>
                <a:gd name="connsiteY13" fmla="*/ 188620 h 832391"/>
                <a:gd name="connsiteX14" fmla="*/ 311634 w 705277"/>
                <a:gd name="connsiteY14" fmla="*/ 192721 h 832391"/>
                <a:gd name="connsiteX15" fmla="*/ 323935 w 705277"/>
                <a:gd name="connsiteY15" fmla="*/ 196821 h 832391"/>
                <a:gd name="connsiteX16" fmla="*/ 344437 w 705277"/>
                <a:gd name="connsiteY16" fmla="*/ 200922 h 832391"/>
                <a:gd name="connsiteX17" fmla="*/ 373140 w 705277"/>
                <a:gd name="connsiteY17" fmla="*/ 209122 h 832391"/>
                <a:gd name="connsiteX18" fmla="*/ 381341 w 705277"/>
                <a:gd name="connsiteY18" fmla="*/ 221424 h 832391"/>
                <a:gd name="connsiteX19" fmla="*/ 405944 w 705277"/>
                <a:gd name="connsiteY19" fmla="*/ 237826 h 832391"/>
                <a:gd name="connsiteX20" fmla="*/ 410045 w 705277"/>
                <a:gd name="connsiteY20" fmla="*/ 250127 h 832391"/>
                <a:gd name="connsiteX21" fmla="*/ 418245 w 705277"/>
                <a:gd name="connsiteY21" fmla="*/ 262428 h 832391"/>
                <a:gd name="connsiteX22" fmla="*/ 426446 w 705277"/>
                <a:gd name="connsiteY22" fmla="*/ 291131 h 832391"/>
                <a:gd name="connsiteX23" fmla="*/ 438748 w 705277"/>
                <a:gd name="connsiteY23" fmla="*/ 303433 h 832391"/>
                <a:gd name="connsiteX24" fmla="*/ 442848 w 705277"/>
                <a:gd name="connsiteY24" fmla="*/ 315734 h 832391"/>
                <a:gd name="connsiteX25" fmla="*/ 479752 w 705277"/>
                <a:gd name="connsiteY25" fmla="*/ 332136 h 832391"/>
                <a:gd name="connsiteX26" fmla="*/ 492053 w 705277"/>
                <a:gd name="connsiteY26" fmla="*/ 336236 h 832391"/>
                <a:gd name="connsiteX27" fmla="*/ 504355 w 705277"/>
                <a:gd name="connsiteY27" fmla="*/ 344437 h 832391"/>
                <a:gd name="connsiteX28" fmla="*/ 508455 w 705277"/>
                <a:gd name="connsiteY28" fmla="*/ 356739 h 832391"/>
                <a:gd name="connsiteX29" fmla="*/ 516656 w 705277"/>
                <a:gd name="connsiteY29" fmla="*/ 373140 h 832391"/>
                <a:gd name="connsiteX30" fmla="*/ 524857 w 705277"/>
                <a:gd name="connsiteY30" fmla="*/ 401844 h 832391"/>
                <a:gd name="connsiteX31" fmla="*/ 557661 w 705277"/>
                <a:gd name="connsiteY31" fmla="*/ 426446 h 832391"/>
                <a:gd name="connsiteX32" fmla="*/ 565861 w 705277"/>
                <a:gd name="connsiteY32" fmla="*/ 446948 h 832391"/>
                <a:gd name="connsiteX33" fmla="*/ 569962 w 705277"/>
                <a:gd name="connsiteY33" fmla="*/ 463350 h 832391"/>
                <a:gd name="connsiteX34" fmla="*/ 594565 w 705277"/>
                <a:gd name="connsiteY34" fmla="*/ 492053 h 832391"/>
                <a:gd name="connsiteX35" fmla="*/ 598665 w 705277"/>
                <a:gd name="connsiteY35" fmla="*/ 504355 h 832391"/>
                <a:gd name="connsiteX36" fmla="*/ 610967 w 705277"/>
                <a:gd name="connsiteY36" fmla="*/ 528957 h 832391"/>
                <a:gd name="connsiteX37" fmla="*/ 623268 w 705277"/>
                <a:gd name="connsiteY37" fmla="*/ 582263 h 832391"/>
                <a:gd name="connsiteX38" fmla="*/ 627368 w 705277"/>
                <a:gd name="connsiteY38" fmla="*/ 594565 h 832391"/>
                <a:gd name="connsiteX39" fmla="*/ 647871 w 705277"/>
                <a:gd name="connsiteY39" fmla="*/ 619167 h 832391"/>
                <a:gd name="connsiteX40" fmla="*/ 651971 w 705277"/>
                <a:gd name="connsiteY40" fmla="*/ 631469 h 832391"/>
                <a:gd name="connsiteX41" fmla="*/ 643770 w 705277"/>
                <a:gd name="connsiteY41" fmla="*/ 664272 h 832391"/>
                <a:gd name="connsiteX42" fmla="*/ 647871 w 705277"/>
                <a:gd name="connsiteY42" fmla="*/ 697076 h 832391"/>
                <a:gd name="connsiteX43" fmla="*/ 651971 w 705277"/>
                <a:gd name="connsiteY43" fmla="*/ 733980 h 832391"/>
                <a:gd name="connsiteX44" fmla="*/ 656071 w 705277"/>
                <a:gd name="connsiteY44" fmla="*/ 750382 h 832391"/>
                <a:gd name="connsiteX45" fmla="*/ 668373 w 705277"/>
                <a:gd name="connsiteY45" fmla="*/ 754482 h 832391"/>
                <a:gd name="connsiteX46" fmla="*/ 688875 w 705277"/>
                <a:gd name="connsiteY46" fmla="*/ 787286 h 832391"/>
                <a:gd name="connsiteX47" fmla="*/ 697076 w 705277"/>
                <a:gd name="connsiteY47" fmla="*/ 811888 h 832391"/>
                <a:gd name="connsiteX48" fmla="*/ 701176 w 705277"/>
                <a:gd name="connsiteY48" fmla="*/ 824190 h 832391"/>
                <a:gd name="connsiteX49" fmla="*/ 705277 w 705277"/>
                <a:gd name="connsiteY49" fmla="*/ 832391 h 832391"/>
                <a:gd name="connsiteX0" fmla="*/ 0 w 705277"/>
                <a:gd name="connsiteY0" fmla="*/ 0 h 832391"/>
                <a:gd name="connsiteX1" fmla="*/ 32803 w 705277"/>
                <a:gd name="connsiteY1" fmla="*/ 4100 h 832391"/>
                <a:gd name="connsiteX2" fmla="*/ 49205 w 705277"/>
                <a:gd name="connsiteY2" fmla="*/ 28703 h 832391"/>
                <a:gd name="connsiteX3" fmla="*/ 73808 w 705277"/>
                <a:gd name="connsiteY3" fmla="*/ 49205 h 832391"/>
                <a:gd name="connsiteX4" fmla="*/ 86109 w 705277"/>
                <a:gd name="connsiteY4" fmla="*/ 53305 h 832391"/>
                <a:gd name="connsiteX5" fmla="*/ 98410 w 705277"/>
                <a:gd name="connsiteY5" fmla="*/ 61506 h 832391"/>
                <a:gd name="connsiteX6" fmla="*/ 127114 w 705277"/>
                <a:gd name="connsiteY6" fmla="*/ 73808 h 832391"/>
                <a:gd name="connsiteX7" fmla="*/ 135314 w 705277"/>
                <a:gd name="connsiteY7" fmla="*/ 86109 h 832391"/>
                <a:gd name="connsiteX8" fmla="*/ 168118 w 705277"/>
                <a:gd name="connsiteY8" fmla="*/ 114812 h 832391"/>
                <a:gd name="connsiteX9" fmla="*/ 188620 w 705277"/>
                <a:gd name="connsiteY9" fmla="*/ 143515 h 832391"/>
                <a:gd name="connsiteX10" fmla="*/ 213223 w 705277"/>
                <a:gd name="connsiteY10" fmla="*/ 151716 h 832391"/>
                <a:gd name="connsiteX11" fmla="*/ 221424 w 705277"/>
                <a:gd name="connsiteY11" fmla="*/ 164017 h 832391"/>
                <a:gd name="connsiteX12" fmla="*/ 270629 w 705277"/>
                <a:gd name="connsiteY12" fmla="*/ 176319 h 832391"/>
                <a:gd name="connsiteX13" fmla="*/ 274730 w 705277"/>
                <a:gd name="connsiteY13" fmla="*/ 188620 h 832391"/>
                <a:gd name="connsiteX14" fmla="*/ 311634 w 705277"/>
                <a:gd name="connsiteY14" fmla="*/ 192721 h 832391"/>
                <a:gd name="connsiteX15" fmla="*/ 323935 w 705277"/>
                <a:gd name="connsiteY15" fmla="*/ 196821 h 832391"/>
                <a:gd name="connsiteX16" fmla="*/ 344437 w 705277"/>
                <a:gd name="connsiteY16" fmla="*/ 200922 h 832391"/>
                <a:gd name="connsiteX17" fmla="*/ 373140 w 705277"/>
                <a:gd name="connsiteY17" fmla="*/ 209122 h 832391"/>
                <a:gd name="connsiteX18" fmla="*/ 381341 w 705277"/>
                <a:gd name="connsiteY18" fmla="*/ 221424 h 832391"/>
                <a:gd name="connsiteX19" fmla="*/ 405944 w 705277"/>
                <a:gd name="connsiteY19" fmla="*/ 237826 h 832391"/>
                <a:gd name="connsiteX20" fmla="*/ 410045 w 705277"/>
                <a:gd name="connsiteY20" fmla="*/ 250127 h 832391"/>
                <a:gd name="connsiteX21" fmla="*/ 418245 w 705277"/>
                <a:gd name="connsiteY21" fmla="*/ 262428 h 832391"/>
                <a:gd name="connsiteX22" fmla="*/ 426446 w 705277"/>
                <a:gd name="connsiteY22" fmla="*/ 291131 h 832391"/>
                <a:gd name="connsiteX23" fmla="*/ 438748 w 705277"/>
                <a:gd name="connsiteY23" fmla="*/ 303433 h 832391"/>
                <a:gd name="connsiteX24" fmla="*/ 442848 w 705277"/>
                <a:gd name="connsiteY24" fmla="*/ 315734 h 832391"/>
                <a:gd name="connsiteX25" fmla="*/ 479752 w 705277"/>
                <a:gd name="connsiteY25" fmla="*/ 332136 h 832391"/>
                <a:gd name="connsiteX26" fmla="*/ 492053 w 705277"/>
                <a:gd name="connsiteY26" fmla="*/ 336236 h 832391"/>
                <a:gd name="connsiteX27" fmla="*/ 504355 w 705277"/>
                <a:gd name="connsiteY27" fmla="*/ 344437 h 832391"/>
                <a:gd name="connsiteX28" fmla="*/ 508455 w 705277"/>
                <a:gd name="connsiteY28" fmla="*/ 356739 h 832391"/>
                <a:gd name="connsiteX29" fmla="*/ 516656 w 705277"/>
                <a:gd name="connsiteY29" fmla="*/ 373140 h 832391"/>
                <a:gd name="connsiteX30" fmla="*/ 524857 w 705277"/>
                <a:gd name="connsiteY30" fmla="*/ 401844 h 832391"/>
                <a:gd name="connsiteX31" fmla="*/ 557661 w 705277"/>
                <a:gd name="connsiteY31" fmla="*/ 426446 h 832391"/>
                <a:gd name="connsiteX32" fmla="*/ 565861 w 705277"/>
                <a:gd name="connsiteY32" fmla="*/ 446948 h 832391"/>
                <a:gd name="connsiteX33" fmla="*/ 569962 w 705277"/>
                <a:gd name="connsiteY33" fmla="*/ 463350 h 832391"/>
                <a:gd name="connsiteX34" fmla="*/ 594565 w 705277"/>
                <a:gd name="connsiteY34" fmla="*/ 492053 h 832391"/>
                <a:gd name="connsiteX35" fmla="*/ 598665 w 705277"/>
                <a:gd name="connsiteY35" fmla="*/ 504355 h 832391"/>
                <a:gd name="connsiteX36" fmla="*/ 610967 w 705277"/>
                <a:gd name="connsiteY36" fmla="*/ 528957 h 832391"/>
                <a:gd name="connsiteX37" fmla="*/ 623268 w 705277"/>
                <a:gd name="connsiteY37" fmla="*/ 582263 h 832391"/>
                <a:gd name="connsiteX38" fmla="*/ 627368 w 705277"/>
                <a:gd name="connsiteY38" fmla="*/ 594565 h 832391"/>
                <a:gd name="connsiteX39" fmla="*/ 647871 w 705277"/>
                <a:gd name="connsiteY39" fmla="*/ 619167 h 832391"/>
                <a:gd name="connsiteX40" fmla="*/ 651971 w 705277"/>
                <a:gd name="connsiteY40" fmla="*/ 631469 h 832391"/>
                <a:gd name="connsiteX41" fmla="*/ 643770 w 705277"/>
                <a:gd name="connsiteY41" fmla="*/ 664272 h 832391"/>
                <a:gd name="connsiteX42" fmla="*/ 647871 w 705277"/>
                <a:gd name="connsiteY42" fmla="*/ 697076 h 832391"/>
                <a:gd name="connsiteX43" fmla="*/ 651971 w 705277"/>
                <a:gd name="connsiteY43" fmla="*/ 733980 h 832391"/>
                <a:gd name="connsiteX44" fmla="*/ 656071 w 705277"/>
                <a:gd name="connsiteY44" fmla="*/ 750382 h 832391"/>
                <a:gd name="connsiteX45" fmla="*/ 668373 w 705277"/>
                <a:gd name="connsiteY45" fmla="*/ 754482 h 832391"/>
                <a:gd name="connsiteX46" fmla="*/ 688875 w 705277"/>
                <a:gd name="connsiteY46" fmla="*/ 787286 h 832391"/>
                <a:gd name="connsiteX47" fmla="*/ 697076 w 705277"/>
                <a:gd name="connsiteY47" fmla="*/ 811888 h 832391"/>
                <a:gd name="connsiteX48" fmla="*/ 701176 w 705277"/>
                <a:gd name="connsiteY48" fmla="*/ 824190 h 832391"/>
                <a:gd name="connsiteX49" fmla="*/ 705277 w 705277"/>
                <a:gd name="connsiteY49" fmla="*/ 832391 h 832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705277" h="832391">
                  <a:moveTo>
                    <a:pt x="0" y="0"/>
                  </a:moveTo>
                  <a:cubicBezTo>
                    <a:pt x="10934" y="1367"/>
                    <a:pt x="23285" y="-1452"/>
                    <a:pt x="32803" y="4100"/>
                  </a:cubicBezTo>
                  <a:cubicBezTo>
                    <a:pt x="41317" y="9066"/>
                    <a:pt x="42235" y="21733"/>
                    <a:pt x="49205" y="28703"/>
                  </a:cubicBezTo>
                  <a:cubicBezTo>
                    <a:pt x="58274" y="37772"/>
                    <a:pt x="62390" y="43496"/>
                    <a:pt x="73808" y="49205"/>
                  </a:cubicBezTo>
                  <a:cubicBezTo>
                    <a:pt x="77674" y="51138"/>
                    <a:pt x="82009" y="51938"/>
                    <a:pt x="86109" y="53305"/>
                  </a:cubicBezTo>
                  <a:cubicBezTo>
                    <a:pt x="90209" y="56039"/>
                    <a:pt x="93880" y="59565"/>
                    <a:pt x="98410" y="61506"/>
                  </a:cubicBezTo>
                  <a:cubicBezTo>
                    <a:pt x="135483" y="77396"/>
                    <a:pt x="96227" y="53217"/>
                    <a:pt x="127114" y="73808"/>
                  </a:cubicBezTo>
                  <a:cubicBezTo>
                    <a:pt x="129847" y="77908"/>
                    <a:pt x="128480" y="79275"/>
                    <a:pt x="135314" y="86109"/>
                  </a:cubicBezTo>
                  <a:cubicBezTo>
                    <a:pt x="142148" y="92943"/>
                    <a:pt x="154773" y="110363"/>
                    <a:pt x="168118" y="114812"/>
                  </a:cubicBezTo>
                  <a:cubicBezTo>
                    <a:pt x="209444" y="128588"/>
                    <a:pt x="181103" y="137364"/>
                    <a:pt x="188620" y="143515"/>
                  </a:cubicBezTo>
                  <a:cubicBezTo>
                    <a:pt x="196137" y="149666"/>
                    <a:pt x="213223" y="151716"/>
                    <a:pt x="213223" y="151716"/>
                  </a:cubicBezTo>
                  <a:cubicBezTo>
                    <a:pt x="215957" y="155816"/>
                    <a:pt x="217939" y="160532"/>
                    <a:pt x="221424" y="164017"/>
                  </a:cubicBezTo>
                  <a:cubicBezTo>
                    <a:pt x="235549" y="178142"/>
                    <a:pt x="250110" y="174039"/>
                    <a:pt x="270629" y="176319"/>
                  </a:cubicBezTo>
                  <a:cubicBezTo>
                    <a:pt x="271996" y="180419"/>
                    <a:pt x="270717" y="187015"/>
                    <a:pt x="274730" y="188620"/>
                  </a:cubicBezTo>
                  <a:cubicBezTo>
                    <a:pt x="286222" y="193217"/>
                    <a:pt x="299425" y="190686"/>
                    <a:pt x="311634" y="192721"/>
                  </a:cubicBezTo>
                  <a:cubicBezTo>
                    <a:pt x="315897" y="193432"/>
                    <a:pt x="319742" y="195773"/>
                    <a:pt x="323935" y="196821"/>
                  </a:cubicBezTo>
                  <a:cubicBezTo>
                    <a:pt x="330696" y="198511"/>
                    <a:pt x="337634" y="199410"/>
                    <a:pt x="344437" y="200922"/>
                  </a:cubicBezTo>
                  <a:cubicBezTo>
                    <a:pt x="359888" y="204356"/>
                    <a:pt x="359438" y="204555"/>
                    <a:pt x="373140" y="209122"/>
                  </a:cubicBezTo>
                  <a:cubicBezTo>
                    <a:pt x="375874" y="213223"/>
                    <a:pt x="377632" y="218179"/>
                    <a:pt x="381341" y="221424"/>
                  </a:cubicBezTo>
                  <a:cubicBezTo>
                    <a:pt x="388759" y="227915"/>
                    <a:pt x="405944" y="237826"/>
                    <a:pt x="405944" y="237826"/>
                  </a:cubicBezTo>
                  <a:cubicBezTo>
                    <a:pt x="407311" y="241926"/>
                    <a:pt x="408112" y="246261"/>
                    <a:pt x="410045" y="250127"/>
                  </a:cubicBezTo>
                  <a:cubicBezTo>
                    <a:pt x="412249" y="254535"/>
                    <a:pt x="416304" y="257899"/>
                    <a:pt x="418245" y="262428"/>
                  </a:cubicBezTo>
                  <a:cubicBezTo>
                    <a:pt x="419882" y="266249"/>
                    <a:pt x="423257" y="286348"/>
                    <a:pt x="426446" y="291131"/>
                  </a:cubicBezTo>
                  <a:cubicBezTo>
                    <a:pt x="429663" y="295956"/>
                    <a:pt x="434647" y="299332"/>
                    <a:pt x="438748" y="303433"/>
                  </a:cubicBezTo>
                  <a:cubicBezTo>
                    <a:pt x="440115" y="307533"/>
                    <a:pt x="440148" y="312359"/>
                    <a:pt x="442848" y="315734"/>
                  </a:cubicBezTo>
                  <a:cubicBezTo>
                    <a:pt x="449937" y="324595"/>
                    <a:pt x="472234" y="329630"/>
                    <a:pt x="479752" y="332136"/>
                  </a:cubicBezTo>
                  <a:lnTo>
                    <a:pt x="492053" y="336236"/>
                  </a:lnTo>
                  <a:cubicBezTo>
                    <a:pt x="496154" y="338970"/>
                    <a:pt x="501276" y="340589"/>
                    <a:pt x="504355" y="344437"/>
                  </a:cubicBezTo>
                  <a:cubicBezTo>
                    <a:pt x="507055" y="347812"/>
                    <a:pt x="506752" y="352766"/>
                    <a:pt x="508455" y="356739"/>
                  </a:cubicBezTo>
                  <a:cubicBezTo>
                    <a:pt x="510863" y="362357"/>
                    <a:pt x="514510" y="367417"/>
                    <a:pt x="516656" y="373140"/>
                  </a:cubicBezTo>
                  <a:cubicBezTo>
                    <a:pt x="527055" y="400868"/>
                    <a:pt x="518023" y="392960"/>
                    <a:pt x="524857" y="401844"/>
                  </a:cubicBezTo>
                  <a:cubicBezTo>
                    <a:pt x="531691" y="410728"/>
                    <a:pt x="549427" y="414095"/>
                    <a:pt x="557661" y="426446"/>
                  </a:cubicBezTo>
                  <a:cubicBezTo>
                    <a:pt x="559028" y="431913"/>
                    <a:pt x="563811" y="440797"/>
                    <a:pt x="565861" y="446948"/>
                  </a:cubicBezTo>
                  <a:cubicBezTo>
                    <a:pt x="567911" y="453099"/>
                    <a:pt x="558219" y="459436"/>
                    <a:pt x="569962" y="463350"/>
                  </a:cubicBezTo>
                  <a:cubicBezTo>
                    <a:pt x="579652" y="473041"/>
                    <a:pt x="587554" y="479785"/>
                    <a:pt x="594565" y="492053"/>
                  </a:cubicBezTo>
                  <a:cubicBezTo>
                    <a:pt x="596710" y="495806"/>
                    <a:pt x="596732" y="500489"/>
                    <a:pt x="598665" y="504355"/>
                  </a:cubicBezTo>
                  <a:cubicBezTo>
                    <a:pt x="614567" y="536161"/>
                    <a:pt x="600656" y="498028"/>
                    <a:pt x="610967" y="528957"/>
                  </a:cubicBezTo>
                  <a:cubicBezTo>
                    <a:pt x="616290" y="566223"/>
                    <a:pt x="612010" y="548488"/>
                    <a:pt x="623268" y="582263"/>
                  </a:cubicBezTo>
                  <a:cubicBezTo>
                    <a:pt x="624635" y="586364"/>
                    <a:pt x="624970" y="590969"/>
                    <a:pt x="627368" y="594565"/>
                  </a:cubicBezTo>
                  <a:cubicBezTo>
                    <a:pt x="638786" y="611691"/>
                    <a:pt x="632084" y="603381"/>
                    <a:pt x="647871" y="619167"/>
                  </a:cubicBezTo>
                  <a:cubicBezTo>
                    <a:pt x="649238" y="623268"/>
                    <a:pt x="651971" y="627147"/>
                    <a:pt x="651971" y="631469"/>
                  </a:cubicBezTo>
                  <a:cubicBezTo>
                    <a:pt x="651971" y="641369"/>
                    <a:pt x="647007" y="654563"/>
                    <a:pt x="643770" y="664272"/>
                  </a:cubicBezTo>
                  <a:cubicBezTo>
                    <a:pt x="645137" y="675207"/>
                    <a:pt x="646583" y="686132"/>
                    <a:pt x="647871" y="697076"/>
                  </a:cubicBezTo>
                  <a:cubicBezTo>
                    <a:pt x="649317" y="709368"/>
                    <a:pt x="650089" y="721747"/>
                    <a:pt x="651971" y="733980"/>
                  </a:cubicBezTo>
                  <a:cubicBezTo>
                    <a:pt x="652828" y="739550"/>
                    <a:pt x="652550" y="745981"/>
                    <a:pt x="656071" y="750382"/>
                  </a:cubicBezTo>
                  <a:cubicBezTo>
                    <a:pt x="658771" y="753757"/>
                    <a:pt x="664272" y="753115"/>
                    <a:pt x="668373" y="754482"/>
                  </a:cubicBezTo>
                  <a:cubicBezTo>
                    <a:pt x="678132" y="783760"/>
                    <a:pt x="669381" y="774290"/>
                    <a:pt x="688875" y="787286"/>
                  </a:cubicBezTo>
                  <a:lnTo>
                    <a:pt x="697076" y="811888"/>
                  </a:lnTo>
                  <a:cubicBezTo>
                    <a:pt x="698443" y="815989"/>
                    <a:pt x="699243" y="820324"/>
                    <a:pt x="701176" y="824190"/>
                  </a:cubicBezTo>
                  <a:lnTo>
                    <a:pt x="705277" y="832391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3" name="Forma livre 392"/>
            <p:cNvSpPr/>
            <p:nvPr/>
          </p:nvSpPr>
          <p:spPr bwMode="auto">
            <a:xfrm>
              <a:off x="5297488" y="3714750"/>
              <a:ext cx="222250" cy="1025525"/>
            </a:xfrm>
            <a:custGeom>
              <a:avLst/>
              <a:gdLst>
                <a:gd name="connsiteX0" fmla="*/ 221428 w 221428"/>
                <a:gd name="connsiteY0" fmla="*/ 0 h 1025112"/>
                <a:gd name="connsiteX1" fmla="*/ 217327 w 221428"/>
                <a:gd name="connsiteY1" fmla="*/ 20503 h 1025112"/>
                <a:gd name="connsiteX2" fmla="*/ 209126 w 221428"/>
                <a:gd name="connsiteY2" fmla="*/ 32804 h 1025112"/>
                <a:gd name="connsiteX3" fmla="*/ 205026 w 221428"/>
                <a:gd name="connsiteY3" fmla="*/ 98411 h 1025112"/>
                <a:gd name="connsiteX4" fmla="*/ 196825 w 221428"/>
                <a:gd name="connsiteY4" fmla="*/ 110712 h 1025112"/>
                <a:gd name="connsiteX5" fmla="*/ 184524 w 221428"/>
                <a:gd name="connsiteY5" fmla="*/ 135315 h 1025112"/>
                <a:gd name="connsiteX6" fmla="*/ 188624 w 221428"/>
                <a:gd name="connsiteY6" fmla="*/ 168119 h 1025112"/>
                <a:gd name="connsiteX7" fmla="*/ 196825 w 221428"/>
                <a:gd name="connsiteY7" fmla="*/ 213224 h 1025112"/>
                <a:gd name="connsiteX8" fmla="*/ 192724 w 221428"/>
                <a:gd name="connsiteY8" fmla="*/ 254228 h 1025112"/>
                <a:gd name="connsiteX9" fmla="*/ 196825 w 221428"/>
                <a:gd name="connsiteY9" fmla="*/ 295233 h 1025112"/>
                <a:gd name="connsiteX10" fmla="*/ 205026 w 221428"/>
                <a:gd name="connsiteY10" fmla="*/ 307534 h 1025112"/>
                <a:gd name="connsiteX11" fmla="*/ 209126 w 221428"/>
                <a:gd name="connsiteY11" fmla="*/ 323936 h 1025112"/>
                <a:gd name="connsiteX12" fmla="*/ 196825 w 221428"/>
                <a:gd name="connsiteY12" fmla="*/ 360840 h 1025112"/>
                <a:gd name="connsiteX13" fmla="*/ 184524 w 221428"/>
                <a:gd name="connsiteY13" fmla="*/ 364940 h 1025112"/>
                <a:gd name="connsiteX14" fmla="*/ 180423 w 221428"/>
                <a:gd name="connsiteY14" fmla="*/ 377242 h 1025112"/>
                <a:gd name="connsiteX15" fmla="*/ 164021 w 221428"/>
                <a:gd name="connsiteY15" fmla="*/ 401844 h 1025112"/>
                <a:gd name="connsiteX16" fmla="*/ 151720 w 221428"/>
                <a:gd name="connsiteY16" fmla="*/ 426447 h 1025112"/>
                <a:gd name="connsiteX17" fmla="*/ 147620 w 221428"/>
                <a:gd name="connsiteY17" fmla="*/ 438748 h 1025112"/>
                <a:gd name="connsiteX18" fmla="*/ 131218 w 221428"/>
                <a:gd name="connsiteY18" fmla="*/ 463351 h 1025112"/>
                <a:gd name="connsiteX19" fmla="*/ 123017 w 221428"/>
                <a:gd name="connsiteY19" fmla="*/ 487954 h 1025112"/>
                <a:gd name="connsiteX20" fmla="*/ 114816 w 221428"/>
                <a:gd name="connsiteY20" fmla="*/ 549460 h 1025112"/>
                <a:gd name="connsiteX21" fmla="*/ 106615 w 221428"/>
                <a:gd name="connsiteY21" fmla="*/ 574063 h 1025112"/>
                <a:gd name="connsiteX22" fmla="*/ 98414 w 221428"/>
                <a:gd name="connsiteY22" fmla="*/ 586364 h 1025112"/>
                <a:gd name="connsiteX23" fmla="*/ 94314 w 221428"/>
                <a:gd name="connsiteY23" fmla="*/ 598666 h 1025112"/>
                <a:gd name="connsiteX24" fmla="*/ 86113 w 221428"/>
                <a:gd name="connsiteY24" fmla="*/ 692976 h 1025112"/>
                <a:gd name="connsiteX25" fmla="*/ 82012 w 221428"/>
                <a:gd name="connsiteY25" fmla="*/ 725780 h 1025112"/>
                <a:gd name="connsiteX26" fmla="*/ 73811 w 221428"/>
                <a:gd name="connsiteY26" fmla="*/ 758583 h 1025112"/>
                <a:gd name="connsiteX27" fmla="*/ 65611 w 221428"/>
                <a:gd name="connsiteY27" fmla="*/ 799588 h 1025112"/>
                <a:gd name="connsiteX28" fmla="*/ 61510 w 221428"/>
                <a:gd name="connsiteY28" fmla="*/ 861094 h 1025112"/>
                <a:gd name="connsiteX29" fmla="*/ 53309 w 221428"/>
                <a:gd name="connsiteY29" fmla="*/ 885697 h 1025112"/>
                <a:gd name="connsiteX30" fmla="*/ 49209 w 221428"/>
                <a:gd name="connsiteY30" fmla="*/ 897998 h 1025112"/>
                <a:gd name="connsiteX31" fmla="*/ 36907 w 221428"/>
                <a:gd name="connsiteY31" fmla="*/ 947204 h 1025112"/>
                <a:gd name="connsiteX32" fmla="*/ 24606 w 221428"/>
                <a:gd name="connsiteY32" fmla="*/ 955405 h 1025112"/>
                <a:gd name="connsiteX33" fmla="*/ 16405 w 221428"/>
                <a:gd name="connsiteY33" fmla="*/ 967706 h 1025112"/>
                <a:gd name="connsiteX34" fmla="*/ 4104 w 221428"/>
                <a:gd name="connsiteY34" fmla="*/ 975907 h 1025112"/>
                <a:gd name="connsiteX35" fmla="*/ 3 w 221428"/>
                <a:gd name="connsiteY35" fmla="*/ 1025112 h 1025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21428" h="1025112">
                  <a:moveTo>
                    <a:pt x="221428" y="0"/>
                  </a:moveTo>
                  <a:cubicBezTo>
                    <a:pt x="220061" y="6834"/>
                    <a:pt x="219774" y="13977"/>
                    <a:pt x="217327" y="20503"/>
                  </a:cubicBezTo>
                  <a:cubicBezTo>
                    <a:pt x="215597" y="25117"/>
                    <a:pt x="209895" y="27936"/>
                    <a:pt x="209126" y="32804"/>
                  </a:cubicBezTo>
                  <a:cubicBezTo>
                    <a:pt x="205709" y="54448"/>
                    <a:pt x="208443" y="76767"/>
                    <a:pt x="205026" y="98411"/>
                  </a:cubicBezTo>
                  <a:cubicBezTo>
                    <a:pt x="204257" y="103279"/>
                    <a:pt x="199029" y="106304"/>
                    <a:pt x="196825" y="110712"/>
                  </a:cubicBezTo>
                  <a:cubicBezTo>
                    <a:pt x="179844" y="144673"/>
                    <a:pt x="208029" y="100055"/>
                    <a:pt x="184524" y="135315"/>
                  </a:cubicBezTo>
                  <a:cubicBezTo>
                    <a:pt x="185891" y="146250"/>
                    <a:pt x="186905" y="157234"/>
                    <a:pt x="188624" y="168119"/>
                  </a:cubicBezTo>
                  <a:cubicBezTo>
                    <a:pt x="191007" y="183214"/>
                    <a:pt x="196098" y="197960"/>
                    <a:pt x="196825" y="213224"/>
                  </a:cubicBezTo>
                  <a:cubicBezTo>
                    <a:pt x="197478" y="226945"/>
                    <a:pt x="194091" y="240560"/>
                    <a:pt x="192724" y="254228"/>
                  </a:cubicBezTo>
                  <a:cubicBezTo>
                    <a:pt x="194091" y="267896"/>
                    <a:pt x="193736" y="281848"/>
                    <a:pt x="196825" y="295233"/>
                  </a:cubicBezTo>
                  <a:cubicBezTo>
                    <a:pt x="197933" y="300035"/>
                    <a:pt x="203085" y="303004"/>
                    <a:pt x="205026" y="307534"/>
                  </a:cubicBezTo>
                  <a:cubicBezTo>
                    <a:pt x="207246" y="312714"/>
                    <a:pt x="207759" y="318469"/>
                    <a:pt x="209126" y="323936"/>
                  </a:cubicBezTo>
                  <a:cubicBezTo>
                    <a:pt x="207125" y="335941"/>
                    <a:pt x="207913" y="351970"/>
                    <a:pt x="196825" y="360840"/>
                  </a:cubicBezTo>
                  <a:cubicBezTo>
                    <a:pt x="193450" y="363540"/>
                    <a:pt x="188624" y="363573"/>
                    <a:pt x="184524" y="364940"/>
                  </a:cubicBezTo>
                  <a:cubicBezTo>
                    <a:pt x="183157" y="369041"/>
                    <a:pt x="182522" y="373463"/>
                    <a:pt x="180423" y="377242"/>
                  </a:cubicBezTo>
                  <a:cubicBezTo>
                    <a:pt x="175636" y="385858"/>
                    <a:pt x="164021" y="401844"/>
                    <a:pt x="164021" y="401844"/>
                  </a:cubicBezTo>
                  <a:cubicBezTo>
                    <a:pt x="153716" y="432763"/>
                    <a:pt x="167616" y="394655"/>
                    <a:pt x="151720" y="426447"/>
                  </a:cubicBezTo>
                  <a:cubicBezTo>
                    <a:pt x="149787" y="430313"/>
                    <a:pt x="149719" y="434970"/>
                    <a:pt x="147620" y="438748"/>
                  </a:cubicBezTo>
                  <a:cubicBezTo>
                    <a:pt x="142833" y="447364"/>
                    <a:pt x="134335" y="454000"/>
                    <a:pt x="131218" y="463351"/>
                  </a:cubicBezTo>
                  <a:lnTo>
                    <a:pt x="123017" y="487954"/>
                  </a:lnTo>
                  <a:cubicBezTo>
                    <a:pt x="122412" y="492796"/>
                    <a:pt x="116357" y="542783"/>
                    <a:pt x="114816" y="549460"/>
                  </a:cubicBezTo>
                  <a:cubicBezTo>
                    <a:pt x="112872" y="557883"/>
                    <a:pt x="111410" y="566870"/>
                    <a:pt x="106615" y="574063"/>
                  </a:cubicBezTo>
                  <a:lnTo>
                    <a:pt x="98414" y="586364"/>
                  </a:lnTo>
                  <a:cubicBezTo>
                    <a:pt x="97047" y="590465"/>
                    <a:pt x="94688" y="594360"/>
                    <a:pt x="94314" y="598666"/>
                  </a:cubicBezTo>
                  <a:cubicBezTo>
                    <a:pt x="85681" y="697940"/>
                    <a:pt x="99549" y="652664"/>
                    <a:pt x="86113" y="692976"/>
                  </a:cubicBezTo>
                  <a:cubicBezTo>
                    <a:pt x="84746" y="703911"/>
                    <a:pt x="84043" y="714949"/>
                    <a:pt x="82012" y="725780"/>
                  </a:cubicBezTo>
                  <a:cubicBezTo>
                    <a:pt x="79935" y="736858"/>
                    <a:pt x="75405" y="747425"/>
                    <a:pt x="73811" y="758583"/>
                  </a:cubicBezTo>
                  <a:cubicBezTo>
                    <a:pt x="69100" y="791565"/>
                    <a:pt x="72767" y="778117"/>
                    <a:pt x="65611" y="799588"/>
                  </a:cubicBezTo>
                  <a:cubicBezTo>
                    <a:pt x="64244" y="820090"/>
                    <a:pt x="64416" y="840753"/>
                    <a:pt x="61510" y="861094"/>
                  </a:cubicBezTo>
                  <a:cubicBezTo>
                    <a:pt x="60287" y="869652"/>
                    <a:pt x="56043" y="877496"/>
                    <a:pt x="53309" y="885697"/>
                  </a:cubicBezTo>
                  <a:lnTo>
                    <a:pt x="49209" y="897998"/>
                  </a:lnTo>
                  <a:cubicBezTo>
                    <a:pt x="46929" y="918517"/>
                    <a:pt x="51032" y="933079"/>
                    <a:pt x="36907" y="947204"/>
                  </a:cubicBezTo>
                  <a:cubicBezTo>
                    <a:pt x="33422" y="950689"/>
                    <a:pt x="28706" y="952671"/>
                    <a:pt x="24606" y="955405"/>
                  </a:cubicBezTo>
                  <a:cubicBezTo>
                    <a:pt x="21872" y="959505"/>
                    <a:pt x="19890" y="964221"/>
                    <a:pt x="16405" y="967706"/>
                  </a:cubicBezTo>
                  <a:cubicBezTo>
                    <a:pt x="12920" y="971191"/>
                    <a:pt x="5662" y="971232"/>
                    <a:pt x="4104" y="975907"/>
                  </a:cubicBezTo>
                  <a:cubicBezTo>
                    <a:pt x="-269" y="989026"/>
                    <a:pt x="3" y="1009266"/>
                    <a:pt x="3" y="1025112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4" name="Forma livre 393"/>
            <p:cNvSpPr/>
            <p:nvPr/>
          </p:nvSpPr>
          <p:spPr bwMode="auto">
            <a:xfrm>
              <a:off x="5773738" y="3170238"/>
              <a:ext cx="163512" cy="917575"/>
            </a:xfrm>
            <a:custGeom>
              <a:avLst/>
              <a:gdLst>
                <a:gd name="connsiteX0" fmla="*/ 164275 w 164275"/>
                <a:gd name="connsiteY0" fmla="*/ 0 h 918500"/>
                <a:gd name="connsiteX1" fmla="*/ 139673 w 164275"/>
                <a:gd name="connsiteY1" fmla="*/ 32803 h 918500"/>
                <a:gd name="connsiteX2" fmla="*/ 131472 w 164275"/>
                <a:gd name="connsiteY2" fmla="*/ 45105 h 918500"/>
                <a:gd name="connsiteX3" fmla="*/ 127371 w 164275"/>
                <a:gd name="connsiteY3" fmla="*/ 57406 h 918500"/>
                <a:gd name="connsiteX4" fmla="*/ 115070 w 164275"/>
                <a:gd name="connsiteY4" fmla="*/ 61506 h 918500"/>
                <a:gd name="connsiteX5" fmla="*/ 106869 w 164275"/>
                <a:gd name="connsiteY5" fmla="*/ 77908 h 918500"/>
                <a:gd name="connsiteX6" fmla="*/ 102769 w 164275"/>
                <a:gd name="connsiteY6" fmla="*/ 114812 h 918500"/>
                <a:gd name="connsiteX7" fmla="*/ 98668 w 164275"/>
                <a:gd name="connsiteY7" fmla="*/ 127114 h 918500"/>
                <a:gd name="connsiteX8" fmla="*/ 86367 w 164275"/>
                <a:gd name="connsiteY8" fmla="*/ 139415 h 918500"/>
                <a:gd name="connsiteX9" fmla="*/ 82266 w 164275"/>
                <a:gd name="connsiteY9" fmla="*/ 151716 h 918500"/>
                <a:gd name="connsiteX10" fmla="*/ 65865 w 164275"/>
                <a:gd name="connsiteY10" fmla="*/ 176319 h 918500"/>
                <a:gd name="connsiteX11" fmla="*/ 57664 w 164275"/>
                <a:gd name="connsiteY11" fmla="*/ 200922 h 918500"/>
                <a:gd name="connsiteX12" fmla="*/ 53563 w 164275"/>
                <a:gd name="connsiteY12" fmla="*/ 213223 h 918500"/>
                <a:gd name="connsiteX13" fmla="*/ 57664 w 164275"/>
                <a:gd name="connsiteY13" fmla="*/ 246027 h 918500"/>
                <a:gd name="connsiteX14" fmla="*/ 69965 w 164275"/>
                <a:gd name="connsiteY14" fmla="*/ 250127 h 918500"/>
                <a:gd name="connsiteX15" fmla="*/ 78166 w 164275"/>
                <a:gd name="connsiteY15" fmla="*/ 262428 h 918500"/>
                <a:gd name="connsiteX16" fmla="*/ 78166 w 164275"/>
                <a:gd name="connsiteY16" fmla="*/ 455149 h 918500"/>
                <a:gd name="connsiteX17" fmla="*/ 61764 w 164275"/>
                <a:gd name="connsiteY17" fmla="*/ 479752 h 918500"/>
                <a:gd name="connsiteX18" fmla="*/ 53563 w 164275"/>
                <a:gd name="connsiteY18" fmla="*/ 492053 h 918500"/>
                <a:gd name="connsiteX19" fmla="*/ 49463 w 164275"/>
                <a:gd name="connsiteY19" fmla="*/ 504355 h 918500"/>
                <a:gd name="connsiteX20" fmla="*/ 61764 w 164275"/>
                <a:gd name="connsiteY20" fmla="*/ 537158 h 918500"/>
                <a:gd name="connsiteX21" fmla="*/ 57664 w 164275"/>
                <a:gd name="connsiteY21" fmla="*/ 565862 h 918500"/>
                <a:gd name="connsiteX22" fmla="*/ 53563 w 164275"/>
                <a:gd name="connsiteY22" fmla="*/ 578163 h 918500"/>
                <a:gd name="connsiteX23" fmla="*/ 41262 w 164275"/>
                <a:gd name="connsiteY23" fmla="*/ 586364 h 918500"/>
                <a:gd name="connsiteX24" fmla="*/ 24860 w 164275"/>
                <a:gd name="connsiteY24" fmla="*/ 610966 h 918500"/>
                <a:gd name="connsiteX25" fmla="*/ 16659 w 164275"/>
                <a:gd name="connsiteY25" fmla="*/ 623268 h 918500"/>
                <a:gd name="connsiteX26" fmla="*/ 24860 w 164275"/>
                <a:gd name="connsiteY26" fmla="*/ 647870 h 918500"/>
                <a:gd name="connsiteX27" fmla="*/ 28961 w 164275"/>
                <a:gd name="connsiteY27" fmla="*/ 660172 h 918500"/>
                <a:gd name="connsiteX28" fmla="*/ 41262 w 164275"/>
                <a:gd name="connsiteY28" fmla="*/ 668373 h 918500"/>
                <a:gd name="connsiteX29" fmla="*/ 45362 w 164275"/>
                <a:gd name="connsiteY29" fmla="*/ 688875 h 918500"/>
                <a:gd name="connsiteX30" fmla="*/ 53563 w 164275"/>
                <a:gd name="connsiteY30" fmla="*/ 701176 h 918500"/>
                <a:gd name="connsiteX31" fmla="*/ 57664 w 164275"/>
                <a:gd name="connsiteY31" fmla="*/ 713478 h 918500"/>
                <a:gd name="connsiteX32" fmla="*/ 53563 w 164275"/>
                <a:gd name="connsiteY32" fmla="*/ 746281 h 918500"/>
                <a:gd name="connsiteX33" fmla="*/ 33061 w 164275"/>
                <a:gd name="connsiteY33" fmla="*/ 770884 h 918500"/>
                <a:gd name="connsiteX34" fmla="*/ 24860 w 164275"/>
                <a:gd name="connsiteY34" fmla="*/ 840592 h 918500"/>
                <a:gd name="connsiteX35" fmla="*/ 12559 w 164275"/>
                <a:gd name="connsiteY35" fmla="*/ 865194 h 918500"/>
                <a:gd name="connsiteX36" fmla="*/ 257 w 164275"/>
                <a:gd name="connsiteY36" fmla="*/ 906199 h 918500"/>
                <a:gd name="connsiteX37" fmla="*/ 257 w 164275"/>
                <a:gd name="connsiteY37" fmla="*/ 918500 h 91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64275" h="918500">
                  <a:moveTo>
                    <a:pt x="164275" y="0"/>
                  </a:moveTo>
                  <a:cubicBezTo>
                    <a:pt x="138424" y="43086"/>
                    <a:pt x="165298" y="2053"/>
                    <a:pt x="139673" y="32803"/>
                  </a:cubicBezTo>
                  <a:cubicBezTo>
                    <a:pt x="136518" y="36589"/>
                    <a:pt x="133676" y="40697"/>
                    <a:pt x="131472" y="45105"/>
                  </a:cubicBezTo>
                  <a:cubicBezTo>
                    <a:pt x="129539" y="48971"/>
                    <a:pt x="130427" y="54350"/>
                    <a:pt x="127371" y="57406"/>
                  </a:cubicBezTo>
                  <a:cubicBezTo>
                    <a:pt x="124315" y="60462"/>
                    <a:pt x="119170" y="60139"/>
                    <a:pt x="115070" y="61506"/>
                  </a:cubicBezTo>
                  <a:cubicBezTo>
                    <a:pt x="112336" y="66973"/>
                    <a:pt x="108243" y="71952"/>
                    <a:pt x="106869" y="77908"/>
                  </a:cubicBezTo>
                  <a:cubicBezTo>
                    <a:pt x="104086" y="89968"/>
                    <a:pt x="104804" y="102603"/>
                    <a:pt x="102769" y="114812"/>
                  </a:cubicBezTo>
                  <a:cubicBezTo>
                    <a:pt x="102058" y="119076"/>
                    <a:pt x="101066" y="123517"/>
                    <a:pt x="98668" y="127114"/>
                  </a:cubicBezTo>
                  <a:cubicBezTo>
                    <a:pt x="95451" y="131939"/>
                    <a:pt x="90467" y="135315"/>
                    <a:pt x="86367" y="139415"/>
                  </a:cubicBezTo>
                  <a:cubicBezTo>
                    <a:pt x="85000" y="143515"/>
                    <a:pt x="84365" y="147938"/>
                    <a:pt x="82266" y="151716"/>
                  </a:cubicBezTo>
                  <a:cubicBezTo>
                    <a:pt x="77479" y="160332"/>
                    <a:pt x="68982" y="166969"/>
                    <a:pt x="65865" y="176319"/>
                  </a:cubicBezTo>
                  <a:lnTo>
                    <a:pt x="57664" y="200922"/>
                  </a:lnTo>
                  <a:lnTo>
                    <a:pt x="53563" y="213223"/>
                  </a:lnTo>
                  <a:cubicBezTo>
                    <a:pt x="54930" y="224158"/>
                    <a:pt x="53188" y="235957"/>
                    <a:pt x="57664" y="246027"/>
                  </a:cubicBezTo>
                  <a:cubicBezTo>
                    <a:pt x="59419" y="249977"/>
                    <a:pt x="66590" y="247427"/>
                    <a:pt x="69965" y="250127"/>
                  </a:cubicBezTo>
                  <a:cubicBezTo>
                    <a:pt x="73813" y="253205"/>
                    <a:pt x="75432" y="258328"/>
                    <a:pt x="78166" y="262428"/>
                  </a:cubicBezTo>
                  <a:cubicBezTo>
                    <a:pt x="100497" y="329432"/>
                    <a:pt x="93345" y="303357"/>
                    <a:pt x="78166" y="455149"/>
                  </a:cubicBezTo>
                  <a:cubicBezTo>
                    <a:pt x="77185" y="464956"/>
                    <a:pt x="67231" y="471551"/>
                    <a:pt x="61764" y="479752"/>
                  </a:cubicBezTo>
                  <a:lnTo>
                    <a:pt x="53563" y="492053"/>
                  </a:lnTo>
                  <a:cubicBezTo>
                    <a:pt x="52196" y="496154"/>
                    <a:pt x="49463" y="500033"/>
                    <a:pt x="49463" y="504355"/>
                  </a:cubicBezTo>
                  <a:cubicBezTo>
                    <a:pt x="49463" y="522090"/>
                    <a:pt x="53279" y="524432"/>
                    <a:pt x="61764" y="537158"/>
                  </a:cubicBezTo>
                  <a:cubicBezTo>
                    <a:pt x="60397" y="546726"/>
                    <a:pt x="59559" y="556385"/>
                    <a:pt x="57664" y="565862"/>
                  </a:cubicBezTo>
                  <a:cubicBezTo>
                    <a:pt x="56816" y="570100"/>
                    <a:pt x="56263" y="574788"/>
                    <a:pt x="53563" y="578163"/>
                  </a:cubicBezTo>
                  <a:cubicBezTo>
                    <a:pt x="50484" y="582011"/>
                    <a:pt x="45362" y="583630"/>
                    <a:pt x="41262" y="586364"/>
                  </a:cubicBezTo>
                  <a:lnTo>
                    <a:pt x="24860" y="610966"/>
                  </a:lnTo>
                  <a:lnTo>
                    <a:pt x="16659" y="623268"/>
                  </a:lnTo>
                  <a:lnTo>
                    <a:pt x="24860" y="647870"/>
                  </a:lnTo>
                  <a:cubicBezTo>
                    <a:pt x="26227" y="651971"/>
                    <a:pt x="25364" y="657774"/>
                    <a:pt x="28961" y="660172"/>
                  </a:cubicBezTo>
                  <a:lnTo>
                    <a:pt x="41262" y="668373"/>
                  </a:lnTo>
                  <a:cubicBezTo>
                    <a:pt x="42629" y="675207"/>
                    <a:pt x="42915" y="682349"/>
                    <a:pt x="45362" y="688875"/>
                  </a:cubicBezTo>
                  <a:cubicBezTo>
                    <a:pt x="47092" y="693489"/>
                    <a:pt x="51359" y="696768"/>
                    <a:pt x="53563" y="701176"/>
                  </a:cubicBezTo>
                  <a:cubicBezTo>
                    <a:pt x="55496" y="705042"/>
                    <a:pt x="56297" y="709377"/>
                    <a:pt x="57664" y="713478"/>
                  </a:cubicBezTo>
                  <a:cubicBezTo>
                    <a:pt x="56297" y="724412"/>
                    <a:pt x="56463" y="735650"/>
                    <a:pt x="53563" y="746281"/>
                  </a:cubicBezTo>
                  <a:cubicBezTo>
                    <a:pt x="51422" y="754132"/>
                    <a:pt x="37932" y="766013"/>
                    <a:pt x="33061" y="770884"/>
                  </a:cubicBezTo>
                  <a:cubicBezTo>
                    <a:pt x="21902" y="804365"/>
                    <a:pt x="33677" y="765649"/>
                    <a:pt x="24860" y="840592"/>
                  </a:cubicBezTo>
                  <a:cubicBezTo>
                    <a:pt x="23065" y="855847"/>
                    <a:pt x="18752" y="851259"/>
                    <a:pt x="12559" y="865194"/>
                  </a:cubicBezTo>
                  <a:cubicBezTo>
                    <a:pt x="10157" y="870598"/>
                    <a:pt x="1512" y="897412"/>
                    <a:pt x="257" y="906199"/>
                  </a:cubicBezTo>
                  <a:cubicBezTo>
                    <a:pt x="-323" y="910258"/>
                    <a:pt x="257" y="914400"/>
                    <a:pt x="257" y="91850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5" name="Forma livre 394"/>
            <p:cNvSpPr/>
            <p:nvPr/>
          </p:nvSpPr>
          <p:spPr bwMode="auto">
            <a:xfrm>
              <a:off x="4164013" y="2813050"/>
              <a:ext cx="211137" cy="1012825"/>
            </a:xfrm>
            <a:custGeom>
              <a:avLst/>
              <a:gdLst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91723 w 210636"/>
                <a:gd name="connsiteY5" fmla="*/ 164018 h 1012810"/>
                <a:gd name="connsiteX6" fmla="*/ 87623 w 210636"/>
                <a:gd name="connsiteY6" fmla="*/ 176319 h 1012810"/>
                <a:gd name="connsiteX7" fmla="*/ 91723 w 210636"/>
                <a:gd name="connsiteY7" fmla="*/ 196821 h 1012810"/>
                <a:gd name="connsiteX8" fmla="*/ 95824 w 210636"/>
                <a:gd name="connsiteY8" fmla="*/ 209122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71221 w 210636"/>
                <a:gd name="connsiteY14" fmla="*/ 479752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91723 w 210636"/>
                <a:gd name="connsiteY5" fmla="*/ 164018 h 1012810"/>
                <a:gd name="connsiteX6" fmla="*/ 87623 w 210636"/>
                <a:gd name="connsiteY6" fmla="*/ 176319 h 1012810"/>
                <a:gd name="connsiteX7" fmla="*/ 91723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71221 w 210636"/>
                <a:gd name="connsiteY14" fmla="*/ 479752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91723 w 210636"/>
                <a:gd name="connsiteY5" fmla="*/ 164018 h 1012810"/>
                <a:gd name="connsiteX6" fmla="*/ 87623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71221 w 210636"/>
                <a:gd name="connsiteY14" fmla="*/ 479752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91723 w 210636"/>
                <a:gd name="connsiteY5" fmla="*/ 164018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71221 w 210636"/>
                <a:gd name="connsiteY14" fmla="*/ 479752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104025 w 210636"/>
                <a:gd name="connsiteY5" fmla="*/ 155817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71221 w 210636"/>
                <a:gd name="connsiteY14" fmla="*/ 479752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104025 w 210636"/>
                <a:gd name="connsiteY5" fmla="*/ 155817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95823 w 210636"/>
                <a:gd name="connsiteY14" fmla="*/ 418245 h 1012810"/>
                <a:gd name="connsiteX15" fmla="*/ 67121 w 210636"/>
                <a:gd name="connsiteY15" fmla="*/ 496154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104025 w 210636"/>
                <a:gd name="connsiteY5" fmla="*/ 155817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95823 w 210636"/>
                <a:gd name="connsiteY14" fmla="*/ 418245 h 1012810"/>
                <a:gd name="connsiteX15" fmla="*/ 79423 w 210636"/>
                <a:gd name="connsiteY15" fmla="*/ 459250 h 1012810"/>
                <a:gd name="connsiteX16" fmla="*/ 58920 w 210636"/>
                <a:gd name="connsiteY16" fmla="*/ 508455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104025 w 210636"/>
                <a:gd name="connsiteY5" fmla="*/ 155817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95823 w 210636"/>
                <a:gd name="connsiteY14" fmla="*/ 418245 h 1012810"/>
                <a:gd name="connsiteX15" fmla="*/ 79423 w 210636"/>
                <a:gd name="connsiteY15" fmla="*/ 459250 h 1012810"/>
                <a:gd name="connsiteX16" fmla="*/ 58920 w 210636"/>
                <a:gd name="connsiteY16" fmla="*/ 492054 h 1012810"/>
                <a:gd name="connsiteX17" fmla="*/ 71221 w 210636"/>
                <a:gd name="connsiteY17" fmla="*/ 516656 h 1012810"/>
                <a:gd name="connsiteX18" fmla="*/ 87623 w 210636"/>
                <a:gd name="connsiteY18" fmla="*/ 574062 h 1012810"/>
                <a:gd name="connsiteX19" fmla="*/ 99924 w 210636"/>
                <a:gd name="connsiteY19" fmla="*/ 598665 h 1012810"/>
                <a:gd name="connsiteX20" fmla="*/ 91723 w 210636"/>
                <a:gd name="connsiteY20" fmla="*/ 619167 h 1012810"/>
                <a:gd name="connsiteX21" fmla="*/ 75322 w 210636"/>
                <a:gd name="connsiteY21" fmla="*/ 656071 h 1012810"/>
                <a:gd name="connsiteX22" fmla="*/ 71221 w 210636"/>
                <a:gd name="connsiteY22" fmla="*/ 733980 h 1012810"/>
                <a:gd name="connsiteX23" fmla="*/ 58920 w 210636"/>
                <a:gd name="connsiteY23" fmla="*/ 742181 h 1012810"/>
                <a:gd name="connsiteX24" fmla="*/ 42518 w 210636"/>
                <a:gd name="connsiteY24" fmla="*/ 762683 h 1012810"/>
                <a:gd name="connsiteX25" fmla="*/ 30217 w 210636"/>
                <a:gd name="connsiteY25" fmla="*/ 787286 h 1012810"/>
                <a:gd name="connsiteX26" fmla="*/ 13815 w 210636"/>
                <a:gd name="connsiteY26" fmla="*/ 811888 h 1012810"/>
                <a:gd name="connsiteX27" fmla="*/ 9715 w 210636"/>
                <a:gd name="connsiteY27" fmla="*/ 824190 h 1012810"/>
                <a:gd name="connsiteX28" fmla="*/ 5614 w 210636"/>
                <a:gd name="connsiteY28" fmla="*/ 856993 h 1012810"/>
                <a:gd name="connsiteX29" fmla="*/ 17915 w 210636"/>
                <a:gd name="connsiteY29" fmla="*/ 869295 h 1012810"/>
                <a:gd name="connsiteX30" fmla="*/ 26116 w 210636"/>
                <a:gd name="connsiteY30" fmla="*/ 893897 h 1012810"/>
                <a:gd name="connsiteX31" fmla="*/ 42518 w 210636"/>
                <a:gd name="connsiteY31" fmla="*/ 918500 h 1012810"/>
                <a:gd name="connsiteX32" fmla="*/ 46619 w 210636"/>
                <a:gd name="connsiteY32" fmla="*/ 930801 h 1012810"/>
                <a:gd name="connsiteX33" fmla="*/ 67121 w 210636"/>
                <a:gd name="connsiteY33" fmla="*/ 955404 h 1012810"/>
                <a:gd name="connsiteX34" fmla="*/ 79422 w 210636"/>
                <a:gd name="connsiteY34" fmla="*/ 959505 h 1012810"/>
                <a:gd name="connsiteX35" fmla="*/ 99924 w 210636"/>
                <a:gd name="connsiteY35" fmla="*/ 1000509 h 1012810"/>
                <a:gd name="connsiteX36" fmla="*/ 112226 w 210636"/>
                <a:gd name="connsiteY36" fmla="*/ 1012810 h 1012810"/>
                <a:gd name="connsiteX0" fmla="*/ 210636 w 210636"/>
                <a:gd name="connsiteY0" fmla="*/ 0 h 1012810"/>
                <a:gd name="connsiteX1" fmla="*/ 124527 w 210636"/>
                <a:gd name="connsiteY1" fmla="*/ 4100 h 1012810"/>
                <a:gd name="connsiteX2" fmla="*/ 112226 w 210636"/>
                <a:gd name="connsiteY2" fmla="*/ 12301 h 1012810"/>
                <a:gd name="connsiteX3" fmla="*/ 108125 w 210636"/>
                <a:gd name="connsiteY3" fmla="*/ 24602 h 1012810"/>
                <a:gd name="connsiteX4" fmla="*/ 99924 w 210636"/>
                <a:gd name="connsiteY4" fmla="*/ 139415 h 1012810"/>
                <a:gd name="connsiteX5" fmla="*/ 104025 w 210636"/>
                <a:gd name="connsiteY5" fmla="*/ 155817 h 1012810"/>
                <a:gd name="connsiteX6" fmla="*/ 116326 w 210636"/>
                <a:gd name="connsiteY6" fmla="*/ 176319 h 1012810"/>
                <a:gd name="connsiteX7" fmla="*/ 108124 w 210636"/>
                <a:gd name="connsiteY7" fmla="*/ 196821 h 1012810"/>
                <a:gd name="connsiteX8" fmla="*/ 99924 w 210636"/>
                <a:gd name="connsiteY8" fmla="*/ 233725 h 1012810"/>
                <a:gd name="connsiteX9" fmla="*/ 87623 w 210636"/>
                <a:gd name="connsiteY9" fmla="*/ 266529 h 1012810"/>
                <a:gd name="connsiteX10" fmla="*/ 79422 w 210636"/>
                <a:gd name="connsiteY10" fmla="*/ 278830 h 1012810"/>
                <a:gd name="connsiteX11" fmla="*/ 67121 w 210636"/>
                <a:gd name="connsiteY11" fmla="*/ 291131 h 1012810"/>
                <a:gd name="connsiteX12" fmla="*/ 67121 w 210636"/>
                <a:gd name="connsiteY12" fmla="*/ 323935 h 1012810"/>
                <a:gd name="connsiteX13" fmla="*/ 75322 w 210636"/>
                <a:gd name="connsiteY13" fmla="*/ 348538 h 1012810"/>
                <a:gd name="connsiteX14" fmla="*/ 83523 w 210636"/>
                <a:gd name="connsiteY14" fmla="*/ 385442 h 1012810"/>
                <a:gd name="connsiteX15" fmla="*/ 95823 w 210636"/>
                <a:gd name="connsiteY15" fmla="*/ 418245 h 1012810"/>
                <a:gd name="connsiteX16" fmla="*/ 79423 w 210636"/>
                <a:gd name="connsiteY16" fmla="*/ 459250 h 1012810"/>
                <a:gd name="connsiteX17" fmla="*/ 58920 w 210636"/>
                <a:gd name="connsiteY17" fmla="*/ 492054 h 1012810"/>
                <a:gd name="connsiteX18" fmla="*/ 71221 w 210636"/>
                <a:gd name="connsiteY18" fmla="*/ 516656 h 1012810"/>
                <a:gd name="connsiteX19" fmla="*/ 87623 w 210636"/>
                <a:gd name="connsiteY19" fmla="*/ 574062 h 1012810"/>
                <a:gd name="connsiteX20" fmla="*/ 99924 w 210636"/>
                <a:gd name="connsiteY20" fmla="*/ 598665 h 1012810"/>
                <a:gd name="connsiteX21" fmla="*/ 91723 w 210636"/>
                <a:gd name="connsiteY21" fmla="*/ 619167 h 1012810"/>
                <a:gd name="connsiteX22" fmla="*/ 75322 w 210636"/>
                <a:gd name="connsiteY22" fmla="*/ 656071 h 1012810"/>
                <a:gd name="connsiteX23" fmla="*/ 71221 w 210636"/>
                <a:gd name="connsiteY23" fmla="*/ 733980 h 1012810"/>
                <a:gd name="connsiteX24" fmla="*/ 58920 w 210636"/>
                <a:gd name="connsiteY24" fmla="*/ 742181 h 1012810"/>
                <a:gd name="connsiteX25" fmla="*/ 42518 w 210636"/>
                <a:gd name="connsiteY25" fmla="*/ 762683 h 1012810"/>
                <a:gd name="connsiteX26" fmla="*/ 30217 w 210636"/>
                <a:gd name="connsiteY26" fmla="*/ 787286 h 1012810"/>
                <a:gd name="connsiteX27" fmla="*/ 13815 w 210636"/>
                <a:gd name="connsiteY27" fmla="*/ 811888 h 1012810"/>
                <a:gd name="connsiteX28" fmla="*/ 9715 w 210636"/>
                <a:gd name="connsiteY28" fmla="*/ 824190 h 1012810"/>
                <a:gd name="connsiteX29" fmla="*/ 5614 w 210636"/>
                <a:gd name="connsiteY29" fmla="*/ 856993 h 1012810"/>
                <a:gd name="connsiteX30" fmla="*/ 17915 w 210636"/>
                <a:gd name="connsiteY30" fmla="*/ 869295 h 1012810"/>
                <a:gd name="connsiteX31" fmla="*/ 26116 w 210636"/>
                <a:gd name="connsiteY31" fmla="*/ 893897 h 1012810"/>
                <a:gd name="connsiteX32" fmla="*/ 42518 w 210636"/>
                <a:gd name="connsiteY32" fmla="*/ 918500 h 1012810"/>
                <a:gd name="connsiteX33" fmla="*/ 46619 w 210636"/>
                <a:gd name="connsiteY33" fmla="*/ 930801 h 1012810"/>
                <a:gd name="connsiteX34" fmla="*/ 67121 w 210636"/>
                <a:gd name="connsiteY34" fmla="*/ 955404 h 1012810"/>
                <a:gd name="connsiteX35" fmla="*/ 79422 w 210636"/>
                <a:gd name="connsiteY35" fmla="*/ 959505 h 1012810"/>
                <a:gd name="connsiteX36" fmla="*/ 99924 w 210636"/>
                <a:gd name="connsiteY36" fmla="*/ 1000509 h 1012810"/>
                <a:gd name="connsiteX37" fmla="*/ 112226 w 210636"/>
                <a:gd name="connsiteY37" fmla="*/ 1012810 h 101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10636" h="1012810">
                  <a:moveTo>
                    <a:pt x="210636" y="0"/>
                  </a:moveTo>
                  <a:cubicBezTo>
                    <a:pt x="181933" y="1367"/>
                    <a:pt x="153041" y="536"/>
                    <a:pt x="124527" y="4100"/>
                  </a:cubicBezTo>
                  <a:cubicBezTo>
                    <a:pt x="119637" y="4711"/>
                    <a:pt x="115305" y="8453"/>
                    <a:pt x="112226" y="12301"/>
                  </a:cubicBezTo>
                  <a:cubicBezTo>
                    <a:pt x="109526" y="15676"/>
                    <a:pt x="109492" y="20502"/>
                    <a:pt x="108125" y="24602"/>
                  </a:cubicBezTo>
                  <a:cubicBezTo>
                    <a:pt x="107448" y="38819"/>
                    <a:pt x="100607" y="117546"/>
                    <a:pt x="99924" y="139415"/>
                  </a:cubicBezTo>
                  <a:cubicBezTo>
                    <a:pt x="99241" y="161284"/>
                    <a:pt x="101291" y="149666"/>
                    <a:pt x="104025" y="155817"/>
                  </a:cubicBezTo>
                  <a:cubicBezTo>
                    <a:pt x="106759" y="161968"/>
                    <a:pt x="115643" y="169485"/>
                    <a:pt x="116326" y="176319"/>
                  </a:cubicBezTo>
                  <a:cubicBezTo>
                    <a:pt x="117009" y="183153"/>
                    <a:pt x="110858" y="187253"/>
                    <a:pt x="108124" y="196821"/>
                  </a:cubicBezTo>
                  <a:cubicBezTo>
                    <a:pt x="105390" y="206389"/>
                    <a:pt x="103341" y="222107"/>
                    <a:pt x="99924" y="233725"/>
                  </a:cubicBezTo>
                  <a:cubicBezTo>
                    <a:pt x="96507" y="245343"/>
                    <a:pt x="91040" y="259012"/>
                    <a:pt x="87623" y="266529"/>
                  </a:cubicBezTo>
                  <a:cubicBezTo>
                    <a:pt x="84206" y="274046"/>
                    <a:pt x="82577" y="275044"/>
                    <a:pt x="79422" y="278830"/>
                  </a:cubicBezTo>
                  <a:cubicBezTo>
                    <a:pt x="75710" y="283285"/>
                    <a:pt x="71221" y="287031"/>
                    <a:pt x="67121" y="291131"/>
                  </a:cubicBezTo>
                  <a:cubicBezTo>
                    <a:pt x="61430" y="308204"/>
                    <a:pt x="61183" y="302162"/>
                    <a:pt x="67121" y="323935"/>
                  </a:cubicBezTo>
                  <a:cubicBezTo>
                    <a:pt x="69396" y="332275"/>
                    <a:pt x="72588" y="338287"/>
                    <a:pt x="75322" y="348538"/>
                  </a:cubicBezTo>
                  <a:cubicBezTo>
                    <a:pt x="78056" y="358789"/>
                    <a:pt x="80106" y="373824"/>
                    <a:pt x="83523" y="385442"/>
                  </a:cubicBezTo>
                  <a:cubicBezTo>
                    <a:pt x="86940" y="397060"/>
                    <a:pt x="97873" y="407994"/>
                    <a:pt x="95823" y="418245"/>
                  </a:cubicBezTo>
                  <a:cubicBezTo>
                    <a:pt x="95510" y="423872"/>
                    <a:pt x="85573" y="446949"/>
                    <a:pt x="79423" y="459250"/>
                  </a:cubicBezTo>
                  <a:cubicBezTo>
                    <a:pt x="73273" y="471551"/>
                    <a:pt x="61654" y="487954"/>
                    <a:pt x="58920" y="492054"/>
                  </a:cubicBezTo>
                  <a:cubicBezTo>
                    <a:pt x="63020" y="494788"/>
                    <a:pt x="66437" y="502988"/>
                    <a:pt x="71221" y="516656"/>
                  </a:cubicBezTo>
                  <a:cubicBezTo>
                    <a:pt x="76005" y="530324"/>
                    <a:pt x="57577" y="554033"/>
                    <a:pt x="87623" y="574062"/>
                  </a:cubicBezTo>
                  <a:cubicBezTo>
                    <a:pt x="90750" y="578753"/>
                    <a:pt x="100818" y="591517"/>
                    <a:pt x="99924" y="598665"/>
                  </a:cubicBezTo>
                  <a:cubicBezTo>
                    <a:pt x="99011" y="605969"/>
                    <a:pt x="94238" y="612250"/>
                    <a:pt x="91723" y="619167"/>
                  </a:cubicBezTo>
                  <a:cubicBezTo>
                    <a:pt x="80012" y="651375"/>
                    <a:pt x="89432" y="634907"/>
                    <a:pt x="75322" y="656071"/>
                  </a:cubicBezTo>
                  <a:cubicBezTo>
                    <a:pt x="73955" y="682041"/>
                    <a:pt x="76087" y="708434"/>
                    <a:pt x="71221" y="733980"/>
                  </a:cubicBezTo>
                  <a:cubicBezTo>
                    <a:pt x="70299" y="738821"/>
                    <a:pt x="61999" y="738333"/>
                    <a:pt x="58920" y="742181"/>
                  </a:cubicBezTo>
                  <a:cubicBezTo>
                    <a:pt x="36284" y="770475"/>
                    <a:pt x="77771" y="739180"/>
                    <a:pt x="42518" y="762683"/>
                  </a:cubicBezTo>
                  <a:cubicBezTo>
                    <a:pt x="32215" y="793594"/>
                    <a:pt x="46111" y="755499"/>
                    <a:pt x="30217" y="787286"/>
                  </a:cubicBezTo>
                  <a:cubicBezTo>
                    <a:pt x="18349" y="811021"/>
                    <a:pt x="37132" y="788571"/>
                    <a:pt x="13815" y="811888"/>
                  </a:cubicBezTo>
                  <a:cubicBezTo>
                    <a:pt x="12448" y="815989"/>
                    <a:pt x="11648" y="820324"/>
                    <a:pt x="9715" y="824190"/>
                  </a:cubicBezTo>
                  <a:cubicBezTo>
                    <a:pt x="1844" y="839933"/>
                    <a:pt x="-5386" y="834991"/>
                    <a:pt x="5614" y="856993"/>
                  </a:cubicBezTo>
                  <a:cubicBezTo>
                    <a:pt x="8207" y="862180"/>
                    <a:pt x="13815" y="865194"/>
                    <a:pt x="17915" y="869295"/>
                  </a:cubicBezTo>
                  <a:cubicBezTo>
                    <a:pt x="20649" y="877496"/>
                    <a:pt x="21321" y="886705"/>
                    <a:pt x="26116" y="893897"/>
                  </a:cubicBezTo>
                  <a:cubicBezTo>
                    <a:pt x="31583" y="902098"/>
                    <a:pt x="39401" y="909150"/>
                    <a:pt x="42518" y="918500"/>
                  </a:cubicBezTo>
                  <a:cubicBezTo>
                    <a:pt x="43885" y="922600"/>
                    <a:pt x="44686" y="926935"/>
                    <a:pt x="46619" y="930801"/>
                  </a:cubicBezTo>
                  <a:cubicBezTo>
                    <a:pt x="50403" y="938369"/>
                    <a:pt x="60315" y="950867"/>
                    <a:pt x="67121" y="955404"/>
                  </a:cubicBezTo>
                  <a:cubicBezTo>
                    <a:pt x="70717" y="957802"/>
                    <a:pt x="75322" y="958138"/>
                    <a:pt x="79422" y="959505"/>
                  </a:cubicBezTo>
                  <a:cubicBezTo>
                    <a:pt x="86097" y="979529"/>
                    <a:pt x="85352" y="985937"/>
                    <a:pt x="99924" y="1000509"/>
                  </a:cubicBezTo>
                  <a:cubicBezTo>
                    <a:pt x="113363" y="1013948"/>
                    <a:pt x="112226" y="1002539"/>
                    <a:pt x="112226" y="101281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776" name="Forma livre 395"/>
            <p:cNvSpPr/>
            <p:nvPr/>
          </p:nvSpPr>
          <p:spPr>
            <a:xfrm>
              <a:off x="3810000" y="3882390"/>
              <a:ext cx="396709" cy="205740"/>
            </a:xfrm>
            <a:custGeom>
              <a:avLst/>
              <a:gdLst>
                <a:gd name="connsiteX0" fmla="*/ 0 w 396709"/>
                <a:gd name="connsiteY0" fmla="*/ 205740 h 205740"/>
                <a:gd name="connsiteX1" fmla="*/ 19050 w 396709"/>
                <a:gd name="connsiteY1" fmla="*/ 201930 h 205740"/>
                <a:gd name="connsiteX2" fmla="*/ 30480 w 396709"/>
                <a:gd name="connsiteY2" fmla="*/ 194310 h 205740"/>
                <a:gd name="connsiteX3" fmla="*/ 83820 w 396709"/>
                <a:gd name="connsiteY3" fmla="*/ 190500 h 205740"/>
                <a:gd name="connsiteX4" fmla="*/ 110490 w 396709"/>
                <a:gd name="connsiteY4" fmla="*/ 186690 h 205740"/>
                <a:gd name="connsiteX5" fmla="*/ 140970 w 396709"/>
                <a:gd name="connsiteY5" fmla="*/ 179070 h 205740"/>
                <a:gd name="connsiteX6" fmla="*/ 160020 w 396709"/>
                <a:gd name="connsiteY6" fmla="*/ 160020 h 205740"/>
                <a:gd name="connsiteX7" fmla="*/ 171450 w 396709"/>
                <a:gd name="connsiteY7" fmla="*/ 152400 h 205740"/>
                <a:gd name="connsiteX8" fmla="*/ 182880 w 396709"/>
                <a:gd name="connsiteY8" fmla="*/ 140970 h 205740"/>
                <a:gd name="connsiteX9" fmla="*/ 205740 w 396709"/>
                <a:gd name="connsiteY9" fmla="*/ 129540 h 205740"/>
                <a:gd name="connsiteX10" fmla="*/ 220980 w 396709"/>
                <a:gd name="connsiteY10" fmla="*/ 118110 h 205740"/>
                <a:gd name="connsiteX11" fmla="*/ 228600 w 396709"/>
                <a:gd name="connsiteY11" fmla="*/ 106680 h 205740"/>
                <a:gd name="connsiteX12" fmla="*/ 240030 w 396709"/>
                <a:gd name="connsiteY12" fmla="*/ 102870 h 205740"/>
                <a:gd name="connsiteX13" fmla="*/ 251460 w 396709"/>
                <a:gd name="connsiteY13" fmla="*/ 95250 h 205740"/>
                <a:gd name="connsiteX14" fmla="*/ 262890 w 396709"/>
                <a:gd name="connsiteY14" fmla="*/ 91440 h 205740"/>
                <a:gd name="connsiteX15" fmla="*/ 285750 w 396709"/>
                <a:gd name="connsiteY15" fmla="*/ 72390 h 205740"/>
                <a:gd name="connsiteX16" fmla="*/ 297180 w 396709"/>
                <a:gd name="connsiteY16" fmla="*/ 68580 h 205740"/>
                <a:gd name="connsiteX17" fmla="*/ 320040 w 396709"/>
                <a:gd name="connsiteY17" fmla="*/ 53340 h 205740"/>
                <a:gd name="connsiteX18" fmla="*/ 350520 w 396709"/>
                <a:gd name="connsiteY18" fmla="*/ 26670 h 205740"/>
                <a:gd name="connsiteX19" fmla="*/ 361950 w 396709"/>
                <a:gd name="connsiteY19" fmla="*/ 19050 h 205740"/>
                <a:gd name="connsiteX20" fmla="*/ 373380 w 396709"/>
                <a:gd name="connsiteY20" fmla="*/ 15240 h 205740"/>
                <a:gd name="connsiteX21" fmla="*/ 384810 w 396709"/>
                <a:gd name="connsiteY21" fmla="*/ 7620 h 205740"/>
                <a:gd name="connsiteX22" fmla="*/ 396240 w 396709"/>
                <a:gd name="connsiteY22" fmla="*/ 3810 h 205740"/>
                <a:gd name="connsiteX23" fmla="*/ 396240 w 396709"/>
                <a:gd name="connsiteY23" fmla="*/ 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6709" h="205740">
                  <a:moveTo>
                    <a:pt x="0" y="205740"/>
                  </a:moveTo>
                  <a:cubicBezTo>
                    <a:pt x="6350" y="204470"/>
                    <a:pt x="12987" y="204204"/>
                    <a:pt x="19050" y="201930"/>
                  </a:cubicBezTo>
                  <a:cubicBezTo>
                    <a:pt x="23337" y="200322"/>
                    <a:pt x="25971" y="195106"/>
                    <a:pt x="30480" y="194310"/>
                  </a:cubicBezTo>
                  <a:cubicBezTo>
                    <a:pt x="48034" y="191212"/>
                    <a:pt x="66075" y="192190"/>
                    <a:pt x="83820" y="190500"/>
                  </a:cubicBezTo>
                  <a:cubicBezTo>
                    <a:pt x="92760" y="189649"/>
                    <a:pt x="101684" y="188451"/>
                    <a:pt x="110490" y="186690"/>
                  </a:cubicBezTo>
                  <a:cubicBezTo>
                    <a:pt x="120759" y="184636"/>
                    <a:pt x="140970" y="179070"/>
                    <a:pt x="140970" y="179070"/>
                  </a:cubicBezTo>
                  <a:cubicBezTo>
                    <a:pt x="171450" y="158750"/>
                    <a:pt x="134620" y="185420"/>
                    <a:pt x="160020" y="160020"/>
                  </a:cubicBezTo>
                  <a:cubicBezTo>
                    <a:pt x="163258" y="156782"/>
                    <a:pt x="167932" y="155331"/>
                    <a:pt x="171450" y="152400"/>
                  </a:cubicBezTo>
                  <a:cubicBezTo>
                    <a:pt x="175589" y="148951"/>
                    <a:pt x="178741" y="144419"/>
                    <a:pt x="182880" y="140970"/>
                  </a:cubicBezTo>
                  <a:cubicBezTo>
                    <a:pt x="192728" y="132764"/>
                    <a:pt x="194284" y="133359"/>
                    <a:pt x="205740" y="129540"/>
                  </a:cubicBezTo>
                  <a:cubicBezTo>
                    <a:pt x="210820" y="125730"/>
                    <a:pt x="216490" y="122600"/>
                    <a:pt x="220980" y="118110"/>
                  </a:cubicBezTo>
                  <a:cubicBezTo>
                    <a:pt x="224218" y="114872"/>
                    <a:pt x="225024" y="109541"/>
                    <a:pt x="228600" y="106680"/>
                  </a:cubicBezTo>
                  <a:cubicBezTo>
                    <a:pt x="231736" y="104171"/>
                    <a:pt x="236438" y="104666"/>
                    <a:pt x="240030" y="102870"/>
                  </a:cubicBezTo>
                  <a:cubicBezTo>
                    <a:pt x="244126" y="100822"/>
                    <a:pt x="247364" y="97298"/>
                    <a:pt x="251460" y="95250"/>
                  </a:cubicBezTo>
                  <a:cubicBezTo>
                    <a:pt x="255052" y="93454"/>
                    <a:pt x="259298" y="93236"/>
                    <a:pt x="262890" y="91440"/>
                  </a:cubicBezTo>
                  <a:cubicBezTo>
                    <a:pt x="287821" y="78975"/>
                    <a:pt x="260471" y="89242"/>
                    <a:pt x="285750" y="72390"/>
                  </a:cubicBezTo>
                  <a:cubicBezTo>
                    <a:pt x="289092" y="70162"/>
                    <a:pt x="293669" y="70530"/>
                    <a:pt x="297180" y="68580"/>
                  </a:cubicBezTo>
                  <a:cubicBezTo>
                    <a:pt x="305186" y="64132"/>
                    <a:pt x="320040" y="53340"/>
                    <a:pt x="320040" y="53340"/>
                  </a:cubicBezTo>
                  <a:cubicBezTo>
                    <a:pt x="332740" y="34290"/>
                    <a:pt x="323850" y="44450"/>
                    <a:pt x="350520" y="26670"/>
                  </a:cubicBezTo>
                  <a:cubicBezTo>
                    <a:pt x="354330" y="24130"/>
                    <a:pt x="357606" y="20498"/>
                    <a:pt x="361950" y="19050"/>
                  </a:cubicBezTo>
                  <a:cubicBezTo>
                    <a:pt x="365760" y="17780"/>
                    <a:pt x="369788" y="17036"/>
                    <a:pt x="373380" y="15240"/>
                  </a:cubicBezTo>
                  <a:cubicBezTo>
                    <a:pt x="377476" y="13192"/>
                    <a:pt x="380714" y="9668"/>
                    <a:pt x="384810" y="7620"/>
                  </a:cubicBezTo>
                  <a:cubicBezTo>
                    <a:pt x="388402" y="5824"/>
                    <a:pt x="392898" y="6038"/>
                    <a:pt x="396240" y="3810"/>
                  </a:cubicBezTo>
                  <a:cubicBezTo>
                    <a:pt x="397297" y="3106"/>
                    <a:pt x="396240" y="1270"/>
                    <a:pt x="396240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77" name="Forma livre 396"/>
            <p:cNvSpPr/>
            <p:nvPr/>
          </p:nvSpPr>
          <p:spPr>
            <a:xfrm>
              <a:off x="3406140" y="5139690"/>
              <a:ext cx="110490" cy="102870"/>
            </a:xfrm>
            <a:custGeom>
              <a:avLst/>
              <a:gdLst>
                <a:gd name="connsiteX0" fmla="*/ 0 w 110490"/>
                <a:gd name="connsiteY0" fmla="*/ 0 h 102870"/>
                <a:gd name="connsiteX1" fmla="*/ 3810 w 110490"/>
                <a:gd name="connsiteY1" fmla="*/ 19050 h 102870"/>
                <a:gd name="connsiteX2" fmla="*/ 26670 w 110490"/>
                <a:gd name="connsiteY2" fmla="*/ 34290 h 102870"/>
                <a:gd name="connsiteX3" fmla="*/ 49530 w 110490"/>
                <a:gd name="connsiteY3" fmla="*/ 49530 h 102870"/>
                <a:gd name="connsiteX4" fmla="*/ 83820 w 110490"/>
                <a:gd name="connsiteY4" fmla="*/ 64770 h 102870"/>
                <a:gd name="connsiteX5" fmla="*/ 95250 w 110490"/>
                <a:gd name="connsiteY5" fmla="*/ 76200 h 102870"/>
                <a:gd name="connsiteX6" fmla="*/ 110490 w 110490"/>
                <a:gd name="connsiteY6" fmla="*/ 10287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0490" h="102870">
                  <a:moveTo>
                    <a:pt x="0" y="0"/>
                  </a:moveTo>
                  <a:cubicBezTo>
                    <a:pt x="1270" y="6350"/>
                    <a:pt x="914" y="13258"/>
                    <a:pt x="3810" y="19050"/>
                  </a:cubicBezTo>
                  <a:cubicBezTo>
                    <a:pt x="11615" y="34660"/>
                    <a:pt x="14947" y="27777"/>
                    <a:pt x="26670" y="34290"/>
                  </a:cubicBezTo>
                  <a:cubicBezTo>
                    <a:pt x="34676" y="38738"/>
                    <a:pt x="40842" y="46634"/>
                    <a:pt x="49530" y="49530"/>
                  </a:cubicBezTo>
                  <a:cubicBezTo>
                    <a:pt x="66143" y="55068"/>
                    <a:pt x="71745" y="54707"/>
                    <a:pt x="83820" y="64770"/>
                  </a:cubicBezTo>
                  <a:cubicBezTo>
                    <a:pt x="87959" y="68219"/>
                    <a:pt x="91440" y="72390"/>
                    <a:pt x="95250" y="76200"/>
                  </a:cubicBezTo>
                  <a:cubicBezTo>
                    <a:pt x="103768" y="101754"/>
                    <a:pt x="95686" y="95468"/>
                    <a:pt x="110490" y="10287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78" name="Forma livre 397"/>
            <p:cNvSpPr/>
            <p:nvPr/>
          </p:nvSpPr>
          <p:spPr>
            <a:xfrm>
              <a:off x="3836670" y="5436870"/>
              <a:ext cx="95250" cy="83820"/>
            </a:xfrm>
            <a:custGeom>
              <a:avLst/>
              <a:gdLst>
                <a:gd name="connsiteX0" fmla="*/ 0 w 95250"/>
                <a:gd name="connsiteY0" fmla="*/ 83820 h 83820"/>
                <a:gd name="connsiteX1" fmla="*/ 19050 w 95250"/>
                <a:gd name="connsiteY1" fmla="*/ 68580 h 83820"/>
                <a:gd name="connsiteX2" fmla="*/ 30480 w 95250"/>
                <a:gd name="connsiteY2" fmla="*/ 64770 h 83820"/>
                <a:gd name="connsiteX3" fmla="*/ 38100 w 95250"/>
                <a:gd name="connsiteY3" fmla="*/ 41910 h 83820"/>
                <a:gd name="connsiteX4" fmla="*/ 41910 w 95250"/>
                <a:gd name="connsiteY4" fmla="*/ 26670 h 83820"/>
                <a:gd name="connsiteX5" fmla="*/ 53340 w 95250"/>
                <a:gd name="connsiteY5" fmla="*/ 22860 h 83820"/>
                <a:gd name="connsiteX6" fmla="*/ 64770 w 95250"/>
                <a:gd name="connsiteY6" fmla="*/ 15240 h 83820"/>
                <a:gd name="connsiteX7" fmla="*/ 76200 w 95250"/>
                <a:gd name="connsiteY7" fmla="*/ 11430 h 83820"/>
                <a:gd name="connsiteX8" fmla="*/ 87630 w 95250"/>
                <a:gd name="connsiteY8" fmla="*/ 3810 h 83820"/>
                <a:gd name="connsiteX9" fmla="*/ 95250 w 95250"/>
                <a:gd name="connsiteY9" fmla="*/ 0 h 83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5250" h="83820">
                  <a:moveTo>
                    <a:pt x="0" y="83820"/>
                  </a:moveTo>
                  <a:cubicBezTo>
                    <a:pt x="6350" y="78740"/>
                    <a:pt x="12154" y="72890"/>
                    <a:pt x="19050" y="68580"/>
                  </a:cubicBezTo>
                  <a:cubicBezTo>
                    <a:pt x="22456" y="66451"/>
                    <a:pt x="28146" y="68038"/>
                    <a:pt x="30480" y="64770"/>
                  </a:cubicBezTo>
                  <a:cubicBezTo>
                    <a:pt x="35149" y="58234"/>
                    <a:pt x="36152" y="49702"/>
                    <a:pt x="38100" y="41910"/>
                  </a:cubicBezTo>
                  <a:cubicBezTo>
                    <a:pt x="39370" y="36830"/>
                    <a:pt x="38639" y="30759"/>
                    <a:pt x="41910" y="26670"/>
                  </a:cubicBezTo>
                  <a:cubicBezTo>
                    <a:pt x="44419" y="23534"/>
                    <a:pt x="49748" y="24656"/>
                    <a:pt x="53340" y="22860"/>
                  </a:cubicBezTo>
                  <a:cubicBezTo>
                    <a:pt x="57436" y="20812"/>
                    <a:pt x="60674" y="17288"/>
                    <a:pt x="64770" y="15240"/>
                  </a:cubicBezTo>
                  <a:cubicBezTo>
                    <a:pt x="68362" y="13444"/>
                    <a:pt x="72608" y="13226"/>
                    <a:pt x="76200" y="11430"/>
                  </a:cubicBezTo>
                  <a:cubicBezTo>
                    <a:pt x="80296" y="9382"/>
                    <a:pt x="83703" y="6166"/>
                    <a:pt x="87630" y="3810"/>
                  </a:cubicBezTo>
                  <a:cubicBezTo>
                    <a:pt x="90065" y="2349"/>
                    <a:pt x="92710" y="1270"/>
                    <a:pt x="95250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79" name="Forma livre 398"/>
            <p:cNvSpPr/>
            <p:nvPr/>
          </p:nvSpPr>
          <p:spPr>
            <a:xfrm>
              <a:off x="3493770" y="5459700"/>
              <a:ext cx="19050" cy="72420"/>
            </a:xfrm>
            <a:custGeom>
              <a:avLst/>
              <a:gdLst>
                <a:gd name="connsiteX0" fmla="*/ 19050 w 19050"/>
                <a:gd name="connsiteY0" fmla="*/ 72420 h 72420"/>
                <a:gd name="connsiteX1" fmla="*/ 7620 w 19050"/>
                <a:gd name="connsiteY1" fmla="*/ 11460 h 72420"/>
                <a:gd name="connsiteX2" fmla="*/ 0 w 19050"/>
                <a:gd name="connsiteY2" fmla="*/ 30 h 72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050" h="72420">
                  <a:moveTo>
                    <a:pt x="19050" y="72420"/>
                  </a:moveTo>
                  <a:cubicBezTo>
                    <a:pt x="4493" y="28750"/>
                    <a:pt x="16838" y="71380"/>
                    <a:pt x="7620" y="11460"/>
                  </a:cubicBezTo>
                  <a:cubicBezTo>
                    <a:pt x="5676" y="-1175"/>
                    <a:pt x="7109" y="30"/>
                    <a:pt x="0" y="3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0" name="Forma livre 410"/>
            <p:cNvSpPr/>
            <p:nvPr/>
          </p:nvSpPr>
          <p:spPr>
            <a:xfrm>
              <a:off x="5078730" y="4229100"/>
              <a:ext cx="327660" cy="186690"/>
            </a:xfrm>
            <a:custGeom>
              <a:avLst/>
              <a:gdLst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56210 w 327660"/>
                <a:gd name="connsiteY6" fmla="*/ 140970 h 186690"/>
                <a:gd name="connsiteX7" fmla="*/ 190500 w 327660"/>
                <a:gd name="connsiteY7" fmla="*/ 125730 h 186690"/>
                <a:gd name="connsiteX8" fmla="*/ 201930 w 327660"/>
                <a:gd name="connsiteY8" fmla="*/ 118110 h 186690"/>
                <a:gd name="connsiteX9" fmla="*/ 213360 w 327660"/>
                <a:gd name="connsiteY9" fmla="*/ 114300 h 186690"/>
                <a:gd name="connsiteX10" fmla="*/ 236220 w 327660"/>
                <a:gd name="connsiteY10" fmla="*/ 99060 h 186690"/>
                <a:gd name="connsiteX11" fmla="*/ 247650 w 327660"/>
                <a:gd name="connsiteY11" fmla="*/ 91440 h 186690"/>
                <a:gd name="connsiteX12" fmla="*/ 255270 w 327660"/>
                <a:gd name="connsiteY12" fmla="*/ 80010 h 186690"/>
                <a:gd name="connsiteX13" fmla="*/ 266700 w 327660"/>
                <a:gd name="connsiteY13" fmla="*/ 76200 h 186690"/>
                <a:gd name="connsiteX14" fmla="*/ 278130 w 327660"/>
                <a:gd name="connsiteY14" fmla="*/ 68580 h 186690"/>
                <a:gd name="connsiteX15" fmla="*/ 281940 w 327660"/>
                <a:gd name="connsiteY15" fmla="*/ 57150 h 186690"/>
                <a:gd name="connsiteX16" fmla="*/ 304800 w 327660"/>
                <a:gd name="connsiteY16" fmla="*/ 34290 h 186690"/>
                <a:gd name="connsiteX17" fmla="*/ 316230 w 327660"/>
                <a:gd name="connsiteY17" fmla="*/ 11430 h 186690"/>
                <a:gd name="connsiteX18" fmla="*/ 327660 w 327660"/>
                <a:gd name="connsiteY18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90500 w 327660"/>
                <a:gd name="connsiteY6" fmla="*/ 125730 h 186690"/>
                <a:gd name="connsiteX7" fmla="*/ 201930 w 327660"/>
                <a:gd name="connsiteY7" fmla="*/ 118110 h 186690"/>
                <a:gd name="connsiteX8" fmla="*/ 213360 w 327660"/>
                <a:gd name="connsiteY8" fmla="*/ 114300 h 186690"/>
                <a:gd name="connsiteX9" fmla="*/ 236220 w 327660"/>
                <a:gd name="connsiteY9" fmla="*/ 99060 h 186690"/>
                <a:gd name="connsiteX10" fmla="*/ 247650 w 327660"/>
                <a:gd name="connsiteY10" fmla="*/ 91440 h 186690"/>
                <a:gd name="connsiteX11" fmla="*/ 255270 w 327660"/>
                <a:gd name="connsiteY11" fmla="*/ 80010 h 186690"/>
                <a:gd name="connsiteX12" fmla="*/ 266700 w 327660"/>
                <a:gd name="connsiteY12" fmla="*/ 76200 h 186690"/>
                <a:gd name="connsiteX13" fmla="*/ 278130 w 327660"/>
                <a:gd name="connsiteY13" fmla="*/ 68580 h 186690"/>
                <a:gd name="connsiteX14" fmla="*/ 281940 w 327660"/>
                <a:gd name="connsiteY14" fmla="*/ 57150 h 186690"/>
                <a:gd name="connsiteX15" fmla="*/ 304800 w 327660"/>
                <a:gd name="connsiteY15" fmla="*/ 34290 h 186690"/>
                <a:gd name="connsiteX16" fmla="*/ 316230 w 327660"/>
                <a:gd name="connsiteY16" fmla="*/ 11430 h 186690"/>
                <a:gd name="connsiteX17" fmla="*/ 327660 w 327660"/>
                <a:gd name="connsiteY17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201930 w 327660"/>
                <a:gd name="connsiteY6" fmla="*/ 118110 h 186690"/>
                <a:gd name="connsiteX7" fmla="*/ 213360 w 327660"/>
                <a:gd name="connsiteY7" fmla="*/ 114300 h 186690"/>
                <a:gd name="connsiteX8" fmla="*/ 236220 w 327660"/>
                <a:gd name="connsiteY8" fmla="*/ 99060 h 186690"/>
                <a:gd name="connsiteX9" fmla="*/ 247650 w 327660"/>
                <a:gd name="connsiteY9" fmla="*/ 91440 h 186690"/>
                <a:gd name="connsiteX10" fmla="*/ 255270 w 327660"/>
                <a:gd name="connsiteY10" fmla="*/ 80010 h 186690"/>
                <a:gd name="connsiteX11" fmla="*/ 266700 w 327660"/>
                <a:gd name="connsiteY11" fmla="*/ 76200 h 186690"/>
                <a:gd name="connsiteX12" fmla="*/ 278130 w 327660"/>
                <a:gd name="connsiteY12" fmla="*/ 68580 h 186690"/>
                <a:gd name="connsiteX13" fmla="*/ 281940 w 327660"/>
                <a:gd name="connsiteY13" fmla="*/ 57150 h 186690"/>
                <a:gd name="connsiteX14" fmla="*/ 304800 w 327660"/>
                <a:gd name="connsiteY14" fmla="*/ 34290 h 186690"/>
                <a:gd name="connsiteX15" fmla="*/ 316230 w 327660"/>
                <a:gd name="connsiteY15" fmla="*/ 11430 h 186690"/>
                <a:gd name="connsiteX16" fmla="*/ 327660 w 327660"/>
                <a:gd name="connsiteY16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79070 w 327660"/>
                <a:gd name="connsiteY6" fmla="*/ 144780 h 186690"/>
                <a:gd name="connsiteX7" fmla="*/ 213360 w 327660"/>
                <a:gd name="connsiteY7" fmla="*/ 114300 h 186690"/>
                <a:gd name="connsiteX8" fmla="*/ 236220 w 327660"/>
                <a:gd name="connsiteY8" fmla="*/ 99060 h 186690"/>
                <a:gd name="connsiteX9" fmla="*/ 247650 w 327660"/>
                <a:gd name="connsiteY9" fmla="*/ 91440 h 186690"/>
                <a:gd name="connsiteX10" fmla="*/ 255270 w 327660"/>
                <a:gd name="connsiteY10" fmla="*/ 80010 h 186690"/>
                <a:gd name="connsiteX11" fmla="*/ 266700 w 327660"/>
                <a:gd name="connsiteY11" fmla="*/ 76200 h 186690"/>
                <a:gd name="connsiteX12" fmla="*/ 278130 w 327660"/>
                <a:gd name="connsiteY12" fmla="*/ 68580 h 186690"/>
                <a:gd name="connsiteX13" fmla="*/ 281940 w 327660"/>
                <a:gd name="connsiteY13" fmla="*/ 57150 h 186690"/>
                <a:gd name="connsiteX14" fmla="*/ 304800 w 327660"/>
                <a:gd name="connsiteY14" fmla="*/ 34290 h 186690"/>
                <a:gd name="connsiteX15" fmla="*/ 316230 w 327660"/>
                <a:gd name="connsiteY15" fmla="*/ 11430 h 186690"/>
                <a:gd name="connsiteX16" fmla="*/ 327660 w 327660"/>
                <a:gd name="connsiteY16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79070 w 327660"/>
                <a:gd name="connsiteY6" fmla="*/ 144780 h 186690"/>
                <a:gd name="connsiteX7" fmla="*/ 236220 w 327660"/>
                <a:gd name="connsiteY7" fmla="*/ 99060 h 186690"/>
                <a:gd name="connsiteX8" fmla="*/ 247650 w 327660"/>
                <a:gd name="connsiteY8" fmla="*/ 91440 h 186690"/>
                <a:gd name="connsiteX9" fmla="*/ 255270 w 327660"/>
                <a:gd name="connsiteY9" fmla="*/ 80010 h 186690"/>
                <a:gd name="connsiteX10" fmla="*/ 266700 w 327660"/>
                <a:gd name="connsiteY10" fmla="*/ 76200 h 186690"/>
                <a:gd name="connsiteX11" fmla="*/ 278130 w 327660"/>
                <a:gd name="connsiteY11" fmla="*/ 68580 h 186690"/>
                <a:gd name="connsiteX12" fmla="*/ 281940 w 327660"/>
                <a:gd name="connsiteY12" fmla="*/ 57150 h 186690"/>
                <a:gd name="connsiteX13" fmla="*/ 304800 w 327660"/>
                <a:gd name="connsiteY13" fmla="*/ 34290 h 186690"/>
                <a:gd name="connsiteX14" fmla="*/ 316230 w 327660"/>
                <a:gd name="connsiteY14" fmla="*/ 11430 h 186690"/>
                <a:gd name="connsiteX15" fmla="*/ 327660 w 327660"/>
                <a:gd name="connsiteY15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79070 w 327660"/>
                <a:gd name="connsiteY6" fmla="*/ 144780 h 186690"/>
                <a:gd name="connsiteX7" fmla="*/ 247650 w 327660"/>
                <a:gd name="connsiteY7" fmla="*/ 91440 h 186690"/>
                <a:gd name="connsiteX8" fmla="*/ 255270 w 327660"/>
                <a:gd name="connsiteY8" fmla="*/ 80010 h 186690"/>
                <a:gd name="connsiteX9" fmla="*/ 266700 w 327660"/>
                <a:gd name="connsiteY9" fmla="*/ 76200 h 186690"/>
                <a:gd name="connsiteX10" fmla="*/ 278130 w 327660"/>
                <a:gd name="connsiteY10" fmla="*/ 68580 h 186690"/>
                <a:gd name="connsiteX11" fmla="*/ 281940 w 327660"/>
                <a:gd name="connsiteY11" fmla="*/ 57150 h 186690"/>
                <a:gd name="connsiteX12" fmla="*/ 304800 w 327660"/>
                <a:gd name="connsiteY12" fmla="*/ 34290 h 186690"/>
                <a:gd name="connsiteX13" fmla="*/ 316230 w 327660"/>
                <a:gd name="connsiteY13" fmla="*/ 11430 h 186690"/>
                <a:gd name="connsiteX14" fmla="*/ 327660 w 327660"/>
                <a:gd name="connsiteY14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79070 w 327660"/>
                <a:gd name="connsiteY6" fmla="*/ 144780 h 186690"/>
                <a:gd name="connsiteX7" fmla="*/ 213360 w 327660"/>
                <a:gd name="connsiteY7" fmla="*/ 121920 h 186690"/>
                <a:gd name="connsiteX8" fmla="*/ 255270 w 327660"/>
                <a:gd name="connsiteY8" fmla="*/ 80010 h 186690"/>
                <a:gd name="connsiteX9" fmla="*/ 266700 w 327660"/>
                <a:gd name="connsiteY9" fmla="*/ 76200 h 186690"/>
                <a:gd name="connsiteX10" fmla="*/ 278130 w 327660"/>
                <a:gd name="connsiteY10" fmla="*/ 68580 h 186690"/>
                <a:gd name="connsiteX11" fmla="*/ 281940 w 327660"/>
                <a:gd name="connsiteY11" fmla="*/ 57150 h 186690"/>
                <a:gd name="connsiteX12" fmla="*/ 304800 w 327660"/>
                <a:gd name="connsiteY12" fmla="*/ 34290 h 186690"/>
                <a:gd name="connsiteX13" fmla="*/ 316230 w 327660"/>
                <a:gd name="connsiteY13" fmla="*/ 11430 h 186690"/>
                <a:gd name="connsiteX14" fmla="*/ 327660 w 327660"/>
                <a:gd name="connsiteY14" fmla="*/ 0 h 186690"/>
                <a:gd name="connsiteX0" fmla="*/ 0 w 327660"/>
                <a:gd name="connsiteY0" fmla="*/ 186690 h 186690"/>
                <a:gd name="connsiteX1" fmla="*/ 15240 w 327660"/>
                <a:gd name="connsiteY1" fmla="*/ 167640 h 186690"/>
                <a:gd name="connsiteX2" fmla="*/ 26670 w 327660"/>
                <a:gd name="connsiteY2" fmla="*/ 163830 h 186690"/>
                <a:gd name="connsiteX3" fmla="*/ 64770 w 327660"/>
                <a:gd name="connsiteY3" fmla="*/ 160020 h 186690"/>
                <a:gd name="connsiteX4" fmla="*/ 110490 w 327660"/>
                <a:gd name="connsiteY4" fmla="*/ 163830 h 186690"/>
                <a:gd name="connsiteX5" fmla="*/ 140970 w 327660"/>
                <a:gd name="connsiteY5" fmla="*/ 167640 h 186690"/>
                <a:gd name="connsiteX6" fmla="*/ 179070 w 327660"/>
                <a:gd name="connsiteY6" fmla="*/ 144780 h 186690"/>
                <a:gd name="connsiteX7" fmla="*/ 213360 w 327660"/>
                <a:gd name="connsiteY7" fmla="*/ 121920 h 186690"/>
                <a:gd name="connsiteX8" fmla="*/ 247650 w 327660"/>
                <a:gd name="connsiteY8" fmla="*/ 91440 h 186690"/>
                <a:gd name="connsiteX9" fmla="*/ 266700 w 327660"/>
                <a:gd name="connsiteY9" fmla="*/ 76200 h 186690"/>
                <a:gd name="connsiteX10" fmla="*/ 278130 w 327660"/>
                <a:gd name="connsiteY10" fmla="*/ 68580 h 186690"/>
                <a:gd name="connsiteX11" fmla="*/ 281940 w 327660"/>
                <a:gd name="connsiteY11" fmla="*/ 57150 h 186690"/>
                <a:gd name="connsiteX12" fmla="*/ 304800 w 327660"/>
                <a:gd name="connsiteY12" fmla="*/ 34290 h 186690"/>
                <a:gd name="connsiteX13" fmla="*/ 316230 w 327660"/>
                <a:gd name="connsiteY13" fmla="*/ 11430 h 186690"/>
                <a:gd name="connsiteX14" fmla="*/ 327660 w 327660"/>
                <a:gd name="connsiteY14" fmla="*/ 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27660" h="186690">
                  <a:moveTo>
                    <a:pt x="0" y="186690"/>
                  </a:moveTo>
                  <a:cubicBezTo>
                    <a:pt x="5080" y="180340"/>
                    <a:pt x="9066" y="172932"/>
                    <a:pt x="15240" y="167640"/>
                  </a:cubicBezTo>
                  <a:cubicBezTo>
                    <a:pt x="18289" y="165026"/>
                    <a:pt x="22701" y="164441"/>
                    <a:pt x="26670" y="163830"/>
                  </a:cubicBezTo>
                  <a:cubicBezTo>
                    <a:pt x="39285" y="161889"/>
                    <a:pt x="52070" y="161290"/>
                    <a:pt x="64770" y="160020"/>
                  </a:cubicBezTo>
                  <a:cubicBezTo>
                    <a:pt x="80010" y="161290"/>
                    <a:pt x="95494" y="160831"/>
                    <a:pt x="110490" y="163830"/>
                  </a:cubicBezTo>
                  <a:cubicBezTo>
                    <a:pt x="146929" y="171118"/>
                    <a:pt x="89681" y="177898"/>
                    <a:pt x="140970" y="167640"/>
                  </a:cubicBezTo>
                  <a:cubicBezTo>
                    <a:pt x="156210" y="160020"/>
                    <a:pt x="167005" y="152400"/>
                    <a:pt x="179070" y="144780"/>
                  </a:cubicBezTo>
                  <a:cubicBezTo>
                    <a:pt x="191135" y="137160"/>
                    <a:pt x="201930" y="130810"/>
                    <a:pt x="213360" y="121920"/>
                  </a:cubicBezTo>
                  <a:cubicBezTo>
                    <a:pt x="224790" y="113030"/>
                    <a:pt x="238760" y="99060"/>
                    <a:pt x="247650" y="91440"/>
                  </a:cubicBezTo>
                  <a:cubicBezTo>
                    <a:pt x="256540" y="83820"/>
                    <a:pt x="261620" y="80010"/>
                    <a:pt x="266700" y="76200"/>
                  </a:cubicBezTo>
                  <a:cubicBezTo>
                    <a:pt x="271780" y="72390"/>
                    <a:pt x="274320" y="71120"/>
                    <a:pt x="278130" y="68580"/>
                  </a:cubicBezTo>
                  <a:cubicBezTo>
                    <a:pt x="279400" y="64770"/>
                    <a:pt x="279474" y="60320"/>
                    <a:pt x="281940" y="57150"/>
                  </a:cubicBezTo>
                  <a:cubicBezTo>
                    <a:pt x="288556" y="48644"/>
                    <a:pt x="304800" y="34290"/>
                    <a:pt x="304800" y="34290"/>
                  </a:cubicBezTo>
                  <a:cubicBezTo>
                    <a:pt x="308619" y="22834"/>
                    <a:pt x="308024" y="21278"/>
                    <a:pt x="316230" y="11430"/>
                  </a:cubicBezTo>
                  <a:cubicBezTo>
                    <a:pt x="319679" y="7291"/>
                    <a:pt x="327660" y="0"/>
                    <a:pt x="327660" y="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1" name="Forma livre 413"/>
            <p:cNvSpPr/>
            <p:nvPr/>
          </p:nvSpPr>
          <p:spPr>
            <a:xfrm>
              <a:off x="4895850" y="4978625"/>
              <a:ext cx="49530" cy="20095"/>
            </a:xfrm>
            <a:custGeom>
              <a:avLst/>
              <a:gdLst>
                <a:gd name="connsiteX0" fmla="*/ 0 w 49530"/>
                <a:gd name="connsiteY0" fmla="*/ 20095 h 20095"/>
                <a:gd name="connsiteX1" fmla="*/ 11430 w 49530"/>
                <a:gd name="connsiteY1" fmla="*/ 1045 h 20095"/>
                <a:gd name="connsiteX2" fmla="*/ 49530 w 49530"/>
                <a:gd name="connsiteY2" fmla="*/ 4855 h 2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530" h="20095">
                  <a:moveTo>
                    <a:pt x="0" y="20095"/>
                  </a:moveTo>
                  <a:cubicBezTo>
                    <a:pt x="3810" y="13745"/>
                    <a:pt x="4352" y="3223"/>
                    <a:pt x="11430" y="1045"/>
                  </a:cubicBezTo>
                  <a:cubicBezTo>
                    <a:pt x="23629" y="-2709"/>
                    <a:pt x="49530" y="4855"/>
                    <a:pt x="49530" y="4855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2" name="Forma livre 414"/>
            <p:cNvSpPr/>
            <p:nvPr/>
          </p:nvSpPr>
          <p:spPr>
            <a:xfrm>
              <a:off x="4118596" y="5695950"/>
              <a:ext cx="194412" cy="266700"/>
            </a:xfrm>
            <a:custGeom>
              <a:avLst/>
              <a:gdLst>
                <a:gd name="connsiteX0" fmla="*/ 186704 w 194412"/>
                <a:gd name="connsiteY0" fmla="*/ 0 h 266700"/>
                <a:gd name="connsiteX1" fmla="*/ 194324 w 194412"/>
                <a:gd name="connsiteY1" fmla="*/ 19050 h 266700"/>
                <a:gd name="connsiteX2" fmla="*/ 190514 w 194412"/>
                <a:gd name="connsiteY2" fmla="*/ 38100 h 266700"/>
                <a:gd name="connsiteX3" fmla="*/ 179084 w 194412"/>
                <a:gd name="connsiteY3" fmla="*/ 64770 h 266700"/>
                <a:gd name="connsiteX4" fmla="*/ 179084 w 194412"/>
                <a:gd name="connsiteY4" fmla="*/ 99060 h 266700"/>
                <a:gd name="connsiteX5" fmla="*/ 171464 w 194412"/>
                <a:gd name="connsiteY5" fmla="*/ 110490 h 266700"/>
                <a:gd name="connsiteX6" fmla="*/ 137174 w 194412"/>
                <a:gd name="connsiteY6" fmla="*/ 114300 h 266700"/>
                <a:gd name="connsiteX7" fmla="*/ 121934 w 194412"/>
                <a:gd name="connsiteY7" fmla="*/ 137160 h 266700"/>
                <a:gd name="connsiteX8" fmla="*/ 118124 w 194412"/>
                <a:gd name="connsiteY8" fmla="*/ 152400 h 266700"/>
                <a:gd name="connsiteX9" fmla="*/ 83834 w 194412"/>
                <a:gd name="connsiteY9" fmla="*/ 167640 h 266700"/>
                <a:gd name="connsiteX10" fmla="*/ 60974 w 194412"/>
                <a:gd name="connsiteY10" fmla="*/ 179070 h 266700"/>
                <a:gd name="connsiteX11" fmla="*/ 49544 w 194412"/>
                <a:gd name="connsiteY11" fmla="*/ 186690 h 266700"/>
                <a:gd name="connsiteX12" fmla="*/ 41924 w 194412"/>
                <a:gd name="connsiteY12" fmla="*/ 198120 h 266700"/>
                <a:gd name="connsiteX13" fmla="*/ 30494 w 194412"/>
                <a:gd name="connsiteY13" fmla="*/ 201930 h 266700"/>
                <a:gd name="connsiteX14" fmla="*/ 26684 w 194412"/>
                <a:gd name="connsiteY14" fmla="*/ 217170 h 266700"/>
                <a:gd name="connsiteX15" fmla="*/ 22874 w 194412"/>
                <a:gd name="connsiteY15" fmla="*/ 228600 h 266700"/>
                <a:gd name="connsiteX16" fmla="*/ 7634 w 194412"/>
                <a:gd name="connsiteY16" fmla="*/ 251460 h 266700"/>
                <a:gd name="connsiteX17" fmla="*/ 14 w 194412"/>
                <a:gd name="connsiteY17" fmla="*/ 2667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4412" h="266700">
                  <a:moveTo>
                    <a:pt x="186704" y="0"/>
                  </a:moveTo>
                  <a:cubicBezTo>
                    <a:pt x="189244" y="6350"/>
                    <a:pt x="193643" y="12245"/>
                    <a:pt x="194324" y="19050"/>
                  </a:cubicBezTo>
                  <a:cubicBezTo>
                    <a:pt x="194968" y="25494"/>
                    <a:pt x="191919" y="31778"/>
                    <a:pt x="190514" y="38100"/>
                  </a:cubicBezTo>
                  <a:cubicBezTo>
                    <a:pt x="186414" y="56552"/>
                    <a:pt x="188891" y="50059"/>
                    <a:pt x="179084" y="64770"/>
                  </a:cubicBezTo>
                  <a:cubicBezTo>
                    <a:pt x="184175" y="80043"/>
                    <a:pt x="185789" y="78944"/>
                    <a:pt x="179084" y="99060"/>
                  </a:cubicBezTo>
                  <a:cubicBezTo>
                    <a:pt x="177636" y="103404"/>
                    <a:pt x="175767" y="108925"/>
                    <a:pt x="171464" y="110490"/>
                  </a:cubicBezTo>
                  <a:cubicBezTo>
                    <a:pt x="160656" y="114420"/>
                    <a:pt x="148604" y="113030"/>
                    <a:pt x="137174" y="114300"/>
                  </a:cubicBezTo>
                  <a:cubicBezTo>
                    <a:pt x="125278" y="149987"/>
                    <a:pt x="144766" y="97205"/>
                    <a:pt x="121934" y="137160"/>
                  </a:cubicBezTo>
                  <a:cubicBezTo>
                    <a:pt x="119336" y="141706"/>
                    <a:pt x="121029" y="148043"/>
                    <a:pt x="118124" y="152400"/>
                  </a:cubicBezTo>
                  <a:cubicBezTo>
                    <a:pt x="111921" y="161705"/>
                    <a:pt x="90147" y="163431"/>
                    <a:pt x="83834" y="167640"/>
                  </a:cubicBezTo>
                  <a:cubicBezTo>
                    <a:pt x="51077" y="189478"/>
                    <a:pt x="92522" y="163296"/>
                    <a:pt x="60974" y="179070"/>
                  </a:cubicBezTo>
                  <a:cubicBezTo>
                    <a:pt x="56878" y="181118"/>
                    <a:pt x="53354" y="184150"/>
                    <a:pt x="49544" y="186690"/>
                  </a:cubicBezTo>
                  <a:cubicBezTo>
                    <a:pt x="47004" y="190500"/>
                    <a:pt x="45500" y="195259"/>
                    <a:pt x="41924" y="198120"/>
                  </a:cubicBezTo>
                  <a:cubicBezTo>
                    <a:pt x="38788" y="200629"/>
                    <a:pt x="33003" y="198794"/>
                    <a:pt x="30494" y="201930"/>
                  </a:cubicBezTo>
                  <a:cubicBezTo>
                    <a:pt x="27223" y="206019"/>
                    <a:pt x="28123" y="212135"/>
                    <a:pt x="26684" y="217170"/>
                  </a:cubicBezTo>
                  <a:cubicBezTo>
                    <a:pt x="25581" y="221032"/>
                    <a:pt x="24824" y="225089"/>
                    <a:pt x="22874" y="228600"/>
                  </a:cubicBezTo>
                  <a:cubicBezTo>
                    <a:pt x="18426" y="236606"/>
                    <a:pt x="12714" y="243840"/>
                    <a:pt x="7634" y="251460"/>
                  </a:cubicBezTo>
                  <a:cubicBezTo>
                    <a:pt x="-690" y="263947"/>
                    <a:pt x="14" y="258311"/>
                    <a:pt x="14" y="26670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3" name="Forma livre 417"/>
            <p:cNvSpPr/>
            <p:nvPr/>
          </p:nvSpPr>
          <p:spPr>
            <a:xfrm>
              <a:off x="3387070" y="5101412"/>
              <a:ext cx="22914" cy="30816"/>
            </a:xfrm>
            <a:custGeom>
              <a:avLst/>
              <a:gdLst>
                <a:gd name="connsiteX0" fmla="*/ 20 w 22914"/>
                <a:gd name="connsiteY0" fmla="*/ 178 h 30816"/>
                <a:gd name="connsiteX1" fmla="*/ 19070 w 22914"/>
                <a:gd name="connsiteY1" fmla="*/ 19228 h 30816"/>
                <a:gd name="connsiteX2" fmla="*/ 22880 w 22914"/>
                <a:gd name="connsiteY2" fmla="*/ 30658 h 30816"/>
                <a:gd name="connsiteX3" fmla="*/ 20 w 22914"/>
                <a:gd name="connsiteY3" fmla="*/ 178 h 30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914" h="30816">
                  <a:moveTo>
                    <a:pt x="20" y="178"/>
                  </a:moveTo>
                  <a:cubicBezTo>
                    <a:pt x="-615" y="-1727"/>
                    <a:pt x="13682" y="12044"/>
                    <a:pt x="19070" y="19228"/>
                  </a:cubicBezTo>
                  <a:cubicBezTo>
                    <a:pt x="21480" y="22441"/>
                    <a:pt x="21388" y="26929"/>
                    <a:pt x="22880" y="30658"/>
                  </a:cubicBezTo>
                  <a:cubicBezTo>
                    <a:pt x="23935" y="33295"/>
                    <a:pt x="655" y="2083"/>
                    <a:pt x="20" y="178"/>
                  </a:cubicBezTo>
                  <a:close/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4" name="Forma livre 418"/>
            <p:cNvSpPr/>
            <p:nvPr/>
          </p:nvSpPr>
          <p:spPr>
            <a:xfrm>
              <a:off x="5311140" y="3912860"/>
              <a:ext cx="41910" cy="57160"/>
            </a:xfrm>
            <a:custGeom>
              <a:avLst/>
              <a:gdLst>
                <a:gd name="connsiteX0" fmla="*/ 0 w 41910"/>
                <a:gd name="connsiteY0" fmla="*/ 57160 h 57160"/>
                <a:gd name="connsiteX1" fmla="*/ 3810 w 41910"/>
                <a:gd name="connsiteY1" fmla="*/ 38110 h 57160"/>
                <a:gd name="connsiteX2" fmla="*/ 15240 w 41910"/>
                <a:gd name="connsiteY2" fmla="*/ 26680 h 57160"/>
                <a:gd name="connsiteX3" fmla="*/ 22860 w 41910"/>
                <a:gd name="connsiteY3" fmla="*/ 15250 h 57160"/>
                <a:gd name="connsiteX4" fmla="*/ 26670 w 41910"/>
                <a:gd name="connsiteY4" fmla="*/ 3820 h 57160"/>
                <a:gd name="connsiteX5" fmla="*/ 41910 w 41910"/>
                <a:gd name="connsiteY5" fmla="*/ 10 h 5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910" h="57160">
                  <a:moveTo>
                    <a:pt x="0" y="57160"/>
                  </a:moveTo>
                  <a:cubicBezTo>
                    <a:pt x="1270" y="50810"/>
                    <a:pt x="914" y="43902"/>
                    <a:pt x="3810" y="38110"/>
                  </a:cubicBezTo>
                  <a:cubicBezTo>
                    <a:pt x="6220" y="33291"/>
                    <a:pt x="11791" y="30819"/>
                    <a:pt x="15240" y="26680"/>
                  </a:cubicBezTo>
                  <a:cubicBezTo>
                    <a:pt x="18171" y="23162"/>
                    <a:pt x="20812" y="19346"/>
                    <a:pt x="22860" y="15250"/>
                  </a:cubicBezTo>
                  <a:cubicBezTo>
                    <a:pt x="24656" y="11658"/>
                    <a:pt x="23830" y="6660"/>
                    <a:pt x="26670" y="3820"/>
                  </a:cubicBezTo>
                  <a:cubicBezTo>
                    <a:pt x="30882" y="-392"/>
                    <a:pt x="36748" y="10"/>
                    <a:pt x="41910" y="1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5" name="Forma livre 419"/>
            <p:cNvSpPr/>
            <p:nvPr/>
          </p:nvSpPr>
          <p:spPr>
            <a:xfrm>
              <a:off x="5627370" y="3783194"/>
              <a:ext cx="106680" cy="26806"/>
            </a:xfrm>
            <a:custGeom>
              <a:avLst/>
              <a:gdLst>
                <a:gd name="connsiteX0" fmla="*/ 0 w 106680"/>
                <a:gd name="connsiteY0" fmla="*/ 26806 h 26806"/>
                <a:gd name="connsiteX1" fmla="*/ 19050 w 106680"/>
                <a:gd name="connsiteY1" fmla="*/ 19186 h 26806"/>
                <a:gd name="connsiteX2" fmla="*/ 30480 w 106680"/>
                <a:gd name="connsiteY2" fmla="*/ 15376 h 26806"/>
                <a:gd name="connsiteX3" fmla="*/ 80010 w 106680"/>
                <a:gd name="connsiteY3" fmla="*/ 11566 h 26806"/>
                <a:gd name="connsiteX4" fmla="*/ 102870 w 106680"/>
                <a:gd name="connsiteY4" fmla="*/ 136 h 26806"/>
                <a:gd name="connsiteX5" fmla="*/ 106680 w 106680"/>
                <a:gd name="connsiteY5" fmla="*/ 136 h 26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6680" h="26806">
                  <a:moveTo>
                    <a:pt x="0" y="26806"/>
                  </a:moveTo>
                  <a:cubicBezTo>
                    <a:pt x="6350" y="24266"/>
                    <a:pt x="12646" y="21587"/>
                    <a:pt x="19050" y="19186"/>
                  </a:cubicBezTo>
                  <a:cubicBezTo>
                    <a:pt x="22810" y="17776"/>
                    <a:pt x="26495" y="15874"/>
                    <a:pt x="30480" y="15376"/>
                  </a:cubicBezTo>
                  <a:cubicBezTo>
                    <a:pt x="46911" y="13322"/>
                    <a:pt x="63500" y="12836"/>
                    <a:pt x="80010" y="11566"/>
                  </a:cubicBezTo>
                  <a:cubicBezTo>
                    <a:pt x="91185" y="4116"/>
                    <a:pt x="90251" y="3291"/>
                    <a:pt x="102870" y="136"/>
                  </a:cubicBezTo>
                  <a:cubicBezTo>
                    <a:pt x="104102" y="-172"/>
                    <a:pt x="105410" y="136"/>
                    <a:pt x="106680" y="136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6" name="Forma livre 420"/>
            <p:cNvSpPr/>
            <p:nvPr/>
          </p:nvSpPr>
          <p:spPr>
            <a:xfrm>
              <a:off x="4327806" y="3112770"/>
              <a:ext cx="347064" cy="114300"/>
            </a:xfrm>
            <a:custGeom>
              <a:avLst/>
              <a:gdLst>
                <a:gd name="connsiteX0" fmla="*/ 354 w 347064"/>
                <a:gd name="connsiteY0" fmla="*/ 0 h 114300"/>
                <a:gd name="connsiteX1" fmla="*/ 4164 w 347064"/>
                <a:gd name="connsiteY1" fmla="*/ 19050 h 114300"/>
                <a:gd name="connsiteX2" fmla="*/ 354 w 347064"/>
                <a:gd name="connsiteY2" fmla="*/ 30480 h 114300"/>
                <a:gd name="connsiteX3" fmla="*/ 11784 w 347064"/>
                <a:gd name="connsiteY3" fmla="*/ 34290 h 114300"/>
                <a:gd name="connsiteX4" fmla="*/ 23214 w 347064"/>
                <a:gd name="connsiteY4" fmla="*/ 30480 h 114300"/>
                <a:gd name="connsiteX5" fmla="*/ 53694 w 347064"/>
                <a:gd name="connsiteY5" fmla="*/ 38100 h 114300"/>
                <a:gd name="connsiteX6" fmla="*/ 65124 w 347064"/>
                <a:gd name="connsiteY6" fmla="*/ 45720 h 114300"/>
                <a:gd name="connsiteX7" fmla="*/ 84174 w 347064"/>
                <a:gd name="connsiteY7" fmla="*/ 68580 h 114300"/>
                <a:gd name="connsiteX8" fmla="*/ 103224 w 347064"/>
                <a:gd name="connsiteY8" fmla="*/ 91440 h 114300"/>
                <a:gd name="connsiteX9" fmla="*/ 114654 w 347064"/>
                <a:gd name="connsiteY9" fmla="*/ 95250 h 114300"/>
                <a:gd name="connsiteX10" fmla="*/ 122274 w 347064"/>
                <a:gd name="connsiteY10" fmla="*/ 106680 h 114300"/>
                <a:gd name="connsiteX11" fmla="*/ 145134 w 347064"/>
                <a:gd name="connsiteY11" fmla="*/ 114300 h 114300"/>
                <a:gd name="connsiteX12" fmla="*/ 167994 w 347064"/>
                <a:gd name="connsiteY12" fmla="*/ 110490 h 114300"/>
                <a:gd name="connsiteX13" fmla="*/ 175614 w 347064"/>
                <a:gd name="connsiteY13" fmla="*/ 99060 h 114300"/>
                <a:gd name="connsiteX14" fmla="*/ 187044 w 347064"/>
                <a:gd name="connsiteY14" fmla="*/ 95250 h 114300"/>
                <a:gd name="connsiteX15" fmla="*/ 221334 w 347064"/>
                <a:gd name="connsiteY15" fmla="*/ 80010 h 114300"/>
                <a:gd name="connsiteX16" fmla="*/ 331824 w 347064"/>
                <a:gd name="connsiteY16" fmla="*/ 72390 h 114300"/>
                <a:gd name="connsiteX17" fmla="*/ 347064 w 347064"/>
                <a:gd name="connsiteY17" fmla="*/ 6858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47064" h="114300">
                  <a:moveTo>
                    <a:pt x="354" y="0"/>
                  </a:moveTo>
                  <a:cubicBezTo>
                    <a:pt x="1624" y="6350"/>
                    <a:pt x="4164" y="12574"/>
                    <a:pt x="4164" y="19050"/>
                  </a:cubicBezTo>
                  <a:cubicBezTo>
                    <a:pt x="4164" y="23066"/>
                    <a:pt x="-1442" y="26888"/>
                    <a:pt x="354" y="30480"/>
                  </a:cubicBezTo>
                  <a:cubicBezTo>
                    <a:pt x="2150" y="34072"/>
                    <a:pt x="7974" y="33020"/>
                    <a:pt x="11784" y="34290"/>
                  </a:cubicBezTo>
                  <a:cubicBezTo>
                    <a:pt x="15594" y="33020"/>
                    <a:pt x="19198" y="30480"/>
                    <a:pt x="23214" y="30480"/>
                  </a:cubicBezTo>
                  <a:cubicBezTo>
                    <a:pt x="27561" y="30480"/>
                    <a:pt x="47681" y="35094"/>
                    <a:pt x="53694" y="38100"/>
                  </a:cubicBezTo>
                  <a:cubicBezTo>
                    <a:pt x="57790" y="40148"/>
                    <a:pt x="61314" y="43180"/>
                    <a:pt x="65124" y="45720"/>
                  </a:cubicBezTo>
                  <a:cubicBezTo>
                    <a:pt x="84043" y="74099"/>
                    <a:pt x="59728" y="39244"/>
                    <a:pt x="84174" y="68580"/>
                  </a:cubicBezTo>
                  <a:cubicBezTo>
                    <a:pt x="92959" y="79123"/>
                    <a:pt x="90702" y="83092"/>
                    <a:pt x="103224" y="91440"/>
                  </a:cubicBezTo>
                  <a:cubicBezTo>
                    <a:pt x="106566" y="93668"/>
                    <a:pt x="110844" y="93980"/>
                    <a:pt x="114654" y="95250"/>
                  </a:cubicBezTo>
                  <a:cubicBezTo>
                    <a:pt x="117194" y="99060"/>
                    <a:pt x="118391" y="104253"/>
                    <a:pt x="122274" y="106680"/>
                  </a:cubicBezTo>
                  <a:cubicBezTo>
                    <a:pt x="129085" y="110937"/>
                    <a:pt x="145134" y="114300"/>
                    <a:pt x="145134" y="114300"/>
                  </a:cubicBezTo>
                  <a:cubicBezTo>
                    <a:pt x="152754" y="113030"/>
                    <a:pt x="161084" y="113945"/>
                    <a:pt x="167994" y="110490"/>
                  </a:cubicBezTo>
                  <a:cubicBezTo>
                    <a:pt x="172090" y="108442"/>
                    <a:pt x="172038" y="101921"/>
                    <a:pt x="175614" y="99060"/>
                  </a:cubicBezTo>
                  <a:cubicBezTo>
                    <a:pt x="178750" y="96551"/>
                    <a:pt x="183452" y="97046"/>
                    <a:pt x="187044" y="95250"/>
                  </a:cubicBezTo>
                  <a:cubicBezTo>
                    <a:pt x="208327" y="84608"/>
                    <a:pt x="188569" y="86563"/>
                    <a:pt x="221334" y="80010"/>
                  </a:cubicBezTo>
                  <a:cubicBezTo>
                    <a:pt x="270298" y="70217"/>
                    <a:pt x="233914" y="76470"/>
                    <a:pt x="331824" y="72390"/>
                  </a:cubicBezTo>
                  <a:cubicBezTo>
                    <a:pt x="344459" y="68178"/>
                    <a:pt x="339238" y="68580"/>
                    <a:pt x="347064" y="6858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7" name="Forma livre 421"/>
            <p:cNvSpPr/>
            <p:nvPr/>
          </p:nvSpPr>
          <p:spPr>
            <a:xfrm>
              <a:off x="3790950" y="3280410"/>
              <a:ext cx="293370" cy="103741"/>
            </a:xfrm>
            <a:custGeom>
              <a:avLst/>
              <a:gdLst>
                <a:gd name="connsiteX0" fmla="*/ 0 w 293370"/>
                <a:gd name="connsiteY0" fmla="*/ 0 h 103741"/>
                <a:gd name="connsiteX1" fmla="*/ 34290 w 293370"/>
                <a:gd name="connsiteY1" fmla="*/ 11430 h 103741"/>
                <a:gd name="connsiteX2" fmla="*/ 45720 w 293370"/>
                <a:gd name="connsiteY2" fmla="*/ 15240 h 103741"/>
                <a:gd name="connsiteX3" fmla="*/ 64770 w 293370"/>
                <a:gd name="connsiteY3" fmla="*/ 19050 h 103741"/>
                <a:gd name="connsiteX4" fmla="*/ 87630 w 293370"/>
                <a:gd name="connsiteY4" fmla="*/ 26670 h 103741"/>
                <a:gd name="connsiteX5" fmla="*/ 129540 w 293370"/>
                <a:gd name="connsiteY5" fmla="*/ 34290 h 103741"/>
                <a:gd name="connsiteX6" fmla="*/ 167640 w 293370"/>
                <a:gd name="connsiteY6" fmla="*/ 38100 h 103741"/>
                <a:gd name="connsiteX7" fmla="*/ 182880 w 293370"/>
                <a:gd name="connsiteY7" fmla="*/ 41910 h 103741"/>
                <a:gd name="connsiteX8" fmla="*/ 205740 w 293370"/>
                <a:gd name="connsiteY8" fmla="*/ 49530 h 103741"/>
                <a:gd name="connsiteX9" fmla="*/ 255270 w 293370"/>
                <a:gd name="connsiteY9" fmla="*/ 45720 h 103741"/>
                <a:gd name="connsiteX10" fmla="*/ 270510 w 293370"/>
                <a:gd name="connsiteY10" fmla="*/ 49530 h 103741"/>
                <a:gd name="connsiteX11" fmla="*/ 281940 w 293370"/>
                <a:gd name="connsiteY11" fmla="*/ 102870 h 103741"/>
                <a:gd name="connsiteX12" fmla="*/ 293370 w 293370"/>
                <a:gd name="connsiteY12" fmla="*/ 102870 h 103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93370" h="103741">
                  <a:moveTo>
                    <a:pt x="0" y="0"/>
                  </a:moveTo>
                  <a:cubicBezTo>
                    <a:pt x="32840" y="13136"/>
                    <a:pt x="5579" y="3227"/>
                    <a:pt x="34290" y="11430"/>
                  </a:cubicBezTo>
                  <a:cubicBezTo>
                    <a:pt x="38152" y="12533"/>
                    <a:pt x="41824" y="14266"/>
                    <a:pt x="45720" y="15240"/>
                  </a:cubicBezTo>
                  <a:cubicBezTo>
                    <a:pt x="52002" y="16811"/>
                    <a:pt x="58522" y="17346"/>
                    <a:pt x="64770" y="19050"/>
                  </a:cubicBezTo>
                  <a:cubicBezTo>
                    <a:pt x="72519" y="21163"/>
                    <a:pt x="79754" y="25095"/>
                    <a:pt x="87630" y="26670"/>
                  </a:cubicBezTo>
                  <a:cubicBezTo>
                    <a:pt x="100634" y="29271"/>
                    <a:pt x="116541" y="32665"/>
                    <a:pt x="129540" y="34290"/>
                  </a:cubicBezTo>
                  <a:cubicBezTo>
                    <a:pt x="142205" y="35873"/>
                    <a:pt x="154940" y="36830"/>
                    <a:pt x="167640" y="38100"/>
                  </a:cubicBezTo>
                  <a:cubicBezTo>
                    <a:pt x="172720" y="39370"/>
                    <a:pt x="177864" y="40405"/>
                    <a:pt x="182880" y="41910"/>
                  </a:cubicBezTo>
                  <a:cubicBezTo>
                    <a:pt x="190573" y="44218"/>
                    <a:pt x="205740" y="49530"/>
                    <a:pt x="205740" y="49530"/>
                  </a:cubicBezTo>
                  <a:cubicBezTo>
                    <a:pt x="222250" y="48260"/>
                    <a:pt x="238711" y="45720"/>
                    <a:pt x="255270" y="45720"/>
                  </a:cubicBezTo>
                  <a:cubicBezTo>
                    <a:pt x="260506" y="45720"/>
                    <a:pt x="268496" y="44696"/>
                    <a:pt x="270510" y="49530"/>
                  </a:cubicBezTo>
                  <a:cubicBezTo>
                    <a:pt x="271328" y="51494"/>
                    <a:pt x="267651" y="94296"/>
                    <a:pt x="281940" y="102870"/>
                  </a:cubicBezTo>
                  <a:cubicBezTo>
                    <a:pt x="285207" y="104830"/>
                    <a:pt x="289560" y="102870"/>
                    <a:pt x="293370" y="10287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8" name="Forma livre 422"/>
            <p:cNvSpPr/>
            <p:nvPr/>
          </p:nvSpPr>
          <p:spPr>
            <a:xfrm>
              <a:off x="4869057" y="2914650"/>
              <a:ext cx="68703" cy="186690"/>
            </a:xfrm>
            <a:custGeom>
              <a:avLst/>
              <a:gdLst>
                <a:gd name="connsiteX0" fmla="*/ 3933 w 68703"/>
                <a:gd name="connsiteY0" fmla="*/ 0 h 186690"/>
                <a:gd name="connsiteX1" fmla="*/ 123 w 68703"/>
                <a:gd name="connsiteY1" fmla="*/ 19050 h 186690"/>
                <a:gd name="connsiteX2" fmla="*/ 19173 w 68703"/>
                <a:gd name="connsiteY2" fmla="*/ 41910 h 186690"/>
                <a:gd name="connsiteX3" fmla="*/ 34413 w 68703"/>
                <a:gd name="connsiteY3" fmla="*/ 64770 h 186690"/>
                <a:gd name="connsiteX4" fmla="*/ 42033 w 68703"/>
                <a:gd name="connsiteY4" fmla="*/ 76200 h 186690"/>
                <a:gd name="connsiteX5" fmla="*/ 57273 w 68703"/>
                <a:gd name="connsiteY5" fmla="*/ 99060 h 186690"/>
                <a:gd name="connsiteX6" fmla="*/ 64893 w 68703"/>
                <a:gd name="connsiteY6" fmla="*/ 110490 h 186690"/>
                <a:gd name="connsiteX7" fmla="*/ 68703 w 68703"/>
                <a:gd name="connsiteY7" fmla="*/ 121920 h 186690"/>
                <a:gd name="connsiteX8" fmla="*/ 64893 w 68703"/>
                <a:gd name="connsiteY8" fmla="*/ 137160 h 186690"/>
                <a:gd name="connsiteX9" fmla="*/ 61083 w 68703"/>
                <a:gd name="connsiteY9" fmla="*/ 148590 h 186690"/>
                <a:gd name="connsiteX10" fmla="*/ 61083 w 68703"/>
                <a:gd name="connsiteY10" fmla="*/ 186690 h 186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703" h="186690">
                  <a:moveTo>
                    <a:pt x="3933" y="0"/>
                  </a:moveTo>
                  <a:cubicBezTo>
                    <a:pt x="2663" y="6350"/>
                    <a:pt x="-680" y="12624"/>
                    <a:pt x="123" y="19050"/>
                  </a:cubicBezTo>
                  <a:cubicBezTo>
                    <a:pt x="992" y="26002"/>
                    <a:pt x="15966" y="37787"/>
                    <a:pt x="19173" y="41910"/>
                  </a:cubicBezTo>
                  <a:cubicBezTo>
                    <a:pt x="24796" y="49139"/>
                    <a:pt x="29333" y="57150"/>
                    <a:pt x="34413" y="64770"/>
                  </a:cubicBezTo>
                  <a:lnTo>
                    <a:pt x="42033" y="76200"/>
                  </a:lnTo>
                  <a:lnTo>
                    <a:pt x="57273" y="99060"/>
                  </a:lnTo>
                  <a:cubicBezTo>
                    <a:pt x="59813" y="102870"/>
                    <a:pt x="63445" y="106146"/>
                    <a:pt x="64893" y="110490"/>
                  </a:cubicBezTo>
                  <a:lnTo>
                    <a:pt x="68703" y="121920"/>
                  </a:lnTo>
                  <a:cubicBezTo>
                    <a:pt x="67433" y="127000"/>
                    <a:pt x="66332" y="132125"/>
                    <a:pt x="64893" y="137160"/>
                  </a:cubicBezTo>
                  <a:cubicBezTo>
                    <a:pt x="63790" y="141022"/>
                    <a:pt x="61391" y="144586"/>
                    <a:pt x="61083" y="148590"/>
                  </a:cubicBezTo>
                  <a:cubicBezTo>
                    <a:pt x="60109" y="161253"/>
                    <a:pt x="61083" y="173990"/>
                    <a:pt x="61083" y="18669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89" name="Forma livre 423"/>
            <p:cNvSpPr/>
            <p:nvPr/>
          </p:nvSpPr>
          <p:spPr>
            <a:xfrm>
              <a:off x="4910618" y="3154680"/>
              <a:ext cx="175732" cy="464820"/>
            </a:xfrm>
            <a:custGeom>
              <a:avLst/>
              <a:gdLst>
                <a:gd name="connsiteX0" fmla="*/ 4282 w 175732"/>
                <a:gd name="connsiteY0" fmla="*/ 0 h 464820"/>
                <a:gd name="connsiteX1" fmla="*/ 4282 w 175732"/>
                <a:gd name="connsiteY1" fmla="*/ 49530 h 464820"/>
                <a:gd name="connsiteX2" fmla="*/ 11902 w 175732"/>
                <a:gd name="connsiteY2" fmla="*/ 60960 h 464820"/>
                <a:gd name="connsiteX3" fmla="*/ 23332 w 175732"/>
                <a:gd name="connsiteY3" fmla="*/ 83820 h 464820"/>
                <a:gd name="connsiteX4" fmla="*/ 34762 w 175732"/>
                <a:gd name="connsiteY4" fmla="*/ 125730 h 464820"/>
                <a:gd name="connsiteX5" fmla="*/ 42382 w 175732"/>
                <a:gd name="connsiteY5" fmla="*/ 137160 h 464820"/>
                <a:gd name="connsiteX6" fmla="*/ 50002 w 175732"/>
                <a:gd name="connsiteY6" fmla="*/ 160020 h 464820"/>
                <a:gd name="connsiteX7" fmla="*/ 65242 w 175732"/>
                <a:gd name="connsiteY7" fmla="*/ 182880 h 464820"/>
                <a:gd name="connsiteX8" fmla="*/ 72862 w 175732"/>
                <a:gd name="connsiteY8" fmla="*/ 194310 h 464820"/>
                <a:gd name="connsiteX9" fmla="*/ 80482 w 175732"/>
                <a:gd name="connsiteY9" fmla="*/ 217170 h 464820"/>
                <a:gd name="connsiteX10" fmla="*/ 84292 w 175732"/>
                <a:gd name="connsiteY10" fmla="*/ 228600 h 464820"/>
                <a:gd name="connsiteX11" fmla="*/ 88102 w 175732"/>
                <a:gd name="connsiteY11" fmla="*/ 243840 h 464820"/>
                <a:gd name="connsiteX12" fmla="*/ 76672 w 175732"/>
                <a:gd name="connsiteY12" fmla="*/ 281940 h 464820"/>
                <a:gd name="connsiteX13" fmla="*/ 65242 w 175732"/>
                <a:gd name="connsiteY13" fmla="*/ 289560 h 464820"/>
                <a:gd name="connsiteX14" fmla="*/ 72862 w 175732"/>
                <a:gd name="connsiteY14" fmla="*/ 320040 h 464820"/>
                <a:gd name="connsiteX15" fmla="*/ 80482 w 175732"/>
                <a:gd name="connsiteY15" fmla="*/ 331470 h 464820"/>
                <a:gd name="connsiteX16" fmla="*/ 91912 w 175732"/>
                <a:gd name="connsiteY16" fmla="*/ 335280 h 464820"/>
                <a:gd name="connsiteX17" fmla="*/ 130012 w 175732"/>
                <a:gd name="connsiteY17" fmla="*/ 369570 h 464820"/>
                <a:gd name="connsiteX18" fmla="*/ 141442 w 175732"/>
                <a:gd name="connsiteY18" fmla="*/ 381000 h 464820"/>
                <a:gd name="connsiteX19" fmla="*/ 152872 w 175732"/>
                <a:gd name="connsiteY19" fmla="*/ 388620 h 464820"/>
                <a:gd name="connsiteX20" fmla="*/ 175732 w 175732"/>
                <a:gd name="connsiteY20" fmla="*/ 411480 h 464820"/>
                <a:gd name="connsiteX21" fmla="*/ 160492 w 175732"/>
                <a:gd name="connsiteY21" fmla="*/ 430530 h 464820"/>
                <a:gd name="connsiteX22" fmla="*/ 156682 w 175732"/>
                <a:gd name="connsiteY22" fmla="*/ 464820 h 464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5732" h="464820">
                  <a:moveTo>
                    <a:pt x="4282" y="0"/>
                  </a:moveTo>
                  <a:cubicBezTo>
                    <a:pt x="-77" y="21796"/>
                    <a:pt x="-2638" y="24157"/>
                    <a:pt x="4282" y="49530"/>
                  </a:cubicBezTo>
                  <a:cubicBezTo>
                    <a:pt x="5487" y="53948"/>
                    <a:pt x="9854" y="56864"/>
                    <a:pt x="11902" y="60960"/>
                  </a:cubicBezTo>
                  <a:cubicBezTo>
                    <a:pt x="27676" y="92508"/>
                    <a:pt x="1494" y="51063"/>
                    <a:pt x="23332" y="83820"/>
                  </a:cubicBezTo>
                  <a:cubicBezTo>
                    <a:pt x="25377" y="94044"/>
                    <a:pt x="29238" y="117443"/>
                    <a:pt x="34762" y="125730"/>
                  </a:cubicBezTo>
                  <a:cubicBezTo>
                    <a:pt x="37302" y="129540"/>
                    <a:pt x="40522" y="132976"/>
                    <a:pt x="42382" y="137160"/>
                  </a:cubicBezTo>
                  <a:cubicBezTo>
                    <a:pt x="45644" y="144500"/>
                    <a:pt x="45547" y="153337"/>
                    <a:pt x="50002" y="160020"/>
                  </a:cubicBezTo>
                  <a:lnTo>
                    <a:pt x="65242" y="182880"/>
                  </a:lnTo>
                  <a:cubicBezTo>
                    <a:pt x="67782" y="186690"/>
                    <a:pt x="71414" y="189966"/>
                    <a:pt x="72862" y="194310"/>
                  </a:cubicBezTo>
                  <a:lnTo>
                    <a:pt x="80482" y="217170"/>
                  </a:lnTo>
                  <a:cubicBezTo>
                    <a:pt x="81752" y="220980"/>
                    <a:pt x="83318" y="224704"/>
                    <a:pt x="84292" y="228600"/>
                  </a:cubicBezTo>
                  <a:lnTo>
                    <a:pt x="88102" y="243840"/>
                  </a:lnTo>
                  <a:cubicBezTo>
                    <a:pt x="85704" y="260627"/>
                    <a:pt x="88223" y="270389"/>
                    <a:pt x="76672" y="281940"/>
                  </a:cubicBezTo>
                  <a:cubicBezTo>
                    <a:pt x="73434" y="285178"/>
                    <a:pt x="69052" y="287020"/>
                    <a:pt x="65242" y="289560"/>
                  </a:cubicBezTo>
                  <a:cubicBezTo>
                    <a:pt x="66691" y="296806"/>
                    <a:pt x="68957" y="312230"/>
                    <a:pt x="72862" y="320040"/>
                  </a:cubicBezTo>
                  <a:cubicBezTo>
                    <a:pt x="74910" y="324136"/>
                    <a:pt x="76906" y="328609"/>
                    <a:pt x="80482" y="331470"/>
                  </a:cubicBezTo>
                  <a:cubicBezTo>
                    <a:pt x="83618" y="333979"/>
                    <a:pt x="88102" y="334010"/>
                    <a:pt x="91912" y="335280"/>
                  </a:cubicBezTo>
                  <a:cubicBezTo>
                    <a:pt x="115773" y="353176"/>
                    <a:pt x="102662" y="342220"/>
                    <a:pt x="130012" y="369570"/>
                  </a:cubicBezTo>
                  <a:cubicBezTo>
                    <a:pt x="133822" y="373380"/>
                    <a:pt x="136959" y="378011"/>
                    <a:pt x="141442" y="381000"/>
                  </a:cubicBezTo>
                  <a:cubicBezTo>
                    <a:pt x="145252" y="383540"/>
                    <a:pt x="149450" y="385578"/>
                    <a:pt x="152872" y="388620"/>
                  </a:cubicBezTo>
                  <a:cubicBezTo>
                    <a:pt x="160926" y="395779"/>
                    <a:pt x="175732" y="411480"/>
                    <a:pt x="175732" y="411480"/>
                  </a:cubicBezTo>
                  <a:cubicBezTo>
                    <a:pt x="166155" y="440210"/>
                    <a:pt x="180187" y="405911"/>
                    <a:pt x="160492" y="430530"/>
                  </a:cubicBezTo>
                  <a:cubicBezTo>
                    <a:pt x="154272" y="438305"/>
                    <a:pt x="156682" y="458596"/>
                    <a:pt x="156682" y="46482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0" name="Forma livre 424"/>
            <p:cNvSpPr/>
            <p:nvPr/>
          </p:nvSpPr>
          <p:spPr>
            <a:xfrm>
              <a:off x="3150870" y="2747010"/>
              <a:ext cx="760518" cy="617220"/>
            </a:xfrm>
            <a:custGeom>
              <a:avLst/>
              <a:gdLst>
                <a:gd name="connsiteX0" fmla="*/ 758190 w 760518"/>
                <a:gd name="connsiteY0" fmla="*/ 0 h 617220"/>
                <a:gd name="connsiteX1" fmla="*/ 754380 w 760518"/>
                <a:gd name="connsiteY1" fmla="*/ 19050 h 617220"/>
                <a:gd name="connsiteX2" fmla="*/ 754380 w 760518"/>
                <a:gd name="connsiteY2" fmla="*/ 68580 h 617220"/>
                <a:gd name="connsiteX3" fmla="*/ 742950 w 760518"/>
                <a:gd name="connsiteY3" fmla="*/ 76200 h 617220"/>
                <a:gd name="connsiteX4" fmla="*/ 723900 w 760518"/>
                <a:gd name="connsiteY4" fmla="*/ 102870 h 617220"/>
                <a:gd name="connsiteX5" fmla="*/ 701040 w 760518"/>
                <a:gd name="connsiteY5" fmla="*/ 106680 h 617220"/>
                <a:gd name="connsiteX6" fmla="*/ 685800 w 760518"/>
                <a:gd name="connsiteY6" fmla="*/ 140970 h 617220"/>
                <a:gd name="connsiteX7" fmla="*/ 678180 w 760518"/>
                <a:gd name="connsiteY7" fmla="*/ 156210 h 617220"/>
                <a:gd name="connsiteX8" fmla="*/ 674370 w 760518"/>
                <a:gd name="connsiteY8" fmla="*/ 167640 h 617220"/>
                <a:gd name="connsiteX9" fmla="*/ 662940 w 760518"/>
                <a:gd name="connsiteY9" fmla="*/ 190500 h 617220"/>
                <a:gd name="connsiteX10" fmla="*/ 655320 w 760518"/>
                <a:gd name="connsiteY10" fmla="*/ 224790 h 617220"/>
                <a:gd name="connsiteX11" fmla="*/ 659130 w 760518"/>
                <a:gd name="connsiteY11" fmla="*/ 243840 h 617220"/>
                <a:gd name="connsiteX12" fmla="*/ 666750 w 760518"/>
                <a:gd name="connsiteY12" fmla="*/ 255270 h 617220"/>
                <a:gd name="connsiteX13" fmla="*/ 659130 w 760518"/>
                <a:gd name="connsiteY13" fmla="*/ 289560 h 617220"/>
                <a:gd name="connsiteX14" fmla="*/ 647700 w 760518"/>
                <a:gd name="connsiteY14" fmla="*/ 297180 h 617220"/>
                <a:gd name="connsiteX15" fmla="*/ 651510 w 760518"/>
                <a:gd name="connsiteY15" fmla="*/ 308610 h 617220"/>
                <a:gd name="connsiteX16" fmla="*/ 666750 w 760518"/>
                <a:gd name="connsiteY16" fmla="*/ 331470 h 617220"/>
                <a:gd name="connsiteX17" fmla="*/ 662940 w 760518"/>
                <a:gd name="connsiteY17" fmla="*/ 358140 h 617220"/>
                <a:gd name="connsiteX18" fmla="*/ 655320 w 760518"/>
                <a:gd name="connsiteY18" fmla="*/ 381000 h 617220"/>
                <a:gd name="connsiteX19" fmla="*/ 651510 w 760518"/>
                <a:gd name="connsiteY19" fmla="*/ 411480 h 617220"/>
                <a:gd name="connsiteX20" fmla="*/ 647700 w 760518"/>
                <a:gd name="connsiteY20" fmla="*/ 438150 h 617220"/>
                <a:gd name="connsiteX21" fmla="*/ 643890 w 760518"/>
                <a:gd name="connsiteY21" fmla="*/ 476250 h 617220"/>
                <a:gd name="connsiteX22" fmla="*/ 636270 w 760518"/>
                <a:gd name="connsiteY22" fmla="*/ 499110 h 617220"/>
                <a:gd name="connsiteX23" fmla="*/ 624840 w 760518"/>
                <a:gd name="connsiteY23" fmla="*/ 495300 h 617220"/>
                <a:gd name="connsiteX24" fmla="*/ 601980 w 760518"/>
                <a:gd name="connsiteY24" fmla="*/ 480060 h 617220"/>
                <a:gd name="connsiteX25" fmla="*/ 579120 w 760518"/>
                <a:gd name="connsiteY25" fmla="*/ 476250 h 617220"/>
                <a:gd name="connsiteX26" fmla="*/ 571500 w 760518"/>
                <a:gd name="connsiteY26" fmla="*/ 491490 h 617220"/>
                <a:gd name="connsiteX27" fmla="*/ 567690 w 760518"/>
                <a:gd name="connsiteY27" fmla="*/ 533400 h 617220"/>
                <a:gd name="connsiteX28" fmla="*/ 510540 w 760518"/>
                <a:gd name="connsiteY28" fmla="*/ 544830 h 617220"/>
                <a:gd name="connsiteX29" fmla="*/ 468630 w 760518"/>
                <a:gd name="connsiteY29" fmla="*/ 556260 h 617220"/>
                <a:gd name="connsiteX30" fmla="*/ 457200 w 760518"/>
                <a:gd name="connsiteY30" fmla="*/ 560070 h 617220"/>
                <a:gd name="connsiteX31" fmla="*/ 430530 w 760518"/>
                <a:gd name="connsiteY31" fmla="*/ 571500 h 617220"/>
                <a:gd name="connsiteX32" fmla="*/ 407670 w 760518"/>
                <a:gd name="connsiteY32" fmla="*/ 586740 h 617220"/>
                <a:gd name="connsiteX33" fmla="*/ 300990 w 760518"/>
                <a:gd name="connsiteY33" fmla="*/ 586740 h 617220"/>
                <a:gd name="connsiteX34" fmla="*/ 289560 w 760518"/>
                <a:gd name="connsiteY34" fmla="*/ 590550 h 617220"/>
                <a:gd name="connsiteX35" fmla="*/ 266700 w 760518"/>
                <a:gd name="connsiteY35" fmla="*/ 609600 h 617220"/>
                <a:gd name="connsiteX36" fmla="*/ 255270 w 760518"/>
                <a:gd name="connsiteY36" fmla="*/ 617220 h 617220"/>
                <a:gd name="connsiteX37" fmla="*/ 186690 w 760518"/>
                <a:gd name="connsiteY37" fmla="*/ 613410 h 617220"/>
                <a:gd name="connsiteX38" fmla="*/ 163830 w 760518"/>
                <a:gd name="connsiteY38" fmla="*/ 598170 h 617220"/>
                <a:gd name="connsiteX39" fmla="*/ 133350 w 760518"/>
                <a:gd name="connsiteY39" fmla="*/ 594360 h 617220"/>
                <a:gd name="connsiteX40" fmla="*/ 121920 w 760518"/>
                <a:gd name="connsiteY40" fmla="*/ 560070 h 617220"/>
                <a:gd name="connsiteX41" fmla="*/ 118110 w 760518"/>
                <a:gd name="connsiteY41" fmla="*/ 548640 h 617220"/>
                <a:gd name="connsiteX42" fmla="*/ 106680 w 760518"/>
                <a:gd name="connsiteY42" fmla="*/ 537210 h 617220"/>
                <a:gd name="connsiteX43" fmla="*/ 83820 w 760518"/>
                <a:gd name="connsiteY43" fmla="*/ 529590 h 617220"/>
                <a:gd name="connsiteX44" fmla="*/ 53340 w 760518"/>
                <a:gd name="connsiteY44" fmla="*/ 521970 h 617220"/>
                <a:gd name="connsiteX45" fmla="*/ 38100 w 760518"/>
                <a:gd name="connsiteY45" fmla="*/ 502920 h 617220"/>
                <a:gd name="connsiteX46" fmla="*/ 26670 w 760518"/>
                <a:gd name="connsiteY46" fmla="*/ 491490 h 617220"/>
                <a:gd name="connsiteX47" fmla="*/ 11430 w 760518"/>
                <a:gd name="connsiteY47" fmla="*/ 468630 h 617220"/>
                <a:gd name="connsiteX48" fmla="*/ 0 w 760518"/>
                <a:gd name="connsiteY48" fmla="*/ 461010 h 617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760518" h="617220">
                  <a:moveTo>
                    <a:pt x="758190" y="0"/>
                  </a:moveTo>
                  <a:cubicBezTo>
                    <a:pt x="756920" y="6350"/>
                    <a:pt x="754380" y="12574"/>
                    <a:pt x="754380" y="19050"/>
                  </a:cubicBezTo>
                  <a:cubicBezTo>
                    <a:pt x="754380" y="46638"/>
                    <a:pt x="768192" y="34049"/>
                    <a:pt x="754380" y="68580"/>
                  </a:cubicBezTo>
                  <a:cubicBezTo>
                    <a:pt x="752679" y="72832"/>
                    <a:pt x="746760" y="73660"/>
                    <a:pt x="742950" y="76200"/>
                  </a:cubicBezTo>
                  <a:cubicBezTo>
                    <a:pt x="735584" y="98298"/>
                    <a:pt x="742188" y="98806"/>
                    <a:pt x="723900" y="102870"/>
                  </a:cubicBezTo>
                  <a:cubicBezTo>
                    <a:pt x="716359" y="104546"/>
                    <a:pt x="708660" y="105410"/>
                    <a:pt x="701040" y="106680"/>
                  </a:cubicBezTo>
                  <a:cubicBezTo>
                    <a:pt x="678625" y="140302"/>
                    <a:pt x="713004" y="86562"/>
                    <a:pt x="685800" y="140970"/>
                  </a:cubicBezTo>
                  <a:cubicBezTo>
                    <a:pt x="683260" y="146050"/>
                    <a:pt x="680417" y="150990"/>
                    <a:pt x="678180" y="156210"/>
                  </a:cubicBezTo>
                  <a:cubicBezTo>
                    <a:pt x="676598" y="159901"/>
                    <a:pt x="676166" y="164048"/>
                    <a:pt x="674370" y="167640"/>
                  </a:cubicBezTo>
                  <a:cubicBezTo>
                    <a:pt x="666150" y="184080"/>
                    <a:pt x="666771" y="173262"/>
                    <a:pt x="662940" y="190500"/>
                  </a:cubicBezTo>
                  <a:cubicBezTo>
                    <a:pt x="654000" y="230732"/>
                    <a:pt x="663897" y="199059"/>
                    <a:pt x="655320" y="224790"/>
                  </a:cubicBezTo>
                  <a:cubicBezTo>
                    <a:pt x="656590" y="231140"/>
                    <a:pt x="656856" y="237777"/>
                    <a:pt x="659130" y="243840"/>
                  </a:cubicBezTo>
                  <a:cubicBezTo>
                    <a:pt x="660738" y="248127"/>
                    <a:pt x="666244" y="250719"/>
                    <a:pt x="666750" y="255270"/>
                  </a:cubicBezTo>
                  <a:cubicBezTo>
                    <a:pt x="666768" y="255433"/>
                    <a:pt x="663050" y="284661"/>
                    <a:pt x="659130" y="289560"/>
                  </a:cubicBezTo>
                  <a:cubicBezTo>
                    <a:pt x="656269" y="293136"/>
                    <a:pt x="651510" y="294640"/>
                    <a:pt x="647700" y="297180"/>
                  </a:cubicBezTo>
                  <a:cubicBezTo>
                    <a:pt x="648970" y="300990"/>
                    <a:pt x="649282" y="305268"/>
                    <a:pt x="651510" y="308610"/>
                  </a:cubicBezTo>
                  <a:cubicBezTo>
                    <a:pt x="670536" y="337150"/>
                    <a:pt x="657691" y="304292"/>
                    <a:pt x="666750" y="331470"/>
                  </a:cubicBezTo>
                  <a:cubicBezTo>
                    <a:pt x="665480" y="340360"/>
                    <a:pt x="664959" y="349390"/>
                    <a:pt x="662940" y="358140"/>
                  </a:cubicBezTo>
                  <a:cubicBezTo>
                    <a:pt x="661134" y="365966"/>
                    <a:pt x="655320" y="381000"/>
                    <a:pt x="655320" y="381000"/>
                  </a:cubicBezTo>
                  <a:cubicBezTo>
                    <a:pt x="654050" y="391160"/>
                    <a:pt x="652863" y="401331"/>
                    <a:pt x="651510" y="411480"/>
                  </a:cubicBezTo>
                  <a:cubicBezTo>
                    <a:pt x="650323" y="420381"/>
                    <a:pt x="648749" y="429231"/>
                    <a:pt x="647700" y="438150"/>
                  </a:cubicBezTo>
                  <a:cubicBezTo>
                    <a:pt x="646209" y="450826"/>
                    <a:pt x="646242" y="463705"/>
                    <a:pt x="643890" y="476250"/>
                  </a:cubicBezTo>
                  <a:cubicBezTo>
                    <a:pt x="642410" y="484145"/>
                    <a:pt x="636270" y="499110"/>
                    <a:pt x="636270" y="499110"/>
                  </a:cubicBezTo>
                  <a:cubicBezTo>
                    <a:pt x="632460" y="497840"/>
                    <a:pt x="628351" y="497250"/>
                    <a:pt x="624840" y="495300"/>
                  </a:cubicBezTo>
                  <a:cubicBezTo>
                    <a:pt x="616834" y="490852"/>
                    <a:pt x="611013" y="481566"/>
                    <a:pt x="601980" y="480060"/>
                  </a:cubicBezTo>
                  <a:lnTo>
                    <a:pt x="579120" y="476250"/>
                  </a:lnTo>
                  <a:cubicBezTo>
                    <a:pt x="576580" y="481330"/>
                    <a:pt x="572614" y="485921"/>
                    <a:pt x="571500" y="491490"/>
                  </a:cubicBezTo>
                  <a:cubicBezTo>
                    <a:pt x="568749" y="505245"/>
                    <a:pt x="574340" y="521049"/>
                    <a:pt x="567690" y="533400"/>
                  </a:cubicBezTo>
                  <a:cubicBezTo>
                    <a:pt x="563391" y="541384"/>
                    <a:pt x="510617" y="544819"/>
                    <a:pt x="510540" y="544830"/>
                  </a:cubicBezTo>
                  <a:cubicBezTo>
                    <a:pt x="491692" y="547523"/>
                    <a:pt x="487614" y="549932"/>
                    <a:pt x="468630" y="556260"/>
                  </a:cubicBezTo>
                  <a:lnTo>
                    <a:pt x="457200" y="560070"/>
                  </a:lnTo>
                  <a:cubicBezTo>
                    <a:pt x="447872" y="563179"/>
                    <a:pt x="438769" y="565615"/>
                    <a:pt x="430530" y="571500"/>
                  </a:cubicBezTo>
                  <a:cubicBezTo>
                    <a:pt x="405558" y="589337"/>
                    <a:pt x="432189" y="578567"/>
                    <a:pt x="407670" y="586740"/>
                  </a:cubicBezTo>
                  <a:cubicBezTo>
                    <a:pt x="356003" y="581573"/>
                    <a:pt x="365784" y="580569"/>
                    <a:pt x="300990" y="586740"/>
                  </a:cubicBezTo>
                  <a:cubicBezTo>
                    <a:pt x="296992" y="587121"/>
                    <a:pt x="293152" y="588754"/>
                    <a:pt x="289560" y="590550"/>
                  </a:cubicBezTo>
                  <a:cubicBezTo>
                    <a:pt x="275371" y="597645"/>
                    <a:pt x="279339" y="599067"/>
                    <a:pt x="266700" y="609600"/>
                  </a:cubicBezTo>
                  <a:cubicBezTo>
                    <a:pt x="263182" y="612531"/>
                    <a:pt x="259080" y="614680"/>
                    <a:pt x="255270" y="617220"/>
                  </a:cubicBezTo>
                  <a:cubicBezTo>
                    <a:pt x="232410" y="615950"/>
                    <a:pt x="209104" y="618080"/>
                    <a:pt x="186690" y="613410"/>
                  </a:cubicBezTo>
                  <a:cubicBezTo>
                    <a:pt x="177724" y="611542"/>
                    <a:pt x="172917" y="599306"/>
                    <a:pt x="163830" y="598170"/>
                  </a:cubicBezTo>
                  <a:lnTo>
                    <a:pt x="133350" y="594360"/>
                  </a:lnTo>
                  <a:lnTo>
                    <a:pt x="121920" y="560070"/>
                  </a:lnTo>
                  <a:cubicBezTo>
                    <a:pt x="120650" y="556260"/>
                    <a:pt x="120950" y="551480"/>
                    <a:pt x="118110" y="548640"/>
                  </a:cubicBezTo>
                  <a:cubicBezTo>
                    <a:pt x="114300" y="544830"/>
                    <a:pt x="111390" y="539827"/>
                    <a:pt x="106680" y="537210"/>
                  </a:cubicBezTo>
                  <a:cubicBezTo>
                    <a:pt x="99659" y="533309"/>
                    <a:pt x="91440" y="532130"/>
                    <a:pt x="83820" y="529590"/>
                  </a:cubicBezTo>
                  <a:cubicBezTo>
                    <a:pt x="66247" y="523732"/>
                    <a:pt x="76328" y="526568"/>
                    <a:pt x="53340" y="521970"/>
                  </a:cubicBezTo>
                  <a:cubicBezTo>
                    <a:pt x="27777" y="504928"/>
                    <a:pt x="52822" y="525004"/>
                    <a:pt x="38100" y="502920"/>
                  </a:cubicBezTo>
                  <a:cubicBezTo>
                    <a:pt x="35111" y="498437"/>
                    <a:pt x="29978" y="495743"/>
                    <a:pt x="26670" y="491490"/>
                  </a:cubicBezTo>
                  <a:cubicBezTo>
                    <a:pt x="21047" y="484261"/>
                    <a:pt x="19050" y="473710"/>
                    <a:pt x="11430" y="468630"/>
                  </a:cubicBezTo>
                  <a:lnTo>
                    <a:pt x="0" y="46101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1" name="Forma livre 425"/>
            <p:cNvSpPr/>
            <p:nvPr/>
          </p:nvSpPr>
          <p:spPr>
            <a:xfrm>
              <a:off x="3078480" y="1657350"/>
              <a:ext cx="1120140" cy="1066800"/>
            </a:xfrm>
            <a:custGeom>
              <a:avLst/>
              <a:gdLst>
                <a:gd name="connsiteX0" fmla="*/ 194310 w 1120140"/>
                <a:gd name="connsiteY0" fmla="*/ 1066800 h 1066800"/>
                <a:gd name="connsiteX1" fmla="*/ 186690 w 1120140"/>
                <a:gd name="connsiteY1" fmla="*/ 1047750 h 1066800"/>
                <a:gd name="connsiteX2" fmla="*/ 179070 w 1120140"/>
                <a:gd name="connsiteY2" fmla="*/ 1036320 h 1066800"/>
                <a:gd name="connsiteX3" fmla="*/ 167640 w 1120140"/>
                <a:gd name="connsiteY3" fmla="*/ 994410 h 1066800"/>
                <a:gd name="connsiteX4" fmla="*/ 160020 w 1120140"/>
                <a:gd name="connsiteY4" fmla="*/ 982980 h 1066800"/>
                <a:gd name="connsiteX5" fmla="*/ 163830 w 1120140"/>
                <a:gd name="connsiteY5" fmla="*/ 948690 h 1066800"/>
                <a:gd name="connsiteX6" fmla="*/ 171450 w 1120140"/>
                <a:gd name="connsiteY6" fmla="*/ 937260 h 1066800"/>
                <a:gd name="connsiteX7" fmla="*/ 156210 w 1120140"/>
                <a:gd name="connsiteY7" fmla="*/ 887730 h 1066800"/>
                <a:gd name="connsiteX8" fmla="*/ 148590 w 1120140"/>
                <a:gd name="connsiteY8" fmla="*/ 864870 h 1066800"/>
                <a:gd name="connsiteX9" fmla="*/ 152400 w 1120140"/>
                <a:gd name="connsiteY9" fmla="*/ 803910 h 1066800"/>
                <a:gd name="connsiteX10" fmla="*/ 156210 w 1120140"/>
                <a:gd name="connsiteY10" fmla="*/ 792480 h 1066800"/>
                <a:gd name="connsiteX11" fmla="*/ 160020 w 1120140"/>
                <a:gd name="connsiteY11" fmla="*/ 777240 h 1066800"/>
                <a:gd name="connsiteX12" fmla="*/ 167640 w 1120140"/>
                <a:gd name="connsiteY12" fmla="*/ 739140 h 1066800"/>
                <a:gd name="connsiteX13" fmla="*/ 163830 w 1120140"/>
                <a:gd name="connsiteY13" fmla="*/ 716280 h 1066800"/>
                <a:gd name="connsiteX14" fmla="*/ 160020 w 1120140"/>
                <a:gd name="connsiteY14" fmla="*/ 704850 h 1066800"/>
                <a:gd name="connsiteX15" fmla="*/ 137160 w 1120140"/>
                <a:gd name="connsiteY15" fmla="*/ 689610 h 1066800"/>
                <a:gd name="connsiteX16" fmla="*/ 125730 w 1120140"/>
                <a:gd name="connsiteY16" fmla="*/ 681990 h 1066800"/>
                <a:gd name="connsiteX17" fmla="*/ 121920 w 1120140"/>
                <a:gd name="connsiteY17" fmla="*/ 670560 h 1066800"/>
                <a:gd name="connsiteX18" fmla="*/ 118110 w 1120140"/>
                <a:gd name="connsiteY18" fmla="*/ 651510 h 1066800"/>
                <a:gd name="connsiteX19" fmla="*/ 114300 w 1120140"/>
                <a:gd name="connsiteY19" fmla="*/ 636270 h 1066800"/>
                <a:gd name="connsiteX20" fmla="*/ 110490 w 1120140"/>
                <a:gd name="connsiteY20" fmla="*/ 594360 h 1066800"/>
                <a:gd name="connsiteX21" fmla="*/ 95250 w 1120140"/>
                <a:gd name="connsiteY21" fmla="*/ 533400 h 1066800"/>
                <a:gd name="connsiteX22" fmla="*/ 87630 w 1120140"/>
                <a:gd name="connsiteY22" fmla="*/ 510540 h 1066800"/>
                <a:gd name="connsiteX23" fmla="*/ 83820 w 1120140"/>
                <a:gd name="connsiteY23" fmla="*/ 499110 h 1066800"/>
                <a:gd name="connsiteX24" fmla="*/ 76200 w 1120140"/>
                <a:gd name="connsiteY24" fmla="*/ 487680 h 1066800"/>
                <a:gd name="connsiteX25" fmla="*/ 68580 w 1120140"/>
                <a:gd name="connsiteY25" fmla="*/ 461010 h 1066800"/>
                <a:gd name="connsiteX26" fmla="*/ 60960 w 1120140"/>
                <a:gd name="connsiteY26" fmla="*/ 438150 h 1066800"/>
                <a:gd name="connsiteX27" fmla="*/ 53340 w 1120140"/>
                <a:gd name="connsiteY27" fmla="*/ 415290 h 1066800"/>
                <a:gd name="connsiteX28" fmla="*/ 49530 w 1120140"/>
                <a:gd name="connsiteY28" fmla="*/ 403860 h 1066800"/>
                <a:gd name="connsiteX29" fmla="*/ 41910 w 1120140"/>
                <a:gd name="connsiteY29" fmla="*/ 392430 h 1066800"/>
                <a:gd name="connsiteX30" fmla="*/ 38100 w 1120140"/>
                <a:gd name="connsiteY30" fmla="*/ 381000 h 1066800"/>
                <a:gd name="connsiteX31" fmla="*/ 30480 w 1120140"/>
                <a:gd name="connsiteY31" fmla="*/ 350520 h 1066800"/>
                <a:gd name="connsiteX32" fmla="*/ 26670 w 1120140"/>
                <a:gd name="connsiteY32" fmla="*/ 339090 h 1066800"/>
                <a:gd name="connsiteX33" fmla="*/ 11430 w 1120140"/>
                <a:gd name="connsiteY33" fmla="*/ 316230 h 1066800"/>
                <a:gd name="connsiteX34" fmla="*/ 3810 w 1120140"/>
                <a:gd name="connsiteY34" fmla="*/ 304800 h 1066800"/>
                <a:gd name="connsiteX35" fmla="*/ 0 w 1120140"/>
                <a:gd name="connsiteY35" fmla="*/ 293370 h 1066800"/>
                <a:gd name="connsiteX36" fmla="*/ 3810 w 1120140"/>
                <a:gd name="connsiteY36" fmla="*/ 259080 h 1066800"/>
                <a:gd name="connsiteX37" fmla="*/ 11430 w 1120140"/>
                <a:gd name="connsiteY37" fmla="*/ 247650 h 1066800"/>
                <a:gd name="connsiteX38" fmla="*/ 34290 w 1120140"/>
                <a:gd name="connsiteY38" fmla="*/ 224790 h 1066800"/>
                <a:gd name="connsiteX39" fmla="*/ 45720 w 1120140"/>
                <a:gd name="connsiteY39" fmla="*/ 213360 h 1066800"/>
                <a:gd name="connsiteX40" fmla="*/ 57150 w 1120140"/>
                <a:gd name="connsiteY40" fmla="*/ 201930 h 1066800"/>
                <a:gd name="connsiteX41" fmla="*/ 76200 w 1120140"/>
                <a:gd name="connsiteY41" fmla="*/ 179070 h 1066800"/>
                <a:gd name="connsiteX42" fmla="*/ 87630 w 1120140"/>
                <a:gd name="connsiteY42" fmla="*/ 175260 h 1066800"/>
                <a:gd name="connsiteX43" fmla="*/ 121920 w 1120140"/>
                <a:gd name="connsiteY43" fmla="*/ 160020 h 1066800"/>
                <a:gd name="connsiteX44" fmla="*/ 186690 w 1120140"/>
                <a:gd name="connsiteY44" fmla="*/ 156210 h 1066800"/>
                <a:gd name="connsiteX45" fmla="*/ 198120 w 1120140"/>
                <a:gd name="connsiteY45" fmla="*/ 152400 h 1066800"/>
                <a:gd name="connsiteX46" fmla="*/ 232410 w 1120140"/>
                <a:gd name="connsiteY46" fmla="*/ 144780 h 1066800"/>
                <a:gd name="connsiteX47" fmla="*/ 243840 w 1120140"/>
                <a:gd name="connsiteY47" fmla="*/ 133350 h 1066800"/>
                <a:gd name="connsiteX48" fmla="*/ 255270 w 1120140"/>
                <a:gd name="connsiteY48" fmla="*/ 129540 h 1066800"/>
                <a:gd name="connsiteX49" fmla="*/ 320040 w 1120140"/>
                <a:gd name="connsiteY49" fmla="*/ 125730 h 1066800"/>
                <a:gd name="connsiteX50" fmla="*/ 335280 w 1120140"/>
                <a:gd name="connsiteY50" fmla="*/ 121920 h 1066800"/>
                <a:gd name="connsiteX51" fmla="*/ 358140 w 1120140"/>
                <a:gd name="connsiteY51" fmla="*/ 106680 h 1066800"/>
                <a:gd name="connsiteX52" fmla="*/ 369570 w 1120140"/>
                <a:gd name="connsiteY52" fmla="*/ 99060 h 1066800"/>
                <a:gd name="connsiteX53" fmla="*/ 407670 w 1120140"/>
                <a:gd name="connsiteY53" fmla="*/ 91440 h 1066800"/>
                <a:gd name="connsiteX54" fmla="*/ 422910 w 1120140"/>
                <a:gd name="connsiteY54" fmla="*/ 87630 h 1066800"/>
                <a:gd name="connsiteX55" fmla="*/ 449580 w 1120140"/>
                <a:gd name="connsiteY55" fmla="*/ 68580 h 1066800"/>
                <a:gd name="connsiteX56" fmla="*/ 472440 w 1120140"/>
                <a:gd name="connsiteY56" fmla="*/ 57150 h 1066800"/>
                <a:gd name="connsiteX57" fmla="*/ 537210 w 1120140"/>
                <a:gd name="connsiteY57" fmla="*/ 53340 h 1066800"/>
                <a:gd name="connsiteX58" fmla="*/ 548640 w 1120140"/>
                <a:gd name="connsiteY58" fmla="*/ 30480 h 1066800"/>
                <a:gd name="connsiteX59" fmla="*/ 563880 w 1120140"/>
                <a:gd name="connsiteY59" fmla="*/ 26670 h 1066800"/>
                <a:gd name="connsiteX60" fmla="*/ 628650 w 1120140"/>
                <a:gd name="connsiteY60" fmla="*/ 15240 h 1066800"/>
                <a:gd name="connsiteX61" fmla="*/ 659130 w 1120140"/>
                <a:gd name="connsiteY61" fmla="*/ 7620 h 1066800"/>
                <a:gd name="connsiteX62" fmla="*/ 681990 w 1120140"/>
                <a:gd name="connsiteY62" fmla="*/ 0 h 1066800"/>
                <a:gd name="connsiteX63" fmla="*/ 739140 w 1120140"/>
                <a:gd name="connsiteY63" fmla="*/ 3810 h 1066800"/>
                <a:gd name="connsiteX64" fmla="*/ 762000 w 1120140"/>
                <a:gd name="connsiteY64" fmla="*/ 19050 h 1066800"/>
                <a:gd name="connsiteX65" fmla="*/ 769620 w 1120140"/>
                <a:gd name="connsiteY65" fmla="*/ 30480 h 1066800"/>
                <a:gd name="connsiteX66" fmla="*/ 781050 w 1120140"/>
                <a:gd name="connsiteY66" fmla="*/ 38100 h 1066800"/>
                <a:gd name="connsiteX67" fmla="*/ 807720 w 1120140"/>
                <a:gd name="connsiteY67" fmla="*/ 45720 h 1066800"/>
                <a:gd name="connsiteX68" fmla="*/ 819150 w 1120140"/>
                <a:gd name="connsiteY68" fmla="*/ 53340 h 1066800"/>
                <a:gd name="connsiteX69" fmla="*/ 834390 w 1120140"/>
                <a:gd name="connsiteY69" fmla="*/ 57150 h 1066800"/>
                <a:gd name="connsiteX70" fmla="*/ 868680 w 1120140"/>
                <a:gd name="connsiteY70" fmla="*/ 72390 h 1066800"/>
                <a:gd name="connsiteX71" fmla="*/ 876300 w 1120140"/>
                <a:gd name="connsiteY71" fmla="*/ 83820 h 1066800"/>
                <a:gd name="connsiteX72" fmla="*/ 887730 w 1120140"/>
                <a:gd name="connsiteY72" fmla="*/ 91440 h 1066800"/>
                <a:gd name="connsiteX73" fmla="*/ 902970 w 1120140"/>
                <a:gd name="connsiteY73" fmla="*/ 114300 h 1066800"/>
                <a:gd name="connsiteX74" fmla="*/ 910590 w 1120140"/>
                <a:gd name="connsiteY74" fmla="*/ 125730 h 1066800"/>
                <a:gd name="connsiteX75" fmla="*/ 918210 w 1120140"/>
                <a:gd name="connsiteY75" fmla="*/ 137160 h 1066800"/>
                <a:gd name="connsiteX76" fmla="*/ 941070 w 1120140"/>
                <a:gd name="connsiteY76" fmla="*/ 144780 h 1066800"/>
                <a:gd name="connsiteX77" fmla="*/ 952500 w 1120140"/>
                <a:gd name="connsiteY77" fmla="*/ 152400 h 1066800"/>
                <a:gd name="connsiteX78" fmla="*/ 986790 w 1120140"/>
                <a:gd name="connsiteY78" fmla="*/ 167640 h 1066800"/>
                <a:gd name="connsiteX79" fmla="*/ 1002030 w 1120140"/>
                <a:gd name="connsiteY79" fmla="*/ 190500 h 1066800"/>
                <a:gd name="connsiteX80" fmla="*/ 1009650 w 1120140"/>
                <a:gd name="connsiteY80" fmla="*/ 201930 h 1066800"/>
                <a:gd name="connsiteX81" fmla="*/ 1021080 w 1120140"/>
                <a:gd name="connsiteY81" fmla="*/ 217170 h 1066800"/>
                <a:gd name="connsiteX82" fmla="*/ 1036320 w 1120140"/>
                <a:gd name="connsiteY82" fmla="*/ 240030 h 1066800"/>
                <a:gd name="connsiteX83" fmla="*/ 1043940 w 1120140"/>
                <a:gd name="connsiteY83" fmla="*/ 251460 h 1066800"/>
                <a:gd name="connsiteX84" fmla="*/ 1055370 w 1120140"/>
                <a:gd name="connsiteY84" fmla="*/ 259080 h 1066800"/>
                <a:gd name="connsiteX85" fmla="*/ 1070610 w 1120140"/>
                <a:gd name="connsiteY85" fmla="*/ 278130 h 1066800"/>
                <a:gd name="connsiteX86" fmla="*/ 1078230 w 1120140"/>
                <a:gd name="connsiteY86" fmla="*/ 289560 h 1066800"/>
                <a:gd name="connsiteX87" fmla="*/ 1101090 w 1120140"/>
                <a:gd name="connsiteY87" fmla="*/ 308610 h 1066800"/>
                <a:gd name="connsiteX88" fmla="*/ 1112520 w 1120140"/>
                <a:gd name="connsiteY88" fmla="*/ 331470 h 1066800"/>
                <a:gd name="connsiteX89" fmla="*/ 1116330 w 1120140"/>
                <a:gd name="connsiteY89" fmla="*/ 350520 h 1066800"/>
                <a:gd name="connsiteX90" fmla="*/ 1120140 w 1120140"/>
                <a:gd name="connsiteY90" fmla="*/ 350520 h 106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1120140" h="1066800">
                  <a:moveTo>
                    <a:pt x="194310" y="1066800"/>
                  </a:moveTo>
                  <a:cubicBezTo>
                    <a:pt x="191770" y="1060450"/>
                    <a:pt x="189749" y="1053867"/>
                    <a:pt x="186690" y="1047750"/>
                  </a:cubicBezTo>
                  <a:cubicBezTo>
                    <a:pt x="184642" y="1043654"/>
                    <a:pt x="181118" y="1040416"/>
                    <a:pt x="179070" y="1036320"/>
                  </a:cubicBezTo>
                  <a:cubicBezTo>
                    <a:pt x="174183" y="1026546"/>
                    <a:pt x="170406" y="998560"/>
                    <a:pt x="167640" y="994410"/>
                  </a:cubicBezTo>
                  <a:lnTo>
                    <a:pt x="160020" y="982980"/>
                  </a:lnTo>
                  <a:cubicBezTo>
                    <a:pt x="161290" y="971550"/>
                    <a:pt x="161041" y="959847"/>
                    <a:pt x="163830" y="948690"/>
                  </a:cubicBezTo>
                  <a:cubicBezTo>
                    <a:pt x="164941" y="944248"/>
                    <a:pt x="171099" y="941826"/>
                    <a:pt x="171450" y="937260"/>
                  </a:cubicBezTo>
                  <a:cubicBezTo>
                    <a:pt x="174244" y="900939"/>
                    <a:pt x="173651" y="905171"/>
                    <a:pt x="156210" y="887730"/>
                  </a:cubicBezTo>
                  <a:cubicBezTo>
                    <a:pt x="153670" y="880110"/>
                    <a:pt x="148089" y="872887"/>
                    <a:pt x="148590" y="864870"/>
                  </a:cubicBezTo>
                  <a:cubicBezTo>
                    <a:pt x="149860" y="844550"/>
                    <a:pt x="150269" y="824158"/>
                    <a:pt x="152400" y="803910"/>
                  </a:cubicBezTo>
                  <a:cubicBezTo>
                    <a:pt x="152820" y="799916"/>
                    <a:pt x="155107" y="796342"/>
                    <a:pt x="156210" y="792480"/>
                  </a:cubicBezTo>
                  <a:cubicBezTo>
                    <a:pt x="157649" y="787445"/>
                    <a:pt x="158993" y="782375"/>
                    <a:pt x="160020" y="777240"/>
                  </a:cubicBezTo>
                  <a:cubicBezTo>
                    <a:pt x="169362" y="730532"/>
                    <a:pt x="158790" y="774539"/>
                    <a:pt x="167640" y="739140"/>
                  </a:cubicBezTo>
                  <a:cubicBezTo>
                    <a:pt x="166370" y="731520"/>
                    <a:pt x="165506" y="723821"/>
                    <a:pt x="163830" y="716280"/>
                  </a:cubicBezTo>
                  <a:cubicBezTo>
                    <a:pt x="162959" y="712360"/>
                    <a:pt x="162860" y="707690"/>
                    <a:pt x="160020" y="704850"/>
                  </a:cubicBezTo>
                  <a:cubicBezTo>
                    <a:pt x="153544" y="698374"/>
                    <a:pt x="144780" y="694690"/>
                    <a:pt x="137160" y="689610"/>
                  </a:cubicBezTo>
                  <a:lnTo>
                    <a:pt x="125730" y="681990"/>
                  </a:lnTo>
                  <a:cubicBezTo>
                    <a:pt x="124460" y="678180"/>
                    <a:pt x="122894" y="674456"/>
                    <a:pt x="121920" y="670560"/>
                  </a:cubicBezTo>
                  <a:cubicBezTo>
                    <a:pt x="120349" y="664278"/>
                    <a:pt x="119515" y="657832"/>
                    <a:pt x="118110" y="651510"/>
                  </a:cubicBezTo>
                  <a:cubicBezTo>
                    <a:pt x="116974" y="646398"/>
                    <a:pt x="115570" y="641350"/>
                    <a:pt x="114300" y="636270"/>
                  </a:cubicBezTo>
                  <a:cubicBezTo>
                    <a:pt x="113030" y="622300"/>
                    <a:pt x="112474" y="608247"/>
                    <a:pt x="110490" y="594360"/>
                  </a:cubicBezTo>
                  <a:cubicBezTo>
                    <a:pt x="105892" y="562177"/>
                    <a:pt x="104114" y="559993"/>
                    <a:pt x="95250" y="533400"/>
                  </a:cubicBezTo>
                  <a:lnTo>
                    <a:pt x="87630" y="510540"/>
                  </a:lnTo>
                  <a:cubicBezTo>
                    <a:pt x="86360" y="506730"/>
                    <a:pt x="86048" y="502452"/>
                    <a:pt x="83820" y="499110"/>
                  </a:cubicBezTo>
                  <a:cubicBezTo>
                    <a:pt x="81280" y="495300"/>
                    <a:pt x="78248" y="491776"/>
                    <a:pt x="76200" y="487680"/>
                  </a:cubicBezTo>
                  <a:cubicBezTo>
                    <a:pt x="72999" y="481278"/>
                    <a:pt x="70411" y="467114"/>
                    <a:pt x="68580" y="461010"/>
                  </a:cubicBezTo>
                  <a:cubicBezTo>
                    <a:pt x="66272" y="453317"/>
                    <a:pt x="63500" y="445770"/>
                    <a:pt x="60960" y="438150"/>
                  </a:cubicBezTo>
                  <a:lnTo>
                    <a:pt x="53340" y="415290"/>
                  </a:lnTo>
                  <a:cubicBezTo>
                    <a:pt x="52070" y="411480"/>
                    <a:pt x="51758" y="407202"/>
                    <a:pt x="49530" y="403860"/>
                  </a:cubicBezTo>
                  <a:cubicBezTo>
                    <a:pt x="46990" y="400050"/>
                    <a:pt x="43958" y="396526"/>
                    <a:pt x="41910" y="392430"/>
                  </a:cubicBezTo>
                  <a:cubicBezTo>
                    <a:pt x="40114" y="388838"/>
                    <a:pt x="39157" y="384875"/>
                    <a:pt x="38100" y="381000"/>
                  </a:cubicBezTo>
                  <a:cubicBezTo>
                    <a:pt x="35344" y="370896"/>
                    <a:pt x="33792" y="360455"/>
                    <a:pt x="30480" y="350520"/>
                  </a:cubicBezTo>
                  <a:cubicBezTo>
                    <a:pt x="29210" y="346710"/>
                    <a:pt x="28620" y="342601"/>
                    <a:pt x="26670" y="339090"/>
                  </a:cubicBezTo>
                  <a:cubicBezTo>
                    <a:pt x="22222" y="331084"/>
                    <a:pt x="16510" y="323850"/>
                    <a:pt x="11430" y="316230"/>
                  </a:cubicBezTo>
                  <a:cubicBezTo>
                    <a:pt x="8890" y="312420"/>
                    <a:pt x="5258" y="309144"/>
                    <a:pt x="3810" y="304800"/>
                  </a:cubicBezTo>
                  <a:lnTo>
                    <a:pt x="0" y="293370"/>
                  </a:lnTo>
                  <a:cubicBezTo>
                    <a:pt x="1270" y="281940"/>
                    <a:pt x="1021" y="270237"/>
                    <a:pt x="3810" y="259080"/>
                  </a:cubicBezTo>
                  <a:cubicBezTo>
                    <a:pt x="4921" y="254638"/>
                    <a:pt x="8388" y="251072"/>
                    <a:pt x="11430" y="247650"/>
                  </a:cubicBezTo>
                  <a:cubicBezTo>
                    <a:pt x="18589" y="239596"/>
                    <a:pt x="26670" y="232410"/>
                    <a:pt x="34290" y="224790"/>
                  </a:cubicBezTo>
                  <a:lnTo>
                    <a:pt x="45720" y="213360"/>
                  </a:lnTo>
                  <a:cubicBezTo>
                    <a:pt x="49530" y="209550"/>
                    <a:pt x="54161" y="206413"/>
                    <a:pt x="57150" y="201930"/>
                  </a:cubicBezTo>
                  <a:cubicBezTo>
                    <a:pt x="62773" y="193496"/>
                    <a:pt x="67399" y="184937"/>
                    <a:pt x="76200" y="179070"/>
                  </a:cubicBezTo>
                  <a:cubicBezTo>
                    <a:pt x="79542" y="176842"/>
                    <a:pt x="84038" y="177056"/>
                    <a:pt x="87630" y="175260"/>
                  </a:cubicBezTo>
                  <a:cubicBezTo>
                    <a:pt x="102936" y="167607"/>
                    <a:pt x="99640" y="161331"/>
                    <a:pt x="121920" y="160020"/>
                  </a:cubicBezTo>
                  <a:lnTo>
                    <a:pt x="186690" y="156210"/>
                  </a:lnTo>
                  <a:cubicBezTo>
                    <a:pt x="190500" y="154940"/>
                    <a:pt x="194258" y="153503"/>
                    <a:pt x="198120" y="152400"/>
                  </a:cubicBezTo>
                  <a:cubicBezTo>
                    <a:pt x="210675" y="148813"/>
                    <a:pt x="219316" y="147399"/>
                    <a:pt x="232410" y="144780"/>
                  </a:cubicBezTo>
                  <a:cubicBezTo>
                    <a:pt x="236220" y="140970"/>
                    <a:pt x="239357" y="136339"/>
                    <a:pt x="243840" y="133350"/>
                  </a:cubicBezTo>
                  <a:cubicBezTo>
                    <a:pt x="247182" y="131122"/>
                    <a:pt x="251274" y="129940"/>
                    <a:pt x="255270" y="129540"/>
                  </a:cubicBezTo>
                  <a:cubicBezTo>
                    <a:pt x="276790" y="127388"/>
                    <a:pt x="298450" y="127000"/>
                    <a:pt x="320040" y="125730"/>
                  </a:cubicBezTo>
                  <a:cubicBezTo>
                    <a:pt x="325120" y="124460"/>
                    <a:pt x="330596" y="124262"/>
                    <a:pt x="335280" y="121920"/>
                  </a:cubicBezTo>
                  <a:cubicBezTo>
                    <a:pt x="343471" y="117824"/>
                    <a:pt x="350520" y="111760"/>
                    <a:pt x="358140" y="106680"/>
                  </a:cubicBezTo>
                  <a:cubicBezTo>
                    <a:pt x="361950" y="104140"/>
                    <a:pt x="365226" y="100508"/>
                    <a:pt x="369570" y="99060"/>
                  </a:cubicBezTo>
                  <a:cubicBezTo>
                    <a:pt x="393044" y="91235"/>
                    <a:pt x="369144" y="98445"/>
                    <a:pt x="407670" y="91440"/>
                  </a:cubicBezTo>
                  <a:cubicBezTo>
                    <a:pt x="412822" y="90503"/>
                    <a:pt x="417830" y="88900"/>
                    <a:pt x="422910" y="87630"/>
                  </a:cubicBezTo>
                  <a:cubicBezTo>
                    <a:pt x="441528" y="69012"/>
                    <a:pt x="426177" y="81953"/>
                    <a:pt x="449580" y="68580"/>
                  </a:cubicBezTo>
                  <a:cubicBezTo>
                    <a:pt x="458434" y="63521"/>
                    <a:pt x="461856" y="58208"/>
                    <a:pt x="472440" y="57150"/>
                  </a:cubicBezTo>
                  <a:cubicBezTo>
                    <a:pt x="493960" y="54998"/>
                    <a:pt x="515620" y="54610"/>
                    <a:pt x="537210" y="53340"/>
                  </a:cubicBezTo>
                  <a:cubicBezTo>
                    <a:pt x="539383" y="46820"/>
                    <a:pt x="542309" y="34700"/>
                    <a:pt x="548640" y="30480"/>
                  </a:cubicBezTo>
                  <a:cubicBezTo>
                    <a:pt x="552997" y="27575"/>
                    <a:pt x="558760" y="27767"/>
                    <a:pt x="563880" y="26670"/>
                  </a:cubicBezTo>
                  <a:cubicBezTo>
                    <a:pt x="601405" y="18629"/>
                    <a:pt x="595663" y="19952"/>
                    <a:pt x="628650" y="15240"/>
                  </a:cubicBezTo>
                  <a:cubicBezTo>
                    <a:pt x="663331" y="3680"/>
                    <a:pt x="608556" y="21413"/>
                    <a:pt x="659130" y="7620"/>
                  </a:cubicBezTo>
                  <a:cubicBezTo>
                    <a:pt x="666879" y="5507"/>
                    <a:pt x="681990" y="0"/>
                    <a:pt x="681990" y="0"/>
                  </a:cubicBezTo>
                  <a:cubicBezTo>
                    <a:pt x="701040" y="1270"/>
                    <a:pt x="720567" y="-612"/>
                    <a:pt x="739140" y="3810"/>
                  </a:cubicBezTo>
                  <a:cubicBezTo>
                    <a:pt x="748049" y="5931"/>
                    <a:pt x="762000" y="19050"/>
                    <a:pt x="762000" y="19050"/>
                  </a:cubicBezTo>
                  <a:cubicBezTo>
                    <a:pt x="764540" y="22860"/>
                    <a:pt x="766382" y="27242"/>
                    <a:pt x="769620" y="30480"/>
                  </a:cubicBezTo>
                  <a:cubicBezTo>
                    <a:pt x="772858" y="33718"/>
                    <a:pt x="776841" y="36296"/>
                    <a:pt x="781050" y="38100"/>
                  </a:cubicBezTo>
                  <a:cubicBezTo>
                    <a:pt x="798140" y="45424"/>
                    <a:pt x="792892" y="38306"/>
                    <a:pt x="807720" y="45720"/>
                  </a:cubicBezTo>
                  <a:cubicBezTo>
                    <a:pt x="811816" y="47768"/>
                    <a:pt x="814941" y="51536"/>
                    <a:pt x="819150" y="53340"/>
                  </a:cubicBezTo>
                  <a:cubicBezTo>
                    <a:pt x="823963" y="55403"/>
                    <a:pt x="829374" y="55645"/>
                    <a:pt x="834390" y="57150"/>
                  </a:cubicBezTo>
                  <a:cubicBezTo>
                    <a:pt x="859121" y="64569"/>
                    <a:pt x="851977" y="61254"/>
                    <a:pt x="868680" y="72390"/>
                  </a:cubicBezTo>
                  <a:cubicBezTo>
                    <a:pt x="871220" y="76200"/>
                    <a:pt x="873062" y="80582"/>
                    <a:pt x="876300" y="83820"/>
                  </a:cubicBezTo>
                  <a:cubicBezTo>
                    <a:pt x="879538" y="87058"/>
                    <a:pt x="884715" y="87994"/>
                    <a:pt x="887730" y="91440"/>
                  </a:cubicBezTo>
                  <a:cubicBezTo>
                    <a:pt x="893761" y="98332"/>
                    <a:pt x="897890" y="106680"/>
                    <a:pt x="902970" y="114300"/>
                  </a:cubicBezTo>
                  <a:lnTo>
                    <a:pt x="910590" y="125730"/>
                  </a:lnTo>
                  <a:cubicBezTo>
                    <a:pt x="913130" y="129540"/>
                    <a:pt x="913866" y="135712"/>
                    <a:pt x="918210" y="137160"/>
                  </a:cubicBezTo>
                  <a:cubicBezTo>
                    <a:pt x="925830" y="139700"/>
                    <a:pt x="934387" y="140325"/>
                    <a:pt x="941070" y="144780"/>
                  </a:cubicBezTo>
                  <a:cubicBezTo>
                    <a:pt x="944880" y="147320"/>
                    <a:pt x="948316" y="150540"/>
                    <a:pt x="952500" y="152400"/>
                  </a:cubicBezTo>
                  <a:cubicBezTo>
                    <a:pt x="993306" y="170536"/>
                    <a:pt x="960922" y="150395"/>
                    <a:pt x="986790" y="167640"/>
                  </a:cubicBezTo>
                  <a:lnTo>
                    <a:pt x="1002030" y="190500"/>
                  </a:lnTo>
                  <a:cubicBezTo>
                    <a:pt x="1004570" y="194310"/>
                    <a:pt x="1006903" y="198267"/>
                    <a:pt x="1009650" y="201930"/>
                  </a:cubicBezTo>
                  <a:cubicBezTo>
                    <a:pt x="1013460" y="207010"/>
                    <a:pt x="1017439" y="211968"/>
                    <a:pt x="1021080" y="217170"/>
                  </a:cubicBezTo>
                  <a:cubicBezTo>
                    <a:pt x="1026332" y="224673"/>
                    <a:pt x="1031240" y="232410"/>
                    <a:pt x="1036320" y="240030"/>
                  </a:cubicBezTo>
                  <a:cubicBezTo>
                    <a:pt x="1038860" y="243840"/>
                    <a:pt x="1040130" y="248920"/>
                    <a:pt x="1043940" y="251460"/>
                  </a:cubicBezTo>
                  <a:lnTo>
                    <a:pt x="1055370" y="259080"/>
                  </a:lnTo>
                  <a:cubicBezTo>
                    <a:pt x="1062787" y="281332"/>
                    <a:pt x="1053376" y="260896"/>
                    <a:pt x="1070610" y="278130"/>
                  </a:cubicBezTo>
                  <a:cubicBezTo>
                    <a:pt x="1073848" y="281368"/>
                    <a:pt x="1074992" y="286322"/>
                    <a:pt x="1078230" y="289560"/>
                  </a:cubicBezTo>
                  <a:cubicBezTo>
                    <a:pt x="1108200" y="319530"/>
                    <a:pt x="1069882" y="271160"/>
                    <a:pt x="1101090" y="308610"/>
                  </a:cubicBezTo>
                  <a:cubicBezTo>
                    <a:pt x="1107742" y="316592"/>
                    <a:pt x="1110065" y="321651"/>
                    <a:pt x="1112520" y="331470"/>
                  </a:cubicBezTo>
                  <a:cubicBezTo>
                    <a:pt x="1114091" y="337752"/>
                    <a:pt x="1113925" y="344507"/>
                    <a:pt x="1116330" y="350520"/>
                  </a:cubicBezTo>
                  <a:cubicBezTo>
                    <a:pt x="1116802" y="351699"/>
                    <a:pt x="1118870" y="350520"/>
                    <a:pt x="1120140" y="35052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2" name="Forma livre 426"/>
            <p:cNvSpPr/>
            <p:nvPr/>
          </p:nvSpPr>
          <p:spPr>
            <a:xfrm>
              <a:off x="4068640" y="2007870"/>
              <a:ext cx="175700" cy="458608"/>
            </a:xfrm>
            <a:custGeom>
              <a:avLst/>
              <a:gdLst>
                <a:gd name="connsiteX0" fmla="*/ 129980 w 175700"/>
                <a:gd name="connsiteY0" fmla="*/ 0 h 458608"/>
                <a:gd name="connsiteX1" fmla="*/ 149030 w 175700"/>
                <a:gd name="connsiteY1" fmla="*/ 15240 h 458608"/>
                <a:gd name="connsiteX2" fmla="*/ 168080 w 175700"/>
                <a:gd name="connsiteY2" fmla="*/ 19050 h 458608"/>
                <a:gd name="connsiteX3" fmla="*/ 175700 w 175700"/>
                <a:gd name="connsiteY3" fmla="*/ 41910 h 458608"/>
                <a:gd name="connsiteX4" fmla="*/ 168080 w 175700"/>
                <a:gd name="connsiteY4" fmla="*/ 68580 h 458608"/>
                <a:gd name="connsiteX5" fmla="*/ 164270 w 175700"/>
                <a:gd name="connsiteY5" fmla="*/ 80010 h 458608"/>
                <a:gd name="connsiteX6" fmla="*/ 152840 w 175700"/>
                <a:gd name="connsiteY6" fmla="*/ 91440 h 458608"/>
                <a:gd name="connsiteX7" fmla="*/ 149030 w 175700"/>
                <a:gd name="connsiteY7" fmla="*/ 102870 h 458608"/>
                <a:gd name="connsiteX8" fmla="*/ 145220 w 175700"/>
                <a:gd name="connsiteY8" fmla="*/ 125730 h 458608"/>
                <a:gd name="connsiteX9" fmla="*/ 133790 w 175700"/>
                <a:gd name="connsiteY9" fmla="*/ 137160 h 458608"/>
                <a:gd name="connsiteX10" fmla="*/ 133790 w 175700"/>
                <a:gd name="connsiteY10" fmla="*/ 163830 h 458608"/>
                <a:gd name="connsiteX11" fmla="*/ 126170 w 175700"/>
                <a:gd name="connsiteY11" fmla="*/ 190500 h 458608"/>
                <a:gd name="connsiteX12" fmla="*/ 114740 w 175700"/>
                <a:gd name="connsiteY12" fmla="*/ 228600 h 458608"/>
                <a:gd name="connsiteX13" fmla="*/ 103310 w 175700"/>
                <a:gd name="connsiteY13" fmla="*/ 236220 h 458608"/>
                <a:gd name="connsiteX14" fmla="*/ 88070 w 175700"/>
                <a:gd name="connsiteY14" fmla="*/ 255270 h 458608"/>
                <a:gd name="connsiteX15" fmla="*/ 57590 w 175700"/>
                <a:gd name="connsiteY15" fmla="*/ 281940 h 458608"/>
                <a:gd name="connsiteX16" fmla="*/ 34730 w 175700"/>
                <a:gd name="connsiteY16" fmla="*/ 289560 h 458608"/>
                <a:gd name="connsiteX17" fmla="*/ 27110 w 175700"/>
                <a:gd name="connsiteY17" fmla="*/ 300990 h 458608"/>
                <a:gd name="connsiteX18" fmla="*/ 23300 w 175700"/>
                <a:gd name="connsiteY18" fmla="*/ 323850 h 458608"/>
                <a:gd name="connsiteX19" fmla="*/ 11870 w 175700"/>
                <a:gd name="connsiteY19" fmla="*/ 335280 h 458608"/>
                <a:gd name="connsiteX20" fmla="*/ 8060 w 175700"/>
                <a:gd name="connsiteY20" fmla="*/ 346710 h 458608"/>
                <a:gd name="connsiteX21" fmla="*/ 15680 w 175700"/>
                <a:gd name="connsiteY21" fmla="*/ 373380 h 458608"/>
                <a:gd name="connsiteX22" fmla="*/ 11870 w 175700"/>
                <a:gd name="connsiteY22" fmla="*/ 434340 h 458608"/>
                <a:gd name="connsiteX23" fmla="*/ 440 w 175700"/>
                <a:gd name="connsiteY23" fmla="*/ 457200 h 458608"/>
                <a:gd name="connsiteX24" fmla="*/ 11870 w 175700"/>
                <a:gd name="connsiteY24" fmla="*/ 457200 h 458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75700" h="458608">
                  <a:moveTo>
                    <a:pt x="129980" y="0"/>
                  </a:moveTo>
                  <a:cubicBezTo>
                    <a:pt x="136330" y="5080"/>
                    <a:pt x="141757" y="11603"/>
                    <a:pt x="149030" y="15240"/>
                  </a:cubicBezTo>
                  <a:cubicBezTo>
                    <a:pt x="154822" y="18136"/>
                    <a:pt x="163501" y="14471"/>
                    <a:pt x="168080" y="19050"/>
                  </a:cubicBezTo>
                  <a:cubicBezTo>
                    <a:pt x="173760" y="24730"/>
                    <a:pt x="175700" y="41910"/>
                    <a:pt x="175700" y="41910"/>
                  </a:cubicBezTo>
                  <a:cubicBezTo>
                    <a:pt x="166565" y="69315"/>
                    <a:pt x="177648" y="35092"/>
                    <a:pt x="168080" y="68580"/>
                  </a:cubicBezTo>
                  <a:cubicBezTo>
                    <a:pt x="166977" y="72442"/>
                    <a:pt x="166498" y="76668"/>
                    <a:pt x="164270" y="80010"/>
                  </a:cubicBezTo>
                  <a:cubicBezTo>
                    <a:pt x="161281" y="84493"/>
                    <a:pt x="156650" y="87630"/>
                    <a:pt x="152840" y="91440"/>
                  </a:cubicBezTo>
                  <a:cubicBezTo>
                    <a:pt x="151570" y="95250"/>
                    <a:pt x="149901" y="98950"/>
                    <a:pt x="149030" y="102870"/>
                  </a:cubicBezTo>
                  <a:cubicBezTo>
                    <a:pt x="147354" y="110411"/>
                    <a:pt x="148357" y="118671"/>
                    <a:pt x="145220" y="125730"/>
                  </a:cubicBezTo>
                  <a:cubicBezTo>
                    <a:pt x="143032" y="130654"/>
                    <a:pt x="137600" y="133350"/>
                    <a:pt x="133790" y="137160"/>
                  </a:cubicBezTo>
                  <a:cubicBezTo>
                    <a:pt x="121879" y="184803"/>
                    <a:pt x="133790" y="125569"/>
                    <a:pt x="133790" y="163830"/>
                  </a:cubicBezTo>
                  <a:cubicBezTo>
                    <a:pt x="133790" y="168614"/>
                    <a:pt x="127967" y="185110"/>
                    <a:pt x="126170" y="190500"/>
                  </a:cubicBezTo>
                  <a:cubicBezTo>
                    <a:pt x="123772" y="207287"/>
                    <a:pt x="126291" y="217049"/>
                    <a:pt x="114740" y="228600"/>
                  </a:cubicBezTo>
                  <a:cubicBezTo>
                    <a:pt x="111502" y="231838"/>
                    <a:pt x="107120" y="233680"/>
                    <a:pt x="103310" y="236220"/>
                  </a:cubicBezTo>
                  <a:cubicBezTo>
                    <a:pt x="95893" y="258472"/>
                    <a:pt x="105304" y="238036"/>
                    <a:pt x="88070" y="255270"/>
                  </a:cubicBezTo>
                  <a:cubicBezTo>
                    <a:pt x="72513" y="270827"/>
                    <a:pt x="89975" y="271145"/>
                    <a:pt x="57590" y="281940"/>
                  </a:cubicBezTo>
                  <a:lnTo>
                    <a:pt x="34730" y="289560"/>
                  </a:lnTo>
                  <a:cubicBezTo>
                    <a:pt x="32190" y="293370"/>
                    <a:pt x="28558" y="296646"/>
                    <a:pt x="27110" y="300990"/>
                  </a:cubicBezTo>
                  <a:cubicBezTo>
                    <a:pt x="24667" y="308319"/>
                    <a:pt x="26437" y="316791"/>
                    <a:pt x="23300" y="323850"/>
                  </a:cubicBezTo>
                  <a:cubicBezTo>
                    <a:pt x="21112" y="328774"/>
                    <a:pt x="15680" y="331470"/>
                    <a:pt x="11870" y="335280"/>
                  </a:cubicBezTo>
                  <a:cubicBezTo>
                    <a:pt x="10600" y="339090"/>
                    <a:pt x="8060" y="342694"/>
                    <a:pt x="8060" y="346710"/>
                  </a:cubicBezTo>
                  <a:cubicBezTo>
                    <a:pt x="8060" y="351494"/>
                    <a:pt x="13883" y="367990"/>
                    <a:pt x="15680" y="373380"/>
                  </a:cubicBezTo>
                  <a:cubicBezTo>
                    <a:pt x="14410" y="393700"/>
                    <a:pt x="15045" y="414229"/>
                    <a:pt x="11870" y="434340"/>
                  </a:cubicBezTo>
                  <a:cubicBezTo>
                    <a:pt x="11543" y="436414"/>
                    <a:pt x="-2652" y="452562"/>
                    <a:pt x="440" y="457200"/>
                  </a:cubicBezTo>
                  <a:cubicBezTo>
                    <a:pt x="2553" y="460370"/>
                    <a:pt x="8060" y="457200"/>
                    <a:pt x="11870" y="45720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3" name="Forma livre 427"/>
            <p:cNvSpPr/>
            <p:nvPr/>
          </p:nvSpPr>
          <p:spPr>
            <a:xfrm>
              <a:off x="4983021" y="1569720"/>
              <a:ext cx="57609" cy="160020"/>
            </a:xfrm>
            <a:custGeom>
              <a:avLst/>
              <a:gdLst>
                <a:gd name="connsiteX0" fmla="*/ 57609 w 57609"/>
                <a:gd name="connsiteY0" fmla="*/ 0 h 160020"/>
                <a:gd name="connsiteX1" fmla="*/ 30939 w 57609"/>
                <a:gd name="connsiteY1" fmla="*/ 26670 h 160020"/>
                <a:gd name="connsiteX2" fmla="*/ 27129 w 57609"/>
                <a:gd name="connsiteY2" fmla="*/ 38100 h 160020"/>
                <a:gd name="connsiteX3" fmla="*/ 30939 w 57609"/>
                <a:gd name="connsiteY3" fmla="*/ 53340 h 160020"/>
                <a:gd name="connsiteX4" fmla="*/ 42369 w 57609"/>
                <a:gd name="connsiteY4" fmla="*/ 60960 h 160020"/>
                <a:gd name="connsiteX5" fmla="*/ 38559 w 57609"/>
                <a:gd name="connsiteY5" fmla="*/ 83820 h 160020"/>
                <a:gd name="connsiteX6" fmla="*/ 11889 w 57609"/>
                <a:gd name="connsiteY6" fmla="*/ 114300 h 160020"/>
                <a:gd name="connsiteX7" fmla="*/ 4269 w 57609"/>
                <a:gd name="connsiteY7" fmla="*/ 125730 h 160020"/>
                <a:gd name="connsiteX8" fmla="*/ 459 w 57609"/>
                <a:gd name="connsiteY8" fmla="*/ 160020 h 160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609" h="160020">
                  <a:moveTo>
                    <a:pt x="57609" y="0"/>
                  </a:moveTo>
                  <a:cubicBezTo>
                    <a:pt x="43960" y="10919"/>
                    <a:pt x="38015" y="12517"/>
                    <a:pt x="30939" y="26670"/>
                  </a:cubicBezTo>
                  <a:cubicBezTo>
                    <a:pt x="29143" y="30262"/>
                    <a:pt x="28399" y="34290"/>
                    <a:pt x="27129" y="38100"/>
                  </a:cubicBezTo>
                  <a:cubicBezTo>
                    <a:pt x="28399" y="43180"/>
                    <a:pt x="28034" y="48983"/>
                    <a:pt x="30939" y="53340"/>
                  </a:cubicBezTo>
                  <a:cubicBezTo>
                    <a:pt x="33479" y="57150"/>
                    <a:pt x="41258" y="56518"/>
                    <a:pt x="42369" y="60960"/>
                  </a:cubicBezTo>
                  <a:cubicBezTo>
                    <a:pt x="44243" y="68454"/>
                    <a:pt x="41530" y="76689"/>
                    <a:pt x="38559" y="83820"/>
                  </a:cubicBezTo>
                  <a:cubicBezTo>
                    <a:pt x="30011" y="104335"/>
                    <a:pt x="26323" y="104677"/>
                    <a:pt x="11889" y="114300"/>
                  </a:cubicBezTo>
                  <a:cubicBezTo>
                    <a:pt x="9349" y="118110"/>
                    <a:pt x="6317" y="121634"/>
                    <a:pt x="4269" y="125730"/>
                  </a:cubicBezTo>
                  <a:cubicBezTo>
                    <a:pt x="-1951" y="138169"/>
                    <a:pt x="459" y="144945"/>
                    <a:pt x="459" y="16002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4" name="Forma livre 428"/>
            <p:cNvSpPr/>
            <p:nvPr/>
          </p:nvSpPr>
          <p:spPr>
            <a:xfrm>
              <a:off x="5928360" y="1754972"/>
              <a:ext cx="106694" cy="142408"/>
            </a:xfrm>
            <a:custGeom>
              <a:avLst/>
              <a:gdLst>
                <a:gd name="connsiteX0" fmla="*/ 0 w 106694"/>
                <a:gd name="connsiteY0" fmla="*/ 1438 h 142408"/>
                <a:gd name="connsiteX1" fmla="*/ 45720 w 106694"/>
                <a:gd name="connsiteY1" fmla="*/ 5248 h 142408"/>
                <a:gd name="connsiteX2" fmla="*/ 49530 w 106694"/>
                <a:gd name="connsiteY2" fmla="*/ 43348 h 142408"/>
                <a:gd name="connsiteX3" fmla="*/ 57150 w 106694"/>
                <a:gd name="connsiteY3" fmla="*/ 66208 h 142408"/>
                <a:gd name="connsiteX4" fmla="*/ 60960 w 106694"/>
                <a:gd name="connsiteY4" fmla="*/ 92878 h 142408"/>
                <a:gd name="connsiteX5" fmla="*/ 64770 w 106694"/>
                <a:gd name="connsiteY5" fmla="*/ 104308 h 142408"/>
                <a:gd name="connsiteX6" fmla="*/ 76200 w 106694"/>
                <a:gd name="connsiteY6" fmla="*/ 111928 h 142408"/>
                <a:gd name="connsiteX7" fmla="*/ 87630 w 106694"/>
                <a:gd name="connsiteY7" fmla="*/ 115738 h 142408"/>
                <a:gd name="connsiteX8" fmla="*/ 95250 w 106694"/>
                <a:gd name="connsiteY8" fmla="*/ 127168 h 142408"/>
                <a:gd name="connsiteX9" fmla="*/ 106680 w 106694"/>
                <a:gd name="connsiteY9" fmla="*/ 142408 h 142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6694" h="142408">
                  <a:moveTo>
                    <a:pt x="0" y="1438"/>
                  </a:moveTo>
                  <a:cubicBezTo>
                    <a:pt x="15240" y="2708"/>
                    <a:pt x="34046" y="-4630"/>
                    <a:pt x="45720" y="5248"/>
                  </a:cubicBezTo>
                  <a:cubicBezTo>
                    <a:pt x="55463" y="13492"/>
                    <a:pt x="47178" y="30803"/>
                    <a:pt x="49530" y="43348"/>
                  </a:cubicBezTo>
                  <a:cubicBezTo>
                    <a:pt x="51010" y="51243"/>
                    <a:pt x="57150" y="66208"/>
                    <a:pt x="57150" y="66208"/>
                  </a:cubicBezTo>
                  <a:cubicBezTo>
                    <a:pt x="58420" y="75098"/>
                    <a:pt x="59199" y="84072"/>
                    <a:pt x="60960" y="92878"/>
                  </a:cubicBezTo>
                  <a:cubicBezTo>
                    <a:pt x="61748" y="96816"/>
                    <a:pt x="62261" y="101172"/>
                    <a:pt x="64770" y="104308"/>
                  </a:cubicBezTo>
                  <a:cubicBezTo>
                    <a:pt x="67631" y="107884"/>
                    <a:pt x="72104" y="109880"/>
                    <a:pt x="76200" y="111928"/>
                  </a:cubicBezTo>
                  <a:cubicBezTo>
                    <a:pt x="79792" y="113724"/>
                    <a:pt x="83820" y="114468"/>
                    <a:pt x="87630" y="115738"/>
                  </a:cubicBezTo>
                  <a:cubicBezTo>
                    <a:pt x="90170" y="119548"/>
                    <a:pt x="92319" y="123650"/>
                    <a:pt x="95250" y="127168"/>
                  </a:cubicBezTo>
                  <a:cubicBezTo>
                    <a:pt x="107578" y="141962"/>
                    <a:pt x="106680" y="132629"/>
                    <a:pt x="106680" y="142408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5" name="Forma livre 429"/>
            <p:cNvSpPr/>
            <p:nvPr/>
          </p:nvSpPr>
          <p:spPr>
            <a:xfrm>
              <a:off x="5924550" y="2087880"/>
              <a:ext cx="655320" cy="1093470"/>
            </a:xfrm>
            <a:custGeom>
              <a:avLst/>
              <a:gdLst>
                <a:gd name="connsiteX0" fmla="*/ 594360 w 655320"/>
                <a:gd name="connsiteY0" fmla="*/ 0 h 1093470"/>
                <a:gd name="connsiteX1" fmla="*/ 590550 w 655320"/>
                <a:gd name="connsiteY1" fmla="*/ 26670 h 1093470"/>
                <a:gd name="connsiteX2" fmla="*/ 590550 w 655320"/>
                <a:gd name="connsiteY2" fmla="*/ 49530 h 1093470"/>
                <a:gd name="connsiteX3" fmla="*/ 601980 w 655320"/>
                <a:gd name="connsiteY3" fmla="*/ 57150 h 1093470"/>
                <a:gd name="connsiteX4" fmla="*/ 605790 w 655320"/>
                <a:gd name="connsiteY4" fmla="*/ 72390 h 1093470"/>
                <a:gd name="connsiteX5" fmla="*/ 609600 w 655320"/>
                <a:gd name="connsiteY5" fmla="*/ 106680 h 1093470"/>
                <a:gd name="connsiteX6" fmla="*/ 613410 w 655320"/>
                <a:gd name="connsiteY6" fmla="*/ 118110 h 1093470"/>
                <a:gd name="connsiteX7" fmla="*/ 624840 w 655320"/>
                <a:gd name="connsiteY7" fmla="*/ 129540 h 1093470"/>
                <a:gd name="connsiteX8" fmla="*/ 632460 w 655320"/>
                <a:gd name="connsiteY8" fmla="*/ 182880 h 1093470"/>
                <a:gd name="connsiteX9" fmla="*/ 636270 w 655320"/>
                <a:gd name="connsiteY9" fmla="*/ 194310 h 1093470"/>
                <a:gd name="connsiteX10" fmla="*/ 655320 w 655320"/>
                <a:gd name="connsiteY10" fmla="*/ 228600 h 1093470"/>
                <a:gd name="connsiteX11" fmla="*/ 651510 w 655320"/>
                <a:gd name="connsiteY11" fmla="*/ 262890 h 1093470"/>
                <a:gd name="connsiteX12" fmla="*/ 643890 w 655320"/>
                <a:gd name="connsiteY12" fmla="*/ 285750 h 1093470"/>
                <a:gd name="connsiteX13" fmla="*/ 647700 w 655320"/>
                <a:gd name="connsiteY13" fmla="*/ 320040 h 1093470"/>
                <a:gd name="connsiteX14" fmla="*/ 651510 w 655320"/>
                <a:gd name="connsiteY14" fmla="*/ 331470 h 1093470"/>
                <a:gd name="connsiteX15" fmla="*/ 640080 w 655320"/>
                <a:gd name="connsiteY15" fmla="*/ 392430 h 1093470"/>
                <a:gd name="connsiteX16" fmla="*/ 624840 w 655320"/>
                <a:gd name="connsiteY16" fmla="*/ 415290 h 1093470"/>
                <a:gd name="connsiteX17" fmla="*/ 613410 w 655320"/>
                <a:gd name="connsiteY17" fmla="*/ 430530 h 1093470"/>
                <a:gd name="connsiteX18" fmla="*/ 579120 w 655320"/>
                <a:gd name="connsiteY18" fmla="*/ 449580 h 1093470"/>
                <a:gd name="connsiteX19" fmla="*/ 567690 w 655320"/>
                <a:gd name="connsiteY19" fmla="*/ 464820 h 1093470"/>
                <a:gd name="connsiteX20" fmla="*/ 560070 w 655320"/>
                <a:gd name="connsiteY20" fmla="*/ 476250 h 1093470"/>
                <a:gd name="connsiteX21" fmla="*/ 544830 w 655320"/>
                <a:gd name="connsiteY21" fmla="*/ 480060 h 1093470"/>
                <a:gd name="connsiteX22" fmla="*/ 529590 w 655320"/>
                <a:gd name="connsiteY22" fmla="*/ 518160 h 1093470"/>
                <a:gd name="connsiteX23" fmla="*/ 521970 w 655320"/>
                <a:gd name="connsiteY23" fmla="*/ 541020 h 1093470"/>
                <a:gd name="connsiteX24" fmla="*/ 514350 w 655320"/>
                <a:gd name="connsiteY24" fmla="*/ 563880 h 1093470"/>
                <a:gd name="connsiteX25" fmla="*/ 510540 w 655320"/>
                <a:gd name="connsiteY25" fmla="*/ 575310 h 1093470"/>
                <a:gd name="connsiteX26" fmla="*/ 506730 w 655320"/>
                <a:gd name="connsiteY26" fmla="*/ 586740 h 1093470"/>
                <a:gd name="connsiteX27" fmla="*/ 487680 w 655320"/>
                <a:gd name="connsiteY27" fmla="*/ 613410 h 1093470"/>
                <a:gd name="connsiteX28" fmla="*/ 480060 w 655320"/>
                <a:gd name="connsiteY28" fmla="*/ 624840 h 1093470"/>
                <a:gd name="connsiteX29" fmla="*/ 476250 w 655320"/>
                <a:gd name="connsiteY29" fmla="*/ 636270 h 1093470"/>
                <a:gd name="connsiteX30" fmla="*/ 461010 w 655320"/>
                <a:gd name="connsiteY30" fmla="*/ 659130 h 1093470"/>
                <a:gd name="connsiteX31" fmla="*/ 453390 w 655320"/>
                <a:gd name="connsiteY31" fmla="*/ 670560 h 1093470"/>
                <a:gd name="connsiteX32" fmla="*/ 430530 w 655320"/>
                <a:gd name="connsiteY32" fmla="*/ 681990 h 1093470"/>
                <a:gd name="connsiteX33" fmla="*/ 384810 w 655320"/>
                <a:gd name="connsiteY33" fmla="*/ 689610 h 1093470"/>
                <a:gd name="connsiteX34" fmla="*/ 373380 w 655320"/>
                <a:gd name="connsiteY34" fmla="*/ 693420 h 1093470"/>
                <a:gd name="connsiteX35" fmla="*/ 350520 w 655320"/>
                <a:gd name="connsiteY35" fmla="*/ 712470 h 1093470"/>
                <a:gd name="connsiteX36" fmla="*/ 339090 w 655320"/>
                <a:gd name="connsiteY36" fmla="*/ 720090 h 1093470"/>
                <a:gd name="connsiteX37" fmla="*/ 331470 w 655320"/>
                <a:gd name="connsiteY37" fmla="*/ 742950 h 1093470"/>
                <a:gd name="connsiteX38" fmla="*/ 323850 w 655320"/>
                <a:gd name="connsiteY38" fmla="*/ 769620 h 1093470"/>
                <a:gd name="connsiteX39" fmla="*/ 316230 w 655320"/>
                <a:gd name="connsiteY39" fmla="*/ 781050 h 1093470"/>
                <a:gd name="connsiteX40" fmla="*/ 308610 w 655320"/>
                <a:gd name="connsiteY40" fmla="*/ 811530 h 1093470"/>
                <a:gd name="connsiteX41" fmla="*/ 300990 w 655320"/>
                <a:gd name="connsiteY41" fmla="*/ 822960 h 1093470"/>
                <a:gd name="connsiteX42" fmla="*/ 278130 w 655320"/>
                <a:gd name="connsiteY42" fmla="*/ 838200 h 1093470"/>
                <a:gd name="connsiteX43" fmla="*/ 270510 w 655320"/>
                <a:gd name="connsiteY43" fmla="*/ 861060 h 1093470"/>
                <a:gd name="connsiteX44" fmla="*/ 259080 w 655320"/>
                <a:gd name="connsiteY44" fmla="*/ 868680 h 1093470"/>
                <a:gd name="connsiteX45" fmla="*/ 236220 w 655320"/>
                <a:gd name="connsiteY45" fmla="*/ 880110 h 1093470"/>
                <a:gd name="connsiteX46" fmla="*/ 220980 w 655320"/>
                <a:gd name="connsiteY46" fmla="*/ 914400 h 1093470"/>
                <a:gd name="connsiteX47" fmla="*/ 209550 w 655320"/>
                <a:gd name="connsiteY47" fmla="*/ 922020 h 1093470"/>
                <a:gd name="connsiteX48" fmla="*/ 201930 w 655320"/>
                <a:gd name="connsiteY48" fmla="*/ 933450 h 1093470"/>
                <a:gd name="connsiteX49" fmla="*/ 190500 w 655320"/>
                <a:gd name="connsiteY49" fmla="*/ 937260 h 1093470"/>
                <a:gd name="connsiteX50" fmla="*/ 186690 w 655320"/>
                <a:gd name="connsiteY50" fmla="*/ 948690 h 1093470"/>
                <a:gd name="connsiteX51" fmla="*/ 175260 w 655320"/>
                <a:gd name="connsiteY51" fmla="*/ 956310 h 1093470"/>
                <a:gd name="connsiteX52" fmla="*/ 171450 w 655320"/>
                <a:gd name="connsiteY52" fmla="*/ 967740 h 1093470"/>
                <a:gd name="connsiteX53" fmla="*/ 144780 w 655320"/>
                <a:gd name="connsiteY53" fmla="*/ 1002030 h 1093470"/>
                <a:gd name="connsiteX54" fmla="*/ 121920 w 655320"/>
                <a:gd name="connsiteY54" fmla="*/ 1017270 h 1093470"/>
                <a:gd name="connsiteX55" fmla="*/ 110490 w 655320"/>
                <a:gd name="connsiteY55" fmla="*/ 1024890 h 1093470"/>
                <a:gd name="connsiteX56" fmla="*/ 95250 w 655320"/>
                <a:gd name="connsiteY56" fmla="*/ 1028700 h 1093470"/>
                <a:gd name="connsiteX57" fmla="*/ 68580 w 655320"/>
                <a:gd name="connsiteY57" fmla="*/ 1055370 h 1093470"/>
                <a:gd name="connsiteX58" fmla="*/ 45720 w 655320"/>
                <a:gd name="connsiteY58" fmla="*/ 1066800 h 1093470"/>
                <a:gd name="connsiteX59" fmla="*/ 34290 w 655320"/>
                <a:gd name="connsiteY59" fmla="*/ 1070610 h 1093470"/>
                <a:gd name="connsiteX60" fmla="*/ 11430 w 655320"/>
                <a:gd name="connsiteY60" fmla="*/ 1082040 h 1093470"/>
                <a:gd name="connsiteX61" fmla="*/ 0 w 655320"/>
                <a:gd name="connsiteY61" fmla="*/ 1093470 h 109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655320" h="1093470">
                  <a:moveTo>
                    <a:pt x="594360" y="0"/>
                  </a:moveTo>
                  <a:cubicBezTo>
                    <a:pt x="593090" y="8890"/>
                    <a:pt x="592311" y="17864"/>
                    <a:pt x="590550" y="26670"/>
                  </a:cubicBezTo>
                  <a:cubicBezTo>
                    <a:pt x="588518" y="36830"/>
                    <a:pt x="582422" y="39370"/>
                    <a:pt x="590550" y="49530"/>
                  </a:cubicBezTo>
                  <a:cubicBezTo>
                    <a:pt x="593411" y="53106"/>
                    <a:pt x="598170" y="54610"/>
                    <a:pt x="601980" y="57150"/>
                  </a:cubicBezTo>
                  <a:cubicBezTo>
                    <a:pt x="603250" y="62230"/>
                    <a:pt x="604994" y="67215"/>
                    <a:pt x="605790" y="72390"/>
                  </a:cubicBezTo>
                  <a:cubicBezTo>
                    <a:pt x="607539" y="83757"/>
                    <a:pt x="607709" y="95336"/>
                    <a:pt x="609600" y="106680"/>
                  </a:cubicBezTo>
                  <a:cubicBezTo>
                    <a:pt x="610260" y="110641"/>
                    <a:pt x="611182" y="114768"/>
                    <a:pt x="613410" y="118110"/>
                  </a:cubicBezTo>
                  <a:cubicBezTo>
                    <a:pt x="616399" y="122593"/>
                    <a:pt x="621030" y="125730"/>
                    <a:pt x="624840" y="129540"/>
                  </a:cubicBezTo>
                  <a:cubicBezTo>
                    <a:pt x="627876" y="159903"/>
                    <a:pt x="626086" y="160570"/>
                    <a:pt x="632460" y="182880"/>
                  </a:cubicBezTo>
                  <a:cubicBezTo>
                    <a:pt x="633563" y="186742"/>
                    <a:pt x="634320" y="190799"/>
                    <a:pt x="636270" y="194310"/>
                  </a:cubicBezTo>
                  <a:cubicBezTo>
                    <a:pt x="658105" y="233612"/>
                    <a:pt x="646699" y="202737"/>
                    <a:pt x="655320" y="228600"/>
                  </a:cubicBezTo>
                  <a:cubicBezTo>
                    <a:pt x="654050" y="240030"/>
                    <a:pt x="653765" y="251613"/>
                    <a:pt x="651510" y="262890"/>
                  </a:cubicBezTo>
                  <a:cubicBezTo>
                    <a:pt x="649935" y="270766"/>
                    <a:pt x="643890" y="285750"/>
                    <a:pt x="643890" y="285750"/>
                  </a:cubicBezTo>
                  <a:cubicBezTo>
                    <a:pt x="645160" y="297180"/>
                    <a:pt x="645809" y="308696"/>
                    <a:pt x="647700" y="320040"/>
                  </a:cubicBezTo>
                  <a:cubicBezTo>
                    <a:pt x="648360" y="324001"/>
                    <a:pt x="651510" y="327454"/>
                    <a:pt x="651510" y="331470"/>
                  </a:cubicBezTo>
                  <a:cubicBezTo>
                    <a:pt x="651510" y="342866"/>
                    <a:pt x="648835" y="379297"/>
                    <a:pt x="640080" y="392430"/>
                  </a:cubicBezTo>
                  <a:cubicBezTo>
                    <a:pt x="635000" y="400050"/>
                    <a:pt x="630335" y="407964"/>
                    <a:pt x="624840" y="415290"/>
                  </a:cubicBezTo>
                  <a:cubicBezTo>
                    <a:pt x="621030" y="420370"/>
                    <a:pt x="618288" y="426465"/>
                    <a:pt x="613410" y="430530"/>
                  </a:cubicBezTo>
                  <a:cubicBezTo>
                    <a:pt x="588494" y="451293"/>
                    <a:pt x="616263" y="400057"/>
                    <a:pt x="579120" y="449580"/>
                  </a:cubicBezTo>
                  <a:cubicBezTo>
                    <a:pt x="575310" y="454660"/>
                    <a:pt x="571381" y="459653"/>
                    <a:pt x="567690" y="464820"/>
                  </a:cubicBezTo>
                  <a:cubicBezTo>
                    <a:pt x="565028" y="468546"/>
                    <a:pt x="563880" y="473710"/>
                    <a:pt x="560070" y="476250"/>
                  </a:cubicBezTo>
                  <a:cubicBezTo>
                    <a:pt x="555713" y="479155"/>
                    <a:pt x="549910" y="478790"/>
                    <a:pt x="544830" y="480060"/>
                  </a:cubicBezTo>
                  <a:cubicBezTo>
                    <a:pt x="524855" y="500035"/>
                    <a:pt x="537820" y="482498"/>
                    <a:pt x="529590" y="518160"/>
                  </a:cubicBezTo>
                  <a:cubicBezTo>
                    <a:pt x="527784" y="525986"/>
                    <a:pt x="524510" y="533400"/>
                    <a:pt x="521970" y="541020"/>
                  </a:cubicBezTo>
                  <a:lnTo>
                    <a:pt x="514350" y="563880"/>
                  </a:lnTo>
                  <a:lnTo>
                    <a:pt x="510540" y="575310"/>
                  </a:lnTo>
                  <a:cubicBezTo>
                    <a:pt x="509270" y="579120"/>
                    <a:pt x="508958" y="583398"/>
                    <a:pt x="506730" y="586740"/>
                  </a:cubicBezTo>
                  <a:cubicBezTo>
                    <a:pt x="488772" y="613677"/>
                    <a:pt x="511309" y="580329"/>
                    <a:pt x="487680" y="613410"/>
                  </a:cubicBezTo>
                  <a:cubicBezTo>
                    <a:pt x="485018" y="617136"/>
                    <a:pt x="482108" y="620744"/>
                    <a:pt x="480060" y="624840"/>
                  </a:cubicBezTo>
                  <a:cubicBezTo>
                    <a:pt x="478264" y="628432"/>
                    <a:pt x="478200" y="632759"/>
                    <a:pt x="476250" y="636270"/>
                  </a:cubicBezTo>
                  <a:cubicBezTo>
                    <a:pt x="471802" y="644276"/>
                    <a:pt x="466090" y="651510"/>
                    <a:pt x="461010" y="659130"/>
                  </a:cubicBezTo>
                  <a:cubicBezTo>
                    <a:pt x="458470" y="662940"/>
                    <a:pt x="457200" y="668020"/>
                    <a:pt x="453390" y="670560"/>
                  </a:cubicBezTo>
                  <a:cubicBezTo>
                    <a:pt x="443757" y="676982"/>
                    <a:pt x="441797" y="679737"/>
                    <a:pt x="430530" y="681990"/>
                  </a:cubicBezTo>
                  <a:cubicBezTo>
                    <a:pt x="415380" y="685020"/>
                    <a:pt x="399467" y="684724"/>
                    <a:pt x="384810" y="689610"/>
                  </a:cubicBezTo>
                  <a:cubicBezTo>
                    <a:pt x="381000" y="690880"/>
                    <a:pt x="376972" y="691624"/>
                    <a:pt x="373380" y="693420"/>
                  </a:cubicBezTo>
                  <a:cubicBezTo>
                    <a:pt x="359191" y="700515"/>
                    <a:pt x="363159" y="701937"/>
                    <a:pt x="350520" y="712470"/>
                  </a:cubicBezTo>
                  <a:cubicBezTo>
                    <a:pt x="347002" y="715401"/>
                    <a:pt x="342900" y="717550"/>
                    <a:pt x="339090" y="720090"/>
                  </a:cubicBezTo>
                  <a:cubicBezTo>
                    <a:pt x="336550" y="727710"/>
                    <a:pt x="333418" y="735158"/>
                    <a:pt x="331470" y="742950"/>
                  </a:cubicBezTo>
                  <a:cubicBezTo>
                    <a:pt x="330249" y="747833"/>
                    <a:pt x="326583" y="764154"/>
                    <a:pt x="323850" y="769620"/>
                  </a:cubicBezTo>
                  <a:cubicBezTo>
                    <a:pt x="321802" y="773716"/>
                    <a:pt x="318278" y="776954"/>
                    <a:pt x="316230" y="781050"/>
                  </a:cubicBezTo>
                  <a:cubicBezTo>
                    <a:pt x="309179" y="795151"/>
                    <a:pt x="315131" y="794140"/>
                    <a:pt x="308610" y="811530"/>
                  </a:cubicBezTo>
                  <a:cubicBezTo>
                    <a:pt x="307002" y="815817"/>
                    <a:pt x="304436" y="819945"/>
                    <a:pt x="300990" y="822960"/>
                  </a:cubicBezTo>
                  <a:cubicBezTo>
                    <a:pt x="294098" y="828991"/>
                    <a:pt x="278130" y="838200"/>
                    <a:pt x="278130" y="838200"/>
                  </a:cubicBezTo>
                  <a:cubicBezTo>
                    <a:pt x="275590" y="845820"/>
                    <a:pt x="277193" y="856605"/>
                    <a:pt x="270510" y="861060"/>
                  </a:cubicBezTo>
                  <a:cubicBezTo>
                    <a:pt x="266700" y="863600"/>
                    <a:pt x="263176" y="866632"/>
                    <a:pt x="259080" y="868680"/>
                  </a:cubicBezTo>
                  <a:cubicBezTo>
                    <a:pt x="227532" y="884454"/>
                    <a:pt x="268977" y="858272"/>
                    <a:pt x="236220" y="880110"/>
                  </a:cubicBezTo>
                  <a:cubicBezTo>
                    <a:pt x="232447" y="891428"/>
                    <a:pt x="230037" y="905343"/>
                    <a:pt x="220980" y="914400"/>
                  </a:cubicBezTo>
                  <a:cubicBezTo>
                    <a:pt x="217742" y="917638"/>
                    <a:pt x="213360" y="919480"/>
                    <a:pt x="209550" y="922020"/>
                  </a:cubicBezTo>
                  <a:cubicBezTo>
                    <a:pt x="207010" y="925830"/>
                    <a:pt x="205506" y="930589"/>
                    <a:pt x="201930" y="933450"/>
                  </a:cubicBezTo>
                  <a:cubicBezTo>
                    <a:pt x="198794" y="935959"/>
                    <a:pt x="193340" y="934420"/>
                    <a:pt x="190500" y="937260"/>
                  </a:cubicBezTo>
                  <a:cubicBezTo>
                    <a:pt x="187660" y="940100"/>
                    <a:pt x="189199" y="945554"/>
                    <a:pt x="186690" y="948690"/>
                  </a:cubicBezTo>
                  <a:cubicBezTo>
                    <a:pt x="183829" y="952266"/>
                    <a:pt x="179070" y="953770"/>
                    <a:pt x="175260" y="956310"/>
                  </a:cubicBezTo>
                  <a:cubicBezTo>
                    <a:pt x="173990" y="960120"/>
                    <a:pt x="173400" y="964229"/>
                    <a:pt x="171450" y="967740"/>
                  </a:cubicBezTo>
                  <a:cubicBezTo>
                    <a:pt x="165187" y="979013"/>
                    <a:pt x="155646" y="993579"/>
                    <a:pt x="144780" y="1002030"/>
                  </a:cubicBezTo>
                  <a:cubicBezTo>
                    <a:pt x="137551" y="1007653"/>
                    <a:pt x="129540" y="1012190"/>
                    <a:pt x="121920" y="1017270"/>
                  </a:cubicBezTo>
                  <a:cubicBezTo>
                    <a:pt x="118110" y="1019810"/>
                    <a:pt x="114932" y="1023779"/>
                    <a:pt x="110490" y="1024890"/>
                  </a:cubicBezTo>
                  <a:lnTo>
                    <a:pt x="95250" y="1028700"/>
                  </a:lnTo>
                  <a:cubicBezTo>
                    <a:pt x="86360" y="1037590"/>
                    <a:pt x="80507" y="1051394"/>
                    <a:pt x="68580" y="1055370"/>
                  </a:cubicBezTo>
                  <a:cubicBezTo>
                    <a:pt x="39850" y="1064947"/>
                    <a:pt x="75263" y="1052028"/>
                    <a:pt x="45720" y="1066800"/>
                  </a:cubicBezTo>
                  <a:cubicBezTo>
                    <a:pt x="42128" y="1068596"/>
                    <a:pt x="37882" y="1068814"/>
                    <a:pt x="34290" y="1070610"/>
                  </a:cubicBezTo>
                  <a:cubicBezTo>
                    <a:pt x="4747" y="1085382"/>
                    <a:pt x="40160" y="1072463"/>
                    <a:pt x="11430" y="1082040"/>
                  </a:cubicBezTo>
                  <a:lnTo>
                    <a:pt x="0" y="1093470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6" name="Forma livre 430"/>
            <p:cNvSpPr/>
            <p:nvPr/>
          </p:nvSpPr>
          <p:spPr>
            <a:xfrm>
              <a:off x="5859780" y="2564130"/>
              <a:ext cx="72390" cy="579120"/>
            </a:xfrm>
            <a:custGeom>
              <a:avLst/>
              <a:gdLst>
                <a:gd name="connsiteX0" fmla="*/ 7986 w 80376"/>
                <a:gd name="connsiteY0" fmla="*/ 0 h 579120"/>
                <a:gd name="connsiteX1" fmla="*/ 4176 w 80376"/>
                <a:gd name="connsiteY1" fmla="*/ 41910 h 579120"/>
                <a:gd name="connsiteX2" fmla="*/ 15606 w 80376"/>
                <a:gd name="connsiteY2" fmla="*/ 49530 h 579120"/>
                <a:gd name="connsiteX3" fmla="*/ 23226 w 80376"/>
                <a:gd name="connsiteY3" fmla="*/ 72390 h 579120"/>
                <a:gd name="connsiteX4" fmla="*/ 27036 w 80376"/>
                <a:gd name="connsiteY4" fmla="*/ 83820 h 579120"/>
                <a:gd name="connsiteX5" fmla="*/ 23226 w 80376"/>
                <a:gd name="connsiteY5" fmla="*/ 144780 h 579120"/>
                <a:gd name="connsiteX6" fmla="*/ 19416 w 80376"/>
                <a:gd name="connsiteY6" fmla="*/ 160020 h 579120"/>
                <a:gd name="connsiteX7" fmla="*/ 11796 w 80376"/>
                <a:gd name="connsiteY7" fmla="*/ 182880 h 579120"/>
                <a:gd name="connsiteX8" fmla="*/ 19416 w 80376"/>
                <a:gd name="connsiteY8" fmla="*/ 262890 h 579120"/>
                <a:gd name="connsiteX9" fmla="*/ 27036 w 80376"/>
                <a:gd name="connsiteY9" fmla="*/ 274320 h 579120"/>
                <a:gd name="connsiteX10" fmla="*/ 46086 w 80376"/>
                <a:gd name="connsiteY10" fmla="*/ 316230 h 579120"/>
                <a:gd name="connsiteX11" fmla="*/ 61326 w 80376"/>
                <a:gd name="connsiteY11" fmla="*/ 335280 h 579120"/>
                <a:gd name="connsiteX12" fmla="*/ 72756 w 80376"/>
                <a:gd name="connsiteY12" fmla="*/ 358140 h 579120"/>
                <a:gd name="connsiteX13" fmla="*/ 80376 w 80376"/>
                <a:gd name="connsiteY13" fmla="*/ 369570 h 579120"/>
                <a:gd name="connsiteX14" fmla="*/ 72756 w 80376"/>
                <a:gd name="connsiteY14" fmla="*/ 400050 h 579120"/>
                <a:gd name="connsiteX15" fmla="*/ 61326 w 80376"/>
                <a:gd name="connsiteY15" fmla="*/ 407670 h 579120"/>
                <a:gd name="connsiteX16" fmla="*/ 42276 w 80376"/>
                <a:gd name="connsiteY16" fmla="*/ 430530 h 579120"/>
                <a:gd name="connsiteX17" fmla="*/ 46086 w 80376"/>
                <a:gd name="connsiteY17" fmla="*/ 453390 h 579120"/>
                <a:gd name="connsiteX18" fmla="*/ 49896 w 80376"/>
                <a:gd name="connsiteY18" fmla="*/ 464820 h 579120"/>
                <a:gd name="connsiteX19" fmla="*/ 49896 w 80376"/>
                <a:gd name="connsiteY19" fmla="*/ 579120 h 579120"/>
                <a:gd name="connsiteX0" fmla="*/ 0 w 72390"/>
                <a:gd name="connsiteY0" fmla="*/ 0 h 579120"/>
                <a:gd name="connsiteX1" fmla="*/ 7620 w 72390"/>
                <a:gd name="connsiteY1" fmla="*/ 49530 h 579120"/>
                <a:gd name="connsiteX2" fmla="*/ 15240 w 72390"/>
                <a:gd name="connsiteY2" fmla="*/ 72390 h 579120"/>
                <a:gd name="connsiteX3" fmla="*/ 19050 w 72390"/>
                <a:gd name="connsiteY3" fmla="*/ 83820 h 579120"/>
                <a:gd name="connsiteX4" fmla="*/ 15240 w 72390"/>
                <a:gd name="connsiteY4" fmla="*/ 144780 h 579120"/>
                <a:gd name="connsiteX5" fmla="*/ 11430 w 72390"/>
                <a:gd name="connsiteY5" fmla="*/ 160020 h 579120"/>
                <a:gd name="connsiteX6" fmla="*/ 3810 w 72390"/>
                <a:gd name="connsiteY6" fmla="*/ 182880 h 579120"/>
                <a:gd name="connsiteX7" fmla="*/ 11430 w 72390"/>
                <a:gd name="connsiteY7" fmla="*/ 262890 h 579120"/>
                <a:gd name="connsiteX8" fmla="*/ 19050 w 72390"/>
                <a:gd name="connsiteY8" fmla="*/ 274320 h 579120"/>
                <a:gd name="connsiteX9" fmla="*/ 38100 w 72390"/>
                <a:gd name="connsiteY9" fmla="*/ 316230 h 579120"/>
                <a:gd name="connsiteX10" fmla="*/ 53340 w 72390"/>
                <a:gd name="connsiteY10" fmla="*/ 335280 h 579120"/>
                <a:gd name="connsiteX11" fmla="*/ 64770 w 72390"/>
                <a:gd name="connsiteY11" fmla="*/ 358140 h 579120"/>
                <a:gd name="connsiteX12" fmla="*/ 72390 w 72390"/>
                <a:gd name="connsiteY12" fmla="*/ 369570 h 579120"/>
                <a:gd name="connsiteX13" fmla="*/ 64770 w 72390"/>
                <a:gd name="connsiteY13" fmla="*/ 400050 h 579120"/>
                <a:gd name="connsiteX14" fmla="*/ 53340 w 72390"/>
                <a:gd name="connsiteY14" fmla="*/ 407670 h 579120"/>
                <a:gd name="connsiteX15" fmla="*/ 34290 w 72390"/>
                <a:gd name="connsiteY15" fmla="*/ 430530 h 579120"/>
                <a:gd name="connsiteX16" fmla="*/ 38100 w 72390"/>
                <a:gd name="connsiteY16" fmla="*/ 453390 h 579120"/>
                <a:gd name="connsiteX17" fmla="*/ 41910 w 72390"/>
                <a:gd name="connsiteY17" fmla="*/ 464820 h 579120"/>
                <a:gd name="connsiteX18" fmla="*/ 41910 w 72390"/>
                <a:gd name="connsiteY18" fmla="*/ 579120 h 579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72390" h="579120">
                  <a:moveTo>
                    <a:pt x="0" y="0"/>
                  </a:moveTo>
                  <a:cubicBezTo>
                    <a:pt x="1588" y="10319"/>
                    <a:pt x="5080" y="37465"/>
                    <a:pt x="7620" y="49530"/>
                  </a:cubicBezTo>
                  <a:lnTo>
                    <a:pt x="15240" y="72390"/>
                  </a:lnTo>
                  <a:lnTo>
                    <a:pt x="19050" y="83820"/>
                  </a:lnTo>
                  <a:cubicBezTo>
                    <a:pt x="17780" y="104140"/>
                    <a:pt x="17266" y="124521"/>
                    <a:pt x="15240" y="144780"/>
                  </a:cubicBezTo>
                  <a:cubicBezTo>
                    <a:pt x="14719" y="149990"/>
                    <a:pt x="12935" y="155004"/>
                    <a:pt x="11430" y="160020"/>
                  </a:cubicBezTo>
                  <a:cubicBezTo>
                    <a:pt x="9122" y="167713"/>
                    <a:pt x="3810" y="182880"/>
                    <a:pt x="3810" y="182880"/>
                  </a:cubicBezTo>
                  <a:cubicBezTo>
                    <a:pt x="3906" y="184600"/>
                    <a:pt x="1071" y="242171"/>
                    <a:pt x="11430" y="262890"/>
                  </a:cubicBezTo>
                  <a:cubicBezTo>
                    <a:pt x="13478" y="266986"/>
                    <a:pt x="16510" y="270510"/>
                    <a:pt x="19050" y="274320"/>
                  </a:cubicBezTo>
                  <a:cubicBezTo>
                    <a:pt x="27977" y="310027"/>
                    <a:pt x="19265" y="297395"/>
                    <a:pt x="38100" y="316230"/>
                  </a:cubicBezTo>
                  <a:cubicBezTo>
                    <a:pt x="45517" y="338482"/>
                    <a:pt x="36106" y="318046"/>
                    <a:pt x="53340" y="335280"/>
                  </a:cubicBezTo>
                  <a:cubicBezTo>
                    <a:pt x="64259" y="346199"/>
                    <a:pt x="58572" y="345745"/>
                    <a:pt x="64770" y="358140"/>
                  </a:cubicBezTo>
                  <a:cubicBezTo>
                    <a:pt x="66818" y="362236"/>
                    <a:pt x="69850" y="365760"/>
                    <a:pt x="72390" y="369570"/>
                  </a:cubicBezTo>
                  <a:cubicBezTo>
                    <a:pt x="72200" y="370519"/>
                    <a:pt x="67894" y="396145"/>
                    <a:pt x="64770" y="400050"/>
                  </a:cubicBezTo>
                  <a:cubicBezTo>
                    <a:pt x="61909" y="403626"/>
                    <a:pt x="56858" y="404739"/>
                    <a:pt x="53340" y="407670"/>
                  </a:cubicBezTo>
                  <a:cubicBezTo>
                    <a:pt x="42339" y="416837"/>
                    <a:pt x="41782" y="419291"/>
                    <a:pt x="34290" y="430530"/>
                  </a:cubicBezTo>
                  <a:cubicBezTo>
                    <a:pt x="35560" y="438150"/>
                    <a:pt x="36424" y="445849"/>
                    <a:pt x="38100" y="453390"/>
                  </a:cubicBezTo>
                  <a:cubicBezTo>
                    <a:pt x="38971" y="457310"/>
                    <a:pt x="41788" y="460806"/>
                    <a:pt x="41910" y="464820"/>
                  </a:cubicBezTo>
                  <a:cubicBezTo>
                    <a:pt x="43064" y="502903"/>
                    <a:pt x="41910" y="541020"/>
                    <a:pt x="41910" y="57912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7" name="Forma livre 432"/>
            <p:cNvSpPr/>
            <p:nvPr/>
          </p:nvSpPr>
          <p:spPr>
            <a:xfrm>
              <a:off x="4690110" y="3128716"/>
              <a:ext cx="58439" cy="45014"/>
            </a:xfrm>
            <a:custGeom>
              <a:avLst/>
              <a:gdLst>
                <a:gd name="connsiteX0" fmla="*/ 0 w 57150"/>
                <a:gd name="connsiteY0" fmla="*/ 41910 h 41910"/>
                <a:gd name="connsiteX1" fmla="*/ 7620 w 57150"/>
                <a:gd name="connsiteY1" fmla="*/ 22860 h 41910"/>
                <a:gd name="connsiteX2" fmla="*/ 53340 w 57150"/>
                <a:gd name="connsiteY2" fmla="*/ 0 h 41910"/>
                <a:gd name="connsiteX3" fmla="*/ 57150 w 57150"/>
                <a:gd name="connsiteY3" fmla="*/ 0 h 41910"/>
                <a:gd name="connsiteX0" fmla="*/ 0 w 58439"/>
                <a:gd name="connsiteY0" fmla="*/ 45014 h 45014"/>
                <a:gd name="connsiteX1" fmla="*/ 53340 w 58439"/>
                <a:gd name="connsiteY1" fmla="*/ 3104 h 45014"/>
                <a:gd name="connsiteX2" fmla="*/ 57150 w 58439"/>
                <a:gd name="connsiteY2" fmla="*/ 3104 h 45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439" h="45014">
                  <a:moveTo>
                    <a:pt x="0" y="45014"/>
                  </a:moveTo>
                  <a:cubicBezTo>
                    <a:pt x="11113" y="36283"/>
                    <a:pt x="43815" y="10089"/>
                    <a:pt x="53340" y="3104"/>
                  </a:cubicBezTo>
                  <a:cubicBezTo>
                    <a:pt x="62865" y="-3881"/>
                    <a:pt x="55880" y="3104"/>
                    <a:pt x="57150" y="3104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8" name="Forma livre 435"/>
            <p:cNvSpPr/>
            <p:nvPr/>
          </p:nvSpPr>
          <p:spPr>
            <a:xfrm>
              <a:off x="4080510" y="3387090"/>
              <a:ext cx="140970" cy="148590"/>
            </a:xfrm>
            <a:custGeom>
              <a:avLst/>
              <a:gdLst>
                <a:gd name="connsiteX0" fmla="*/ 0 w 140970"/>
                <a:gd name="connsiteY0" fmla="*/ 0 h 148590"/>
                <a:gd name="connsiteX1" fmla="*/ 19050 w 140970"/>
                <a:gd name="connsiteY1" fmla="*/ 11430 h 148590"/>
                <a:gd name="connsiteX2" fmla="*/ 30480 w 140970"/>
                <a:gd name="connsiteY2" fmla="*/ 15240 h 148590"/>
                <a:gd name="connsiteX3" fmla="*/ 53340 w 140970"/>
                <a:gd name="connsiteY3" fmla="*/ 30480 h 148590"/>
                <a:gd name="connsiteX4" fmla="*/ 64770 w 140970"/>
                <a:gd name="connsiteY4" fmla="*/ 38100 h 148590"/>
                <a:gd name="connsiteX5" fmla="*/ 72390 w 140970"/>
                <a:gd name="connsiteY5" fmla="*/ 49530 h 148590"/>
                <a:gd name="connsiteX6" fmla="*/ 76200 w 140970"/>
                <a:gd name="connsiteY6" fmla="*/ 60960 h 148590"/>
                <a:gd name="connsiteX7" fmla="*/ 87630 w 140970"/>
                <a:gd name="connsiteY7" fmla="*/ 76200 h 148590"/>
                <a:gd name="connsiteX8" fmla="*/ 110490 w 140970"/>
                <a:gd name="connsiteY8" fmla="*/ 121920 h 148590"/>
                <a:gd name="connsiteX9" fmla="*/ 118110 w 140970"/>
                <a:gd name="connsiteY9" fmla="*/ 133350 h 148590"/>
                <a:gd name="connsiteX10" fmla="*/ 129540 w 140970"/>
                <a:gd name="connsiteY10" fmla="*/ 144780 h 148590"/>
                <a:gd name="connsiteX11" fmla="*/ 140970 w 140970"/>
                <a:gd name="connsiteY11" fmla="*/ 148590 h 1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0970" h="148590">
                  <a:moveTo>
                    <a:pt x="0" y="0"/>
                  </a:moveTo>
                  <a:cubicBezTo>
                    <a:pt x="6350" y="3810"/>
                    <a:pt x="12426" y="8118"/>
                    <a:pt x="19050" y="11430"/>
                  </a:cubicBezTo>
                  <a:cubicBezTo>
                    <a:pt x="22642" y="13226"/>
                    <a:pt x="26969" y="13290"/>
                    <a:pt x="30480" y="15240"/>
                  </a:cubicBezTo>
                  <a:cubicBezTo>
                    <a:pt x="38486" y="19688"/>
                    <a:pt x="45720" y="25400"/>
                    <a:pt x="53340" y="30480"/>
                  </a:cubicBezTo>
                  <a:lnTo>
                    <a:pt x="64770" y="38100"/>
                  </a:lnTo>
                  <a:cubicBezTo>
                    <a:pt x="67310" y="41910"/>
                    <a:pt x="70342" y="45434"/>
                    <a:pt x="72390" y="49530"/>
                  </a:cubicBezTo>
                  <a:cubicBezTo>
                    <a:pt x="74186" y="53122"/>
                    <a:pt x="74207" y="57473"/>
                    <a:pt x="76200" y="60960"/>
                  </a:cubicBezTo>
                  <a:cubicBezTo>
                    <a:pt x="79350" y="66473"/>
                    <a:pt x="83820" y="71120"/>
                    <a:pt x="87630" y="76200"/>
                  </a:cubicBezTo>
                  <a:cubicBezTo>
                    <a:pt x="98146" y="107748"/>
                    <a:pt x="90795" y="92377"/>
                    <a:pt x="110490" y="121920"/>
                  </a:cubicBezTo>
                  <a:cubicBezTo>
                    <a:pt x="113030" y="125730"/>
                    <a:pt x="114872" y="130112"/>
                    <a:pt x="118110" y="133350"/>
                  </a:cubicBezTo>
                  <a:cubicBezTo>
                    <a:pt x="121920" y="137160"/>
                    <a:pt x="125057" y="141791"/>
                    <a:pt x="129540" y="144780"/>
                  </a:cubicBezTo>
                  <a:cubicBezTo>
                    <a:pt x="132882" y="147008"/>
                    <a:pt x="140970" y="148590"/>
                    <a:pt x="140970" y="148590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99" name="Forma livre 437"/>
            <p:cNvSpPr/>
            <p:nvPr/>
          </p:nvSpPr>
          <p:spPr>
            <a:xfrm>
              <a:off x="1908797" y="1930759"/>
              <a:ext cx="307518" cy="458918"/>
            </a:xfrm>
            <a:custGeom>
              <a:avLst/>
              <a:gdLst>
                <a:gd name="connsiteX0" fmla="*/ 4984 w 307518"/>
                <a:gd name="connsiteY0" fmla="*/ 458918 h 458918"/>
                <a:gd name="connsiteX1" fmla="*/ 4984 w 307518"/>
                <a:gd name="connsiteY1" fmla="*/ 370538 h 458918"/>
                <a:gd name="connsiteX2" fmla="*/ 15182 w 307518"/>
                <a:gd name="connsiteY2" fmla="*/ 350142 h 458918"/>
                <a:gd name="connsiteX3" fmla="*/ 21981 w 307518"/>
                <a:gd name="connsiteY3" fmla="*/ 329747 h 458918"/>
                <a:gd name="connsiteX4" fmla="*/ 28779 w 307518"/>
                <a:gd name="connsiteY4" fmla="*/ 319549 h 458918"/>
                <a:gd name="connsiteX5" fmla="*/ 35578 w 307518"/>
                <a:gd name="connsiteY5" fmla="*/ 299153 h 458918"/>
                <a:gd name="connsiteX6" fmla="*/ 62772 w 307518"/>
                <a:gd name="connsiteY6" fmla="*/ 258362 h 458918"/>
                <a:gd name="connsiteX7" fmla="*/ 79768 w 307518"/>
                <a:gd name="connsiteY7" fmla="*/ 234567 h 458918"/>
                <a:gd name="connsiteX8" fmla="*/ 89966 w 307518"/>
                <a:gd name="connsiteY8" fmla="*/ 224370 h 458918"/>
                <a:gd name="connsiteX9" fmla="*/ 96764 w 307518"/>
                <a:gd name="connsiteY9" fmla="*/ 214172 h 458918"/>
                <a:gd name="connsiteX10" fmla="*/ 106962 w 307518"/>
                <a:gd name="connsiteY10" fmla="*/ 203974 h 458918"/>
                <a:gd name="connsiteX11" fmla="*/ 113761 w 307518"/>
                <a:gd name="connsiteY11" fmla="*/ 193776 h 458918"/>
                <a:gd name="connsiteX12" fmla="*/ 123958 w 307518"/>
                <a:gd name="connsiteY12" fmla="*/ 183579 h 458918"/>
                <a:gd name="connsiteX13" fmla="*/ 144354 w 307518"/>
                <a:gd name="connsiteY13" fmla="*/ 166582 h 458918"/>
                <a:gd name="connsiteX14" fmla="*/ 151152 w 307518"/>
                <a:gd name="connsiteY14" fmla="*/ 156384 h 458918"/>
                <a:gd name="connsiteX15" fmla="*/ 161350 w 307518"/>
                <a:gd name="connsiteY15" fmla="*/ 149586 h 458918"/>
                <a:gd name="connsiteX16" fmla="*/ 168149 w 307518"/>
                <a:gd name="connsiteY16" fmla="*/ 129190 h 458918"/>
                <a:gd name="connsiteX17" fmla="*/ 171548 w 307518"/>
                <a:gd name="connsiteY17" fmla="*/ 118993 h 458918"/>
                <a:gd name="connsiteX18" fmla="*/ 181746 w 307518"/>
                <a:gd name="connsiteY18" fmla="*/ 105396 h 458918"/>
                <a:gd name="connsiteX19" fmla="*/ 191944 w 307518"/>
                <a:gd name="connsiteY19" fmla="*/ 95198 h 458918"/>
                <a:gd name="connsiteX20" fmla="*/ 198742 w 307518"/>
                <a:gd name="connsiteY20" fmla="*/ 85000 h 458918"/>
                <a:gd name="connsiteX21" fmla="*/ 219138 w 307518"/>
                <a:gd name="connsiteY21" fmla="*/ 68004 h 458918"/>
                <a:gd name="connsiteX22" fmla="*/ 225936 w 307518"/>
                <a:gd name="connsiteY22" fmla="*/ 57806 h 458918"/>
                <a:gd name="connsiteX23" fmla="*/ 246332 w 307518"/>
                <a:gd name="connsiteY23" fmla="*/ 44209 h 458918"/>
                <a:gd name="connsiteX24" fmla="*/ 256529 w 307518"/>
                <a:gd name="connsiteY24" fmla="*/ 37411 h 458918"/>
                <a:gd name="connsiteX25" fmla="*/ 266727 w 307518"/>
                <a:gd name="connsiteY25" fmla="*/ 34011 h 458918"/>
                <a:gd name="connsiteX26" fmla="*/ 297320 w 307518"/>
                <a:gd name="connsiteY26" fmla="*/ 10216 h 458918"/>
                <a:gd name="connsiteX27" fmla="*/ 307518 w 307518"/>
                <a:gd name="connsiteY27" fmla="*/ 19 h 458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07518" h="458918">
                  <a:moveTo>
                    <a:pt x="4984" y="458918"/>
                  </a:moveTo>
                  <a:cubicBezTo>
                    <a:pt x="-2615" y="420922"/>
                    <a:pt x="-635" y="437965"/>
                    <a:pt x="4984" y="370538"/>
                  </a:cubicBezTo>
                  <a:cubicBezTo>
                    <a:pt x="5937" y="359098"/>
                    <a:pt x="10659" y="360318"/>
                    <a:pt x="15182" y="350142"/>
                  </a:cubicBezTo>
                  <a:cubicBezTo>
                    <a:pt x="18092" y="343594"/>
                    <a:pt x="18006" y="335710"/>
                    <a:pt x="21981" y="329747"/>
                  </a:cubicBezTo>
                  <a:cubicBezTo>
                    <a:pt x="24247" y="326348"/>
                    <a:pt x="27120" y="323282"/>
                    <a:pt x="28779" y="319549"/>
                  </a:cubicBezTo>
                  <a:cubicBezTo>
                    <a:pt x="31690" y="313000"/>
                    <a:pt x="31603" y="305116"/>
                    <a:pt x="35578" y="299153"/>
                  </a:cubicBezTo>
                  <a:lnTo>
                    <a:pt x="62772" y="258362"/>
                  </a:lnTo>
                  <a:cubicBezTo>
                    <a:pt x="68156" y="250287"/>
                    <a:pt x="73438" y="241951"/>
                    <a:pt x="79768" y="234567"/>
                  </a:cubicBezTo>
                  <a:cubicBezTo>
                    <a:pt x="82897" y="230917"/>
                    <a:pt x="86889" y="228063"/>
                    <a:pt x="89966" y="224370"/>
                  </a:cubicBezTo>
                  <a:cubicBezTo>
                    <a:pt x="92581" y="221232"/>
                    <a:pt x="94149" y="217311"/>
                    <a:pt x="96764" y="214172"/>
                  </a:cubicBezTo>
                  <a:cubicBezTo>
                    <a:pt x="99842" y="210479"/>
                    <a:pt x="103884" y="207667"/>
                    <a:pt x="106962" y="203974"/>
                  </a:cubicBezTo>
                  <a:cubicBezTo>
                    <a:pt x="109578" y="200835"/>
                    <a:pt x="111145" y="196915"/>
                    <a:pt x="113761" y="193776"/>
                  </a:cubicBezTo>
                  <a:cubicBezTo>
                    <a:pt x="116838" y="190083"/>
                    <a:pt x="120830" y="187229"/>
                    <a:pt x="123958" y="183579"/>
                  </a:cubicBezTo>
                  <a:cubicBezTo>
                    <a:pt x="138775" y="166292"/>
                    <a:pt x="127219" y="172295"/>
                    <a:pt x="144354" y="166582"/>
                  </a:cubicBezTo>
                  <a:cubicBezTo>
                    <a:pt x="146620" y="163183"/>
                    <a:pt x="148263" y="159273"/>
                    <a:pt x="151152" y="156384"/>
                  </a:cubicBezTo>
                  <a:cubicBezTo>
                    <a:pt x="154041" y="153495"/>
                    <a:pt x="159185" y="153050"/>
                    <a:pt x="161350" y="149586"/>
                  </a:cubicBezTo>
                  <a:cubicBezTo>
                    <a:pt x="165148" y="143509"/>
                    <a:pt x="165883" y="135989"/>
                    <a:pt x="168149" y="129190"/>
                  </a:cubicBezTo>
                  <a:cubicBezTo>
                    <a:pt x="169282" y="125791"/>
                    <a:pt x="169398" y="121859"/>
                    <a:pt x="171548" y="118993"/>
                  </a:cubicBezTo>
                  <a:cubicBezTo>
                    <a:pt x="174947" y="114461"/>
                    <a:pt x="178059" y="109698"/>
                    <a:pt x="181746" y="105396"/>
                  </a:cubicBezTo>
                  <a:cubicBezTo>
                    <a:pt x="184875" y="101746"/>
                    <a:pt x="188866" y="98891"/>
                    <a:pt x="191944" y="95198"/>
                  </a:cubicBezTo>
                  <a:cubicBezTo>
                    <a:pt x="194559" y="92059"/>
                    <a:pt x="195853" y="87889"/>
                    <a:pt x="198742" y="85000"/>
                  </a:cubicBezTo>
                  <a:cubicBezTo>
                    <a:pt x="225481" y="58261"/>
                    <a:pt x="191293" y="101419"/>
                    <a:pt x="219138" y="68004"/>
                  </a:cubicBezTo>
                  <a:cubicBezTo>
                    <a:pt x="221753" y="64865"/>
                    <a:pt x="222861" y="60496"/>
                    <a:pt x="225936" y="57806"/>
                  </a:cubicBezTo>
                  <a:cubicBezTo>
                    <a:pt x="232085" y="52425"/>
                    <a:pt x="239533" y="48741"/>
                    <a:pt x="246332" y="44209"/>
                  </a:cubicBezTo>
                  <a:cubicBezTo>
                    <a:pt x="249731" y="41943"/>
                    <a:pt x="252654" y="38703"/>
                    <a:pt x="256529" y="37411"/>
                  </a:cubicBezTo>
                  <a:cubicBezTo>
                    <a:pt x="259928" y="36278"/>
                    <a:pt x="263595" y="35751"/>
                    <a:pt x="266727" y="34011"/>
                  </a:cubicBezTo>
                  <a:cubicBezTo>
                    <a:pt x="278495" y="27473"/>
                    <a:pt x="288775" y="20470"/>
                    <a:pt x="297320" y="10216"/>
                  </a:cubicBezTo>
                  <a:cubicBezTo>
                    <a:pt x="306603" y="-924"/>
                    <a:pt x="299519" y="19"/>
                    <a:pt x="307518" y="1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0" name="Forma livre 438"/>
            <p:cNvSpPr/>
            <p:nvPr/>
          </p:nvSpPr>
          <p:spPr>
            <a:xfrm>
              <a:off x="1743029" y="3062730"/>
              <a:ext cx="269331" cy="122373"/>
            </a:xfrm>
            <a:custGeom>
              <a:avLst/>
              <a:gdLst>
                <a:gd name="connsiteX0" fmla="*/ 4189 w 269331"/>
                <a:gd name="connsiteY0" fmla="*/ 122373 h 122373"/>
                <a:gd name="connsiteX1" fmla="*/ 4189 w 269331"/>
                <a:gd name="connsiteY1" fmla="*/ 74784 h 122373"/>
                <a:gd name="connsiteX2" fmla="*/ 14387 w 269331"/>
                <a:gd name="connsiteY2" fmla="*/ 67985 h 122373"/>
                <a:gd name="connsiteX3" fmla="*/ 34782 w 269331"/>
                <a:gd name="connsiteY3" fmla="*/ 61187 h 122373"/>
                <a:gd name="connsiteX4" fmla="*/ 44980 w 269331"/>
                <a:gd name="connsiteY4" fmla="*/ 54388 h 122373"/>
                <a:gd name="connsiteX5" fmla="*/ 92570 w 269331"/>
                <a:gd name="connsiteY5" fmla="*/ 61187 h 122373"/>
                <a:gd name="connsiteX6" fmla="*/ 102767 w 269331"/>
                <a:gd name="connsiteY6" fmla="*/ 64586 h 122373"/>
                <a:gd name="connsiteX7" fmla="*/ 160555 w 269331"/>
                <a:gd name="connsiteY7" fmla="*/ 57787 h 122373"/>
                <a:gd name="connsiteX8" fmla="*/ 167353 w 269331"/>
                <a:gd name="connsiteY8" fmla="*/ 47590 h 122373"/>
                <a:gd name="connsiteX9" fmla="*/ 177551 w 269331"/>
                <a:gd name="connsiteY9" fmla="*/ 40791 h 122373"/>
                <a:gd name="connsiteX10" fmla="*/ 194547 w 269331"/>
                <a:gd name="connsiteY10" fmla="*/ 6799 h 122373"/>
                <a:gd name="connsiteX11" fmla="*/ 214943 w 269331"/>
                <a:gd name="connsiteY11" fmla="*/ 0 h 122373"/>
                <a:gd name="connsiteX12" fmla="*/ 269331 w 269331"/>
                <a:gd name="connsiteY12" fmla="*/ 3399 h 122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69331" h="122373">
                  <a:moveTo>
                    <a:pt x="4189" y="122373"/>
                  </a:moveTo>
                  <a:cubicBezTo>
                    <a:pt x="611" y="104483"/>
                    <a:pt x="-3104" y="94839"/>
                    <a:pt x="4189" y="74784"/>
                  </a:cubicBezTo>
                  <a:cubicBezTo>
                    <a:pt x="5585" y="70944"/>
                    <a:pt x="10654" y="69644"/>
                    <a:pt x="14387" y="67985"/>
                  </a:cubicBezTo>
                  <a:cubicBezTo>
                    <a:pt x="20935" y="65075"/>
                    <a:pt x="34782" y="61187"/>
                    <a:pt x="34782" y="61187"/>
                  </a:cubicBezTo>
                  <a:cubicBezTo>
                    <a:pt x="38181" y="58921"/>
                    <a:pt x="40894" y="54388"/>
                    <a:pt x="44980" y="54388"/>
                  </a:cubicBezTo>
                  <a:cubicBezTo>
                    <a:pt x="61004" y="54388"/>
                    <a:pt x="92570" y="61187"/>
                    <a:pt x="92570" y="61187"/>
                  </a:cubicBezTo>
                  <a:cubicBezTo>
                    <a:pt x="95969" y="62320"/>
                    <a:pt x="99184" y="64586"/>
                    <a:pt x="102767" y="64586"/>
                  </a:cubicBezTo>
                  <a:cubicBezTo>
                    <a:pt x="142970" y="64586"/>
                    <a:pt x="137739" y="65394"/>
                    <a:pt x="160555" y="57787"/>
                  </a:cubicBezTo>
                  <a:cubicBezTo>
                    <a:pt x="162821" y="54388"/>
                    <a:pt x="164464" y="50479"/>
                    <a:pt x="167353" y="47590"/>
                  </a:cubicBezTo>
                  <a:cubicBezTo>
                    <a:pt x="170242" y="44701"/>
                    <a:pt x="175285" y="44190"/>
                    <a:pt x="177551" y="40791"/>
                  </a:cubicBezTo>
                  <a:cubicBezTo>
                    <a:pt x="185207" y="29307"/>
                    <a:pt x="174380" y="13522"/>
                    <a:pt x="194547" y="6799"/>
                  </a:cubicBezTo>
                  <a:lnTo>
                    <a:pt x="214943" y="0"/>
                  </a:lnTo>
                  <a:cubicBezTo>
                    <a:pt x="255700" y="4075"/>
                    <a:pt x="237548" y="3399"/>
                    <a:pt x="269331" y="339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1" name="Forma livre 439"/>
            <p:cNvSpPr/>
            <p:nvPr/>
          </p:nvSpPr>
          <p:spPr>
            <a:xfrm>
              <a:off x="2212916" y="1652039"/>
              <a:ext cx="254951" cy="285537"/>
            </a:xfrm>
            <a:custGeom>
              <a:avLst/>
              <a:gdLst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27750 w 254951"/>
                <a:gd name="connsiteY3" fmla="*/ 37391 h 285537"/>
                <a:gd name="connsiteX4" fmla="*/ 207355 w 254951"/>
                <a:gd name="connsiteY4" fmla="*/ 44190 h 285537"/>
                <a:gd name="connsiteX5" fmla="*/ 200556 w 254951"/>
                <a:gd name="connsiteY5" fmla="*/ 54388 h 285537"/>
                <a:gd name="connsiteX6" fmla="*/ 183560 w 254951"/>
                <a:gd name="connsiteY6" fmla="*/ 71384 h 285537"/>
                <a:gd name="connsiteX7" fmla="*/ 176761 w 254951"/>
                <a:gd name="connsiteY7" fmla="*/ 91780 h 285537"/>
                <a:gd name="connsiteX8" fmla="*/ 173362 w 254951"/>
                <a:gd name="connsiteY8" fmla="*/ 101977 h 285537"/>
                <a:gd name="connsiteX9" fmla="*/ 149567 w 254951"/>
                <a:gd name="connsiteY9" fmla="*/ 132571 h 285537"/>
                <a:gd name="connsiteX10" fmla="*/ 139370 w 254951"/>
                <a:gd name="connsiteY10" fmla="*/ 139369 h 285537"/>
                <a:gd name="connsiteX11" fmla="*/ 129172 w 254951"/>
                <a:gd name="connsiteY11" fmla="*/ 142768 h 285537"/>
                <a:gd name="connsiteX12" fmla="*/ 118974 w 254951"/>
                <a:gd name="connsiteY12" fmla="*/ 152966 h 285537"/>
                <a:gd name="connsiteX13" fmla="*/ 108776 w 254951"/>
                <a:gd name="connsiteY13" fmla="*/ 159765 h 285537"/>
                <a:gd name="connsiteX14" fmla="*/ 88381 w 254951"/>
                <a:gd name="connsiteY14" fmla="*/ 190358 h 285537"/>
                <a:gd name="connsiteX15" fmla="*/ 81582 w 254951"/>
                <a:gd name="connsiteY15" fmla="*/ 200556 h 285537"/>
                <a:gd name="connsiteX16" fmla="*/ 71384 w 254951"/>
                <a:gd name="connsiteY16" fmla="*/ 210754 h 285537"/>
                <a:gd name="connsiteX17" fmla="*/ 64586 w 254951"/>
                <a:gd name="connsiteY17" fmla="*/ 220951 h 285537"/>
                <a:gd name="connsiteX18" fmla="*/ 44190 w 254951"/>
                <a:gd name="connsiteY18" fmla="*/ 234548 h 285537"/>
                <a:gd name="connsiteX19" fmla="*/ 33993 w 254951"/>
                <a:gd name="connsiteY19" fmla="*/ 244746 h 285537"/>
                <a:gd name="connsiteX20" fmla="*/ 27194 w 254951"/>
                <a:gd name="connsiteY20" fmla="*/ 254944 h 285537"/>
                <a:gd name="connsiteX21" fmla="*/ 6798 w 254951"/>
                <a:gd name="connsiteY21" fmla="*/ 275339 h 285537"/>
                <a:gd name="connsiteX22" fmla="*/ 0 w 254951"/>
                <a:gd name="connsiteY22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27750 w 254951"/>
                <a:gd name="connsiteY3" fmla="*/ 37391 h 285537"/>
                <a:gd name="connsiteX4" fmla="*/ 207355 w 254951"/>
                <a:gd name="connsiteY4" fmla="*/ 44190 h 285537"/>
                <a:gd name="connsiteX5" fmla="*/ 183560 w 254951"/>
                <a:gd name="connsiteY5" fmla="*/ 71384 h 285537"/>
                <a:gd name="connsiteX6" fmla="*/ 176761 w 254951"/>
                <a:gd name="connsiteY6" fmla="*/ 91780 h 285537"/>
                <a:gd name="connsiteX7" fmla="*/ 173362 w 254951"/>
                <a:gd name="connsiteY7" fmla="*/ 101977 h 285537"/>
                <a:gd name="connsiteX8" fmla="*/ 149567 w 254951"/>
                <a:gd name="connsiteY8" fmla="*/ 132571 h 285537"/>
                <a:gd name="connsiteX9" fmla="*/ 139370 w 254951"/>
                <a:gd name="connsiteY9" fmla="*/ 139369 h 285537"/>
                <a:gd name="connsiteX10" fmla="*/ 129172 w 254951"/>
                <a:gd name="connsiteY10" fmla="*/ 142768 h 285537"/>
                <a:gd name="connsiteX11" fmla="*/ 118974 w 254951"/>
                <a:gd name="connsiteY11" fmla="*/ 152966 h 285537"/>
                <a:gd name="connsiteX12" fmla="*/ 108776 w 254951"/>
                <a:gd name="connsiteY12" fmla="*/ 159765 h 285537"/>
                <a:gd name="connsiteX13" fmla="*/ 88381 w 254951"/>
                <a:gd name="connsiteY13" fmla="*/ 190358 h 285537"/>
                <a:gd name="connsiteX14" fmla="*/ 81582 w 254951"/>
                <a:gd name="connsiteY14" fmla="*/ 200556 h 285537"/>
                <a:gd name="connsiteX15" fmla="*/ 71384 w 254951"/>
                <a:gd name="connsiteY15" fmla="*/ 210754 h 285537"/>
                <a:gd name="connsiteX16" fmla="*/ 64586 w 254951"/>
                <a:gd name="connsiteY16" fmla="*/ 220951 h 285537"/>
                <a:gd name="connsiteX17" fmla="*/ 44190 w 254951"/>
                <a:gd name="connsiteY17" fmla="*/ 234548 h 285537"/>
                <a:gd name="connsiteX18" fmla="*/ 33993 w 254951"/>
                <a:gd name="connsiteY18" fmla="*/ 244746 h 285537"/>
                <a:gd name="connsiteX19" fmla="*/ 27194 w 254951"/>
                <a:gd name="connsiteY19" fmla="*/ 254944 h 285537"/>
                <a:gd name="connsiteX20" fmla="*/ 6798 w 254951"/>
                <a:gd name="connsiteY20" fmla="*/ 275339 h 285537"/>
                <a:gd name="connsiteX21" fmla="*/ 0 w 254951"/>
                <a:gd name="connsiteY21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27750 w 254951"/>
                <a:gd name="connsiteY3" fmla="*/ 37391 h 285537"/>
                <a:gd name="connsiteX4" fmla="*/ 207355 w 254951"/>
                <a:gd name="connsiteY4" fmla="*/ 44190 h 285537"/>
                <a:gd name="connsiteX5" fmla="*/ 176761 w 254951"/>
                <a:gd name="connsiteY5" fmla="*/ 91780 h 285537"/>
                <a:gd name="connsiteX6" fmla="*/ 173362 w 254951"/>
                <a:gd name="connsiteY6" fmla="*/ 101977 h 285537"/>
                <a:gd name="connsiteX7" fmla="*/ 149567 w 254951"/>
                <a:gd name="connsiteY7" fmla="*/ 132571 h 285537"/>
                <a:gd name="connsiteX8" fmla="*/ 139370 w 254951"/>
                <a:gd name="connsiteY8" fmla="*/ 139369 h 285537"/>
                <a:gd name="connsiteX9" fmla="*/ 129172 w 254951"/>
                <a:gd name="connsiteY9" fmla="*/ 142768 h 285537"/>
                <a:gd name="connsiteX10" fmla="*/ 118974 w 254951"/>
                <a:gd name="connsiteY10" fmla="*/ 152966 h 285537"/>
                <a:gd name="connsiteX11" fmla="*/ 108776 w 254951"/>
                <a:gd name="connsiteY11" fmla="*/ 159765 h 285537"/>
                <a:gd name="connsiteX12" fmla="*/ 88381 w 254951"/>
                <a:gd name="connsiteY12" fmla="*/ 190358 h 285537"/>
                <a:gd name="connsiteX13" fmla="*/ 81582 w 254951"/>
                <a:gd name="connsiteY13" fmla="*/ 200556 h 285537"/>
                <a:gd name="connsiteX14" fmla="*/ 71384 w 254951"/>
                <a:gd name="connsiteY14" fmla="*/ 210754 h 285537"/>
                <a:gd name="connsiteX15" fmla="*/ 64586 w 254951"/>
                <a:gd name="connsiteY15" fmla="*/ 220951 h 285537"/>
                <a:gd name="connsiteX16" fmla="*/ 44190 w 254951"/>
                <a:gd name="connsiteY16" fmla="*/ 234548 h 285537"/>
                <a:gd name="connsiteX17" fmla="*/ 33993 w 254951"/>
                <a:gd name="connsiteY17" fmla="*/ 244746 h 285537"/>
                <a:gd name="connsiteX18" fmla="*/ 27194 w 254951"/>
                <a:gd name="connsiteY18" fmla="*/ 254944 h 285537"/>
                <a:gd name="connsiteX19" fmla="*/ 6798 w 254951"/>
                <a:gd name="connsiteY19" fmla="*/ 275339 h 285537"/>
                <a:gd name="connsiteX20" fmla="*/ 0 w 254951"/>
                <a:gd name="connsiteY20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27750 w 254951"/>
                <a:gd name="connsiteY3" fmla="*/ 37391 h 285537"/>
                <a:gd name="connsiteX4" fmla="*/ 207355 w 254951"/>
                <a:gd name="connsiteY4" fmla="*/ 44190 h 285537"/>
                <a:gd name="connsiteX5" fmla="*/ 173362 w 254951"/>
                <a:gd name="connsiteY5" fmla="*/ 101977 h 285537"/>
                <a:gd name="connsiteX6" fmla="*/ 149567 w 254951"/>
                <a:gd name="connsiteY6" fmla="*/ 132571 h 285537"/>
                <a:gd name="connsiteX7" fmla="*/ 139370 w 254951"/>
                <a:gd name="connsiteY7" fmla="*/ 139369 h 285537"/>
                <a:gd name="connsiteX8" fmla="*/ 129172 w 254951"/>
                <a:gd name="connsiteY8" fmla="*/ 142768 h 285537"/>
                <a:gd name="connsiteX9" fmla="*/ 118974 w 254951"/>
                <a:gd name="connsiteY9" fmla="*/ 152966 h 285537"/>
                <a:gd name="connsiteX10" fmla="*/ 108776 w 254951"/>
                <a:gd name="connsiteY10" fmla="*/ 159765 h 285537"/>
                <a:gd name="connsiteX11" fmla="*/ 88381 w 254951"/>
                <a:gd name="connsiteY11" fmla="*/ 190358 h 285537"/>
                <a:gd name="connsiteX12" fmla="*/ 81582 w 254951"/>
                <a:gd name="connsiteY12" fmla="*/ 200556 h 285537"/>
                <a:gd name="connsiteX13" fmla="*/ 71384 w 254951"/>
                <a:gd name="connsiteY13" fmla="*/ 210754 h 285537"/>
                <a:gd name="connsiteX14" fmla="*/ 64586 w 254951"/>
                <a:gd name="connsiteY14" fmla="*/ 220951 h 285537"/>
                <a:gd name="connsiteX15" fmla="*/ 44190 w 254951"/>
                <a:gd name="connsiteY15" fmla="*/ 234548 h 285537"/>
                <a:gd name="connsiteX16" fmla="*/ 33993 w 254951"/>
                <a:gd name="connsiteY16" fmla="*/ 244746 h 285537"/>
                <a:gd name="connsiteX17" fmla="*/ 27194 w 254951"/>
                <a:gd name="connsiteY17" fmla="*/ 254944 h 285537"/>
                <a:gd name="connsiteX18" fmla="*/ 6798 w 254951"/>
                <a:gd name="connsiteY18" fmla="*/ 275339 h 285537"/>
                <a:gd name="connsiteX19" fmla="*/ 0 w 254951"/>
                <a:gd name="connsiteY19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27750 w 254951"/>
                <a:gd name="connsiteY3" fmla="*/ 37391 h 285537"/>
                <a:gd name="connsiteX4" fmla="*/ 173362 w 254951"/>
                <a:gd name="connsiteY4" fmla="*/ 101977 h 285537"/>
                <a:gd name="connsiteX5" fmla="*/ 149567 w 254951"/>
                <a:gd name="connsiteY5" fmla="*/ 132571 h 285537"/>
                <a:gd name="connsiteX6" fmla="*/ 139370 w 254951"/>
                <a:gd name="connsiteY6" fmla="*/ 139369 h 285537"/>
                <a:gd name="connsiteX7" fmla="*/ 129172 w 254951"/>
                <a:gd name="connsiteY7" fmla="*/ 142768 h 285537"/>
                <a:gd name="connsiteX8" fmla="*/ 118974 w 254951"/>
                <a:gd name="connsiteY8" fmla="*/ 152966 h 285537"/>
                <a:gd name="connsiteX9" fmla="*/ 108776 w 254951"/>
                <a:gd name="connsiteY9" fmla="*/ 159765 h 285537"/>
                <a:gd name="connsiteX10" fmla="*/ 88381 w 254951"/>
                <a:gd name="connsiteY10" fmla="*/ 190358 h 285537"/>
                <a:gd name="connsiteX11" fmla="*/ 81582 w 254951"/>
                <a:gd name="connsiteY11" fmla="*/ 200556 h 285537"/>
                <a:gd name="connsiteX12" fmla="*/ 71384 w 254951"/>
                <a:gd name="connsiteY12" fmla="*/ 210754 h 285537"/>
                <a:gd name="connsiteX13" fmla="*/ 64586 w 254951"/>
                <a:gd name="connsiteY13" fmla="*/ 220951 h 285537"/>
                <a:gd name="connsiteX14" fmla="*/ 44190 w 254951"/>
                <a:gd name="connsiteY14" fmla="*/ 234548 h 285537"/>
                <a:gd name="connsiteX15" fmla="*/ 33993 w 254951"/>
                <a:gd name="connsiteY15" fmla="*/ 244746 h 285537"/>
                <a:gd name="connsiteX16" fmla="*/ 27194 w 254951"/>
                <a:gd name="connsiteY16" fmla="*/ 254944 h 285537"/>
                <a:gd name="connsiteX17" fmla="*/ 6798 w 254951"/>
                <a:gd name="connsiteY17" fmla="*/ 275339 h 285537"/>
                <a:gd name="connsiteX18" fmla="*/ 0 w 254951"/>
                <a:gd name="connsiteY18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00556 w 254951"/>
                <a:gd name="connsiteY3" fmla="*/ 71383 h 285537"/>
                <a:gd name="connsiteX4" fmla="*/ 173362 w 254951"/>
                <a:gd name="connsiteY4" fmla="*/ 101977 h 285537"/>
                <a:gd name="connsiteX5" fmla="*/ 149567 w 254951"/>
                <a:gd name="connsiteY5" fmla="*/ 132571 h 285537"/>
                <a:gd name="connsiteX6" fmla="*/ 139370 w 254951"/>
                <a:gd name="connsiteY6" fmla="*/ 139369 h 285537"/>
                <a:gd name="connsiteX7" fmla="*/ 129172 w 254951"/>
                <a:gd name="connsiteY7" fmla="*/ 142768 h 285537"/>
                <a:gd name="connsiteX8" fmla="*/ 118974 w 254951"/>
                <a:gd name="connsiteY8" fmla="*/ 152966 h 285537"/>
                <a:gd name="connsiteX9" fmla="*/ 108776 w 254951"/>
                <a:gd name="connsiteY9" fmla="*/ 159765 h 285537"/>
                <a:gd name="connsiteX10" fmla="*/ 88381 w 254951"/>
                <a:gd name="connsiteY10" fmla="*/ 190358 h 285537"/>
                <a:gd name="connsiteX11" fmla="*/ 81582 w 254951"/>
                <a:gd name="connsiteY11" fmla="*/ 200556 h 285537"/>
                <a:gd name="connsiteX12" fmla="*/ 71384 w 254951"/>
                <a:gd name="connsiteY12" fmla="*/ 210754 h 285537"/>
                <a:gd name="connsiteX13" fmla="*/ 64586 w 254951"/>
                <a:gd name="connsiteY13" fmla="*/ 220951 h 285537"/>
                <a:gd name="connsiteX14" fmla="*/ 44190 w 254951"/>
                <a:gd name="connsiteY14" fmla="*/ 234548 h 285537"/>
                <a:gd name="connsiteX15" fmla="*/ 33993 w 254951"/>
                <a:gd name="connsiteY15" fmla="*/ 244746 h 285537"/>
                <a:gd name="connsiteX16" fmla="*/ 27194 w 254951"/>
                <a:gd name="connsiteY16" fmla="*/ 254944 h 285537"/>
                <a:gd name="connsiteX17" fmla="*/ 6798 w 254951"/>
                <a:gd name="connsiteY17" fmla="*/ 275339 h 285537"/>
                <a:gd name="connsiteX18" fmla="*/ 0 w 254951"/>
                <a:gd name="connsiteY18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00556 w 254951"/>
                <a:gd name="connsiteY3" fmla="*/ 71383 h 285537"/>
                <a:gd name="connsiteX4" fmla="*/ 173362 w 254951"/>
                <a:gd name="connsiteY4" fmla="*/ 101977 h 285537"/>
                <a:gd name="connsiteX5" fmla="*/ 149567 w 254951"/>
                <a:gd name="connsiteY5" fmla="*/ 132571 h 285537"/>
                <a:gd name="connsiteX6" fmla="*/ 139370 w 254951"/>
                <a:gd name="connsiteY6" fmla="*/ 139369 h 285537"/>
                <a:gd name="connsiteX7" fmla="*/ 129172 w 254951"/>
                <a:gd name="connsiteY7" fmla="*/ 142768 h 285537"/>
                <a:gd name="connsiteX8" fmla="*/ 118974 w 254951"/>
                <a:gd name="connsiteY8" fmla="*/ 152966 h 285537"/>
                <a:gd name="connsiteX9" fmla="*/ 88381 w 254951"/>
                <a:gd name="connsiteY9" fmla="*/ 190358 h 285537"/>
                <a:gd name="connsiteX10" fmla="*/ 81582 w 254951"/>
                <a:gd name="connsiteY10" fmla="*/ 200556 h 285537"/>
                <a:gd name="connsiteX11" fmla="*/ 71384 w 254951"/>
                <a:gd name="connsiteY11" fmla="*/ 210754 h 285537"/>
                <a:gd name="connsiteX12" fmla="*/ 64586 w 254951"/>
                <a:gd name="connsiteY12" fmla="*/ 220951 h 285537"/>
                <a:gd name="connsiteX13" fmla="*/ 44190 w 254951"/>
                <a:gd name="connsiteY13" fmla="*/ 234548 h 285537"/>
                <a:gd name="connsiteX14" fmla="*/ 33993 w 254951"/>
                <a:gd name="connsiteY14" fmla="*/ 244746 h 285537"/>
                <a:gd name="connsiteX15" fmla="*/ 27194 w 254951"/>
                <a:gd name="connsiteY15" fmla="*/ 254944 h 285537"/>
                <a:gd name="connsiteX16" fmla="*/ 6798 w 254951"/>
                <a:gd name="connsiteY16" fmla="*/ 275339 h 285537"/>
                <a:gd name="connsiteX17" fmla="*/ 0 w 254951"/>
                <a:gd name="connsiteY17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00556 w 254951"/>
                <a:gd name="connsiteY3" fmla="*/ 71383 h 285537"/>
                <a:gd name="connsiteX4" fmla="*/ 173362 w 254951"/>
                <a:gd name="connsiteY4" fmla="*/ 101977 h 285537"/>
                <a:gd name="connsiteX5" fmla="*/ 149567 w 254951"/>
                <a:gd name="connsiteY5" fmla="*/ 132571 h 285537"/>
                <a:gd name="connsiteX6" fmla="*/ 139370 w 254951"/>
                <a:gd name="connsiteY6" fmla="*/ 139369 h 285537"/>
                <a:gd name="connsiteX7" fmla="*/ 129172 w 254951"/>
                <a:gd name="connsiteY7" fmla="*/ 142768 h 285537"/>
                <a:gd name="connsiteX8" fmla="*/ 88381 w 254951"/>
                <a:gd name="connsiteY8" fmla="*/ 190358 h 285537"/>
                <a:gd name="connsiteX9" fmla="*/ 81582 w 254951"/>
                <a:gd name="connsiteY9" fmla="*/ 200556 h 285537"/>
                <a:gd name="connsiteX10" fmla="*/ 71384 w 254951"/>
                <a:gd name="connsiteY10" fmla="*/ 210754 h 285537"/>
                <a:gd name="connsiteX11" fmla="*/ 64586 w 254951"/>
                <a:gd name="connsiteY11" fmla="*/ 220951 h 285537"/>
                <a:gd name="connsiteX12" fmla="*/ 44190 w 254951"/>
                <a:gd name="connsiteY12" fmla="*/ 234548 h 285537"/>
                <a:gd name="connsiteX13" fmla="*/ 33993 w 254951"/>
                <a:gd name="connsiteY13" fmla="*/ 244746 h 285537"/>
                <a:gd name="connsiteX14" fmla="*/ 27194 w 254951"/>
                <a:gd name="connsiteY14" fmla="*/ 254944 h 285537"/>
                <a:gd name="connsiteX15" fmla="*/ 6798 w 254951"/>
                <a:gd name="connsiteY15" fmla="*/ 275339 h 285537"/>
                <a:gd name="connsiteX16" fmla="*/ 0 w 254951"/>
                <a:gd name="connsiteY16" fmla="*/ 285537 h 285537"/>
                <a:gd name="connsiteX0" fmla="*/ 244746 w 254951"/>
                <a:gd name="connsiteY0" fmla="*/ 0 h 285537"/>
                <a:gd name="connsiteX1" fmla="*/ 248146 w 254951"/>
                <a:gd name="connsiteY1" fmla="*/ 27194 h 285537"/>
                <a:gd name="connsiteX2" fmla="*/ 237948 w 254951"/>
                <a:gd name="connsiteY2" fmla="*/ 30593 h 285537"/>
                <a:gd name="connsiteX3" fmla="*/ 200556 w 254951"/>
                <a:gd name="connsiteY3" fmla="*/ 71383 h 285537"/>
                <a:gd name="connsiteX4" fmla="*/ 173362 w 254951"/>
                <a:gd name="connsiteY4" fmla="*/ 101977 h 285537"/>
                <a:gd name="connsiteX5" fmla="*/ 149567 w 254951"/>
                <a:gd name="connsiteY5" fmla="*/ 132571 h 285537"/>
                <a:gd name="connsiteX6" fmla="*/ 139370 w 254951"/>
                <a:gd name="connsiteY6" fmla="*/ 139369 h 285537"/>
                <a:gd name="connsiteX7" fmla="*/ 129172 w 254951"/>
                <a:gd name="connsiteY7" fmla="*/ 142768 h 285537"/>
                <a:gd name="connsiteX8" fmla="*/ 91780 w 254951"/>
                <a:gd name="connsiteY8" fmla="*/ 176761 h 285537"/>
                <a:gd name="connsiteX9" fmla="*/ 81582 w 254951"/>
                <a:gd name="connsiteY9" fmla="*/ 200556 h 285537"/>
                <a:gd name="connsiteX10" fmla="*/ 71384 w 254951"/>
                <a:gd name="connsiteY10" fmla="*/ 210754 h 285537"/>
                <a:gd name="connsiteX11" fmla="*/ 64586 w 254951"/>
                <a:gd name="connsiteY11" fmla="*/ 220951 h 285537"/>
                <a:gd name="connsiteX12" fmla="*/ 44190 w 254951"/>
                <a:gd name="connsiteY12" fmla="*/ 234548 h 285537"/>
                <a:gd name="connsiteX13" fmla="*/ 33993 w 254951"/>
                <a:gd name="connsiteY13" fmla="*/ 244746 h 285537"/>
                <a:gd name="connsiteX14" fmla="*/ 27194 w 254951"/>
                <a:gd name="connsiteY14" fmla="*/ 254944 h 285537"/>
                <a:gd name="connsiteX15" fmla="*/ 6798 w 254951"/>
                <a:gd name="connsiteY15" fmla="*/ 275339 h 285537"/>
                <a:gd name="connsiteX16" fmla="*/ 0 w 254951"/>
                <a:gd name="connsiteY16" fmla="*/ 285537 h 285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4951" h="285537">
                  <a:moveTo>
                    <a:pt x="244746" y="0"/>
                  </a:moveTo>
                  <a:cubicBezTo>
                    <a:pt x="252243" y="12495"/>
                    <a:pt x="261578" y="16448"/>
                    <a:pt x="248146" y="27194"/>
                  </a:cubicBezTo>
                  <a:cubicBezTo>
                    <a:pt x="245348" y="29432"/>
                    <a:pt x="245880" y="23228"/>
                    <a:pt x="237948" y="30593"/>
                  </a:cubicBezTo>
                  <a:cubicBezTo>
                    <a:pt x="230016" y="37958"/>
                    <a:pt x="211320" y="59486"/>
                    <a:pt x="200556" y="71383"/>
                  </a:cubicBezTo>
                  <a:cubicBezTo>
                    <a:pt x="189792" y="83280"/>
                    <a:pt x="181860" y="91779"/>
                    <a:pt x="173362" y="101977"/>
                  </a:cubicBezTo>
                  <a:cubicBezTo>
                    <a:pt x="164864" y="112175"/>
                    <a:pt x="161549" y="122586"/>
                    <a:pt x="149567" y="132571"/>
                  </a:cubicBezTo>
                  <a:cubicBezTo>
                    <a:pt x="146429" y="135186"/>
                    <a:pt x="143024" y="137542"/>
                    <a:pt x="139370" y="139369"/>
                  </a:cubicBezTo>
                  <a:cubicBezTo>
                    <a:pt x="136165" y="140971"/>
                    <a:pt x="132571" y="141635"/>
                    <a:pt x="129172" y="142768"/>
                  </a:cubicBezTo>
                  <a:cubicBezTo>
                    <a:pt x="120674" y="151266"/>
                    <a:pt x="99712" y="167130"/>
                    <a:pt x="91780" y="176761"/>
                  </a:cubicBezTo>
                  <a:cubicBezTo>
                    <a:pt x="83848" y="186392"/>
                    <a:pt x="84981" y="194891"/>
                    <a:pt x="81582" y="200556"/>
                  </a:cubicBezTo>
                  <a:cubicBezTo>
                    <a:pt x="78183" y="206221"/>
                    <a:pt x="74462" y="207061"/>
                    <a:pt x="71384" y="210754"/>
                  </a:cubicBezTo>
                  <a:cubicBezTo>
                    <a:pt x="68769" y="213892"/>
                    <a:pt x="67660" y="218261"/>
                    <a:pt x="64586" y="220951"/>
                  </a:cubicBezTo>
                  <a:cubicBezTo>
                    <a:pt x="58437" y="226331"/>
                    <a:pt x="49967" y="228770"/>
                    <a:pt x="44190" y="234548"/>
                  </a:cubicBezTo>
                  <a:cubicBezTo>
                    <a:pt x="40791" y="237947"/>
                    <a:pt x="37070" y="241053"/>
                    <a:pt x="33993" y="244746"/>
                  </a:cubicBezTo>
                  <a:cubicBezTo>
                    <a:pt x="31378" y="247885"/>
                    <a:pt x="29908" y="251890"/>
                    <a:pt x="27194" y="254944"/>
                  </a:cubicBezTo>
                  <a:cubicBezTo>
                    <a:pt x="20806" y="262130"/>
                    <a:pt x="12131" y="267339"/>
                    <a:pt x="6798" y="275339"/>
                  </a:cubicBezTo>
                  <a:lnTo>
                    <a:pt x="0" y="285537"/>
                  </a:ln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2" name="Forma livre 440"/>
            <p:cNvSpPr/>
            <p:nvPr/>
          </p:nvSpPr>
          <p:spPr>
            <a:xfrm>
              <a:off x="2333805" y="693805"/>
              <a:ext cx="35808" cy="249059"/>
            </a:xfrm>
            <a:custGeom>
              <a:avLst/>
              <a:gdLst>
                <a:gd name="connsiteX0" fmla="*/ 9038 w 41059"/>
                <a:gd name="connsiteY0" fmla="*/ 0 h 249059"/>
                <a:gd name="connsiteX1" fmla="*/ 5480 w 41059"/>
                <a:gd name="connsiteY1" fmla="*/ 67602 h 249059"/>
                <a:gd name="connsiteX2" fmla="*/ 12596 w 41059"/>
                <a:gd name="connsiteY2" fmla="*/ 88950 h 249059"/>
                <a:gd name="connsiteX3" fmla="*/ 16154 w 41059"/>
                <a:gd name="connsiteY3" fmla="*/ 110298 h 249059"/>
                <a:gd name="connsiteX4" fmla="*/ 30385 w 41059"/>
                <a:gd name="connsiteY4" fmla="*/ 149435 h 249059"/>
                <a:gd name="connsiteX5" fmla="*/ 33943 w 41059"/>
                <a:gd name="connsiteY5" fmla="*/ 174341 h 249059"/>
                <a:gd name="connsiteX6" fmla="*/ 41059 w 41059"/>
                <a:gd name="connsiteY6" fmla="*/ 202805 h 249059"/>
                <a:gd name="connsiteX7" fmla="*/ 37501 w 41059"/>
                <a:gd name="connsiteY7" fmla="*/ 249059 h 249059"/>
                <a:gd name="connsiteX0" fmla="*/ 9038 w 37501"/>
                <a:gd name="connsiteY0" fmla="*/ 0 h 249059"/>
                <a:gd name="connsiteX1" fmla="*/ 5480 w 37501"/>
                <a:gd name="connsiteY1" fmla="*/ 67602 h 249059"/>
                <a:gd name="connsiteX2" fmla="*/ 12596 w 37501"/>
                <a:gd name="connsiteY2" fmla="*/ 88950 h 249059"/>
                <a:gd name="connsiteX3" fmla="*/ 16154 w 37501"/>
                <a:gd name="connsiteY3" fmla="*/ 110298 h 249059"/>
                <a:gd name="connsiteX4" fmla="*/ 30385 w 37501"/>
                <a:gd name="connsiteY4" fmla="*/ 149435 h 249059"/>
                <a:gd name="connsiteX5" fmla="*/ 33943 w 37501"/>
                <a:gd name="connsiteY5" fmla="*/ 174341 h 249059"/>
                <a:gd name="connsiteX6" fmla="*/ 37501 w 37501"/>
                <a:gd name="connsiteY6" fmla="*/ 249059 h 249059"/>
                <a:gd name="connsiteX0" fmla="*/ 9038 w 37501"/>
                <a:gd name="connsiteY0" fmla="*/ 0 h 249059"/>
                <a:gd name="connsiteX1" fmla="*/ 5480 w 37501"/>
                <a:gd name="connsiteY1" fmla="*/ 67602 h 249059"/>
                <a:gd name="connsiteX2" fmla="*/ 12596 w 37501"/>
                <a:gd name="connsiteY2" fmla="*/ 88950 h 249059"/>
                <a:gd name="connsiteX3" fmla="*/ 16154 w 37501"/>
                <a:gd name="connsiteY3" fmla="*/ 110298 h 249059"/>
                <a:gd name="connsiteX4" fmla="*/ 30385 w 37501"/>
                <a:gd name="connsiteY4" fmla="*/ 149435 h 249059"/>
                <a:gd name="connsiteX5" fmla="*/ 30385 w 37501"/>
                <a:gd name="connsiteY5" fmla="*/ 192131 h 249059"/>
                <a:gd name="connsiteX6" fmla="*/ 37501 w 37501"/>
                <a:gd name="connsiteY6" fmla="*/ 249059 h 249059"/>
                <a:gd name="connsiteX0" fmla="*/ 9038 w 37501"/>
                <a:gd name="connsiteY0" fmla="*/ 0 h 249059"/>
                <a:gd name="connsiteX1" fmla="*/ 5480 w 37501"/>
                <a:gd name="connsiteY1" fmla="*/ 67602 h 249059"/>
                <a:gd name="connsiteX2" fmla="*/ 12596 w 37501"/>
                <a:gd name="connsiteY2" fmla="*/ 88950 h 249059"/>
                <a:gd name="connsiteX3" fmla="*/ 16154 w 37501"/>
                <a:gd name="connsiteY3" fmla="*/ 110298 h 249059"/>
                <a:gd name="connsiteX4" fmla="*/ 16153 w 37501"/>
                <a:gd name="connsiteY4" fmla="*/ 167224 h 249059"/>
                <a:gd name="connsiteX5" fmla="*/ 30385 w 37501"/>
                <a:gd name="connsiteY5" fmla="*/ 192131 h 249059"/>
                <a:gd name="connsiteX6" fmla="*/ 37501 w 37501"/>
                <a:gd name="connsiteY6" fmla="*/ 249059 h 249059"/>
                <a:gd name="connsiteX0" fmla="*/ 7345 w 35808"/>
                <a:gd name="connsiteY0" fmla="*/ 0 h 249059"/>
                <a:gd name="connsiteX1" fmla="*/ 7345 w 35808"/>
                <a:gd name="connsiteY1" fmla="*/ 46254 h 249059"/>
                <a:gd name="connsiteX2" fmla="*/ 10903 w 35808"/>
                <a:gd name="connsiteY2" fmla="*/ 88950 h 249059"/>
                <a:gd name="connsiteX3" fmla="*/ 14461 w 35808"/>
                <a:gd name="connsiteY3" fmla="*/ 110298 h 249059"/>
                <a:gd name="connsiteX4" fmla="*/ 14460 w 35808"/>
                <a:gd name="connsiteY4" fmla="*/ 167224 h 249059"/>
                <a:gd name="connsiteX5" fmla="*/ 28692 w 35808"/>
                <a:gd name="connsiteY5" fmla="*/ 192131 h 249059"/>
                <a:gd name="connsiteX6" fmla="*/ 35808 w 35808"/>
                <a:gd name="connsiteY6" fmla="*/ 249059 h 249059"/>
                <a:gd name="connsiteX0" fmla="*/ 7345 w 35808"/>
                <a:gd name="connsiteY0" fmla="*/ 0 h 249059"/>
                <a:gd name="connsiteX1" fmla="*/ 7345 w 35808"/>
                <a:gd name="connsiteY1" fmla="*/ 46254 h 249059"/>
                <a:gd name="connsiteX2" fmla="*/ 10903 w 35808"/>
                <a:gd name="connsiteY2" fmla="*/ 88950 h 249059"/>
                <a:gd name="connsiteX3" fmla="*/ 14461 w 35808"/>
                <a:gd name="connsiteY3" fmla="*/ 110298 h 249059"/>
                <a:gd name="connsiteX4" fmla="*/ 14460 w 35808"/>
                <a:gd name="connsiteY4" fmla="*/ 167224 h 249059"/>
                <a:gd name="connsiteX5" fmla="*/ 21577 w 35808"/>
                <a:gd name="connsiteY5" fmla="*/ 206363 h 249059"/>
                <a:gd name="connsiteX6" fmla="*/ 35808 w 35808"/>
                <a:gd name="connsiteY6" fmla="*/ 249059 h 249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808" h="249059">
                  <a:moveTo>
                    <a:pt x="7345" y="0"/>
                  </a:moveTo>
                  <a:cubicBezTo>
                    <a:pt x="-4722" y="30166"/>
                    <a:pt x="122" y="-1902"/>
                    <a:pt x="7345" y="46254"/>
                  </a:cubicBezTo>
                  <a:cubicBezTo>
                    <a:pt x="8458" y="53672"/>
                    <a:pt x="9717" y="78276"/>
                    <a:pt x="10903" y="88950"/>
                  </a:cubicBezTo>
                  <a:cubicBezTo>
                    <a:pt x="12089" y="99624"/>
                    <a:pt x="13868" y="97252"/>
                    <a:pt x="14461" y="110298"/>
                  </a:cubicBezTo>
                  <a:cubicBezTo>
                    <a:pt x="15054" y="123344"/>
                    <a:pt x="9746" y="155437"/>
                    <a:pt x="14460" y="167224"/>
                  </a:cubicBezTo>
                  <a:cubicBezTo>
                    <a:pt x="15646" y="175526"/>
                    <a:pt x="18019" y="192724"/>
                    <a:pt x="21577" y="206363"/>
                  </a:cubicBezTo>
                  <a:cubicBezTo>
                    <a:pt x="25135" y="220002"/>
                    <a:pt x="35067" y="233493"/>
                    <a:pt x="35808" y="24905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3" name="Forma livre 442"/>
            <p:cNvSpPr/>
            <p:nvPr/>
          </p:nvSpPr>
          <p:spPr>
            <a:xfrm>
              <a:off x="354149" y="2409371"/>
              <a:ext cx="667657" cy="232240"/>
            </a:xfrm>
            <a:custGeom>
              <a:avLst/>
              <a:gdLst>
                <a:gd name="connsiteX0" fmla="*/ 0 w 667657"/>
                <a:gd name="connsiteY0" fmla="*/ 0 h 232240"/>
                <a:gd name="connsiteX1" fmla="*/ 14514 w 667657"/>
                <a:gd name="connsiteY1" fmla="*/ 2903 h 232240"/>
                <a:gd name="connsiteX2" fmla="*/ 98697 w 667657"/>
                <a:gd name="connsiteY2" fmla="*/ 11612 h 232240"/>
                <a:gd name="connsiteX3" fmla="*/ 127725 w 667657"/>
                <a:gd name="connsiteY3" fmla="*/ 17418 h 232240"/>
                <a:gd name="connsiteX4" fmla="*/ 136434 w 667657"/>
                <a:gd name="connsiteY4" fmla="*/ 20320 h 232240"/>
                <a:gd name="connsiteX5" fmla="*/ 159657 w 667657"/>
                <a:gd name="connsiteY5" fmla="*/ 26126 h 232240"/>
                <a:gd name="connsiteX6" fmla="*/ 174171 w 667657"/>
                <a:gd name="connsiteY6" fmla="*/ 29029 h 232240"/>
                <a:gd name="connsiteX7" fmla="*/ 182880 w 667657"/>
                <a:gd name="connsiteY7" fmla="*/ 31932 h 232240"/>
                <a:gd name="connsiteX8" fmla="*/ 197394 w 667657"/>
                <a:gd name="connsiteY8" fmla="*/ 34835 h 232240"/>
                <a:gd name="connsiteX9" fmla="*/ 214811 w 667657"/>
                <a:gd name="connsiteY9" fmla="*/ 40640 h 232240"/>
                <a:gd name="connsiteX10" fmla="*/ 226422 w 667657"/>
                <a:gd name="connsiteY10" fmla="*/ 43543 h 232240"/>
                <a:gd name="connsiteX11" fmla="*/ 235131 w 667657"/>
                <a:gd name="connsiteY11" fmla="*/ 49349 h 232240"/>
                <a:gd name="connsiteX12" fmla="*/ 243840 w 667657"/>
                <a:gd name="connsiteY12" fmla="*/ 52252 h 232240"/>
                <a:gd name="connsiteX13" fmla="*/ 261257 w 667657"/>
                <a:gd name="connsiteY13" fmla="*/ 63863 h 232240"/>
                <a:gd name="connsiteX14" fmla="*/ 269965 w 667657"/>
                <a:gd name="connsiteY14" fmla="*/ 69669 h 232240"/>
                <a:gd name="connsiteX15" fmla="*/ 281577 w 667657"/>
                <a:gd name="connsiteY15" fmla="*/ 72572 h 232240"/>
                <a:gd name="connsiteX16" fmla="*/ 290285 w 667657"/>
                <a:gd name="connsiteY16" fmla="*/ 75475 h 232240"/>
                <a:gd name="connsiteX17" fmla="*/ 304800 w 667657"/>
                <a:gd name="connsiteY17" fmla="*/ 78378 h 232240"/>
                <a:gd name="connsiteX18" fmla="*/ 313508 w 667657"/>
                <a:gd name="connsiteY18" fmla="*/ 81280 h 232240"/>
                <a:gd name="connsiteX19" fmla="*/ 328022 w 667657"/>
                <a:gd name="connsiteY19" fmla="*/ 84183 h 232240"/>
                <a:gd name="connsiteX20" fmla="*/ 368662 w 667657"/>
                <a:gd name="connsiteY20" fmla="*/ 81280 h 232240"/>
                <a:gd name="connsiteX21" fmla="*/ 377371 w 667657"/>
                <a:gd name="connsiteY21" fmla="*/ 78378 h 232240"/>
                <a:gd name="connsiteX22" fmla="*/ 391885 w 667657"/>
                <a:gd name="connsiteY22" fmla="*/ 81280 h 232240"/>
                <a:gd name="connsiteX23" fmla="*/ 406400 w 667657"/>
                <a:gd name="connsiteY23" fmla="*/ 107406 h 232240"/>
                <a:gd name="connsiteX24" fmla="*/ 415108 w 667657"/>
                <a:gd name="connsiteY24" fmla="*/ 113212 h 232240"/>
                <a:gd name="connsiteX25" fmla="*/ 420914 w 667657"/>
                <a:gd name="connsiteY25" fmla="*/ 121920 h 232240"/>
                <a:gd name="connsiteX26" fmla="*/ 423817 w 667657"/>
                <a:gd name="connsiteY26" fmla="*/ 130629 h 232240"/>
                <a:gd name="connsiteX27" fmla="*/ 441234 w 667657"/>
                <a:gd name="connsiteY27" fmla="*/ 136435 h 232240"/>
                <a:gd name="connsiteX28" fmla="*/ 449942 w 667657"/>
                <a:gd name="connsiteY28" fmla="*/ 139338 h 232240"/>
                <a:gd name="connsiteX29" fmla="*/ 458651 w 667657"/>
                <a:gd name="connsiteY29" fmla="*/ 142240 h 232240"/>
                <a:gd name="connsiteX30" fmla="*/ 467360 w 667657"/>
                <a:gd name="connsiteY30" fmla="*/ 150949 h 232240"/>
                <a:gd name="connsiteX31" fmla="*/ 484777 w 667657"/>
                <a:gd name="connsiteY31" fmla="*/ 156755 h 232240"/>
                <a:gd name="connsiteX32" fmla="*/ 493485 w 667657"/>
                <a:gd name="connsiteY32" fmla="*/ 159658 h 232240"/>
                <a:gd name="connsiteX33" fmla="*/ 528320 w 667657"/>
                <a:gd name="connsiteY33" fmla="*/ 171269 h 232240"/>
                <a:gd name="connsiteX34" fmla="*/ 545737 w 667657"/>
                <a:gd name="connsiteY34" fmla="*/ 177075 h 232240"/>
                <a:gd name="connsiteX35" fmla="*/ 554445 w 667657"/>
                <a:gd name="connsiteY35" fmla="*/ 179978 h 232240"/>
                <a:gd name="connsiteX36" fmla="*/ 563154 w 667657"/>
                <a:gd name="connsiteY36" fmla="*/ 185783 h 232240"/>
                <a:gd name="connsiteX37" fmla="*/ 568960 w 667657"/>
                <a:gd name="connsiteY37" fmla="*/ 194492 h 232240"/>
                <a:gd name="connsiteX38" fmla="*/ 595085 w 667657"/>
                <a:gd name="connsiteY38" fmla="*/ 206103 h 232240"/>
                <a:gd name="connsiteX39" fmla="*/ 621211 w 667657"/>
                <a:gd name="connsiteY39" fmla="*/ 211909 h 232240"/>
                <a:gd name="connsiteX40" fmla="*/ 647337 w 667657"/>
                <a:gd name="connsiteY40" fmla="*/ 223520 h 232240"/>
                <a:gd name="connsiteX41" fmla="*/ 656045 w 667657"/>
                <a:gd name="connsiteY41" fmla="*/ 226423 h 232240"/>
                <a:gd name="connsiteX42" fmla="*/ 667657 w 667657"/>
                <a:gd name="connsiteY42" fmla="*/ 232229 h 232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667657" h="232240">
                  <a:moveTo>
                    <a:pt x="0" y="0"/>
                  </a:moveTo>
                  <a:cubicBezTo>
                    <a:pt x="4838" y="968"/>
                    <a:pt x="9630" y="2205"/>
                    <a:pt x="14514" y="2903"/>
                  </a:cubicBezTo>
                  <a:cubicBezTo>
                    <a:pt x="57508" y="9045"/>
                    <a:pt x="58317" y="8506"/>
                    <a:pt x="98697" y="11612"/>
                  </a:cubicBezTo>
                  <a:cubicBezTo>
                    <a:pt x="118366" y="18169"/>
                    <a:pt x="94380" y="10750"/>
                    <a:pt x="127725" y="17418"/>
                  </a:cubicBezTo>
                  <a:cubicBezTo>
                    <a:pt x="130726" y="18018"/>
                    <a:pt x="133482" y="19515"/>
                    <a:pt x="136434" y="20320"/>
                  </a:cubicBezTo>
                  <a:cubicBezTo>
                    <a:pt x="144132" y="22419"/>
                    <a:pt x="151833" y="24561"/>
                    <a:pt x="159657" y="26126"/>
                  </a:cubicBezTo>
                  <a:cubicBezTo>
                    <a:pt x="164495" y="27094"/>
                    <a:pt x="169384" y="27832"/>
                    <a:pt x="174171" y="29029"/>
                  </a:cubicBezTo>
                  <a:cubicBezTo>
                    <a:pt x="177140" y="29771"/>
                    <a:pt x="179911" y="31190"/>
                    <a:pt x="182880" y="31932"/>
                  </a:cubicBezTo>
                  <a:cubicBezTo>
                    <a:pt x="187667" y="33129"/>
                    <a:pt x="192634" y="33537"/>
                    <a:pt x="197394" y="34835"/>
                  </a:cubicBezTo>
                  <a:cubicBezTo>
                    <a:pt x="203298" y="36445"/>
                    <a:pt x="208874" y="39156"/>
                    <a:pt x="214811" y="40640"/>
                  </a:cubicBezTo>
                  <a:lnTo>
                    <a:pt x="226422" y="43543"/>
                  </a:lnTo>
                  <a:cubicBezTo>
                    <a:pt x="229325" y="45478"/>
                    <a:pt x="232010" y="47789"/>
                    <a:pt x="235131" y="49349"/>
                  </a:cubicBezTo>
                  <a:cubicBezTo>
                    <a:pt x="237868" y="50717"/>
                    <a:pt x="241165" y="50766"/>
                    <a:pt x="243840" y="52252"/>
                  </a:cubicBezTo>
                  <a:cubicBezTo>
                    <a:pt x="249939" y="55640"/>
                    <a:pt x="255451" y="59993"/>
                    <a:pt x="261257" y="63863"/>
                  </a:cubicBezTo>
                  <a:cubicBezTo>
                    <a:pt x="264160" y="65798"/>
                    <a:pt x="266580" y="68823"/>
                    <a:pt x="269965" y="69669"/>
                  </a:cubicBezTo>
                  <a:cubicBezTo>
                    <a:pt x="273836" y="70637"/>
                    <a:pt x="277741" y="71476"/>
                    <a:pt x="281577" y="72572"/>
                  </a:cubicBezTo>
                  <a:cubicBezTo>
                    <a:pt x="284519" y="73413"/>
                    <a:pt x="287317" y="74733"/>
                    <a:pt x="290285" y="75475"/>
                  </a:cubicBezTo>
                  <a:cubicBezTo>
                    <a:pt x="295072" y="76672"/>
                    <a:pt x="300013" y="77181"/>
                    <a:pt x="304800" y="78378"/>
                  </a:cubicBezTo>
                  <a:cubicBezTo>
                    <a:pt x="307768" y="79120"/>
                    <a:pt x="310540" y="80538"/>
                    <a:pt x="313508" y="81280"/>
                  </a:cubicBezTo>
                  <a:cubicBezTo>
                    <a:pt x="318295" y="82477"/>
                    <a:pt x="323184" y="83215"/>
                    <a:pt x="328022" y="84183"/>
                  </a:cubicBezTo>
                  <a:cubicBezTo>
                    <a:pt x="341569" y="83215"/>
                    <a:pt x="355174" y="82867"/>
                    <a:pt x="368662" y="81280"/>
                  </a:cubicBezTo>
                  <a:cubicBezTo>
                    <a:pt x="371701" y="80923"/>
                    <a:pt x="374311" y="78378"/>
                    <a:pt x="377371" y="78378"/>
                  </a:cubicBezTo>
                  <a:cubicBezTo>
                    <a:pt x="382305" y="78378"/>
                    <a:pt x="387047" y="80313"/>
                    <a:pt x="391885" y="81280"/>
                  </a:cubicBezTo>
                  <a:cubicBezTo>
                    <a:pt x="394910" y="90356"/>
                    <a:pt x="397843" y="101701"/>
                    <a:pt x="406400" y="107406"/>
                  </a:cubicBezTo>
                  <a:lnTo>
                    <a:pt x="415108" y="113212"/>
                  </a:lnTo>
                  <a:cubicBezTo>
                    <a:pt x="417043" y="116115"/>
                    <a:pt x="419354" y="118800"/>
                    <a:pt x="420914" y="121920"/>
                  </a:cubicBezTo>
                  <a:cubicBezTo>
                    <a:pt x="422283" y="124657"/>
                    <a:pt x="421327" y="128850"/>
                    <a:pt x="423817" y="130629"/>
                  </a:cubicBezTo>
                  <a:cubicBezTo>
                    <a:pt x="428797" y="134186"/>
                    <a:pt x="435428" y="134500"/>
                    <a:pt x="441234" y="136435"/>
                  </a:cubicBezTo>
                  <a:lnTo>
                    <a:pt x="449942" y="139338"/>
                  </a:lnTo>
                  <a:lnTo>
                    <a:pt x="458651" y="142240"/>
                  </a:lnTo>
                  <a:cubicBezTo>
                    <a:pt x="461554" y="145143"/>
                    <a:pt x="463771" y="148955"/>
                    <a:pt x="467360" y="150949"/>
                  </a:cubicBezTo>
                  <a:cubicBezTo>
                    <a:pt x="472710" y="153921"/>
                    <a:pt x="478971" y="154820"/>
                    <a:pt x="484777" y="156755"/>
                  </a:cubicBezTo>
                  <a:lnTo>
                    <a:pt x="493485" y="159658"/>
                  </a:lnTo>
                  <a:lnTo>
                    <a:pt x="528320" y="171269"/>
                  </a:lnTo>
                  <a:lnTo>
                    <a:pt x="545737" y="177075"/>
                  </a:lnTo>
                  <a:cubicBezTo>
                    <a:pt x="548640" y="178043"/>
                    <a:pt x="551899" y="178281"/>
                    <a:pt x="554445" y="179978"/>
                  </a:cubicBezTo>
                  <a:lnTo>
                    <a:pt x="563154" y="185783"/>
                  </a:lnTo>
                  <a:cubicBezTo>
                    <a:pt x="565089" y="188686"/>
                    <a:pt x="566493" y="192025"/>
                    <a:pt x="568960" y="194492"/>
                  </a:cubicBezTo>
                  <a:cubicBezTo>
                    <a:pt x="575861" y="201394"/>
                    <a:pt x="586459" y="203228"/>
                    <a:pt x="595085" y="206103"/>
                  </a:cubicBezTo>
                  <a:cubicBezTo>
                    <a:pt x="609380" y="210868"/>
                    <a:pt x="600771" y="208502"/>
                    <a:pt x="621211" y="211909"/>
                  </a:cubicBezTo>
                  <a:cubicBezTo>
                    <a:pt x="635013" y="221110"/>
                    <a:pt x="626608" y="216611"/>
                    <a:pt x="647337" y="223520"/>
                  </a:cubicBezTo>
                  <a:cubicBezTo>
                    <a:pt x="650240" y="224488"/>
                    <a:pt x="653499" y="224726"/>
                    <a:pt x="656045" y="226423"/>
                  </a:cubicBezTo>
                  <a:cubicBezTo>
                    <a:pt x="665559" y="232766"/>
                    <a:pt x="661265" y="232229"/>
                    <a:pt x="667657" y="232229"/>
                  </a:cubicBezTo>
                </a:path>
              </a:pathLst>
            </a:custGeom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4" name="Forma livre 443"/>
            <p:cNvSpPr/>
            <p:nvPr/>
          </p:nvSpPr>
          <p:spPr>
            <a:xfrm>
              <a:off x="2245659" y="416859"/>
              <a:ext cx="225562" cy="269596"/>
            </a:xfrm>
            <a:custGeom>
              <a:avLst/>
              <a:gdLst>
                <a:gd name="connsiteX0" fmla="*/ 0 w 221876"/>
                <a:gd name="connsiteY0" fmla="*/ 0 h 275665"/>
                <a:gd name="connsiteX1" fmla="*/ 20170 w 221876"/>
                <a:gd name="connsiteY1" fmla="*/ 100853 h 275665"/>
                <a:gd name="connsiteX2" fmla="*/ 33617 w 221876"/>
                <a:gd name="connsiteY2" fmla="*/ 141194 h 275665"/>
                <a:gd name="connsiteX3" fmla="*/ 53788 w 221876"/>
                <a:gd name="connsiteY3" fmla="*/ 181535 h 275665"/>
                <a:gd name="connsiteX4" fmla="*/ 73959 w 221876"/>
                <a:gd name="connsiteY4" fmla="*/ 248770 h 275665"/>
                <a:gd name="connsiteX5" fmla="*/ 87406 w 221876"/>
                <a:gd name="connsiteY5" fmla="*/ 268941 h 275665"/>
                <a:gd name="connsiteX6" fmla="*/ 107576 w 221876"/>
                <a:gd name="connsiteY6" fmla="*/ 275665 h 275665"/>
                <a:gd name="connsiteX7" fmla="*/ 127747 w 221876"/>
                <a:gd name="connsiteY7" fmla="*/ 262217 h 275665"/>
                <a:gd name="connsiteX8" fmla="*/ 181535 w 221876"/>
                <a:gd name="connsiteY8" fmla="*/ 215153 h 275665"/>
                <a:gd name="connsiteX9" fmla="*/ 221876 w 221876"/>
                <a:gd name="connsiteY9" fmla="*/ 194982 h 275665"/>
                <a:gd name="connsiteX10" fmla="*/ 221876 w 221876"/>
                <a:gd name="connsiteY10" fmla="*/ 188259 h 275665"/>
                <a:gd name="connsiteX0" fmla="*/ 0 w 221876"/>
                <a:gd name="connsiteY0" fmla="*/ 0 h 275665"/>
                <a:gd name="connsiteX1" fmla="*/ 20170 w 221876"/>
                <a:gd name="connsiteY1" fmla="*/ 100853 h 275665"/>
                <a:gd name="connsiteX2" fmla="*/ 33617 w 221876"/>
                <a:gd name="connsiteY2" fmla="*/ 141194 h 275665"/>
                <a:gd name="connsiteX3" fmla="*/ 53788 w 221876"/>
                <a:gd name="connsiteY3" fmla="*/ 181535 h 275665"/>
                <a:gd name="connsiteX4" fmla="*/ 73959 w 221876"/>
                <a:gd name="connsiteY4" fmla="*/ 248770 h 275665"/>
                <a:gd name="connsiteX5" fmla="*/ 87406 w 221876"/>
                <a:gd name="connsiteY5" fmla="*/ 268941 h 275665"/>
                <a:gd name="connsiteX6" fmla="*/ 107576 w 221876"/>
                <a:gd name="connsiteY6" fmla="*/ 275665 h 275665"/>
                <a:gd name="connsiteX7" fmla="*/ 127747 w 221876"/>
                <a:gd name="connsiteY7" fmla="*/ 235323 h 275665"/>
                <a:gd name="connsiteX8" fmla="*/ 181535 w 221876"/>
                <a:gd name="connsiteY8" fmla="*/ 215153 h 275665"/>
                <a:gd name="connsiteX9" fmla="*/ 221876 w 221876"/>
                <a:gd name="connsiteY9" fmla="*/ 194982 h 275665"/>
                <a:gd name="connsiteX10" fmla="*/ 221876 w 221876"/>
                <a:gd name="connsiteY10" fmla="*/ 188259 h 275665"/>
                <a:gd name="connsiteX0" fmla="*/ 0 w 225562"/>
                <a:gd name="connsiteY0" fmla="*/ 0 h 275665"/>
                <a:gd name="connsiteX1" fmla="*/ 20170 w 225562"/>
                <a:gd name="connsiteY1" fmla="*/ 100853 h 275665"/>
                <a:gd name="connsiteX2" fmla="*/ 33617 w 225562"/>
                <a:gd name="connsiteY2" fmla="*/ 141194 h 275665"/>
                <a:gd name="connsiteX3" fmla="*/ 53788 w 225562"/>
                <a:gd name="connsiteY3" fmla="*/ 181535 h 275665"/>
                <a:gd name="connsiteX4" fmla="*/ 73959 w 225562"/>
                <a:gd name="connsiteY4" fmla="*/ 248770 h 275665"/>
                <a:gd name="connsiteX5" fmla="*/ 87406 w 225562"/>
                <a:gd name="connsiteY5" fmla="*/ 268941 h 275665"/>
                <a:gd name="connsiteX6" fmla="*/ 107576 w 225562"/>
                <a:gd name="connsiteY6" fmla="*/ 275665 h 275665"/>
                <a:gd name="connsiteX7" fmla="*/ 127747 w 225562"/>
                <a:gd name="connsiteY7" fmla="*/ 235323 h 275665"/>
                <a:gd name="connsiteX8" fmla="*/ 172108 w 225562"/>
                <a:gd name="connsiteY8" fmla="*/ 191586 h 275665"/>
                <a:gd name="connsiteX9" fmla="*/ 221876 w 225562"/>
                <a:gd name="connsiteY9" fmla="*/ 194982 h 275665"/>
                <a:gd name="connsiteX10" fmla="*/ 221876 w 225562"/>
                <a:gd name="connsiteY10" fmla="*/ 188259 h 275665"/>
                <a:gd name="connsiteX0" fmla="*/ 0 w 225562"/>
                <a:gd name="connsiteY0" fmla="*/ 0 h 275665"/>
                <a:gd name="connsiteX1" fmla="*/ 20170 w 225562"/>
                <a:gd name="connsiteY1" fmla="*/ 100853 h 275665"/>
                <a:gd name="connsiteX2" fmla="*/ 33617 w 225562"/>
                <a:gd name="connsiteY2" fmla="*/ 141194 h 275665"/>
                <a:gd name="connsiteX3" fmla="*/ 53788 w 225562"/>
                <a:gd name="connsiteY3" fmla="*/ 181535 h 275665"/>
                <a:gd name="connsiteX4" fmla="*/ 73959 w 225562"/>
                <a:gd name="connsiteY4" fmla="*/ 248770 h 275665"/>
                <a:gd name="connsiteX5" fmla="*/ 87406 w 225562"/>
                <a:gd name="connsiteY5" fmla="*/ 268941 h 275665"/>
                <a:gd name="connsiteX6" fmla="*/ 107576 w 225562"/>
                <a:gd name="connsiteY6" fmla="*/ 275665 h 275665"/>
                <a:gd name="connsiteX7" fmla="*/ 127747 w 225562"/>
                <a:gd name="connsiteY7" fmla="*/ 235323 h 275665"/>
                <a:gd name="connsiteX8" fmla="*/ 172108 w 225562"/>
                <a:gd name="connsiteY8" fmla="*/ 191586 h 275665"/>
                <a:gd name="connsiteX9" fmla="*/ 221876 w 225562"/>
                <a:gd name="connsiteY9" fmla="*/ 194982 h 275665"/>
                <a:gd name="connsiteX10" fmla="*/ 221876 w 225562"/>
                <a:gd name="connsiteY10" fmla="*/ 174119 h 275665"/>
                <a:gd name="connsiteX0" fmla="*/ 0 w 225562"/>
                <a:gd name="connsiteY0" fmla="*/ 0 h 269596"/>
                <a:gd name="connsiteX1" fmla="*/ 20170 w 225562"/>
                <a:gd name="connsiteY1" fmla="*/ 100853 h 269596"/>
                <a:gd name="connsiteX2" fmla="*/ 33617 w 225562"/>
                <a:gd name="connsiteY2" fmla="*/ 141194 h 269596"/>
                <a:gd name="connsiteX3" fmla="*/ 53788 w 225562"/>
                <a:gd name="connsiteY3" fmla="*/ 181535 h 269596"/>
                <a:gd name="connsiteX4" fmla="*/ 73959 w 225562"/>
                <a:gd name="connsiteY4" fmla="*/ 248770 h 269596"/>
                <a:gd name="connsiteX5" fmla="*/ 87406 w 225562"/>
                <a:gd name="connsiteY5" fmla="*/ 268941 h 269596"/>
                <a:gd name="connsiteX6" fmla="*/ 93435 w 225562"/>
                <a:gd name="connsiteY6" fmla="*/ 266238 h 269596"/>
                <a:gd name="connsiteX7" fmla="*/ 127747 w 225562"/>
                <a:gd name="connsiteY7" fmla="*/ 235323 h 269596"/>
                <a:gd name="connsiteX8" fmla="*/ 172108 w 225562"/>
                <a:gd name="connsiteY8" fmla="*/ 191586 h 269596"/>
                <a:gd name="connsiteX9" fmla="*/ 221876 w 225562"/>
                <a:gd name="connsiteY9" fmla="*/ 194982 h 269596"/>
                <a:gd name="connsiteX10" fmla="*/ 221876 w 225562"/>
                <a:gd name="connsiteY10" fmla="*/ 174119 h 269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562" h="269596">
                  <a:moveTo>
                    <a:pt x="0" y="0"/>
                  </a:moveTo>
                  <a:cubicBezTo>
                    <a:pt x="28806" y="72014"/>
                    <a:pt x="-806" y="-11021"/>
                    <a:pt x="20170" y="100853"/>
                  </a:cubicBezTo>
                  <a:cubicBezTo>
                    <a:pt x="22782" y="114785"/>
                    <a:pt x="29135" y="127747"/>
                    <a:pt x="33617" y="141194"/>
                  </a:cubicBezTo>
                  <a:cubicBezTo>
                    <a:pt x="42896" y="169030"/>
                    <a:pt x="36410" y="155469"/>
                    <a:pt x="53788" y="181535"/>
                  </a:cubicBezTo>
                  <a:cubicBezTo>
                    <a:pt x="57546" y="196568"/>
                    <a:pt x="67412" y="238950"/>
                    <a:pt x="73959" y="248770"/>
                  </a:cubicBezTo>
                  <a:cubicBezTo>
                    <a:pt x="78441" y="255494"/>
                    <a:pt x="84160" y="266030"/>
                    <a:pt x="87406" y="268941"/>
                  </a:cubicBezTo>
                  <a:cubicBezTo>
                    <a:pt x="90652" y="271852"/>
                    <a:pt x="86712" y="263997"/>
                    <a:pt x="93435" y="266238"/>
                  </a:cubicBezTo>
                  <a:cubicBezTo>
                    <a:pt x="100159" y="261755"/>
                    <a:pt x="114635" y="247765"/>
                    <a:pt x="127747" y="235323"/>
                  </a:cubicBezTo>
                  <a:cubicBezTo>
                    <a:pt x="140859" y="222881"/>
                    <a:pt x="156420" y="198309"/>
                    <a:pt x="172108" y="191586"/>
                  </a:cubicBezTo>
                  <a:cubicBezTo>
                    <a:pt x="187796" y="184863"/>
                    <a:pt x="213581" y="197893"/>
                    <a:pt x="221876" y="194982"/>
                  </a:cubicBezTo>
                  <a:cubicBezTo>
                    <a:pt x="230171" y="192071"/>
                    <a:pt x="221876" y="176360"/>
                    <a:pt x="221876" y="174119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5" name="Forma livre 444"/>
            <p:cNvSpPr/>
            <p:nvPr/>
          </p:nvSpPr>
          <p:spPr>
            <a:xfrm>
              <a:off x="2328421" y="937967"/>
              <a:ext cx="127261" cy="716437"/>
            </a:xfrm>
            <a:custGeom>
              <a:avLst/>
              <a:gdLst>
                <a:gd name="connsiteX0" fmla="*/ 37707 w 127261"/>
                <a:gd name="connsiteY0" fmla="*/ 0 h 716437"/>
                <a:gd name="connsiteX1" fmla="*/ 32993 w 127261"/>
                <a:gd name="connsiteY1" fmla="*/ 28280 h 716437"/>
                <a:gd name="connsiteX2" fmla="*/ 42420 w 127261"/>
                <a:gd name="connsiteY2" fmla="*/ 117835 h 716437"/>
                <a:gd name="connsiteX3" fmla="*/ 32993 w 127261"/>
                <a:gd name="connsiteY3" fmla="*/ 164969 h 716437"/>
                <a:gd name="connsiteX4" fmla="*/ 23567 w 127261"/>
                <a:gd name="connsiteY4" fmla="*/ 179109 h 716437"/>
                <a:gd name="connsiteX5" fmla="*/ 4713 w 127261"/>
                <a:gd name="connsiteY5" fmla="*/ 221530 h 716437"/>
                <a:gd name="connsiteX6" fmla="*/ 0 w 127261"/>
                <a:gd name="connsiteY6" fmla="*/ 235670 h 716437"/>
                <a:gd name="connsiteX7" fmla="*/ 9426 w 127261"/>
                <a:gd name="connsiteY7" fmla="*/ 278091 h 716437"/>
                <a:gd name="connsiteX8" fmla="*/ 14140 w 127261"/>
                <a:gd name="connsiteY8" fmla="*/ 325225 h 716437"/>
                <a:gd name="connsiteX9" fmla="*/ 32993 w 127261"/>
                <a:gd name="connsiteY9" fmla="*/ 367645 h 716437"/>
                <a:gd name="connsiteX10" fmla="*/ 51847 w 127261"/>
                <a:gd name="connsiteY10" fmla="*/ 395926 h 716437"/>
                <a:gd name="connsiteX11" fmla="*/ 56560 w 127261"/>
                <a:gd name="connsiteY11" fmla="*/ 410066 h 716437"/>
                <a:gd name="connsiteX12" fmla="*/ 75414 w 127261"/>
                <a:gd name="connsiteY12" fmla="*/ 438346 h 716437"/>
                <a:gd name="connsiteX13" fmla="*/ 84841 w 127261"/>
                <a:gd name="connsiteY13" fmla="*/ 471340 h 716437"/>
                <a:gd name="connsiteX14" fmla="*/ 94268 w 127261"/>
                <a:gd name="connsiteY14" fmla="*/ 485480 h 716437"/>
                <a:gd name="connsiteX15" fmla="*/ 103694 w 127261"/>
                <a:gd name="connsiteY15" fmla="*/ 513761 h 716437"/>
                <a:gd name="connsiteX16" fmla="*/ 108408 w 127261"/>
                <a:gd name="connsiteY16" fmla="*/ 527901 h 716437"/>
                <a:gd name="connsiteX17" fmla="*/ 122548 w 127261"/>
                <a:gd name="connsiteY17" fmla="*/ 707010 h 716437"/>
                <a:gd name="connsiteX18" fmla="*/ 127261 w 127261"/>
                <a:gd name="connsiteY18" fmla="*/ 716437 h 716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7261" h="716437">
                  <a:moveTo>
                    <a:pt x="37707" y="0"/>
                  </a:moveTo>
                  <a:cubicBezTo>
                    <a:pt x="36136" y="9427"/>
                    <a:pt x="32993" y="18723"/>
                    <a:pt x="32993" y="28280"/>
                  </a:cubicBezTo>
                  <a:cubicBezTo>
                    <a:pt x="32993" y="66399"/>
                    <a:pt x="36881" y="84596"/>
                    <a:pt x="42420" y="117835"/>
                  </a:cubicBezTo>
                  <a:cubicBezTo>
                    <a:pt x="40682" y="130003"/>
                    <a:pt x="39576" y="151803"/>
                    <a:pt x="32993" y="164969"/>
                  </a:cubicBezTo>
                  <a:cubicBezTo>
                    <a:pt x="30460" y="170036"/>
                    <a:pt x="25868" y="173933"/>
                    <a:pt x="23567" y="179109"/>
                  </a:cubicBezTo>
                  <a:cubicBezTo>
                    <a:pt x="1134" y="229586"/>
                    <a:pt x="26045" y="189533"/>
                    <a:pt x="4713" y="221530"/>
                  </a:cubicBezTo>
                  <a:cubicBezTo>
                    <a:pt x="3142" y="226243"/>
                    <a:pt x="0" y="230702"/>
                    <a:pt x="0" y="235670"/>
                  </a:cubicBezTo>
                  <a:cubicBezTo>
                    <a:pt x="0" y="252261"/>
                    <a:pt x="4566" y="263509"/>
                    <a:pt x="9426" y="278091"/>
                  </a:cubicBezTo>
                  <a:cubicBezTo>
                    <a:pt x="10997" y="293802"/>
                    <a:pt x="11230" y="309706"/>
                    <a:pt x="14140" y="325225"/>
                  </a:cubicBezTo>
                  <a:cubicBezTo>
                    <a:pt x="21436" y="364134"/>
                    <a:pt x="20291" y="342241"/>
                    <a:pt x="32993" y="367645"/>
                  </a:cubicBezTo>
                  <a:cubicBezTo>
                    <a:pt x="46635" y="394929"/>
                    <a:pt x="25045" y="369124"/>
                    <a:pt x="51847" y="395926"/>
                  </a:cubicBezTo>
                  <a:cubicBezTo>
                    <a:pt x="53418" y="400639"/>
                    <a:pt x="54147" y="405723"/>
                    <a:pt x="56560" y="410066"/>
                  </a:cubicBezTo>
                  <a:cubicBezTo>
                    <a:pt x="62062" y="419970"/>
                    <a:pt x="75414" y="438346"/>
                    <a:pt x="75414" y="438346"/>
                  </a:cubicBezTo>
                  <a:cubicBezTo>
                    <a:pt x="76926" y="444393"/>
                    <a:pt x="81458" y="464574"/>
                    <a:pt x="84841" y="471340"/>
                  </a:cubicBezTo>
                  <a:cubicBezTo>
                    <a:pt x="87375" y="476407"/>
                    <a:pt x="91126" y="480767"/>
                    <a:pt x="94268" y="485480"/>
                  </a:cubicBezTo>
                  <a:lnTo>
                    <a:pt x="103694" y="513761"/>
                  </a:lnTo>
                  <a:lnTo>
                    <a:pt x="108408" y="527901"/>
                  </a:lnTo>
                  <a:cubicBezTo>
                    <a:pt x="109158" y="551910"/>
                    <a:pt x="98058" y="658025"/>
                    <a:pt x="122548" y="707010"/>
                  </a:cubicBezTo>
                  <a:lnTo>
                    <a:pt x="127261" y="716437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6" name="Forma livre 445"/>
            <p:cNvSpPr/>
            <p:nvPr/>
          </p:nvSpPr>
          <p:spPr>
            <a:xfrm>
              <a:off x="3261674" y="1545996"/>
              <a:ext cx="61274" cy="273377"/>
            </a:xfrm>
            <a:custGeom>
              <a:avLst/>
              <a:gdLst>
                <a:gd name="connsiteX0" fmla="*/ 23567 w 61274"/>
                <a:gd name="connsiteY0" fmla="*/ 273377 h 273377"/>
                <a:gd name="connsiteX1" fmla="*/ 32994 w 61274"/>
                <a:gd name="connsiteY1" fmla="*/ 249810 h 273377"/>
                <a:gd name="connsiteX2" fmla="*/ 37707 w 61274"/>
                <a:gd name="connsiteY2" fmla="*/ 235670 h 273377"/>
                <a:gd name="connsiteX3" fmla="*/ 28281 w 61274"/>
                <a:gd name="connsiteY3" fmla="*/ 197963 h 273377"/>
                <a:gd name="connsiteX4" fmla="*/ 18854 w 61274"/>
                <a:gd name="connsiteY4" fmla="*/ 183823 h 273377"/>
                <a:gd name="connsiteX5" fmla="*/ 4714 w 61274"/>
                <a:gd name="connsiteY5" fmla="*/ 141402 h 273377"/>
                <a:gd name="connsiteX6" fmla="*/ 0 w 61274"/>
                <a:gd name="connsiteY6" fmla="*/ 127262 h 273377"/>
                <a:gd name="connsiteX7" fmla="*/ 9427 w 61274"/>
                <a:gd name="connsiteY7" fmla="*/ 61274 h 273377"/>
                <a:gd name="connsiteX8" fmla="*/ 14140 w 61274"/>
                <a:gd name="connsiteY8" fmla="*/ 47134 h 273377"/>
                <a:gd name="connsiteX9" fmla="*/ 42421 w 61274"/>
                <a:gd name="connsiteY9" fmla="*/ 28280 h 273377"/>
                <a:gd name="connsiteX10" fmla="*/ 61274 w 61274"/>
                <a:gd name="connsiteY10" fmla="*/ 0 h 273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1274" h="273377">
                  <a:moveTo>
                    <a:pt x="23567" y="273377"/>
                  </a:moveTo>
                  <a:cubicBezTo>
                    <a:pt x="26709" y="265521"/>
                    <a:pt x="30023" y="257732"/>
                    <a:pt x="32994" y="249810"/>
                  </a:cubicBezTo>
                  <a:cubicBezTo>
                    <a:pt x="34738" y="245158"/>
                    <a:pt x="37707" y="240638"/>
                    <a:pt x="37707" y="235670"/>
                  </a:cubicBezTo>
                  <a:cubicBezTo>
                    <a:pt x="37707" y="230293"/>
                    <a:pt x="32000" y="205401"/>
                    <a:pt x="28281" y="197963"/>
                  </a:cubicBezTo>
                  <a:cubicBezTo>
                    <a:pt x="25748" y="192896"/>
                    <a:pt x="21155" y="189000"/>
                    <a:pt x="18854" y="183823"/>
                  </a:cubicBezTo>
                  <a:cubicBezTo>
                    <a:pt x="18849" y="183811"/>
                    <a:pt x="7073" y="148478"/>
                    <a:pt x="4714" y="141402"/>
                  </a:cubicBezTo>
                  <a:lnTo>
                    <a:pt x="0" y="127262"/>
                  </a:lnTo>
                  <a:cubicBezTo>
                    <a:pt x="3756" y="89703"/>
                    <a:pt x="1542" y="88873"/>
                    <a:pt x="9427" y="61274"/>
                  </a:cubicBezTo>
                  <a:cubicBezTo>
                    <a:pt x="10792" y="56497"/>
                    <a:pt x="10627" y="50647"/>
                    <a:pt x="14140" y="47134"/>
                  </a:cubicBezTo>
                  <a:cubicBezTo>
                    <a:pt x="22151" y="39123"/>
                    <a:pt x="42421" y="28280"/>
                    <a:pt x="42421" y="28280"/>
                  </a:cubicBezTo>
                  <a:lnTo>
                    <a:pt x="61274" y="0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7" name="Forma livre 446"/>
            <p:cNvSpPr/>
            <p:nvPr/>
          </p:nvSpPr>
          <p:spPr>
            <a:xfrm>
              <a:off x="1776953" y="2380268"/>
              <a:ext cx="146115" cy="174396"/>
            </a:xfrm>
            <a:custGeom>
              <a:avLst/>
              <a:gdLst>
                <a:gd name="connsiteX0" fmla="*/ 0 w 146115"/>
                <a:gd name="connsiteY0" fmla="*/ 174396 h 174396"/>
                <a:gd name="connsiteX1" fmla="*/ 18853 w 146115"/>
                <a:gd name="connsiteY1" fmla="*/ 122548 h 174396"/>
                <a:gd name="connsiteX2" fmla="*/ 47134 w 146115"/>
                <a:gd name="connsiteY2" fmla="*/ 108408 h 174396"/>
                <a:gd name="connsiteX3" fmla="*/ 75414 w 146115"/>
                <a:gd name="connsiteY3" fmla="*/ 94268 h 174396"/>
                <a:gd name="connsiteX4" fmla="*/ 89554 w 146115"/>
                <a:gd name="connsiteY4" fmla="*/ 80128 h 174396"/>
                <a:gd name="connsiteX5" fmla="*/ 117835 w 146115"/>
                <a:gd name="connsiteY5" fmla="*/ 70701 h 174396"/>
                <a:gd name="connsiteX6" fmla="*/ 131975 w 146115"/>
                <a:gd name="connsiteY6" fmla="*/ 61274 h 174396"/>
                <a:gd name="connsiteX7" fmla="*/ 146115 w 146115"/>
                <a:gd name="connsiteY7" fmla="*/ 28280 h 174396"/>
                <a:gd name="connsiteX8" fmla="*/ 141402 w 146115"/>
                <a:gd name="connsiteY8" fmla="*/ 4713 h 174396"/>
                <a:gd name="connsiteX9" fmla="*/ 127261 w 146115"/>
                <a:gd name="connsiteY9" fmla="*/ 0 h 174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6115" h="174396">
                  <a:moveTo>
                    <a:pt x="0" y="174396"/>
                  </a:moveTo>
                  <a:cubicBezTo>
                    <a:pt x="3488" y="156956"/>
                    <a:pt x="5357" y="136044"/>
                    <a:pt x="18853" y="122548"/>
                  </a:cubicBezTo>
                  <a:cubicBezTo>
                    <a:pt x="32358" y="109043"/>
                    <a:pt x="31802" y="116074"/>
                    <a:pt x="47134" y="108408"/>
                  </a:cubicBezTo>
                  <a:cubicBezTo>
                    <a:pt x="83678" y="90135"/>
                    <a:pt x="39876" y="106113"/>
                    <a:pt x="75414" y="94268"/>
                  </a:cubicBezTo>
                  <a:cubicBezTo>
                    <a:pt x="80127" y="89555"/>
                    <a:pt x="83727" y="83365"/>
                    <a:pt x="89554" y="80128"/>
                  </a:cubicBezTo>
                  <a:cubicBezTo>
                    <a:pt x="98240" y="75302"/>
                    <a:pt x="117835" y="70701"/>
                    <a:pt x="117835" y="70701"/>
                  </a:cubicBezTo>
                  <a:cubicBezTo>
                    <a:pt x="122548" y="67559"/>
                    <a:pt x="128348" y="65626"/>
                    <a:pt x="131975" y="61274"/>
                  </a:cubicBezTo>
                  <a:cubicBezTo>
                    <a:pt x="138449" y="53506"/>
                    <a:pt x="142840" y="38105"/>
                    <a:pt x="146115" y="28280"/>
                  </a:cubicBezTo>
                  <a:cubicBezTo>
                    <a:pt x="144544" y="20424"/>
                    <a:pt x="145846" y="11379"/>
                    <a:pt x="141402" y="4713"/>
                  </a:cubicBezTo>
                  <a:cubicBezTo>
                    <a:pt x="138646" y="579"/>
                    <a:pt x="127261" y="0"/>
                    <a:pt x="127261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8" name="Forma livre 447"/>
            <p:cNvSpPr/>
            <p:nvPr/>
          </p:nvSpPr>
          <p:spPr>
            <a:xfrm>
              <a:off x="867266" y="2795047"/>
              <a:ext cx="334652" cy="164969"/>
            </a:xfrm>
            <a:custGeom>
              <a:avLst/>
              <a:gdLst>
                <a:gd name="connsiteX0" fmla="*/ 334652 w 334652"/>
                <a:gd name="connsiteY0" fmla="*/ 0 h 164969"/>
                <a:gd name="connsiteX1" fmla="*/ 306371 w 334652"/>
                <a:gd name="connsiteY1" fmla="*/ 23567 h 164969"/>
                <a:gd name="connsiteX2" fmla="*/ 315798 w 334652"/>
                <a:gd name="connsiteY2" fmla="*/ 37708 h 164969"/>
                <a:gd name="connsiteX3" fmla="*/ 273377 w 334652"/>
                <a:gd name="connsiteY3" fmla="*/ 80128 h 164969"/>
                <a:gd name="connsiteX4" fmla="*/ 254524 w 334652"/>
                <a:gd name="connsiteY4" fmla="*/ 84842 h 164969"/>
                <a:gd name="connsiteX5" fmla="*/ 249810 w 334652"/>
                <a:gd name="connsiteY5" fmla="*/ 98982 h 164969"/>
                <a:gd name="connsiteX6" fmla="*/ 221530 w 334652"/>
                <a:gd name="connsiteY6" fmla="*/ 113122 h 164969"/>
                <a:gd name="connsiteX7" fmla="*/ 207390 w 334652"/>
                <a:gd name="connsiteY7" fmla="*/ 103695 h 164969"/>
                <a:gd name="connsiteX8" fmla="*/ 188536 w 334652"/>
                <a:gd name="connsiteY8" fmla="*/ 122549 h 164969"/>
                <a:gd name="connsiteX9" fmla="*/ 179109 w 334652"/>
                <a:gd name="connsiteY9" fmla="*/ 136689 h 164969"/>
                <a:gd name="connsiteX10" fmla="*/ 150829 w 334652"/>
                <a:gd name="connsiteY10" fmla="*/ 160256 h 164969"/>
                <a:gd name="connsiteX11" fmla="*/ 136689 w 334652"/>
                <a:gd name="connsiteY11" fmla="*/ 164969 h 164969"/>
                <a:gd name="connsiteX12" fmla="*/ 127262 w 334652"/>
                <a:gd name="connsiteY12" fmla="*/ 150829 h 164969"/>
                <a:gd name="connsiteX13" fmla="*/ 80128 w 334652"/>
                <a:gd name="connsiteY13" fmla="*/ 136689 h 164969"/>
                <a:gd name="connsiteX14" fmla="*/ 65988 w 334652"/>
                <a:gd name="connsiteY14" fmla="*/ 122549 h 164969"/>
                <a:gd name="connsiteX15" fmla="*/ 14140 w 334652"/>
                <a:gd name="connsiteY15" fmla="*/ 122549 h 164969"/>
                <a:gd name="connsiteX16" fmla="*/ 0 w 334652"/>
                <a:gd name="connsiteY16" fmla="*/ 146116 h 16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4652" h="164969">
                  <a:moveTo>
                    <a:pt x="334652" y="0"/>
                  </a:moveTo>
                  <a:cubicBezTo>
                    <a:pt x="324168" y="4194"/>
                    <a:pt x="303370" y="5557"/>
                    <a:pt x="306371" y="23567"/>
                  </a:cubicBezTo>
                  <a:cubicBezTo>
                    <a:pt x="307302" y="29155"/>
                    <a:pt x="312656" y="32994"/>
                    <a:pt x="315798" y="37708"/>
                  </a:cubicBezTo>
                  <a:cubicBezTo>
                    <a:pt x="304192" y="95736"/>
                    <a:pt x="322232" y="87108"/>
                    <a:pt x="273377" y="80128"/>
                  </a:cubicBezTo>
                  <a:cubicBezTo>
                    <a:pt x="267093" y="81699"/>
                    <a:pt x="259582" y="80795"/>
                    <a:pt x="254524" y="84842"/>
                  </a:cubicBezTo>
                  <a:cubicBezTo>
                    <a:pt x="250644" y="87946"/>
                    <a:pt x="252914" y="95102"/>
                    <a:pt x="249810" y="98982"/>
                  </a:cubicBezTo>
                  <a:cubicBezTo>
                    <a:pt x="243164" y="107289"/>
                    <a:pt x="230846" y="110017"/>
                    <a:pt x="221530" y="113122"/>
                  </a:cubicBezTo>
                  <a:cubicBezTo>
                    <a:pt x="216817" y="109980"/>
                    <a:pt x="212978" y="104626"/>
                    <a:pt x="207390" y="103695"/>
                  </a:cubicBezTo>
                  <a:cubicBezTo>
                    <a:pt x="189986" y="100795"/>
                    <a:pt x="193370" y="112880"/>
                    <a:pt x="188536" y="122549"/>
                  </a:cubicBezTo>
                  <a:cubicBezTo>
                    <a:pt x="186003" y="127616"/>
                    <a:pt x="182736" y="132337"/>
                    <a:pt x="179109" y="136689"/>
                  </a:cubicBezTo>
                  <a:cubicBezTo>
                    <a:pt x="171664" y="145623"/>
                    <a:pt x="161421" y="154960"/>
                    <a:pt x="150829" y="160256"/>
                  </a:cubicBezTo>
                  <a:cubicBezTo>
                    <a:pt x="146385" y="162478"/>
                    <a:pt x="141402" y="163398"/>
                    <a:pt x="136689" y="164969"/>
                  </a:cubicBezTo>
                  <a:cubicBezTo>
                    <a:pt x="133547" y="160256"/>
                    <a:pt x="131268" y="154835"/>
                    <a:pt x="127262" y="150829"/>
                  </a:cubicBezTo>
                  <a:cubicBezTo>
                    <a:pt x="112971" y="136538"/>
                    <a:pt x="100897" y="139656"/>
                    <a:pt x="80128" y="136689"/>
                  </a:cubicBezTo>
                  <a:cubicBezTo>
                    <a:pt x="75415" y="131976"/>
                    <a:pt x="72079" y="125256"/>
                    <a:pt x="65988" y="122549"/>
                  </a:cubicBezTo>
                  <a:cubicBezTo>
                    <a:pt x="45400" y="113398"/>
                    <a:pt x="34006" y="118575"/>
                    <a:pt x="14140" y="122549"/>
                  </a:cubicBezTo>
                  <a:cubicBezTo>
                    <a:pt x="8575" y="144810"/>
                    <a:pt x="15221" y="138505"/>
                    <a:pt x="0" y="146116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09" name="Forma livre 448"/>
            <p:cNvSpPr/>
            <p:nvPr/>
          </p:nvSpPr>
          <p:spPr>
            <a:xfrm>
              <a:off x="1560136" y="2743200"/>
              <a:ext cx="18854" cy="183823"/>
            </a:xfrm>
            <a:custGeom>
              <a:avLst/>
              <a:gdLst>
                <a:gd name="connsiteX0" fmla="*/ 18854 w 18854"/>
                <a:gd name="connsiteY0" fmla="*/ 0 h 183823"/>
                <a:gd name="connsiteX1" fmla="*/ 0 w 18854"/>
                <a:gd name="connsiteY1" fmla="*/ 37707 h 183823"/>
                <a:gd name="connsiteX2" fmla="*/ 4713 w 18854"/>
                <a:gd name="connsiteY2" fmla="*/ 65988 h 183823"/>
                <a:gd name="connsiteX3" fmla="*/ 9427 w 18854"/>
                <a:gd name="connsiteY3" fmla="*/ 131975 h 183823"/>
                <a:gd name="connsiteX4" fmla="*/ 14140 w 18854"/>
                <a:gd name="connsiteY4" fmla="*/ 183823 h 183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854" h="183823">
                  <a:moveTo>
                    <a:pt x="18854" y="0"/>
                  </a:moveTo>
                  <a:cubicBezTo>
                    <a:pt x="16189" y="4441"/>
                    <a:pt x="0" y="27558"/>
                    <a:pt x="0" y="37707"/>
                  </a:cubicBezTo>
                  <a:cubicBezTo>
                    <a:pt x="0" y="47264"/>
                    <a:pt x="3142" y="56561"/>
                    <a:pt x="4713" y="65988"/>
                  </a:cubicBezTo>
                  <a:cubicBezTo>
                    <a:pt x="6284" y="87984"/>
                    <a:pt x="7118" y="110044"/>
                    <a:pt x="9427" y="131975"/>
                  </a:cubicBezTo>
                  <a:cubicBezTo>
                    <a:pt x="15989" y="194309"/>
                    <a:pt x="14140" y="112791"/>
                    <a:pt x="14140" y="183823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0" name="Forma livre 449"/>
            <p:cNvSpPr/>
            <p:nvPr/>
          </p:nvSpPr>
          <p:spPr>
            <a:xfrm>
              <a:off x="1008668" y="2587658"/>
              <a:ext cx="782425" cy="216555"/>
            </a:xfrm>
            <a:custGeom>
              <a:avLst/>
              <a:gdLst>
                <a:gd name="connsiteX0" fmla="*/ 0 w 782425"/>
                <a:gd name="connsiteY0" fmla="*/ 47134 h 216555"/>
                <a:gd name="connsiteX1" fmla="*/ 23567 w 782425"/>
                <a:gd name="connsiteY1" fmla="*/ 56561 h 216555"/>
                <a:gd name="connsiteX2" fmla="*/ 28280 w 782425"/>
                <a:gd name="connsiteY2" fmla="*/ 70701 h 216555"/>
                <a:gd name="connsiteX3" fmla="*/ 42421 w 782425"/>
                <a:gd name="connsiteY3" fmla="*/ 80128 h 216555"/>
                <a:gd name="connsiteX4" fmla="*/ 51847 w 782425"/>
                <a:gd name="connsiteY4" fmla="*/ 94268 h 216555"/>
                <a:gd name="connsiteX5" fmla="*/ 61274 w 782425"/>
                <a:gd name="connsiteY5" fmla="*/ 113121 h 216555"/>
                <a:gd name="connsiteX6" fmla="*/ 89555 w 782425"/>
                <a:gd name="connsiteY6" fmla="*/ 146115 h 216555"/>
                <a:gd name="connsiteX7" fmla="*/ 98981 w 782425"/>
                <a:gd name="connsiteY7" fmla="*/ 160255 h 216555"/>
                <a:gd name="connsiteX8" fmla="*/ 127262 w 782425"/>
                <a:gd name="connsiteY8" fmla="*/ 183822 h 216555"/>
                <a:gd name="connsiteX9" fmla="*/ 136689 w 782425"/>
                <a:gd name="connsiteY9" fmla="*/ 197963 h 216555"/>
                <a:gd name="connsiteX10" fmla="*/ 193250 w 782425"/>
                <a:gd name="connsiteY10" fmla="*/ 207389 h 216555"/>
                <a:gd name="connsiteX11" fmla="*/ 259237 w 782425"/>
                <a:gd name="connsiteY11" fmla="*/ 207389 h 216555"/>
                <a:gd name="connsiteX12" fmla="*/ 287518 w 782425"/>
                <a:gd name="connsiteY12" fmla="*/ 188536 h 216555"/>
                <a:gd name="connsiteX13" fmla="*/ 301658 w 782425"/>
                <a:gd name="connsiteY13" fmla="*/ 179109 h 216555"/>
                <a:gd name="connsiteX14" fmla="*/ 329938 w 782425"/>
                <a:gd name="connsiteY14" fmla="*/ 169682 h 216555"/>
                <a:gd name="connsiteX15" fmla="*/ 344078 w 782425"/>
                <a:gd name="connsiteY15" fmla="*/ 164969 h 216555"/>
                <a:gd name="connsiteX16" fmla="*/ 424206 w 782425"/>
                <a:gd name="connsiteY16" fmla="*/ 155542 h 216555"/>
                <a:gd name="connsiteX17" fmla="*/ 438346 w 782425"/>
                <a:gd name="connsiteY17" fmla="*/ 150829 h 216555"/>
                <a:gd name="connsiteX18" fmla="*/ 490194 w 782425"/>
                <a:gd name="connsiteY18" fmla="*/ 146115 h 216555"/>
                <a:gd name="connsiteX19" fmla="*/ 542041 w 782425"/>
                <a:gd name="connsiteY19" fmla="*/ 146115 h 216555"/>
                <a:gd name="connsiteX20" fmla="*/ 556181 w 782425"/>
                <a:gd name="connsiteY20" fmla="*/ 160255 h 216555"/>
                <a:gd name="connsiteX21" fmla="*/ 593889 w 782425"/>
                <a:gd name="connsiteY21" fmla="*/ 155542 h 216555"/>
                <a:gd name="connsiteX22" fmla="*/ 608029 w 782425"/>
                <a:gd name="connsiteY22" fmla="*/ 150829 h 216555"/>
                <a:gd name="connsiteX23" fmla="*/ 617456 w 782425"/>
                <a:gd name="connsiteY23" fmla="*/ 136688 h 216555"/>
                <a:gd name="connsiteX24" fmla="*/ 631596 w 782425"/>
                <a:gd name="connsiteY24" fmla="*/ 122548 h 216555"/>
                <a:gd name="connsiteX25" fmla="*/ 659876 w 782425"/>
                <a:gd name="connsiteY25" fmla="*/ 103695 h 216555"/>
                <a:gd name="connsiteX26" fmla="*/ 674017 w 782425"/>
                <a:gd name="connsiteY26" fmla="*/ 94268 h 216555"/>
                <a:gd name="connsiteX27" fmla="*/ 688157 w 782425"/>
                <a:gd name="connsiteY27" fmla="*/ 80128 h 216555"/>
                <a:gd name="connsiteX28" fmla="*/ 740004 w 782425"/>
                <a:gd name="connsiteY28" fmla="*/ 70701 h 216555"/>
                <a:gd name="connsiteX29" fmla="*/ 754144 w 782425"/>
                <a:gd name="connsiteY29" fmla="*/ 65987 h 216555"/>
                <a:gd name="connsiteX30" fmla="*/ 768285 w 782425"/>
                <a:gd name="connsiteY30" fmla="*/ 28280 h 216555"/>
                <a:gd name="connsiteX31" fmla="*/ 772998 w 782425"/>
                <a:gd name="connsiteY31" fmla="*/ 14140 h 216555"/>
                <a:gd name="connsiteX32" fmla="*/ 782425 w 782425"/>
                <a:gd name="connsiteY32" fmla="*/ 0 h 2165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782425" h="216555">
                  <a:moveTo>
                    <a:pt x="0" y="47134"/>
                  </a:moveTo>
                  <a:cubicBezTo>
                    <a:pt x="7856" y="50276"/>
                    <a:pt x="17067" y="51144"/>
                    <a:pt x="23567" y="56561"/>
                  </a:cubicBezTo>
                  <a:cubicBezTo>
                    <a:pt x="27384" y="59742"/>
                    <a:pt x="25176" y="66821"/>
                    <a:pt x="28280" y="70701"/>
                  </a:cubicBezTo>
                  <a:cubicBezTo>
                    <a:pt x="31819" y="75125"/>
                    <a:pt x="37707" y="76986"/>
                    <a:pt x="42421" y="80128"/>
                  </a:cubicBezTo>
                  <a:cubicBezTo>
                    <a:pt x="45563" y="84841"/>
                    <a:pt x="49037" y="89350"/>
                    <a:pt x="51847" y="94268"/>
                  </a:cubicBezTo>
                  <a:cubicBezTo>
                    <a:pt x="55333" y="100368"/>
                    <a:pt x="57550" y="107163"/>
                    <a:pt x="61274" y="113121"/>
                  </a:cubicBezTo>
                  <a:cubicBezTo>
                    <a:pt x="78932" y="141374"/>
                    <a:pt x="70267" y="122970"/>
                    <a:pt x="89555" y="146115"/>
                  </a:cubicBezTo>
                  <a:cubicBezTo>
                    <a:pt x="93181" y="150467"/>
                    <a:pt x="95355" y="155903"/>
                    <a:pt x="98981" y="160255"/>
                  </a:cubicBezTo>
                  <a:cubicBezTo>
                    <a:pt x="110323" y="173865"/>
                    <a:pt x="113358" y="174553"/>
                    <a:pt x="127262" y="183822"/>
                  </a:cubicBezTo>
                  <a:cubicBezTo>
                    <a:pt x="130404" y="188536"/>
                    <a:pt x="134156" y="192896"/>
                    <a:pt x="136689" y="197963"/>
                  </a:cubicBezTo>
                  <a:cubicBezTo>
                    <a:pt x="151768" y="228123"/>
                    <a:pt x="119412" y="214102"/>
                    <a:pt x="193250" y="207389"/>
                  </a:cubicBezTo>
                  <a:cubicBezTo>
                    <a:pt x="215500" y="210171"/>
                    <a:pt x="237279" y="216538"/>
                    <a:pt x="259237" y="207389"/>
                  </a:cubicBezTo>
                  <a:cubicBezTo>
                    <a:pt x="269695" y="203031"/>
                    <a:pt x="278091" y="194820"/>
                    <a:pt x="287518" y="188536"/>
                  </a:cubicBezTo>
                  <a:cubicBezTo>
                    <a:pt x="292231" y="185394"/>
                    <a:pt x="296284" y="180900"/>
                    <a:pt x="301658" y="179109"/>
                  </a:cubicBezTo>
                  <a:lnTo>
                    <a:pt x="329938" y="169682"/>
                  </a:lnTo>
                  <a:cubicBezTo>
                    <a:pt x="334651" y="168111"/>
                    <a:pt x="339130" y="165419"/>
                    <a:pt x="344078" y="164969"/>
                  </a:cubicBezTo>
                  <a:cubicBezTo>
                    <a:pt x="370561" y="162561"/>
                    <a:pt x="398017" y="161361"/>
                    <a:pt x="424206" y="155542"/>
                  </a:cubicBezTo>
                  <a:cubicBezTo>
                    <a:pt x="429056" y="154464"/>
                    <a:pt x="433428" y="151532"/>
                    <a:pt x="438346" y="150829"/>
                  </a:cubicBezTo>
                  <a:cubicBezTo>
                    <a:pt x="455526" y="148375"/>
                    <a:pt x="472911" y="147686"/>
                    <a:pt x="490194" y="146115"/>
                  </a:cubicBezTo>
                  <a:cubicBezTo>
                    <a:pt x="510625" y="139305"/>
                    <a:pt x="514003" y="135920"/>
                    <a:pt x="542041" y="146115"/>
                  </a:cubicBezTo>
                  <a:cubicBezTo>
                    <a:pt x="548305" y="148393"/>
                    <a:pt x="551468" y="155542"/>
                    <a:pt x="556181" y="160255"/>
                  </a:cubicBezTo>
                  <a:cubicBezTo>
                    <a:pt x="568750" y="158684"/>
                    <a:pt x="581426" y="157808"/>
                    <a:pt x="593889" y="155542"/>
                  </a:cubicBezTo>
                  <a:cubicBezTo>
                    <a:pt x="598777" y="154653"/>
                    <a:pt x="604149" y="153933"/>
                    <a:pt x="608029" y="150829"/>
                  </a:cubicBezTo>
                  <a:cubicBezTo>
                    <a:pt x="612453" y="147290"/>
                    <a:pt x="613829" y="141040"/>
                    <a:pt x="617456" y="136688"/>
                  </a:cubicBezTo>
                  <a:cubicBezTo>
                    <a:pt x="621723" y="131567"/>
                    <a:pt x="626334" y="126640"/>
                    <a:pt x="631596" y="122548"/>
                  </a:cubicBezTo>
                  <a:cubicBezTo>
                    <a:pt x="640539" y="115592"/>
                    <a:pt x="650449" y="109979"/>
                    <a:pt x="659876" y="103695"/>
                  </a:cubicBezTo>
                  <a:cubicBezTo>
                    <a:pt x="664590" y="100553"/>
                    <a:pt x="670011" y="98274"/>
                    <a:pt x="674017" y="94268"/>
                  </a:cubicBezTo>
                  <a:cubicBezTo>
                    <a:pt x="678730" y="89555"/>
                    <a:pt x="682611" y="83826"/>
                    <a:pt x="688157" y="80128"/>
                  </a:cubicBezTo>
                  <a:cubicBezTo>
                    <a:pt x="698219" y="73420"/>
                    <a:pt x="738399" y="70902"/>
                    <a:pt x="740004" y="70701"/>
                  </a:cubicBezTo>
                  <a:cubicBezTo>
                    <a:pt x="744717" y="69130"/>
                    <a:pt x="750264" y="69091"/>
                    <a:pt x="754144" y="65987"/>
                  </a:cubicBezTo>
                  <a:cubicBezTo>
                    <a:pt x="766267" y="56288"/>
                    <a:pt x="764931" y="41694"/>
                    <a:pt x="768285" y="28280"/>
                  </a:cubicBezTo>
                  <a:cubicBezTo>
                    <a:pt x="769490" y="23460"/>
                    <a:pt x="770776" y="18584"/>
                    <a:pt x="772998" y="14140"/>
                  </a:cubicBezTo>
                  <a:cubicBezTo>
                    <a:pt x="775531" y="9073"/>
                    <a:pt x="782425" y="0"/>
                    <a:pt x="782425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1" name="Forma livre 450"/>
            <p:cNvSpPr/>
            <p:nvPr/>
          </p:nvSpPr>
          <p:spPr>
            <a:xfrm>
              <a:off x="3186260" y="2710206"/>
              <a:ext cx="94268" cy="400639"/>
            </a:xfrm>
            <a:custGeom>
              <a:avLst/>
              <a:gdLst>
                <a:gd name="connsiteX0" fmla="*/ 84841 w 94268"/>
                <a:gd name="connsiteY0" fmla="*/ 0 h 400639"/>
                <a:gd name="connsiteX1" fmla="*/ 89554 w 94268"/>
                <a:gd name="connsiteY1" fmla="*/ 32994 h 400639"/>
                <a:gd name="connsiteX2" fmla="*/ 94268 w 94268"/>
                <a:gd name="connsiteY2" fmla="*/ 51848 h 400639"/>
                <a:gd name="connsiteX3" fmla="*/ 89554 w 94268"/>
                <a:gd name="connsiteY3" fmla="*/ 127262 h 400639"/>
                <a:gd name="connsiteX4" fmla="*/ 70701 w 94268"/>
                <a:gd name="connsiteY4" fmla="*/ 169683 h 400639"/>
                <a:gd name="connsiteX5" fmla="*/ 61274 w 94268"/>
                <a:gd name="connsiteY5" fmla="*/ 207390 h 400639"/>
                <a:gd name="connsiteX6" fmla="*/ 51847 w 94268"/>
                <a:gd name="connsiteY6" fmla="*/ 235670 h 400639"/>
                <a:gd name="connsiteX7" fmla="*/ 47134 w 94268"/>
                <a:gd name="connsiteY7" fmla="*/ 249810 h 400639"/>
                <a:gd name="connsiteX8" fmla="*/ 42420 w 94268"/>
                <a:gd name="connsiteY8" fmla="*/ 296945 h 400639"/>
                <a:gd name="connsiteX9" fmla="*/ 32994 w 94268"/>
                <a:gd name="connsiteY9" fmla="*/ 325225 h 400639"/>
                <a:gd name="connsiteX10" fmla="*/ 28280 w 94268"/>
                <a:gd name="connsiteY10" fmla="*/ 339365 h 400639"/>
                <a:gd name="connsiteX11" fmla="*/ 23567 w 94268"/>
                <a:gd name="connsiteY11" fmla="*/ 353505 h 400639"/>
                <a:gd name="connsiteX12" fmla="*/ 14140 w 94268"/>
                <a:gd name="connsiteY12" fmla="*/ 367646 h 400639"/>
                <a:gd name="connsiteX13" fmla="*/ 0 w 94268"/>
                <a:gd name="connsiteY13" fmla="*/ 400639 h 400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4268" h="400639">
                  <a:moveTo>
                    <a:pt x="84841" y="0"/>
                  </a:moveTo>
                  <a:cubicBezTo>
                    <a:pt x="86412" y="10998"/>
                    <a:pt x="87567" y="22064"/>
                    <a:pt x="89554" y="32994"/>
                  </a:cubicBezTo>
                  <a:cubicBezTo>
                    <a:pt x="90713" y="39368"/>
                    <a:pt x="94268" y="45370"/>
                    <a:pt x="94268" y="51848"/>
                  </a:cubicBezTo>
                  <a:cubicBezTo>
                    <a:pt x="94268" y="77035"/>
                    <a:pt x="92957" y="102306"/>
                    <a:pt x="89554" y="127262"/>
                  </a:cubicBezTo>
                  <a:cubicBezTo>
                    <a:pt x="84994" y="160699"/>
                    <a:pt x="81844" y="147398"/>
                    <a:pt x="70701" y="169683"/>
                  </a:cubicBezTo>
                  <a:cubicBezTo>
                    <a:pt x="64978" y="181129"/>
                    <a:pt x="64503" y="195549"/>
                    <a:pt x="61274" y="207390"/>
                  </a:cubicBezTo>
                  <a:cubicBezTo>
                    <a:pt x="58660" y="216976"/>
                    <a:pt x="54989" y="226243"/>
                    <a:pt x="51847" y="235670"/>
                  </a:cubicBezTo>
                  <a:lnTo>
                    <a:pt x="47134" y="249810"/>
                  </a:lnTo>
                  <a:cubicBezTo>
                    <a:pt x="45563" y="265522"/>
                    <a:pt x="45330" y="281425"/>
                    <a:pt x="42420" y="296945"/>
                  </a:cubicBezTo>
                  <a:cubicBezTo>
                    <a:pt x="40589" y="306711"/>
                    <a:pt x="36136" y="315798"/>
                    <a:pt x="32994" y="325225"/>
                  </a:cubicBezTo>
                  <a:lnTo>
                    <a:pt x="28280" y="339365"/>
                  </a:lnTo>
                  <a:cubicBezTo>
                    <a:pt x="26709" y="344078"/>
                    <a:pt x="26323" y="349371"/>
                    <a:pt x="23567" y="353505"/>
                  </a:cubicBezTo>
                  <a:lnTo>
                    <a:pt x="14140" y="367646"/>
                  </a:lnTo>
                  <a:cubicBezTo>
                    <a:pt x="4010" y="398034"/>
                    <a:pt x="11739" y="388900"/>
                    <a:pt x="0" y="400639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2" name="Forma livre 451"/>
            <p:cNvSpPr/>
            <p:nvPr/>
          </p:nvSpPr>
          <p:spPr>
            <a:xfrm>
              <a:off x="1776953" y="2554664"/>
              <a:ext cx="1291472" cy="961534"/>
            </a:xfrm>
            <a:custGeom>
              <a:avLst/>
              <a:gdLst>
                <a:gd name="connsiteX0" fmla="*/ 0 w 1291472"/>
                <a:gd name="connsiteY0" fmla="*/ 0 h 961534"/>
                <a:gd name="connsiteX1" fmla="*/ 4713 w 1291472"/>
                <a:gd name="connsiteY1" fmla="*/ 32994 h 961534"/>
                <a:gd name="connsiteX2" fmla="*/ 18853 w 1291472"/>
                <a:gd name="connsiteY2" fmla="*/ 37707 h 961534"/>
                <a:gd name="connsiteX3" fmla="*/ 84841 w 1291472"/>
                <a:gd name="connsiteY3" fmla="*/ 47134 h 961534"/>
                <a:gd name="connsiteX4" fmla="*/ 94268 w 1291472"/>
                <a:gd name="connsiteY4" fmla="*/ 80128 h 961534"/>
                <a:gd name="connsiteX5" fmla="*/ 122548 w 1291472"/>
                <a:gd name="connsiteY5" fmla="*/ 94268 h 961534"/>
                <a:gd name="connsiteX6" fmla="*/ 136688 w 1291472"/>
                <a:gd name="connsiteY6" fmla="*/ 127262 h 961534"/>
                <a:gd name="connsiteX7" fmla="*/ 155542 w 1291472"/>
                <a:gd name="connsiteY7" fmla="*/ 155542 h 961534"/>
                <a:gd name="connsiteX8" fmla="*/ 164969 w 1291472"/>
                <a:gd name="connsiteY8" fmla="*/ 183823 h 961534"/>
                <a:gd name="connsiteX9" fmla="*/ 169682 w 1291472"/>
                <a:gd name="connsiteY9" fmla="*/ 207390 h 961534"/>
                <a:gd name="connsiteX10" fmla="*/ 179109 w 1291472"/>
                <a:gd name="connsiteY10" fmla="*/ 235670 h 961534"/>
                <a:gd name="connsiteX11" fmla="*/ 193249 w 1291472"/>
                <a:gd name="connsiteY11" fmla="*/ 240383 h 961534"/>
                <a:gd name="connsiteX12" fmla="*/ 212103 w 1291472"/>
                <a:gd name="connsiteY12" fmla="*/ 259237 h 961534"/>
                <a:gd name="connsiteX13" fmla="*/ 240383 w 1291472"/>
                <a:gd name="connsiteY13" fmla="*/ 278091 h 961534"/>
                <a:gd name="connsiteX14" fmla="*/ 254523 w 1291472"/>
                <a:gd name="connsiteY14" fmla="*/ 292231 h 961534"/>
                <a:gd name="connsiteX15" fmla="*/ 263950 w 1291472"/>
                <a:gd name="connsiteY15" fmla="*/ 306371 h 961534"/>
                <a:gd name="connsiteX16" fmla="*/ 278090 w 1291472"/>
                <a:gd name="connsiteY16" fmla="*/ 315798 h 961534"/>
                <a:gd name="connsiteX17" fmla="*/ 301657 w 1291472"/>
                <a:gd name="connsiteY17" fmla="*/ 334651 h 961534"/>
                <a:gd name="connsiteX18" fmla="*/ 344078 w 1291472"/>
                <a:gd name="connsiteY18" fmla="*/ 367645 h 961534"/>
                <a:gd name="connsiteX19" fmla="*/ 348791 w 1291472"/>
                <a:gd name="connsiteY19" fmla="*/ 381785 h 961534"/>
                <a:gd name="connsiteX20" fmla="*/ 367645 w 1291472"/>
                <a:gd name="connsiteY20" fmla="*/ 466627 h 961534"/>
                <a:gd name="connsiteX21" fmla="*/ 386499 w 1291472"/>
                <a:gd name="connsiteY21" fmla="*/ 471340 h 961534"/>
                <a:gd name="connsiteX22" fmla="*/ 400639 w 1291472"/>
                <a:gd name="connsiteY22" fmla="*/ 476054 h 961534"/>
                <a:gd name="connsiteX23" fmla="*/ 419492 w 1291472"/>
                <a:gd name="connsiteY23" fmla="*/ 480767 h 961534"/>
                <a:gd name="connsiteX24" fmla="*/ 447773 w 1291472"/>
                <a:gd name="connsiteY24" fmla="*/ 490194 h 961534"/>
                <a:gd name="connsiteX25" fmla="*/ 461913 w 1291472"/>
                <a:gd name="connsiteY25" fmla="*/ 494907 h 961534"/>
                <a:gd name="connsiteX26" fmla="*/ 490193 w 1291472"/>
                <a:gd name="connsiteY26" fmla="*/ 513761 h 961534"/>
                <a:gd name="connsiteX27" fmla="*/ 504334 w 1291472"/>
                <a:gd name="connsiteY27" fmla="*/ 523188 h 961534"/>
                <a:gd name="connsiteX28" fmla="*/ 527901 w 1291472"/>
                <a:gd name="connsiteY28" fmla="*/ 551468 h 961534"/>
                <a:gd name="connsiteX29" fmla="*/ 560894 w 1291472"/>
                <a:gd name="connsiteY29" fmla="*/ 589175 h 961534"/>
                <a:gd name="connsiteX30" fmla="*/ 579748 w 1291472"/>
                <a:gd name="connsiteY30" fmla="*/ 631596 h 961534"/>
                <a:gd name="connsiteX31" fmla="*/ 584461 w 1291472"/>
                <a:gd name="connsiteY31" fmla="*/ 645736 h 961534"/>
                <a:gd name="connsiteX32" fmla="*/ 612742 w 1291472"/>
                <a:gd name="connsiteY32" fmla="*/ 674016 h 961534"/>
                <a:gd name="connsiteX33" fmla="*/ 631595 w 1291472"/>
                <a:gd name="connsiteY33" fmla="*/ 688157 h 961534"/>
                <a:gd name="connsiteX34" fmla="*/ 650449 w 1291472"/>
                <a:gd name="connsiteY34" fmla="*/ 716437 h 961534"/>
                <a:gd name="connsiteX35" fmla="*/ 659876 w 1291472"/>
                <a:gd name="connsiteY35" fmla="*/ 730577 h 961534"/>
                <a:gd name="connsiteX36" fmla="*/ 669303 w 1291472"/>
                <a:gd name="connsiteY36" fmla="*/ 744717 h 961534"/>
                <a:gd name="connsiteX37" fmla="*/ 678729 w 1291472"/>
                <a:gd name="connsiteY37" fmla="*/ 777711 h 961534"/>
                <a:gd name="connsiteX38" fmla="*/ 683443 w 1291472"/>
                <a:gd name="connsiteY38" fmla="*/ 829559 h 961534"/>
                <a:gd name="connsiteX39" fmla="*/ 697583 w 1291472"/>
                <a:gd name="connsiteY39" fmla="*/ 838985 h 961534"/>
                <a:gd name="connsiteX40" fmla="*/ 725863 w 1291472"/>
                <a:gd name="connsiteY40" fmla="*/ 848412 h 961534"/>
                <a:gd name="connsiteX41" fmla="*/ 740004 w 1291472"/>
                <a:gd name="connsiteY41" fmla="*/ 853126 h 961534"/>
                <a:gd name="connsiteX42" fmla="*/ 768284 w 1291472"/>
                <a:gd name="connsiteY42" fmla="*/ 867266 h 961534"/>
                <a:gd name="connsiteX43" fmla="*/ 777711 w 1291472"/>
                <a:gd name="connsiteY43" fmla="*/ 853126 h 961534"/>
                <a:gd name="connsiteX44" fmla="*/ 787138 w 1291472"/>
                <a:gd name="connsiteY44" fmla="*/ 824845 h 961534"/>
                <a:gd name="connsiteX45" fmla="*/ 824845 w 1291472"/>
                <a:gd name="connsiteY45" fmla="*/ 815418 h 961534"/>
                <a:gd name="connsiteX46" fmla="*/ 848412 w 1291472"/>
                <a:gd name="connsiteY46" fmla="*/ 791851 h 961534"/>
                <a:gd name="connsiteX47" fmla="*/ 857839 w 1291472"/>
                <a:gd name="connsiteY47" fmla="*/ 763571 h 961534"/>
                <a:gd name="connsiteX48" fmla="*/ 853125 w 1291472"/>
                <a:gd name="connsiteY48" fmla="*/ 740004 h 961534"/>
                <a:gd name="connsiteX49" fmla="*/ 848412 w 1291472"/>
                <a:gd name="connsiteY49" fmla="*/ 725864 h 961534"/>
                <a:gd name="connsiteX50" fmla="*/ 867266 w 1291472"/>
                <a:gd name="connsiteY50" fmla="*/ 702297 h 961534"/>
                <a:gd name="connsiteX51" fmla="*/ 881406 w 1291472"/>
                <a:gd name="connsiteY51" fmla="*/ 697583 h 961534"/>
                <a:gd name="connsiteX52" fmla="*/ 895546 w 1291472"/>
                <a:gd name="connsiteY52" fmla="*/ 688157 h 961534"/>
                <a:gd name="connsiteX53" fmla="*/ 909686 w 1291472"/>
                <a:gd name="connsiteY53" fmla="*/ 669303 h 961534"/>
                <a:gd name="connsiteX54" fmla="*/ 928540 w 1291472"/>
                <a:gd name="connsiteY54" fmla="*/ 664590 h 961534"/>
                <a:gd name="connsiteX55" fmla="*/ 952107 w 1291472"/>
                <a:gd name="connsiteY55" fmla="*/ 669303 h 961534"/>
                <a:gd name="connsiteX56" fmla="*/ 985101 w 1291472"/>
                <a:gd name="connsiteY56" fmla="*/ 683443 h 961534"/>
                <a:gd name="connsiteX57" fmla="*/ 970960 w 1291472"/>
                <a:gd name="connsiteY57" fmla="*/ 711724 h 961534"/>
                <a:gd name="connsiteX58" fmla="*/ 966247 w 1291472"/>
                <a:gd name="connsiteY58" fmla="*/ 725864 h 961534"/>
                <a:gd name="connsiteX59" fmla="*/ 975674 w 1291472"/>
                <a:gd name="connsiteY59" fmla="*/ 754144 h 961534"/>
                <a:gd name="connsiteX60" fmla="*/ 980387 w 1291472"/>
                <a:gd name="connsiteY60" fmla="*/ 796565 h 961534"/>
                <a:gd name="connsiteX61" fmla="*/ 994527 w 1291472"/>
                <a:gd name="connsiteY61" fmla="*/ 810705 h 961534"/>
                <a:gd name="connsiteX62" fmla="*/ 1003954 w 1291472"/>
                <a:gd name="connsiteY62" fmla="*/ 824845 h 961534"/>
                <a:gd name="connsiteX63" fmla="*/ 1013381 w 1291472"/>
                <a:gd name="connsiteY63" fmla="*/ 853126 h 961534"/>
                <a:gd name="connsiteX64" fmla="*/ 1008668 w 1291472"/>
                <a:gd name="connsiteY64" fmla="*/ 867266 h 961534"/>
                <a:gd name="connsiteX65" fmla="*/ 994527 w 1291472"/>
                <a:gd name="connsiteY65" fmla="*/ 881406 h 961534"/>
                <a:gd name="connsiteX66" fmla="*/ 999241 w 1291472"/>
                <a:gd name="connsiteY66" fmla="*/ 909687 h 961534"/>
                <a:gd name="connsiteX67" fmla="*/ 1018094 w 1291472"/>
                <a:gd name="connsiteY67" fmla="*/ 937967 h 961534"/>
                <a:gd name="connsiteX68" fmla="*/ 1036948 w 1291472"/>
                <a:gd name="connsiteY68" fmla="*/ 942680 h 961534"/>
                <a:gd name="connsiteX69" fmla="*/ 1065228 w 1291472"/>
                <a:gd name="connsiteY69" fmla="*/ 937967 h 961534"/>
                <a:gd name="connsiteX70" fmla="*/ 1079369 w 1291472"/>
                <a:gd name="connsiteY70" fmla="*/ 933254 h 961534"/>
                <a:gd name="connsiteX71" fmla="*/ 1121789 w 1291472"/>
                <a:gd name="connsiteY71" fmla="*/ 928540 h 961534"/>
                <a:gd name="connsiteX72" fmla="*/ 1234911 w 1291472"/>
                <a:gd name="connsiteY72" fmla="*/ 928540 h 961534"/>
                <a:gd name="connsiteX73" fmla="*/ 1263191 w 1291472"/>
                <a:gd name="connsiteY73" fmla="*/ 937967 h 961534"/>
                <a:gd name="connsiteX74" fmla="*/ 1272618 w 1291472"/>
                <a:gd name="connsiteY74" fmla="*/ 952107 h 961534"/>
                <a:gd name="connsiteX75" fmla="*/ 1286758 w 1291472"/>
                <a:gd name="connsiteY75" fmla="*/ 956821 h 961534"/>
                <a:gd name="connsiteX76" fmla="*/ 1291472 w 1291472"/>
                <a:gd name="connsiteY76" fmla="*/ 961534 h 961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291472" h="961534">
                  <a:moveTo>
                    <a:pt x="0" y="0"/>
                  </a:moveTo>
                  <a:cubicBezTo>
                    <a:pt x="1571" y="10998"/>
                    <a:pt x="-255" y="23057"/>
                    <a:pt x="4713" y="32994"/>
                  </a:cubicBezTo>
                  <a:cubicBezTo>
                    <a:pt x="6935" y="37438"/>
                    <a:pt x="14003" y="36629"/>
                    <a:pt x="18853" y="37707"/>
                  </a:cubicBezTo>
                  <a:cubicBezTo>
                    <a:pt x="36338" y="41592"/>
                    <a:pt x="68520" y="45094"/>
                    <a:pt x="84841" y="47134"/>
                  </a:cubicBezTo>
                  <a:cubicBezTo>
                    <a:pt x="85150" y="48369"/>
                    <a:pt x="91807" y="77052"/>
                    <a:pt x="94268" y="80128"/>
                  </a:cubicBezTo>
                  <a:cubicBezTo>
                    <a:pt x="100914" y="88435"/>
                    <a:pt x="113232" y="91163"/>
                    <a:pt x="122548" y="94268"/>
                  </a:cubicBezTo>
                  <a:cubicBezTo>
                    <a:pt x="156861" y="145736"/>
                    <a:pt x="106252" y="66389"/>
                    <a:pt x="136688" y="127262"/>
                  </a:cubicBezTo>
                  <a:cubicBezTo>
                    <a:pt x="141755" y="137395"/>
                    <a:pt x="155542" y="155542"/>
                    <a:pt x="155542" y="155542"/>
                  </a:cubicBezTo>
                  <a:cubicBezTo>
                    <a:pt x="158684" y="164969"/>
                    <a:pt x="163020" y="174079"/>
                    <a:pt x="164969" y="183823"/>
                  </a:cubicBezTo>
                  <a:cubicBezTo>
                    <a:pt x="166540" y="191679"/>
                    <a:pt x="167574" y="199661"/>
                    <a:pt x="169682" y="207390"/>
                  </a:cubicBezTo>
                  <a:cubicBezTo>
                    <a:pt x="172296" y="216976"/>
                    <a:pt x="169682" y="232528"/>
                    <a:pt x="179109" y="235670"/>
                  </a:cubicBezTo>
                  <a:lnTo>
                    <a:pt x="193249" y="240383"/>
                  </a:lnTo>
                  <a:cubicBezTo>
                    <a:pt x="199534" y="246668"/>
                    <a:pt x="205163" y="253685"/>
                    <a:pt x="212103" y="259237"/>
                  </a:cubicBezTo>
                  <a:cubicBezTo>
                    <a:pt x="220950" y="266315"/>
                    <a:pt x="232372" y="270080"/>
                    <a:pt x="240383" y="278091"/>
                  </a:cubicBezTo>
                  <a:cubicBezTo>
                    <a:pt x="245096" y="282804"/>
                    <a:pt x="250256" y="287110"/>
                    <a:pt x="254523" y="292231"/>
                  </a:cubicBezTo>
                  <a:cubicBezTo>
                    <a:pt x="258150" y="296583"/>
                    <a:pt x="259944" y="302365"/>
                    <a:pt x="263950" y="306371"/>
                  </a:cubicBezTo>
                  <a:cubicBezTo>
                    <a:pt x="267956" y="310377"/>
                    <a:pt x="273377" y="312656"/>
                    <a:pt x="278090" y="315798"/>
                  </a:cubicBezTo>
                  <a:cubicBezTo>
                    <a:pt x="295509" y="341925"/>
                    <a:pt x="277551" y="321259"/>
                    <a:pt x="301657" y="334651"/>
                  </a:cubicBezTo>
                  <a:cubicBezTo>
                    <a:pt x="327027" y="348745"/>
                    <a:pt x="326902" y="350469"/>
                    <a:pt x="344078" y="367645"/>
                  </a:cubicBezTo>
                  <a:cubicBezTo>
                    <a:pt x="345649" y="372358"/>
                    <a:pt x="348242" y="376847"/>
                    <a:pt x="348791" y="381785"/>
                  </a:cubicBezTo>
                  <a:cubicBezTo>
                    <a:pt x="352062" y="411220"/>
                    <a:pt x="337336" y="449308"/>
                    <a:pt x="367645" y="466627"/>
                  </a:cubicBezTo>
                  <a:cubicBezTo>
                    <a:pt x="373270" y="469841"/>
                    <a:pt x="380270" y="469560"/>
                    <a:pt x="386499" y="471340"/>
                  </a:cubicBezTo>
                  <a:cubicBezTo>
                    <a:pt x="391276" y="472705"/>
                    <a:pt x="395862" y="474689"/>
                    <a:pt x="400639" y="476054"/>
                  </a:cubicBezTo>
                  <a:cubicBezTo>
                    <a:pt x="406867" y="477834"/>
                    <a:pt x="413287" y="478906"/>
                    <a:pt x="419492" y="480767"/>
                  </a:cubicBezTo>
                  <a:cubicBezTo>
                    <a:pt x="429010" y="483622"/>
                    <a:pt x="438346" y="487052"/>
                    <a:pt x="447773" y="490194"/>
                  </a:cubicBezTo>
                  <a:lnTo>
                    <a:pt x="461913" y="494907"/>
                  </a:lnTo>
                  <a:lnTo>
                    <a:pt x="490193" y="513761"/>
                  </a:lnTo>
                  <a:lnTo>
                    <a:pt x="504334" y="523188"/>
                  </a:lnTo>
                  <a:cubicBezTo>
                    <a:pt x="538009" y="573704"/>
                    <a:pt x="485570" y="497044"/>
                    <a:pt x="527901" y="551468"/>
                  </a:cubicBezTo>
                  <a:cubicBezTo>
                    <a:pt x="557512" y="589539"/>
                    <a:pt x="533519" y="570925"/>
                    <a:pt x="560894" y="589175"/>
                  </a:cubicBezTo>
                  <a:cubicBezTo>
                    <a:pt x="575833" y="611582"/>
                    <a:pt x="568530" y="597942"/>
                    <a:pt x="579748" y="631596"/>
                  </a:cubicBezTo>
                  <a:cubicBezTo>
                    <a:pt x="581319" y="636309"/>
                    <a:pt x="580948" y="642223"/>
                    <a:pt x="584461" y="645736"/>
                  </a:cubicBezTo>
                  <a:cubicBezTo>
                    <a:pt x="593888" y="655163"/>
                    <a:pt x="602077" y="666017"/>
                    <a:pt x="612742" y="674016"/>
                  </a:cubicBezTo>
                  <a:cubicBezTo>
                    <a:pt x="619026" y="678730"/>
                    <a:pt x="626376" y="682286"/>
                    <a:pt x="631595" y="688157"/>
                  </a:cubicBezTo>
                  <a:cubicBezTo>
                    <a:pt x="639122" y="696625"/>
                    <a:pt x="644164" y="707010"/>
                    <a:pt x="650449" y="716437"/>
                  </a:cubicBezTo>
                  <a:lnTo>
                    <a:pt x="659876" y="730577"/>
                  </a:lnTo>
                  <a:lnTo>
                    <a:pt x="669303" y="744717"/>
                  </a:lnTo>
                  <a:cubicBezTo>
                    <a:pt x="672534" y="754410"/>
                    <a:pt x="677414" y="767849"/>
                    <a:pt x="678729" y="777711"/>
                  </a:cubicBezTo>
                  <a:cubicBezTo>
                    <a:pt x="681023" y="794913"/>
                    <a:pt x="678339" y="812972"/>
                    <a:pt x="683443" y="829559"/>
                  </a:cubicBezTo>
                  <a:cubicBezTo>
                    <a:pt x="685109" y="834973"/>
                    <a:pt x="692407" y="836684"/>
                    <a:pt x="697583" y="838985"/>
                  </a:cubicBezTo>
                  <a:cubicBezTo>
                    <a:pt x="706663" y="843021"/>
                    <a:pt x="716436" y="845270"/>
                    <a:pt x="725863" y="848412"/>
                  </a:cubicBezTo>
                  <a:cubicBezTo>
                    <a:pt x="730577" y="849983"/>
                    <a:pt x="735870" y="850370"/>
                    <a:pt x="740004" y="853126"/>
                  </a:cubicBezTo>
                  <a:cubicBezTo>
                    <a:pt x="758278" y="865308"/>
                    <a:pt x="748770" y="860760"/>
                    <a:pt x="768284" y="867266"/>
                  </a:cubicBezTo>
                  <a:cubicBezTo>
                    <a:pt x="771426" y="862553"/>
                    <a:pt x="775410" y="858303"/>
                    <a:pt x="777711" y="853126"/>
                  </a:cubicBezTo>
                  <a:cubicBezTo>
                    <a:pt x="781747" y="844046"/>
                    <a:pt x="777498" y="827255"/>
                    <a:pt x="787138" y="824845"/>
                  </a:cubicBezTo>
                  <a:lnTo>
                    <a:pt x="824845" y="815418"/>
                  </a:lnTo>
                  <a:cubicBezTo>
                    <a:pt x="837746" y="806818"/>
                    <a:pt x="841796" y="806737"/>
                    <a:pt x="848412" y="791851"/>
                  </a:cubicBezTo>
                  <a:cubicBezTo>
                    <a:pt x="852448" y="782771"/>
                    <a:pt x="857839" y="763571"/>
                    <a:pt x="857839" y="763571"/>
                  </a:cubicBezTo>
                  <a:cubicBezTo>
                    <a:pt x="856268" y="755715"/>
                    <a:pt x="855068" y="747776"/>
                    <a:pt x="853125" y="740004"/>
                  </a:cubicBezTo>
                  <a:cubicBezTo>
                    <a:pt x="851920" y="735184"/>
                    <a:pt x="848412" y="730832"/>
                    <a:pt x="848412" y="725864"/>
                  </a:cubicBezTo>
                  <a:cubicBezTo>
                    <a:pt x="848412" y="712272"/>
                    <a:pt x="856408" y="707726"/>
                    <a:pt x="867266" y="702297"/>
                  </a:cubicBezTo>
                  <a:cubicBezTo>
                    <a:pt x="871710" y="700075"/>
                    <a:pt x="876962" y="699805"/>
                    <a:pt x="881406" y="697583"/>
                  </a:cubicBezTo>
                  <a:cubicBezTo>
                    <a:pt x="886473" y="695050"/>
                    <a:pt x="890833" y="691299"/>
                    <a:pt x="895546" y="688157"/>
                  </a:cubicBezTo>
                  <a:cubicBezTo>
                    <a:pt x="900259" y="681872"/>
                    <a:pt x="903294" y="673869"/>
                    <a:pt x="909686" y="669303"/>
                  </a:cubicBezTo>
                  <a:cubicBezTo>
                    <a:pt x="914957" y="665538"/>
                    <a:pt x="922062" y="664590"/>
                    <a:pt x="928540" y="664590"/>
                  </a:cubicBezTo>
                  <a:cubicBezTo>
                    <a:pt x="936551" y="664590"/>
                    <a:pt x="944335" y="667360"/>
                    <a:pt x="952107" y="669303"/>
                  </a:cubicBezTo>
                  <a:cubicBezTo>
                    <a:pt x="965978" y="672771"/>
                    <a:pt x="971610" y="676698"/>
                    <a:pt x="985101" y="683443"/>
                  </a:cubicBezTo>
                  <a:cubicBezTo>
                    <a:pt x="973250" y="718990"/>
                    <a:pt x="989238" y="675168"/>
                    <a:pt x="970960" y="711724"/>
                  </a:cubicBezTo>
                  <a:cubicBezTo>
                    <a:pt x="968738" y="716168"/>
                    <a:pt x="967818" y="721151"/>
                    <a:pt x="966247" y="725864"/>
                  </a:cubicBezTo>
                  <a:cubicBezTo>
                    <a:pt x="969389" y="735291"/>
                    <a:pt x="974577" y="744268"/>
                    <a:pt x="975674" y="754144"/>
                  </a:cubicBezTo>
                  <a:cubicBezTo>
                    <a:pt x="977245" y="768284"/>
                    <a:pt x="975888" y="783068"/>
                    <a:pt x="980387" y="796565"/>
                  </a:cubicBezTo>
                  <a:cubicBezTo>
                    <a:pt x="982495" y="802889"/>
                    <a:pt x="990260" y="805584"/>
                    <a:pt x="994527" y="810705"/>
                  </a:cubicBezTo>
                  <a:cubicBezTo>
                    <a:pt x="998154" y="815057"/>
                    <a:pt x="1001653" y="819668"/>
                    <a:pt x="1003954" y="824845"/>
                  </a:cubicBezTo>
                  <a:cubicBezTo>
                    <a:pt x="1007990" y="833925"/>
                    <a:pt x="1013381" y="853126"/>
                    <a:pt x="1013381" y="853126"/>
                  </a:cubicBezTo>
                  <a:cubicBezTo>
                    <a:pt x="1011810" y="857839"/>
                    <a:pt x="1011424" y="863132"/>
                    <a:pt x="1008668" y="867266"/>
                  </a:cubicBezTo>
                  <a:cubicBezTo>
                    <a:pt x="1004970" y="872812"/>
                    <a:pt x="995973" y="874899"/>
                    <a:pt x="994527" y="881406"/>
                  </a:cubicBezTo>
                  <a:cubicBezTo>
                    <a:pt x="992454" y="890735"/>
                    <a:pt x="997168" y="900358"/>
                    <a:pt x="999241" y="909687"/>
                  </a:cubicBezTo>
                  <a:cubicBezTo>
                    <a:pt x="1002022" y="922203"/>
                    <a:pt x="1005860" y="930977"/>
                    <a:pt x="1018094" y="937967"/>
                  </a:cubicBezTo>
                  <a:cubicBezTo>
                    <a:pt x="1023719" y="941181"/>
                    <a:pt x="1030663" y="941109"/>
                    <a:pt x="1036948" y="942680"/>
                  </a:cubicBezTo>
                  <a:cubicBezTo>
                    <a:pt x="1046375" y="941109"/>
                    <a:pt x="1055899" y="940040"/>
                    <a:pt x="1065228" y="937967"/>
                  </a:cubicBezTo>
                  <a:cubicBezTo>
                    <a:pt x="1070078" y="936889"/>
                    <a:pt x="1074468" y="934071"/>
                    <a:pt x="1079369" y="933254"/>
                  </a:cubicBezTo>
                  <a:cubicBezTo>
                    <a:pt x="1093402" y="930915"/>
                    <a:pt x="1107649" y="930111"/>
                    <a:pt x="1121789" y="928540"/>
                  </a:cubicBezTo>
                  <a:cubicBezTo>
                    <a:pt x="1167454" y="917125"/>
                    <a:pt x="1152202" y="918997"/>
                    <a:pt x="1234911" y="928540"/>
                  </a:cubicBezTo>
                  <a:cubicBezTo>
                    <a:pt x="1244782" y="929679"/>
                    <a:pt x="1263191" y="937967"/>
                    <a:pt x="1263191" y="937967"/>
                  </a:cubicBezTo>
                  <a:cubicBezTo>
                    <a:pt x="1266333" y="942680"/>
                    <a:pt x="1268195" y="948568"/>
                    <a:pt x="1272618" y="952107"/>
                  </a:cubicBezTo>
                  <a:cubicBezTo>
                    <a:pt x="1276498" y="955211"/>
                    <a:pt x="1282314" y="954599"/>
                    <a:pt x="1286758" y="956821"/>
                  </a:cubicBezTo>
                  <a:cubicBezTo>
                    <a:pt x="1288745" y="957815"/>
                    <a:pt x="1289901" y="959963"/>
                    <a:pt x="1291472" y="96153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3" name="Forma livre 452"/>
            <p:cNvSpPr/>
            <p:nvPr/>
          </p:nvSpPr>
          <p:spPr>
            <a:xfrm>
              <a:off x="2007909" y="2992985"/>
              <a:ext cx="113122" cy="70726"/>
            </a:xfrm>
            <a:custGeom>
              <a:avLst/>
              <a:gdLst>
                <a:gd name="connsiteX0" fmla="*/ 0 w 113122"/>
                <a:gd name="connsiteY0" fmla="*/ 70726 h 70726"/>
                <a:gd name="connsiteX1" fmla="*/ 23567 w 113122"/>
                <a:gd name="connsiteY1" fmla="*/ 56586 h 70726"/>
                <a:gd name="connsiteX2" fmla="*/ 32994 w 113122"/>
                <a:gd name="connsiteY2" fmla="*/ 37733 h 70726"/>
                <a:gd name="connsiteX3" fmla="*/ 61275 w 113122"/>
                <a:gd name="connsiteY3" fmla="*/ 18879 h 70726"/>
                <a:gd name="connsiteX4" fmla="*/ 75415 w 113122"/>
                <a:gd name="connsiteY4" fmla="*/ 9452 h 70726"/>
                <a:gd name="connsiteX5" fmla="*/ 113122 w 113122"/>
                <a:gd name="connsiteY5" fmla="*/ 25 h 70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22" h="70726">
                  <a:moveTo>
                    <a:pt x="0" y="70726"/>
                  </a:moveTo>
                  <a:cubicBezTo>
                    <a:pt x="7856" y="66013"/>
                    <a:pt x="17089" y="63064"/>
                    <a:pt x="23567" y="56586"/>
                  </a:cubicBezTo>
                  <a:cubicBezTo>
                    <a:pt x="28535" y="51618"/>
                    <a:pt x="28026" y="42701"/>
                    <a:pt x="32994" y="37733"/>
                  </a:cubicBezTo>
                  <a:cubicBezTo>
                    <a:pt x="41006" y="29722"/>
                    <a:pt x="51848" y="25164"/>
                    <a:pt x="61275" y="18879"/>
                  </a:cubicBezTo>
                  <a:cubicBezTo>
                    <a:pt x="65988" y="15737"/>
                    <a:pt x="70041" y="11243"/>
                    <a:pt x="75415" y="9452"/>
                  </a:cubicBezTo>
                  <a:cubicBezTo>
                    <a:pt x="106676" y="-969"/>
                    <a:pt x="93758" y="25"/>
                    <a:pt x="113122" y="25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4" name="Forma livre 453"/>
            <p:cNvSpPr/>
            <p:nvPr/>
          </p:nvSpPr>
          <p:spPr>
            <a:xfrm>
              <a:off x="2705493" y="3718874"/>
              <a:ext cx="353505" cy="127262"/>
            </a:xfrm>
            <a:custGeom>
              <a:avLst/>
              <a:gdLst>
                <a:gd name="connsiteX0" fmla="*/ 0 w 353505"/>
                <a:gd name="connsiteY0" fmla="*/ 127262 h 127262"/>
                <a:gd name="connsiteX1" fmla="*/ 9427 w 353505"/>
                <a:gd name="connsiteY1" fmla="*/ 103695 h 127262"/>
                <a:gd name="connsiteX2" fmla="*/ 23567 w 353505"/>
                <a:gd name="connsiteY2" fmla="*/ 98982 h 127262"/>
                <a:gd name="connsiteX3" fmla="*/ 61274 w 353505"/>
                <a:gd name="connsiteY3" fmla="*/ 89555 h 127262"/>
                <a:gd name="connsiteX4" fmla="*/ 70701 w 353505"/>
                <a:gd name="connsiteY4" fmla="*/ 75415 h 127262"/>
                <a:gd name="connsiteX5" fmla="*/ 98981 w 353505"/>
                <a:gd name="connsiteY5" fmla="*/ 65988 h 127262"/>
                <a:gd name="connsiteX6" fmla="*/ 122548 w 353505"/>
                <a:gd name="connsiteY6" fmla="*/ 70701 h 127262"/>
                <a:gd name="connsiteX7" fmla="*/ 131975 w 353505"/>
                <a:gd name="connsiteY7" fmla="*/ 98982 h 127262"/>
                <a:gd name="connsiteX8" fmla="*/ 174396 w 353505"/>
                <a:gd name="connsiteY8" fmla="*/ 94268 h 127262"/>
                <a:gd name="connsiteX9" fmla="*/ 179109 w 353505"/>
                <a:gd name="connsiteY9" fmla="*/ 80128 h 127262"/>
                <a:gd name="connsiteX10" fmla="*/ 197963 w 353505"/>
                <a:gd name="connsiteY10" fmla="*/ 51848 h 127262"/>
                <a:gd name="connsiteX11" fmla="*/ 212103 w 353505"/>
                <a:gd name="connsiteY11" fmla="*/ 47134 h 127262"/>
                <a:gd name="connsiteX12" fmla="*/ 226243 w 353505"/>
                <a:gd name="connsiteY12" fmla="*/ 37707 h 127262"/>
                <a:gd name="connsiteX13" fmla="*/ 282804 w 353505"/>
                <a:gd name="connsiteY13" fmla="*/ 32994 h 127262"/>
                <a:gd name="connsiteX14" fmla="*/ 311084 w 353505"/>
                <a:gd name="connsiteY14" fmla="*/ 23567 h 127262"/>
                <a:gd name="connsiteX15" fmla="*/ 339365 w 353505"/>
                <a:gd name="connsiteY15" fmla="*/ 4714 h 127262"/>
                <a:gd name="connsiteX16" fmla="*/ 353505 w 353505"/>
                <a:gd name="connsiteY16" fmla="*/ 0 h 12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3505" h="127262">
                  <a:moveTo>
                    <a:pt x="0" y="127262"/>
                  </a:moveTo>
                  <a:cubicBezTo>
                    <a:pt x="3142" y="119406"/>
                    <a:pt x="4010" y="110195"/>
                    <a:pt x="9427" y="103695"/>
                  </a:cubicBezTo>
                  <a:cubicBezTo>
                    <a:pt x="12608" y="99878"/>
                    <a:pt x="18747" y="100187"/>
                    <a:pt x="23567" y="98982"/>
                  </a:cubicBezTo>
                  <a:lnTo>
                    <a:pt x="61274" y="89555"/>
                  </a:lnTo>
                  <a:cubicBezTo>
                    <a:pt x="64416" y="84842"/>
                    <a:pt x="65897" y="78417"/>
                    <a:pt x="70701" y="75415"/>
                  </a:cubicBezTo>
                  <a:cubicBezTo>
                    <a:pt x="79127" y="70149"/>
                    <a:pt x="98981" y="65988"/>
                    <a:pt x="98981" y="65988"/>
                  </a:cubicBezTo>
                  <a:cubicBezTo>
                    <a:pt x="106837" y="67559"/>
                    <a:pt x="116883" y="65036"/>
                    <a:pt x="122548" y="70701"/>
                  </a:cubicBezTo>
                  <a:cubicBezTo>
                    <a:pt x="129574" y="77727"/>
                    <a:pt x="131975" y="98982"/>
                    <a:pt x="131975" y="98982"/>
                  </a:cubicBezTo>
                  <a:cubicBezTo>
                    <a:pt x="146115" y="97411"/>
                    <a:pt x="161186" y="99552"/>
                    <a:pt x="174396" y="94268"/>
                  </a:cubicBezTo>
                  <a:cubicBezTo>
                    <a:pt x="179009" y="92423"/>
                    <a:pt x="176696" y="84471"/>
                    <a:pt x="179109" y="80128"/>
                  </a:cubicBezTo>
                  <a:cubicBezTo>
                    <a:pt x="184611" y="70224"/>
                    <a:pt x="187215" y="55431"/>
                    <a:pt x="197963" y="51848"/>
                  </a:cubicBezTo>
                  <a:cubicBezTo>
                    <a:pt x="202676" y="50277"/>
                    <a:pt x="207659" y="49356"/>
                    <a:pt x="212103" y="47134"/>
                  </a:cubicBezTo>
                  <a:cubicBezTo>
                    <a:pt x="217170" y="44600"/>
                    <a:pt x="220688" y="38818"/>
                    <a:pt x="226243" y="37707"/>
                  </a:cubicBezTo>
                  <a:cubicBezTo>
                    <a:pt x="244795" y="33997"/>
                    <a:pt x="263950" y="34565"/>
                    <a:pt x="282804" y="32994"/>
                  </a:cubicBezTo>
                  <a:cubicBezTo>
                    <a:pt x="292231" y="29852"/>
                    <a:pt x="302816" y="29079"/>
                    <a:pt x="311084" y="23567"/>
                  </a:cubicBezTo>
                  <a:cubicBezTo>
                    <a:pt x="320511" y="17283"/>
                    <a:pt x="328617" y="8297"/>
                    <a:pt x="339365" y="4714"/>
                  </a:cubicBezTo>
                  <a:lnTo>
                    <a:pt x="353505" y="0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5" name="Forma livre 454"/>
            <p:cNvSpPr/>
            <p:nvPr/>
          </p:nvSpPr>
          <p:spPr>
            <a:xfrm>
              <a:off x="3907410" y="2460396"/>
              <a:ext cx="169683" cy="292231"/>
            </a:xfrm>
            <a:custGeom>
              <a:avLst/>
              <a:gdLst>
                <a:gd name="connsiteX0" fmla="*/ 0 w 169683"/>
                <a:gd name="connsiteY0" fmla="*/ 292231 h 292231"/>
                <a:gd name="connsiteX1" fmla="*/ 14141 w 169683"/>
                <a:gd name="connsiteY1" fmla="*/ 268664 h 292231"/>
                <a:gd name="connsiteX2" fmla="*/ 56561 w 169683"/>
                <a:gd name="connsiteY2" fmla="*/ 245097 h 292231"/>
                <a:gd name="connsiteX3" fmla="*/ 94268 w 169683"/>
                <a:gd name="connsiteY3" fmla="*/ 240383 h 292231"/>
                <a:gd name="connsiteX4" fmla="*/ 113122 w 169683"/>
                <a:gd name="connsiteY4" fmla="*/ 216816 h 292231"/>
                <a:gd name="connsiteX5" fmla="*/ 103695 w 169683"/>
                <a:gd name="connsiteY5" fmla="*/ 202676 h 292231"/>
                <a:gd name="connsiteX6" fmla="*/ 113122 w 169683"/>
                <a:gd name="connsiteY6" fmla="*/ 127262 h 292231"/>
                <a:gd name="connsiteX7" fmla="*/ 117835 w 169683"/>
                <a:gd name="connsiteY7" fmla="*/ 113122 h 292231"/>
                <a:gd name="connsiteX8" fmla="*/ 136689 w 169683"/>
                <a:gd name="connsiteY8" fmla="*/ 84841 h 292231"/>
                <a:gd name="connsiteX9" fmla="*/ 146116 w 169683"/>
                <a:gd name="connsiteY9" fmla="*/ 70701 h 292231"/>
                <a:gd name="connsiteX10" fmla="*/ 150829 w 169683"/>
                <a:gd name="connsiteY10" fmla="*/ 51847 h 292231"/>
                <a:gd name="connsiteX11" fmla="*/ 155543 w 169683"/>
                <a:gd name="connsiteY11" fmla="*/ 18853 h 292231"/>
                <a:gd name="connsiteX12" fmla="*/ 169683 w 169683"/>
                <a:gd name="connsiteY12" fmla="*/ 0 h 292231"/>
                <a:gd name="connsiteX0" fmla="*/ 0 w 169683"/>
                <a:gd name="connsiteY0" fmla="*/ 292231 h 292231"/>
                <a:gd name="connsiteX1" fmla="*/ 14141 w 169683"/>
                <a:gd name="connsiteY1" fmla="*/ 268664 h 292231"/>
                <a:gd name="connsiteX2" fmla="*/ 56561 w 169683"/>
                <a:gd name="connsiteY2" fmla="*/ 245097 h 292231"/>
                <a:gd name="connsiteX3" fmla="*/ 94268 w 169683"/>
                <a:gd name="connsiteY3" fmla="*/ 240383 h 292231"/>
                <a:gd name="connsiteX4" fmla="*/ 113122 w 169683"/>
                <a:gd name="connsiteY4" fmla="*/ 216816 h 292231"/>
                <a:gd name="connsiteX5" fmla="*/ 103695 w 169683"/>
                <a:gd name="connsiteY5" fmla="*/ 202676 h 292231"/>
                <a:gd name="connsiteX6" fmla="*/ 113122 w 169683"/>
                <a:gd name="connsiteY6" fmla="*/ 127262 h 292231"/>
                <a:gd name="connsiteX7" fmla="*/ 117835 w 169683"/>
                <a:gd name="connsiteY7" fmla="*/ 113122 h 292231"/>
                <a:gd name="connsiteX8" fmla="*/ 131976 w 169683"/>
                <a:gd name="connsiteY8" fmla="*/ 75415 h 292231"/>
                <a:gd name="connsiteX9" fmla="*/ 146116 w 169683"/>
                <a:gd name="connsiteY9" fmla="*/ 70701 h 292231"/>
                <a:gd name="connsiteX10" fmla="*/ 150829 w 169683"/>
                <a:gd name="connsiteY10" fmla="*/ 51847 h 292231"/>
                <a:gd name="connsiteX11" fmla="*/ 155543 w 169683"/>
                <a:gd name="connsiteY11" fmla="*/ 18853 h 292231"/>
                <a:gd name="connsiteX12" fmla="*/ 169683 w 169683"/>
                <a:gd name="connsiteY12" fmla="*/ 0 h 292231"/>
                <a:gd name="connsiteX0" fmla="*/ 0 w 169683"/>
                <a:gd name="connsiteY0" fmla="*/ 292231 h 292231"/>
                <a:gd name="connsiteX1" fmla="*/ 14141 w 169683"/>
                <a:gd name="connsiteY1" fmla="*/ 268664 h 292231"/>
                <a:gd name="connsiteX2" fmla="*/ 56561 w 169683"/>
                <a:gd name="connsiteY2" fmla="*/ 245097 h 292231"/>
                <a:gd name="connsiteX3" fmla="*/ 94268 w 169683"/>
                <a:gd name="connsiteY3" fmla="*/ 240383 h 292231"/>
                <a:gd name="connsiteX4" fmla="*/ 113122 w 169683"/>
                <a:gd name="connsiteY4" fmla="*/ 216816 h 292231"/>
                <a:gd name="connsiteX5" fmla="*/ 103695 w 169683"/>
                <a:gd name="connsiteY5" fmla="*/ 202676 h 292231"/>
                <a:gd name="connsiteX6" fmla="*/ 113122 w 169683"/>
                <a:gd name="connsiteY6" fmla="*/ 127262 h 292231"/>
                <a:gd name="connsiteX7" fmla="*/ 117835 w 169683"/>
                <a:gd name="connsiteY7" fmla="*/ 113122 h 292231"/>
                <a:gd name="connsiteX8" fmla="*/ 131976 w 169683"/>
                <a:gd name="connsiteY8" fmla="*/ 75415 h 292231"/>
                <a:gd name="connsiteX9" fmla="*/ 146116 w 169683"/>
                <a:gd name="connsiteY9" fmla="*/ 70701 h 292231"/>
                <a:gd name="connsiteX10" fmla="*/ 155543 w 169683"/>
                <a:gd name="connsiteY10" fmla="*/ 18853 h 292231"/>
                <a:gd name="connsiteX11" fmla="*/ 169683 w 169683"/>
                <a:gd name="connsiteY11" fmla="*/ 0 h 292231"/>
                <a:gd name="connsiteX0" fmla="*/ 0 w 169683"/>
                <a:gd name="connsiteY0" fmla="*/ 292231 h 292231"/>
                <a:gd name="connsiteX1" fmla="*/ 14141 w 169683"/>
                <a:gd name="connsiteY1" fmla="*/ 268664 h 292231"/>
                <a:gd name="connsiteX2" fmla="*/ 56561 w 169683"/>
                <a:gd name="connsiteY2" fmla="*/ 245097 h 292231"/>
                <a:gd name="connsiteX3" fmla="*/ 94268 w 169683"/>
                <a:gd name="connsiteY3" fmla="*/ 240383 h 292231"/>
                <a:gd name="connsiteX4" fmla="*/ 113122 w 169683"/>
                <a:gd name="connsiteY4" fmla="*/ 216816 h 292231"/>
                <a:gd name="connsiteX5" fmla="*/ 103695 w 169683"/>
                <a:gd name="connsiteY5" fmla="*/ 202676 h 292231"/>
                <a:gd name="connsiteX6" fmla="*/ 113122 w 169683"/>
                <a:gd name="connsiteY6" fmla="*/ 127262 h 292231"/>
                <a:gd name="connsiteX7" fmla="*/ 117835 w 169683"/>
                <a:gd name="connsiteY7" fmla="*/ 113122 h 292231"/>
                <a:gd name="connsiteX8" fmla="*/ 131976 w 169683"/>
                <a:gd name="connsiteY8" fmla="*/ 75415 h 292231"/>
                <a:gd name="connsiteX9" fmla="*/ 136689 w 169683"/>
                <a:gd name="connsiteY9" fmla="*/ 47134 h 292231"/>
                <a:gd name="connsiteX10" fmla="*/ 155543 w 169683"/>
                <a:gd name="connsiteY10" fmla="*/ 18853 h 292231"/>
                <a:gd name="connsiteX11" fmla="*/ 169683 w 169683"/>
                <a:gd name="connsiteY11" fmla="*/ 0 h 29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9683" h="292231">
                  <a:moveTo>
                    <a:pt x="0" y="292231"/>
                  </a:moveTo>
                  <a:cubicBezTo>
                    <a:pt x="4714" y="284375"/>
                    <a:pt x="7663" y="275142"/>
                    <a:pt x="14141" y="268664"/>
                  </a:cubicBezTo>
                  <a:cubicBezTo>
                    <a:pt x="22842" y="259963"/>
                    <a:pt x="42071" y="247732"/>
                    <a:pt x="56561" y="245097"/>
                  </a:cubicBezTo>
                  <a:cubicBezTo>
                    <a:pt x="69024" y="242831"/>
                    <a:pt x="81699" y="241954"/>
                    <a:pt x="94268" y="240383"/>
                  </a:cubicBezTo>
                  <a:cubicBezTo>
                    <a:pt x="102531" y="234875"/>
                    <a:pt x="115399" y="230478"/>
                    <a:pt x="113122" y="216816"/>
                  </a:cubicBezTo>
                  <a:cubicBezTo>
                    <a:pt x="112191" y="211228"/>
                    <a:pt x="106837" y="207389"/>
                    <a:pt x="103695" y="202676"/>
                  </a:cubicBezTo>
                  <a:cubicBezTo>
                    <a:pt x="107349" y="158837"/>
                    <a:pt x="104368" y="157903"/>
                    <a:pt x="113122" y="127262"/>
                  </a:cubicBezTo>
                  <a:cubicBezTo>
                    <a:pt x="114487" y="122485"/>
                    <a:pt x="114693" y="121763"/>
                    <a:pt x="117835" y="113122"/>
                  </a:cubicBezTo>
                  <a:cubicBezTo>
                    <a:pt x="120977" y="104481"/>
                    <a:pt x="128834" y="86413"/>
                    <a:pt x="131976" y="75415"/>
                  </a:cubicBezTo>
                  <a:cubicBezTo>
                    <a:pt x="135118" y="64417"/>
                    <a:pt x="132761" y="56561"/>
                    <a:pt x="136689" y="47134"/>
                  </a:cubicBezTo>
                  <a:cubicBezTo>
                    <a:pt x="140617" y="37707"/>
                    <a:pt x="150044" y="26709"/>
                    <a:pt x="155543" y="18853"/>
                  </a:cubicBezTo>
                  <a:cubicBezTo>
                    <a:pt x="161042" y="10997"/>
                    <a:pt x="164248" y="5434"/>
                    <a:pt x="169683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6" name="Forma livre 455"/>
            <p:cNvSpPr/>
            <p:nvPr/>
          </p:nvSpPr>
          <p:spPr>
            <a:xfrm>
              <a:off x="3817856" y="3049352"/>
              <a:ext cx="160255" cy="23786"/>
            </a:xfrm>
            <a:custGeom>
              <a:avLst/>
              <a:gdLst>
                <a:gd name="connsiteX0" fmla="*/ 0 w 160255"/>
                <a:gd name="connsiteY0" fmla="*/ 23786 h 23786"/>
                <a:gd name="connsiteX1" fmla="*/ 23567 w 160255"/>
                <a:gd name="connsiteY1" fmla="*/ 19073 h 23786"/>
                <a:gd name="connsiteX2" fmla="*/ 37707 w 160255"/>
                <a:gd name="connsiteY2" fmla="*/ 14359 h 23786"/>
                <a:gd name="connsiteX3" fmla="*/ 80128 w 160255"/>
                <a:gd name="connsiteY3" fmla="*/ 9646 h 23786"/>
                <a:gd name="connsiteX4" fmla="*/ 108408 w 160255"/>
                <a:gd name="connsiteY4" fmla="*/ 219 h 23786"/>
                <a:gd name="connsiteX5" fmla="*/ 136688 w 160255"/>
                <a:gd name="connsiteY5" fmla="*/ 4933 h 23786"/>
                <a:gd name="connsiteX6" fmla="*/ 160255 w 160255"/>
                <a:gd name="connsiteY6" fmla="*/ 9646 h 23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255" h="23786">
                  <a:moveTo>
                    <a:pt x="0" y="23786"/>
                  </a:moveTo>
                  <a:cubicBezTo>
                    <a:pt x="7856" y="22215"/>
                    <a:pt x="15795" y="21016"/>
                    <a:pt x="23567" y="19073"/>
                  </a:cubicBezTo>
                  <a:cubicBezTo>
                    <a:pt x="28387" y="17868"/>
                    <a:pt x="32806" y="15176"/>
                    <a:pt x="37707" y="14359"/>
                  </a:cubicBezTo>
                  <a:cubicBezTo>
                    <a:pt x="51741" y="12020"/>
                    <a:pt x="65988" y="11217"/>
                    <a:pt x="80128" y="9646"/>
                  </a:cubicBezTo>
                  <a:cubicBezTo>
                    <a:pt x="89555" y="6504"/>
                    <a:pt x="98607" y="-1415"/>
                    <a:pt x="108408" y="219"/>
                  </a:cubicBezTo>
                  <a:cubicBezTo>
                    <a:pt x="117835" y="1790"/>
                    <a:pt x="127359" y="2860"/>
                    <a:pt x="136688" y="4933"/>
                  </a:cubicBezTo>
                  <a:cubicBezTo>
                    <a:pt x="162367" y="10639"/>
                    <a:pt x="140449" y="9646"/>
                    <a:pt x="160255" y="9646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7" name="Forma livre 456"/>
            <p:cNvSpPr/>
            <p:nvPr/>
          </p:nvSpPr>
          <p:spPr>
            <a:xfrm>
              <a:off x="4124227" y="3077852"/>
              <a:ext cx="98981" cy="23567"/>
            </a:xfrm>
            <a:custGeom>
              <a:avLst/>
              <a:gdLst>
                <a:gd name="connsiteX0" fmla="*/ 0 w 98981"/>
                <a:gd name="connsiteY0" fmla="*/ 0 h 23567"/>
                <a:gd name="connsiteX1" fmla="*/ 42420 w 98981"/>
                <a:gd name="connsiteY1" fmla="*/ 9426 h 23567"/>
                <a:gd name="connsiteX2" fmla="*/ 70701 w 98981"/>
                <a:gd name="connsiteY2" fmla="*/ 18853 h 23567"/>
                <a:gd name="connsiteX3" fmla="*/ 98981 w 98981"/>
                <a:gd name="connsiteY3" fmla="*/ 23567 h 23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981" h="23567">
                  <a:moveTo>
                    <a:pt x="0" y="0"/>
                  </a:moveTo>
                  <a:cubicBezTo>
                    <a:pt x="13454" y="2691"/>
                    <a:pt x="29108" y="5433"/>
                    <a:pt x="42420" y="9426"/>
                  </a:cubicBezTo>
                  <a:cubicBezTo>
                    <a:pt x="51938" y="12281"/>
                    <a:pt x="60899" y="17219"/>
                    <a:pt x="70701" y="18853"/>
                  </a:cubicBezTo>
                  <a:lnTo>
                    <a:pt x="98981" y="23567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8" name="Forma livre 457"/>
            <p:cNvSpPr/>
            <p:nvPr/>
          </p:nvSpPr>
          <p:spPr>
            <a:xfrm>
              <a:off x="4237348" y="3082565"/>
              <a:ext cx="103695" cy="47151"/>
            </a:xfrm>
            <a:custGeom>
              <a:avLst/>
              <a:gdLst>
                <a:gd name="connsiteX0" fmla="*/ 0 w 103695"/>
                <a:gd name="connsiteY0" fmla="*/ 0 h 47151"/>
                <a:gd name="connsiteX1" fmla="*/ 23567 w 103695"/>
                <a:gd name="connsiteY1" fmla="*/ 4713 h 47151"/>
                <a:gd name="connsiteX2" fmla="*/ 51848 w 103695"/>
                <a:gd name="connsiteY2" fmla="*/ 14140 h 47151"/>
                <a:gd name="connsiteX3" fmla="*/ 70701 w 103695"/>
                <a:gd name="connsiteY3" fmla="*/ 28280 h 47151"/>
                <a:gd name="connsiteX4" fmla="*/ 84842 w 103695"/>
                <a:gd name="connsiteY4" fmla="*/ 32994 h 47151"/>
                <a:gd name="connsiteX5" fmla="*/ 103695 w 103695"/>
                <a:gd name="connsiteY5" fmla="*/ 47134 h 47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3695" h="47151">
                  <a:moveTo>
                    <a:pt x="0" y="0"/>
                  </a:moveTo>
                  <a:cubicBezTo>
                    <a:pt x="7856" y="1571"/>
                    <a:pt x="15838" y="2605"/>
                    <a:pt x="23567" y="4713"/>
                  </a:cubicBezTo>
                  <a:cubicBezTo>
                    <a:pt x="33154" y="7328"/>
                    <a:pt x="51848" y="14140"/>
                    <a:pt x="51848" y="14140"/>
                  </a:cubicBezTo>
                  <a:cubicBezTo>
                    <a:pt x="58132" y="18853"/>
                    <a:pt x="63881" y="24383"/>
                    <a:pt x="70701" y="28280"/>
                  </a:cubicBezTo>
                  <a:cubicBezTo>
                    <a:pt x="75015" y="30745"/>
                    <a:pt x="80708" y="30238"/>
                    <a:pt x="84842" y="32994"/>
                  </a:cubicBezTo>
                  <a:cubicBezTo>
                    <a:pt x="107718" y="48245"/>
                    <a:pt x="90519" y="47134"/>
                    <a:pt x="103695" y="4713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19" name="Forma livre 458"/>
            <p:cNvSpPr/>
            <p:nvPr/>
          </p:nvSpPr>
          <p:spPr>
            <a:xfrm>
              <a:off x="3973398" y="3044858"/>
              <a:ext cx="141402" cy="28286"/>
            </a:xfrm>
            <a:custGeom>
              <a:avLst/>
              <a:gdLst>
                <a:gd name="connsiteX0" fmla="*/ 0 w 141402"/>
                <a:gd name="connsiteY0" fmla="*/ 14140 h 28286"/>
                <a:gd name="connsiteX1" fmla="*/ 28280 w 141402"/>
                <a:gd name="connsiteY1" fmla="*/ 9427 h 28286"/>
                <a:gd name="connsiteX2" fmla="*/ 61274 w 141402"/>
                <a:gd name="connsiteY2" fmla="*/ 0 h 28286"/>
                <a:gd name="connsiteX3" fmla="*/ 89555 w 141402"/>
                <a:gd name="connsiteY3" fmla="*/ 9427 h 28286"/>
                <a:gd name="connsiteX4" fmla="*/ 103695 w 141402"/>
                <a:gd name="connsiteY4" fmla="*/ 18853 h 28286"/>
                <a:gd name="connsiteX5" fmla="*/ 117835 w 141402"/>
                <a:gd name="connsiteY5" fmla="*/ 23567 h 28286"/>
                <a:gd name="connsiteX6" fmla="*/ 141402 w 141402"/>
                <a:gd name="connsiteY6" fmla="*/ 28280 h 28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1402" h="28286">
                  <a:moveTo>
                    <a:pt x="0" y="14140"/>
                  </a:moveTo>
                  <a:cubicBezTo>
                    <a:pt x="9427" y="12569"/>
                    <a:pt x="18909" y="11301"/>
                    <a:pt x="28280" y="9427"/>
                  </a:cubicBezTo>
                  <a:cubicBezTo>
                    <a:pt x="43070" y="6469"/>
                    <a:pt x="47801" y="4491"/>
                    <a:pt x="61274" y="0"/>
                  </a:cubicBezTo>
                  <a:cubicBezTo>
                    <a:pt x="70701" y="3142"/>
                    <a:pt x="81287" y="3915"/>
                    <a:pt x="89555" y="9427"/>
                  </a:cubicBezTo>
                  <a:cubicBezTo>
                    <a:pt x="94268" y="12569"/>
                    <a:pt x="98628" y="16320"/>
                    <a:pt x="103695" y="18853"/>
                  </a:cubicBezTo>
                  <a:cubicBezTo>
                    <a:pt x="108139" y="21075"/>
                    <a:pt x="113058" y="22202"/>
                    <a:pt x="117835" y="23567"/>
                  </a:cubicBezTo>
                  <a:cubicBezTo>
                    <a:pt x="135664" y="28661"/>
                    <a:pt x="130829" y="28280"/>
                    <a:pt x="141402" y="2828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0" name="Forma livre 459"/>
            <p:cNvSpPr/>
            <p:nvPr/>
          </p:nvSpPr>
          <p:spPr>
            <a:xfrm>
              <a:off x="4755823" y="3120272"/>
              <a:ext cx="1041662" cy="84841"/>
            </a:xfrm>
            <a:custGeom>
              <a:avLst/>
              <a:gdLst>
                <a:gd name="connsiteX0" fmla="*/ 0 w 1041662"/>
                <a:gd name="connsiteY0" fmla="*/ 4714 h 84841"/>
                <a:gd name="connsiteX1" fmla="*/ 155542 w 1041662"/>
                <a:gd name="connsiteY1" fmla="*/ 9427 h 84841"/>
                <a:gd name="connsiteX2" fmla="*/ 169682 w 1041662"/>
                <a:gd name="connsiteY2" fmla="*/ 14140 h 84841"/>
                <a:gd name="connsiteX3" fmla="*/ 197963 w 1041662"/>
                <a:gd name="connsiteY3" fmla="*/ 18854 h 84841"/>
                <a:gd name="connsiteX4" fmla="*/ 235670 w 1041662"/>
                <a:gd name="connsiteY4" fmla="*/ 28281 h 84841"/>
                <a:gd name="connsiteX5" fmla="*/ 424206 w 1041662"/>
                <a:gd name="connsiteY5" fmla="*/ 37707 h 84841"/>
                <a:gd name="connsiteX6" fmla="*/ 457200 w 1041662"/>
                <a:gd name="connsiteY6" fmla="*/ 32994 h 84841"/>
                <a:gd name="connsiteX7" fmla="*/ 452486 w 1041662"/>
                <a:gd name="connsiteY7" fmla="*/ 18854 h 84841"/>
                <a:gd name="connsiteX8" fmla="*/ 471340 w 1041662"/>
                <a:gd name="connsiteY8" fmla="*/ 0 h 84841"/>
                <a:gd name="connsiteX9" fmla="*/ 509047 w 1041662"/>
                <a:gd name="connsiteY9" fmla="*/ 9427 h 84841"/>
                <a:gd name="connsiteX10" fmla="*/ 518474 w 1041662"/>
                <a:gd name="connsiteY10" fmla="*/ 23567 h 84841"/>
                <a:gd name="connsiteX11" fmla="*/ 532614 w 1041662"/>
                <a:gd name="connsiteY11" fmla="*/ 28281 h 84841"/>
                <a:gd name="connsiteX12" fmla="*/ 546754 w 1041662"/>
                <a:gd name="connsiteY12" fmla="*/ 37707 h 84841"/>
                <a:gd name="connsiteX13" fmla="*/ 560895 w 1041662"/>
                <a:gd name="connsiteY13" fmla="*/ 42421 h 84841"/>
                <a:gd name="connsiteX14" fmla="*/ 589175 w 1041662"/>
                <a:gd name="connsiteY14" fmla="*/ 61274 h 84841"/>
                <a:gd name="connsiteX15" fmla="*/ 603315 w 1041662"/>
                <a:gd name="connsiteY15" fmla="*/ 70701 h 84841"/>
                <a:gd name="connsiteX16" fmla="*/ 659876 w 1041662"/>
                <a:gd name="connsiteY16" fmla="*/ 65988 h 84841"/>
                <a:gd name="connsiteX17" fmla="*/ 697583 w 1041662"/>
                <a:gd name="connsiteY17" fmla="*/ 70701 h 84841"/>
                <a:gd name="connsiteX18" fmla="*/ 749431 w 1041662"/>
                <a:gd name="connsiteY18" fmla="*/ 75415 h 84841"/>
                <a:gd name="connsiteX19" fmla="*/ 862552 w 1041662"/>
                <a:gd name="connsiteY19" fmla="*/ 70701 h 84841"/>
                <a:gd name="connsiteX20" fmla="*/ 909686 w 1041662"/>
                <a:gd name="connsiteY20" fmla="*/ 75415 h 84841"/>
                <a:gd name="connsiteX21" fmla="*/ 937967 w 1041662"/>
                <a:gd name="connsiteY21" fmla="*/ 84841 h 84841"/>
                <a:gd name="connsiteX22" fmla="*/ 970961 w 1041662"/>
                <a:gd name="connsiteY22" fmla="*/ 80128 h 84841"/>
                <a:gd name="connsiteX23" fmla="*/ 985101 w 1041662"/>
                <a:gd name="connsiteY23" fmla="*/ 75415 h 84841"/>
                <a:gd name="connsiteX24" fmla="*/ 1018095 w 1041662"/>
                <a:gd name="connsiteY24" fmla="*/ 65988 h 84841"/>
                <a:gd name="connsiteX25" fmla="*/ 1041662 w 1041662"/>
                <a:gd name="connsiteY25" fmla="*/ 84841 h 84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41662" h="84841">
                  <a:moveTo>
                    <a:pt x="0" y="4714"/>
                  </a:moveTo>
                  <a:cubicBezTo>
                    <a:pt x="51847" y="6285"/>
                    <a:pt x="103751" y="6550"/>
                    <a:pt x="155542" y="9427"/>
                  </a:cubicBezTo>
                  <a:cubicBezTo>
                    <a:pt x="160503" y="9703"/>
                    <a:pt x="164832" y="13062"/>
                    <a:pt x="169682" y="14140"/>
                  </a:cubicBezTo>
                  <a:cubicBezTo>
                    <a:pt x="179011" y="16213"/>
                    <a:pt x="188634" y="16781"/>
                    <a:pt x="197963" y="18854"/>
                  </a:cubicBezTo>
                  <a:cubicBezTo>
                    <a:pt x="228904" y="25730"/>
                    <a:pt x="192395" y="23190"/>
                    <a:pt x="235670" y="28281"/>
                  </a:cubicBezTo>
                  <a:cubicBezTo>
                    <a:pt x="294030" y="35147"/>
                    <a:pt x="371208" y="35814"/>
                    <a:pt x="424206" y="37707"/>
                  </a:cubicBezTo>
                  <a:cubicBezTo>
                    <a:pt x="435204" y="36136"/>
                    <a:pt x="447956" y="39156"/>
                    <a:pt x="457200" y="32994"/>
                  </a:cubicBezTo>
                  <a:cubicBezTo>
                    <a:pt x="461334" y="30238"/>
                    <a:pt x="452486" y="23822"/>
                    <a:pt x="452486" y="18854"/>
                  </a:cubicBezTo>
                  <a:cubicBezTo>
                    <a:pt x="452486" y="2096"/>
                    <a:pt x="458772" y="4190"/>
                    <a:pt x="471340" y="0"/>
                  </a:cubicBezTo>
                  <a:cubicBezTo>
                    <a:pt x="472511" y="234"/>
                    <a:pt x="504217" y="5563"/>
                    <a:pt x="509047" y="9427"/>
                  </a:cubicBezTo>
                  <a:cubicBezTo>
                    <a:pt x="513471" y="12966"/>
                    <a:pt x="514051" y="20028"/>
                    <a:pt x="518474" y="23567"/>
                  </a:cubicBezTo>
                  <a:cubicBezTo>
                    <a:pt x="522354" y="26671"/>
                    <a:pt x="528170" y="26059"/>
                    <a:pt x="532614" y="28281"/>
                  </a:cubicBezTo>
                  <a:cubicBezTo>
                    <a:pt x="537681" y="30814"/>
                    <a:pt x="541687" y="35174"/>
                    <a:pt x="546754" y="37707"/>
                  </a:cubicBezTo>
                  <a:cubicBezTo>
                    <a:pt x="551198" y="39929"/>
                    <a:pt x="556552" y="40008"/>
                    <a:pt x="560895" y="42421"/>
                  </a:cubicBezTo>
                  <a:cubicBezTo>
                    <a:pt x="570799" y="47923"/>
                    <a:pt x="579748" y="54990"/>
                    <a:pt x="589175" y="61274"/>
                  </a:cubicBezTo>
                  <a:lnTo>
                    <a:pt x="603315" y="70701"/>
                  </a:lnTo>
                  <a:cubicBezTo>
                    <a:pt x="622169" y="69130"/>
                    <a:pt x="640957" y="65988"/>
                    <a:pt x="659876" y="65988"/>
                  </a:cubicBezTo>
                  <a:cubicBezTo>
                    <a:pt x="672543" y="65988"/>
                    <a:pt x="684986" y="69375"/>
                    <a:pt x="697583" y="70701"/>
                  </a:cubicBezTo>
                  <a:cubicBezTo>
                    <a:pt x="714842" y="72518"/>
                    <a:pt x="732148" y="73844"/>
                    <a:pt x="749431" y="75415"/>
                  </a:cubicBezTo>
                  <a:cubicBezTo>
                    <a:pt x="787138" y="73844"/>
                    <a:pt x="824812" y="70701"/>
                    <a:pt x="862552" y="70701"/>
                  </a:cubicBezTo>
                  <a:cubicBezTo>
                    <a:pt x="878342" y="70701"/>
                    <a:pt x="894167" y="72505"/>
                    <a:pt x="909686" y="75415"/>
                  </a:cubicBezTo>
                  <a:cubicBezTo>
                    <a:pt x="919453" y="77246"/>
                    <a:pt x="937967" y="84841"/>
                    <a:pt x="937967" y="84841"/>
                  </a:cubicBezTo>
                  <a:cubicBezTo>
                    <a:pt x="948965" y="83270"/>
                    <a:pt x="960067" y="82307"/>
                    <a:pt x="970961" y="80128"/>
                  </a:cubicBezTo>
                  <a:cubicBezTo>
                    <a:pt x="975833" y="79154"/>
                    <a:pt x="980324" y="76780"/>
                    <a:pt x="985101" y="75415"/>
                  </a:cubicBezTo>
                  <a:cubicBezTo>
                    <a:pt x="1026538" y="63575"/>
                    <a:pt x="984183" y="77290"/>
                    <a:pt x="1018095" y="65988"/>
                  </a:cubicBezTo>
                  <a:cubicBezTo>
                    <a:pt x="1034719" y="82612"/>
                    <a:pt x="1026273" y="77147"/>
                    <a:pt x="1041662" y="8484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1" name="Forma livre 460"/>
            <p:cNvSpPr/>
            <p:nvPr/>
          </p:nvSpPr>
          <p:spPr>
            <a:xfrm>
              <a:off x="4232635" y="2022049"/>
              <a:ext cx="212103" cy="255166"/>
            </a:xfrm>
            <a:custGeom>
              <a:avLst/>
              <a:gdLst>
                <a:gd name="connsiteX0" fmla="*/ 0 w 212103"/>
                <a:gd name="connsiteY0" fmla="*/ 0 h 255166"/>
                <a:gd name="connsiteX1" fmla="*/ 32994 w 212103"/>
                <a:gd name="connsiteY1" fmla="*/ 4714 h 255166"/>
                <a:gd name="connsiteX2" fmla="*/ 42421 w 212103"/>
                <a:gd name="connsiteY2" fmla="*/ 32994 h 255166"/>
                <a:gd name="connsiteX3" fmla="*/ 51847 w 212103"/>
                <a:gd name="connsiteY3" fmla="*/ 70702 h 255166"/>
                <a:gd name="connsiteX4" fmla="*/ 61274 w 212103"/>
                <a:gd name="connsiteY4" fmla="*/ 98982 h 255166"/>
                <a:gd name="connsiteX5" fmla="*/ 70701 w 212103"/>
                <a:gd name="connsiteY5" fmla="*/ 113122 h 255166"/>
                <a:gd name="connsiteX6" fmla="*/ 84841 w 212103"/>
                <a:gd name="connsiteY6" fmla="*/ 141403 h 255166"/>
                <a:gd name="connsiteX7" fmla="*/ 94268 w 212103"/>
                <a:gd name="connsiteY7" fmla="*/ 160256 h 255166"/>
                <a:gd name="connsiteX8" fmla="*/ 108408 w 212103"/>
                <a:gd name="connsiteY8" fmla="*/ 174396 h 255166"/>
                <a:gd name="connsiteX9" fmla="*/ 127262 w 212103"/>
                <a:gd name="connsiteY9" fmla="*/ 202677 h 255166"/>
                <a:gd name="connsiteX10" fmla="*/ 155542 w 212103"/>
                <a:gd name="connsiteY10" fmla="*/ 221530 h 255166"/>
                <a:gd name="connsiteX11" fmla="*/ 183823 w 212103"/>
                <a:gd name="connsiteY11" fmla="*/ 240384 h 255166"/>
                <a:gd name="connsiteX12" fmla="*/ 212103 w 212103"/>
                <a:gd name="connsiteY12" fmla="*/ 254524 h 255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12103" h="255166">
                  <a:moveTo>
                    <a:pt x="0" y="0"/>
                  </a:moveTo>
                  <a:cubicBezTo>
                    <a:pt x="10998" y="1571"/>
                    <a:pt x="24225" y="-2107"/>
                    <a:pt x="32994" y="4714"/>
                  </a:cubicBezTo>
                  <a:cubicBezTo>
                    <a:pt x="40837" y="10814"/>
                    <a:pt x="39279" y="23567"/>
                    <a:pt x="42421" y="32994"/>
                  </a:cubicBezTo>
                  <a:cubicBezTo>
                    <a:pt x="56720" y="75893"/>
                    <a:pt x="34787" y="8148"/>
                    <a:pt x="51847" y="70702"/>
                  </a:cubicBezTo>
                  <a:cubicBezTo>
                    <a:pt x="54461" y="80288"/>
                    <a:pt x="55762" y="90714"/>
                    <a:pt x="61274" y="98982"/>
                  </a:cubicBezTo>
                  <a:lnTo>
                    <a:pt x="70701" y="113122"/>
                  </a:lnTo>
                  <a:cubicBezTo>
                    <a:pt x="79341" y="139044"/>
                    <a:pt x="70223" y="115822"/>
                    <a:pt x="84841" y="141403"/>
                  </a:cubicBezTo>
                  <a:cubicBezTo>
                    <a:pt x="88327" y="147503"/>
                    <a:pt x="90184" y="154539"/>
                    <a:pt x="94268" y="160256"/>
                  </a:cubicBezTo>
                  <a:cubicBezTo>
                    <a:pt x="98142" y="165680"/>
                    <a:pt x="104316" y="169134"/>
                    <a:pt x="108408" y="174396"/>
                  </a:cubicBezTo>
                  <a:cubicBezTo>
                    <a:pt x="115364" y="183339"/>
                    <a:pt x="117835" y="196392"/>
                    <a:pt x="127262" y="202677"/>
                  </a:cubicBezTo>
                  <a:cubicBezTo>
                    <a:pt x="136689" y="208961"/>
                    <a:pt x="147531" y="213519"/>
                    <a:pt x="155542" y="221530"/>
                  </a:cubicBezTo>
                  <a:cubicBezTo>
                    <a:pt x="173196" y="239184"/>
                    <a:pt x="163359" y="233563"/>
                    <a:pt x="183823" y="240384"/>
                  </a:cubicBezTo>
                  <a:cubicBezTo>
                    <a:pt x="196736" y="259753"/>
                    <a:pt x="187585" y="254524"/>
                    <a:pt x="212103" y="25452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2" name="Forma livre 461"/>
            <p:cNvSpPr/>
            <p:nvPr/>
          </p:nvSpPr>
          <p:spPr>
            <a:xfrm>
              <a:off x="4425885" y="2271860"/>
              <a:ext cx="94268" cy="75846"/>
            </a:xfrm>
            <a:custGeom>
              <a:avLst/>
              <a:gdLst>
                <a:gd name="connsiteX0" fmla="*/ 0 w 94268"/>
                <a:gd name="connsiteY0" fmla="*/ 0 h 75846"/>
                <a:gd name="connsiteX1" fmla="*/ 18853 w 94268"/>
                <a:gd name="connsiteY1" fmla="*/ 23567 h 75846"/>
                <a:gd name="connsiteX2" fmla="*/ 28280 w 94268"/>
                <a:gd name="connsiteY2" fmla="*/ 51847 h 75846"/>
                <a:gd name="connsiteX3" fmla="*/ 70701 w 94268"/>
                <a:gd name="connsiteY3" fmla="*/ 75414 h 75846"/>
                <a:gd name="connsiteX4" fmla="*/ 94268 w 94268"/>
                <a:gd name="connsiteY4" fmla="*/ 75414 h 75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268" h="75846">
                  <a:moveTo>
                    <a:pt x="0" y="0"/>
                  </a:moveTo>
                  <a:cubicBezTo>
                    <a:pt x="6284" y="7856"/>
                    <a:pt x="14036" y="14735"/>
                    <a:pt x="18853" y="23567"/>
                  </a:cubicBezTo>
                  <a:cubicBezTo>
                    <a:pt x="23611" y="32290"/>
                    <a:pt x="20012" y="46335"/>
                    <a:pt x="28280" y="51847"/>
                  </a:cubicBezTo>
                  <a:cubicBezTo>
                    <a:pt x="38871" y="58908"/>
                    <a:pt x="55382" y="73499"/>
                    <a:pt x="70701" y="75414"/>
                  </a:cubicBezTo>
                  <a:cubicBezTo>
                    <a:pt x="78496" y="76388"/>
                    <a:pt x="86412" y="75414"/>
                    <a:pt x="94268" y="7541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3" name="Forma livre 462"/>
            <p:cNvSpPr/>
            <p:nvPr/>
          </p:nvSpPr>
          <p:spPr>
            <a:xfrm>
              <a:off x="4515439" y="2220012"/>
              <a:ext cx="570322" cy="174510"/>
            </a:xfrm>
            <a:custGeom>
              <a:avLst/>
              <a:gdLst>
                <a:gd name="connsiteX0" fmla="*/ 0 w 570322"/>
                <a:gd name="connsiteY0" fmla="*/ 136689 h 174510"/>
                <a:gd name="connsiteX1" fmla="*/ 42421 w 570322"/>
                <a:gd name="connsiteY1" fmla="*/ 141402 h 174510"/>
                <a:gd name="connsiteX2" fmla="*/ 131975 w 570322"/>
                <a:gd name="connsiteY2" fmla="*/ 131976 h 174510"/>
                <a:gd name="connsiteX3" fmla="*/ 183823 w 570322"/>
                <a:gd name="connsiteY3" fmla="*/ 141402 h 174510"/>
                <a:gd name="connsiteX4" fmla="*/ 197963 w 570322"/>
                <a:gd name="connsiteY4" fmla="*/ 150829 h 174510"/>
                <a:gd name="connsiteX5" fmla="*/ 221530 w 570322"/>
                <a:gd name="connsiteY5" fmla="*/ 174396 h 174510"/>
                <a:gd name="connsiteX6" fmla="*/ 230957 w 570322"/>
                <a:gd name="connsiteY6" fmla="*/ 160256 h 174510"/>
                <a:gd name="connsiteX7" fmla="*/ 254524 w 570322"/>
                <a:gd name="connsiteY7" fmla="*/ 131976 h 174510"/>
                <a:gd name="connsiteX8" fmla="*/ 259237 w 570322"/>
                <a:gd name="connsiteY8" fmla="*/ 117835 h 174510"/>
                <a:gd name="connsiteX9" fmla="*/ 301658 w 570322"/>
                <a:gd name="connsiteY9" fmla="*/ 94268 h 174510"/>
                <a:gd name="connsiteX10" fmla="*/ 329938 w 570322"/>
                <a:gd name="connsiteY10" fmla="*/ 70701 h 174510"/>
                <a:gd name="connsiteX11" fmla="*/ 344079 w 570322"/>
                <a:gd name="connsiteY11" fmla="*/ 65988 h 174510"/>
                <a:gd name="connsiteX12" fmla="*/ 353505 w 570322"/>
                <a:gd name="connsiteY12" fmla="*/ 51848 h 174510"/>
                <a:gd name="connsiteX13" fmla="*/ 377072 w 570322"/>
                <a:gd name="connsiteY13" fmla="*/ 47134 h 174510"/>
                <a:gd name="connsiteX14" fmla="*/ 461914 w 570322"/>
                <a:gd name="connsiteY14" fmla="*/ 42421 h 174510"/>
                <a:gd name="connsiteX15" fmla="*/ 476054 w 570322"/>
                <a:gd name="connsiteY15" fmla="*/ 37708 h 174510"/>
                <a:gd name="connsiteX16" fmla="*/ 509048 w 570322"/>
                <a:gd name="connsiteY16" fmla="*/ 28281 h 174510"/>
                <a:gd name="connsiteX17" fmla="*/ 523188 w 570322"/>
                <a:gd name="connsiteY17" fmla="*/ 18854 h 174510"/>
                <a:gd name="connsiteX18" fmla="*/ 551468 w 570322"/>
                <a:gd name="connsiteY18" fmla="*/ 9427 h 174510"/>
                <a:gd name="connsiteX19" fmla="*/ 570322 w 570322"/>
                <a:gd name="connsiteY19" fmla="*/ 0 h 17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570322" h="174510">
                  <a:moveTo>
                    <a:pt x="0" y="136689"/>
                  </a:moveTo>
                  <a:cubicBezTo>
                    <a:pt x="14140" y="138260"/>
                    <a:pt x="28194" y="141402"/>
                    <a:pt x="42421" y="141402"/>
                  </a:cubicBezTo>
                  <a:cubicBezTo>
                    <a:pt x="89978" y="141402"/>
                    <a:pt x="96383" y="139094"/>
                    <a:pt x="131975" y="131976"/>
                  </a:cubicBezTo>
                  <a:cubicBezTo>
                    <a:pt x="144969" y="133600"/>
                    <a:pt x="169292" y="134137"/>
                    <a:pt x="183823" y="141402"/>
                  </a:cubicBezTo>
                  <a:cubicBezTo>
                    <a:pt x="188890" y="143935"/>
                    <a:pt x="193250" y="147687"/>
                    <a:pt x="197963" y="150829"/>
                  </a:cubicBezTo>
                  <a:cubicBezTo>
                    <a:pt x="200920" y="155265"/>
                    <a:pt x="212289" y="176244"/>
                    <a:pt x="221530" y="174396"/>
                  </a:cubicBezTo>
                  <a:cubicBezTo>
                    <a:pt x="227085" y="173285"/>
                    <a:pt x="227330" y="164608"/>
                    <a:pt x="230957" y="160256"/>
                  </a:cubicBezTo>
                  <a:cubicBezTo>
                    <a:pt x="261200" y="123965"/>
                    <a:pt x="231118" y="167083"/>
                    <a:pt x="254524" y="131976"/>
                  </a:cubicBezTo>
                  <a:cubicBezTo>
                    <a:pt x="256095" y="127262"/>
                    <a:pt x="255724" y="121348"/>
                    <a:pt x="259237" y="117835"/>
                  </a:cubicBezTo>
                  <a:cubicBezTo>
                    <a:pt x="275442" y="101630"/>
                    <a:pt x="283879" y="100195"/>
                    <a:pt x="301658" y="94268"/>
                  </a:cubicBezTo>
                  <a:cubicBezTo>
                    <a:pt x="312081" y="83845"/>
                    <a:pt x="316815" y="77262"/>
                    <a:pt x="329938" y="70701"/>
                  </a:cubicBezTo>
                  <a:cubicBezTo>
                    <a:pt x="334382" y="68479"/>
                    <a:pt x="339365" y="67559"/>
                    <a:pt x="344079" y="65988"/>
                  </a:cubicBezTo>
                  <a:cubicBezTo>
                    <a:pt x="347221" y="61275"/>
                    <a:pt x="348587" y="54659"/>
                    <a:pt x="353505" y="51848"/>
                  </a:cubicBezTo>
                  <a:cubicBezTo>
                    <a:pt x="360461" y="47873"/>
                    <a:pt x="369091" y="47828"/>
                    <a:pt x="377072" y="47134"/>
                  </a:cubicBezTo>
                  <a:cubicBezTo>
                    <a:pt x="405290" y="44680"/>
                    <a:pt x="433633" y="43992"/>
                    <a:pt x="461914" y="42421"/>
                  </a:cubicBezTo>
                  <a:cubicBezTo>
                    <a:pt x="466627" y="40850"/>
                    <a:pt x="471277" y="39073"/>
                    <a:pt x="476054" y="37708"/>
                  </a:cubicBezTo>
                  <a:cubicBezTo>
                    <a:pt x="517491" y="25868"/>
                    <a:pt x="475136" y="39583"/>
                    <a:pt x="509048" y="28281"/>
                  </a:cubicBezTo>
                  <a:cubicBezTo>
                    <a:pt x="513761" y="25139"/>
                    <a:pt x="518011" y="21155"/>
                    <a:pt x="523188" y="18854"/>
                  </a:cubicBezTo>
                  <a:cubicBezTo>
                    <a:pt x="532268" y="14818"/>
                    <a:pt x="542041" y="12569"/>
                    <a:pt x="551468" y="9427"/>
                  </a:cubicBezTo>
                  <a:cubicBezTo>
                    <a:pt x="567717" y="4011"/>
                    <a:pt x="562095" y="8227"/>
                    <a:pt x="570322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4" name="Forma livre 463"/>
            <p:cNvSpPr/>
            <p:nvPr/>
          </p:nvSpPr>
          <p:spPr>
            <a:xfrm>
              <a:off x="4845377" y="2229439"/>
              <a:ext cx="325225" cy="711724"/>
            </a:xfrm>
            <a:custGeom>
              <a:avLst/>
              <a:gdLst>
                <a:gd name="connsiteX0" fmla="*/ 325225 w 325225"/>
                <a:gd name="connsiteY0" fmla="*/ 0 h 711724"/>
                <a:gd name="connsiteX1" fmla="*/ 306371 w 325225"/>
                <a:gd name="connsiteY1" fmla="*/ 37707 h 711724"/>
                <a:gd name="connsiteX2" fmla="*/ 315798 w 325225"/>
                <a:gd name="connsiteY2" fmla="*/ 70701 h 711724"/>
                <a:gd name="connsiteX3" fmla="*/ 306371 w 325225"/>
                <a:gd name="connsiteY3" fmla="*/ 98982 h 711724"/>
                <a:gd name="connsiteX4" fmla="*/ 278091 w 325225"/>
                <a:gd name="connsiteY4" fmla="*/ 113122 h 711724"/>
                <a:gd name="connsiteX5" fmla="*/ 263951 w 325225"/>
                <a:gd name="connsiteY5" fmla="*/ 122549 h 711724"/>
                <a:gd name="connsiteX6" fmla="*/ 249811 w 325225"/>
                <a:gd name="connsiteY6" fmla="*/ 150829 h 711724"/>
                <a:gd name="connsiteX7" fmla="*/ 245097 w 325225"/>
                <a:gd name="connsiteY7" fmla="*/ 164969 h 711724"/>
                <a:gd name="connsiteX8" fmla="*/ 249811 w 325225"/>
                <a:gd name="connsiteY8" fmla="*/ 188536 h 711724"/>
                <a:gd name="connsiteX9" fmla="*/ 259237 w 325225"/>
                <a:gd name="connsiteY9" fmla="*/ 202676 h 711724"/>
                <a:gd name="connsiteX10" fmla="*/ 263951 w 325225"/>
                <a:gd name="connsiteY10" fmla="*/ 226243 h 711724"/>
                <a:gd name="connsiteX11" fmla="*/ 278091 w 325225"/>
                <a:gd name="connsiteY11" fmla="*/ 254524 h 711724"/>
                <a:gd name="connsiteX12" fmla="*/ 282804 w 325225"/>
                <a:gd name="connsiteY12" fmla="*/ 268664 h 711724"/>
                <a:gd name="connsiteX13" fmla="*/ 268664 w 325225"/>
                <a:gd name="connsiteY13" fmla="*/ 282804 h 711724"/>
                <a:gd name="connsiteX14" fmla="*/ 259237 w 325225"/>
                <a:gd name="connsiteY14" fmla="*/ 296945 h 711724"/>
                <a:gd name="connsiteX15" fmla="*/ 254524 w 325225"/>
                <a:gd name="connsiteY15" fmla="*/ 311085 h 711724"/>
                <a:gd name="connsiteX16" fmla="*/ 212103 w 325225"/>
                <a:gd name="connsiteY16" fmla="*/ 344079 h 711724"/>
                <a:gd name="connsiteX17" fmla="*/ 193250 w 325225"/>
                <a:gd name="connsiteY17" fmla="*/ 372359 h 711724"/>
                <a:gd name="connsiteX18" fmla="*/ 179110 w 325225"/>
                <a:gd name="connsiteY18" fmla="*/ 414780 h 711724"/>
                <a:gd name="connsiteX19" fmla="*/ 155543 w 325225"/>
                <a:gd name="connsiteY19" fmla="*/ 457200 h 711724"/>
                <a:gd name="connsiteX20" fmla="*/ 113122 w 325225"/>
                <a:gd name="connsiteY20" fmla="*/ 480767 h 711724"/>
                <a:gd name="connsiteX21" fmla="*/ 98982 w 325225"/>
                <a:gd name="connsiteY21" fmla="*/ 490194 h 711724"/>
                <a:gd name="connsiteX22" fmla="*/ 70701 w 325225"/>
                <a:gd name="connsiteY22" fmla="*/ 499621 h 711724"/>
                <a:gd name="connsiteX23" fmla="*/ 37708 w 325225"/>
                <a:gd name="connsiteY23" fmla="*/ 513761 h 711724"/>
                <a:gd name="connsiteX24" fmla="*/ 0 w 325225"/>
                <a:gd name="connsiteY24" fmla="*/ 546755 h 711724"/>
                <a:gd name="connsiteX25" fmla="*/ 9427 w 325225"/>
                <a:gd name="connsiteY25" fmla="*/ 560895 h 711724"/>
                <a:gd name="connsiteX26" fmla="*/ 28281 w 325225"/>
                <a:gd name="connsiteY26" fmla="*/ 603316 h 711724"/>
                <a:gd name="connsiteX27" fmla="*/ 32994 w 325225"/>
                <a:gd name="connsiteY27" fmla="*/ 617456 h 711724"/>
                <a:gd name="connsiteX28" fmla="*/ 47134 w 325225"/>
                <a:gd name="connsiteY28" fmla="*/ 645736 h 711724"/>
                <a:gd name="connsiteX29" fmla="*/ 32994 w 325225"/>
                <a:gd name="connsiteY29" fmla="*/ 692870 h 711724"/>
                <a:gd name="connsiteX30" fmla="*/ 32994 w 325225"/>
                <a:gd name="connsiteY30" fmla="*/ 711724 h 711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325225" h="711724">
                  <a:moveTo>
                    <a:pt x="325225" y="0"/>
                  </a:moveTo>
                  <a:cubicBezTo>
                    <a:pt x="322563" y="4436"/>
                    <a:pt x="306371" y="27562"/>
                    <a:pt x="306371" y="37707"/>
                  </a:cubicBezTo>
                  <a:cubicBezTo>
                    <a:pt x="306371" y="43622"/>
                    <a:pt x="313576" y="64035"/>
                    <a:pt x="315798" y="70701"/>
                  </a:cubicBezTo>
                  <a:cubicBezTo>
                    <a:pt x="312656" y="80128"/>
                    <a:pt x="314639" y="93470"/>
                    <a:pt x="306371" y="98982"/>
                  </a:cubicBezTo>
                  <a:cubicBezTo>
                    <a:pt x="265839" y="126001"/>
                    <a:pt x="317127" y="93603"/>
                    <a:pt x="278091" y="113122"/>
                  </a:cubicBezTo>
                  <a:cubicBezTo>
                    <a:pt x="273024" y="115656"/>
                    <a:pt x="268664" y="119407"/>
                    <a:pt x="263951" y="122549"/>
                  </a:cubicBezTo>
                  <a:cubicBezTo>
                    <a:pt x="252102" y="158091"/>
                    <a:pt x="268085" y="114281"/>
                    <a:pt x="249811" y="150829"/>
                  </a:cubicBezTo>
                  <a:cubicBezTo>
                    <a:pt x="247589" y="155273"/>
                    <a:pt x="246668" y="160256"/>
                    <a:pt x="245097" y="164969"/>
                  </a:cubicBezTo>
                  <a:cubicBezTo>
                    <a:pt x="246668" y="172825"/>
                    <a:pt x="246998" y="181035"/>
                    <a:pt x="249811" y="188536"/>
                  </a:cubicBezTo>
                  <a:cubicBezTo>
                    <a:pt x="251800" y="193840"/>
                    <a:pt x="257248" y="197372"/>
                    <a:pt x="259237" y="202676"/>
                  </a:cubicBezTo>
                  <a:cubicBezTo>
                    <a:pt x="262050" y="210177"/>
                    <a:pt x="262008" y="218471"/>
                    <a:pt x="263951" y="226243"/>
                  </a:cubicBezTo>
                  <a:cubicBezTo>
                    <a:pt x="267855" y="241858"/>
                    <a:pt x="268873" y="240697"/>
                    <a:pt x="278091" y="254524"/>
                  </a:cubicBezTo>
                  <a:cubicBezTo>
                    <a:pt x="279662" y="259237"/>
                    <a:pt x="284375" y="263951"/>
                    <a:pt x="282804" y="268664"/>
                  </a:cubicBezTo>
                  <a:cubicBezTo>
                    <a:pt x="280696" y="274988"/>
                    <a:pt x="272931" y="277683"/>
                    <a:pt x="268664" y="282804"/>
                  </a:cubicBezTo>
                  <a:cubicBezTo>
                    <a:pt x="265037" y="287156"/>
                    <a:pt x="262379" y="292231"/>
                    <a:pt x="259237" y="296945"/>
                  </a:cubicBezTo>
                  <a:cubicBezTo>
                    <a:pt x="257666" y="301658"/>
                    <a:pt x="258037" y="307572"/>
                    <a:pt x="254524" y="311085"/>
                  </a:cubicBezTo>
                  <a:cubicBezTo>
                    <a:pt x="218881" y="346728"/>
                    <a:pt x="235324" y="314223"/>
                    <a:pt x="212103" y="344079"/>
                  </a:cubicBezTo>
                  <a:cubicBezTo>
                    <a:pt x="205147" y="353022"/>
                    <a:pt x="196833" y="361611"/>
                    <a:pt x="193250" y="372359"/>
                  </a:cubicBezTo>
                  <a:lnTo>
                    <a:pt x="179110" y="414780"/>
                  </a:lnTo>
                  <a:cubicBezTo>
                    <a:pt x="174199" y="429513"/>
                    <a:pt x="169431" y="447941"/>
                    <a:pt x="155543" y="457200"/>
                  </a:cubicBezTo>
                  <a:cubicBezTo>
                    <a:pt x="123128" y="478810"/>
                    <a:pt x="138011" y="472471"/>
                    <a:pt x="113122" y="480767"/>
                  </a:cubicBezTo>
                  <a:cubicBezTo>
                    <a:pt x="108409" y="483909"/>
                    <a:pt x="104159" y="487893"/>
                    <a:pt x="98982" y="490194"/>
                  </a:cubicBezTo>
                  <a:cubicBezTo>
                    <a:pt x="89902" y="494230"/>
                    <a:pt x="78969" y="494109"/>
                    <a:pt x="70701" y="499621"/>
                  </a:cubicBezTo>
                  <a:cubicBezTo>
                    <a:pt x="51171" y="512641"/>
                    <a:pt x="62057" y="507674"/>
                    <a:pt x="37708" y="513761"/>
                  </a:cubicBezTo>
                  <a:cubicBezTo>
                    <a:pt x="4714" y="535757"/>
                    <a:pt x="15712" y="523188"/>
                    <a:pt x="0" y="546755"/>
                  </a:cubicBezTo>
                  <a:cubicBezTo>
                    <a:pt x="3142" y="551468"/>
                    <a:pt x="7126" y="555718"/>
                    <a:pt x="9427" y="560895"/>
                  </a:cubicBezTo>
                  <a:cubicBezTo>
                    <a:pt x="31866" y="611380"/>
                    <a:pt x="6945" y="571312"/>
                    <a:pt x="28281" y="603316"/>
                  </a:cubicBezTo>
                  <a:cubicBezTo>
                    <a:pt x="29852" y="608029"/>
                    <a:pt x="30772" y="613012"/>
                    <a:pt x="32994" y="617456"/>
                  </a:cubicBezTo>
                  <a:cubicBezTo>
                    <a:pt x="51268" y="654004"/>
                    <a:pt x="35288" y="610195"/>
                    <a:pt x="47134" y="645736"/>
                  </a:cubicBezTo>
                  <a:cubicBezTo>
                    <a:pt x="40010" y="674233"/>
                    <a:pt x="44471" y="658440"/>
                    <a:pt x="32994" y="692870"/>
                  </a:cubicBezTo>
                  <a:cubicBezTo>
                    <a:pt x="27578" y="709118"/>
                    <a:pt x="24768" y="703497"/>
                    <a:pt x="32994" y="71172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5" name="Forma livre 464"/>
            <p:cNvSpPr/>
            <p:nvPr/>
          </p:nvSpPr>
          <p:spPr>
            <a:xfrm>
              <a:off x="4270342" y="1362173"/>
              <a:ext cx="259237" cy="1461155"/>
            </a:xfrm>
            <a:custGeom>
              <a:avLst/>
              <a:gdLst>
                <a:gd name="connsiteX0" fmla="*/ 216817 w 259237"/>
                <a:gd name="connsiteY0" fmla="*/ 0 h 1461155"/>
                <a:gd name="connsiteX1" fmla="*/ 221530 w 259237"/>
                <a:gd name="connsiteY1" fmla="*/ 23567 h 1461155"/>
                <a:gd name="connsiteX2" fmla="*/ 240384 w 259237"/>
                <a:gd name="connsiteY2" fmla="*/ 51848 h 1461155"/>
                <a:gd name="connsiteX3" fmla="*/ 235670 w 259237"/>
                <a:gd name="connsiteY3" fmla="*/ 94268 h 1461155"/>
                <a:gd name="connsiteX4" fmla="*/ 245097 w 259237"/>
                <a:gd name="connsiteY4" fmla="*/ 141402 h 1461155"/>
                <a:gd name="connsiteX5" fmla="*/ 249811 w 259237"/>
                <a:gd name="connsiteY5" fmla="*/ 169683 h 1461155"/>
                <a:gd name="connsiteX6" fmla="*/ 254524 w 259237"/>
                <a:gd name="connsiteY6" fmla="*/ 188536 h 1461155"/>
                <a:gd name="connsiteX7" fmla="*/ 245097 w 259237"/>
                <a:gd name="connsiteY7" fmla="*/ 226243 h 1461155"/>
                <a:gd name="connsiteX8" fmla="*/ 235670 w 259237"/>
                <a:gd name="connsiteY8" fmla="*/ 245097 h 1461155"/>
                <a:gd name="connsiteX9" fmla="*/ 221530 w 259237"/>
                <a:gd name="connsiteY9" fmla="*/ 292231 h 1461155"/>
                <a:gd name="connsiteX10" fmla="*/ 212103 w 259237"/>
                <a:gd name="connsiteY10" fmla="*/ 325225 h 1461155"/>
                <a:gd name="connsiteX11" fmla="*/ 216817 w 259237"/>
                <a:gd name="connsiteY11" fmla="*/ 485481 h 1461155"/>
                <a:gd name="connsiteX12" fmla="*/ 226244 w 259237"/>
                <a:gd name="connsiteY12" fmla="*/ 513761 h 1461155"/>
                <a:gd name="connsiteX13" fmla="*/ 230957 w 259237"/>
                <a:gd name="connsiteY13" fmla="*/ 527901 h 1461155"/>
                <a:gd name="connsiteX14" fmla="*/ 226244 w 259237"/>
                <a:gd name="connsiteY14" fmla="*/ 603316 h 1461155"/>
                <a:gd name="connsiteX15" fmla="*/ 216817 w 259237"/>
                <a:gd name="connsiteY15" fmla="*/ 631596 h 1461155"/>
                <a:gd name="connsiteX16" fmla="*/ 230957 w 259237"/>
                <a:gd name="connsiteY16" fmla="*/ 664590 h 1461155"/>
                <a:gd name="connsiteX17" fmla="*/ 245097 w 259237"/>
                <a:gd name="connsiteY17" fmla="*/ 692870 h 1461155"/>
                <a:gd name="connsiteX18" fmla="*/ 259237 w 259237"/>
                <a:gd name="connsiteY18" fmla="*/ 744718 h 1461155"/>
                <a:gd name="connsiteX19" fmla="*/ 254524 w 259237"/>
                <a:gd name="connsiteY19" fmla="*/ 768285 h 1461155"/>
                <a:gd name="connsiteX20" fmla="*/ 249811 w 259237"/>
                <a:gd name="connsiteY20" fmla="*/ 782425 h 1461155"/>
                <a:gd name="connsiteX21" fmla="*/ 245097 w 259237"/>
                <a:gd name="connsiteY21" fmla="*/ 853126 h 1461155"/>
                <a:gd name="connsiteX22" fmla="*/ 221530 w 259237"/>
                <a:gd name="connsiteY22" fmla="*/ 876693 h 1461155"/>
                <a:gd name="connsiteX23" fmla="*/ 193250 w 259237"/>
                <a:gd name="connsiteY23" fmla="*/ 886120 h 1461155"/>
                <a:gd name="connsiteX24" fmla="*/ 150829 w 259237"/>
                <a:gd name="connsiteY24" fmla="*/ 923827 h 1461155"/>
                <a:gd name="connsiteX25" fmla="*/ 141402 w 259237"/>
                <a:gd name="connsiteY25" fmla="*/ 937967 h 1461155"/>
                <a:gd name="connsiteX26" fmla="*/ 136689 w 259237"/>
                <a:gd name="connsiteY26" fmla="*/ 952107 h 1461155"/>
                <a:gd name="connsiteX27" fmla="*/ 122549 w 259237"/>
                <a:gd name="connsiteY27" fmla="*/ 961534 h 1461155"/>
                <a:gd name="connsiteX28" fmla="*/ 113122 w 259237"/>
                <a:gd name="connsiteY28" fmla="*/ 975674 h 1461155"/>
                <a:gd name="connsiteX29" fmla="*/ 98982 w 259237"/>
                <a:gd name="connsiteY29" fmla="*/ 985101 h 1461155"/>
                <a:gd name="connsiteX30" fmla="*/ 89555 w 259237"/>
                <a:gd name="connsiteY30" fmla="*/ 1013382 h 1461155"/>
                <a:gd name="connsiteX31" fmla="*/ 80128 w 259237"/>
                <a:gd name="connsiteY31" fmla="*/ 1041662 h 1461155"/>
                <a:gd name="connsiteX32" fmla="*/ 75415 w 259237"/>
                <a:gd name="connsiteY32" fmla="*/ 1055802 h 1461155"/>
                <a:gd name="connsiteX33" fmla="*/ 70701 w 259237"/>
                <a:gd name="connsiteY33" fmla="*/ 1074656 h 1461155"/>
                <a:gd name="connsiteX34" fmla="*/ 75415 w 259237"/>
                <a:gd name="connsiteY34" fmla="*/ 1183064 h 1461155"/>
                <a:gd name="connsiteX35" fmla="*/ 65988 w 259237"/>
                <a:gd name="connsiteY35" fmla="*/ 1267905 h 1461155"/>
                <a:gd name="connsiteX36" fmla="*/ 61274 w 259237"/>
                <a:gd name="connsiteY36" fmla="*/ 1305613 h 1461155"/>
                <a:gd name="connsiteX37" fmla="*/ 51848 w 259237"/>
                <a:gd name="connsiteY37" fmla="*/ 1338606 h 1461155"/>
                <a:gd name="connsiteX38" fmla="*/ 47134 w 259237"/>
                <a:gd name="connsiteY38" fmla="*/ 1362173 h 1461155"/>
                <a:gd name="connsiteX39" fmla="*/ 37707 w 259237"/>
                <a:gd name="connsiteY39" fmla="*/ 1390454 h 1461155"/>
                <a:gd name="connsiteX40" fmla="*/ 28281 w 259237"/>
                <a:gd name="connsiteY40" fmla="*/ 1423448 h 1461155"/>
                <a:gd name="connsiteX41" fmla="*/ 0 w 259237"/>
                <a:gd name="connsiteY41" fmla="*/ 1461155 h 1461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59237" h="1461155">
                  <a:moveTo>
                    <a:pt x="216817" y="0"/>
                  </a:moveTo>
                  <a:cubicBezTo>
                    <a:pt x="218388" y="7856"/>
                    <a:pt x="218215" y="16274"/>
                    <a:pt x="221530" y="23567"/>
                  </a:cubicBezTo>
                  <a:cubicBezTo>
                    <a:pt x="226218" y="33881"/>
                    <a:pt x="240384" y="51848"/>
                    <a:pt x="240384" y="51848"/>
                  </a:cubicBezTo>
                  <a:cubicBezTo>
                    <a:pt x="238813" y="65988"/>
                    <a:pt x="235670" y="80041"/>
                    <a:pt x="235670" y="94268"/>
                  </a:cubicBezTo>
                  <a:cubicBezTo>
                    <a:pt x="235670" y="135392"/>
                    <a:pt x="239293" y="115286"/>
                    <a:pt x="245097" y="141402"/>
                  </a:cubicBezTo>
                  <a:cubicBezTo>
                    <a:pt x="247170" y="150731"/>
                    <a:pt x="247937" y="160312"/>
                    <a:pt x="249811" y="169683"/>
                  </a:cubicBezTo>
                  <a:cubicBezTo>
                    <a:pt x="251081" y="176035"/>
                    <a:pt x="252953" y="182252"/>
                    <a:pt x="254524" y="188536"/>
                  </a:cubicBezTo>
                  <a:cubicBezTo>
                    <a:pt x="251756" y="202375"/>
                    <a:pt x="250534" y="213557"/>
                    <a:pt x="245097" y="226243"/>
                  </a:cubicBezTo>
                  <a:cubicBezTo>
                    <a:pt x="242329" y="232701"/>
                    <a:pt x="238279" y="238573"/>
                    <a:pt x="235670" y="245097"/>
                  </a:cubicBezTo>
                  <a:cubicBezTo>
                    <a:pt x="224476" y="273084"/>
                    <a:pt x="228472" y="267936"/>
                    <a:pt x="221530" y="292231"/>
                  </a:cubicBezTo>
                  <a:cubicBezTo>
                    <a:pt x="208009" y="339554"/>
                    <a:pt x="226836" y="266297"/>
                    <a:pt x="212103" y="325225"/>
                  </a:cubicBezTo>
                  <a:cubicBezTo>
                    <a:pt x="213674" y="378644"/>
                    <a:pt x="212820" y="432189"/>
                    <a:pt x="216817" y="485481"/>
                  </a:cubicBezTo>
                  <a:cubicBezTo>
                    <a:pt x="217560" y="495390"/>
                    <a:pt x="223102" y="504334"/>
                    <a:pt x="226244" y="513761"/>
                  </a:cubicBezTo>
                  <a:lnTo>
                    <a:pt x="230957" y="527901"/>
                  </a:lnTo>
                  <a:cubicBezTo>
                    <a:pt x="229386" y="553039"/>
                    <a:pt x="229647" y="578360"/>
                    <a:pt x="226244" y="603316"/>
                  </a:cubicBezTo>
                  <a:cubicBezTo>
                    <a:pt x="224901" y="613162"/>
                    <a:pt x="216817" y="631596"/>
                    <a:pt x="216817" y="631596"/>
                  </a:cubicBezTo>
                  <a:cubicBezTo>
                    <a:pt x="226626" y="670835"/>
                    <a:pt x="214682" y="632040"/>
                    <a:pt x="230957" y="664590"/>
                  </a:cubicBezTo>
                  <a:cubicBezTo>
                    <a:pt x="250471" y="703618"/>
                    <a:pt x="218080" y="652346"/>
                    <a:pt x="245097" y="692870"/>
                  </a:cubicBezTo>
                  <a:cubicBezTo>
                    <a:pt x="255729" y="735398"/>
                    <a:pt x="250427" y="718287"/>
                    <a:pt x="259237" y="744718"/>
                  </a:cubicBezTo>
                  <a:cubicBezTo>
                    <a:pt x="257666" y="752574"/>
                    <a:pt x="256467" y="760513"/>
                    <a:pt x="254524" y="768285"/>
                  </a:cubicBezTo>
                  <a:cubicBezTo>
                    <a:pt x="253319" y="773105"/>
                    <a:pt x="250360" y="777487"/>
                    <a:pt x="249811" y="782425"/>
                  </a:cubicBezTo>
                  <a:cubicBezTo>
                    <a:pt x="247203" y="805900"/>
                    <a:pt x="248980" y="829828"/>
                    <a:pt x="245097" y="853126"/>
                  </a:cubicBezTo>
                  <a:cubicBezTo>
                    <a:pt x="243463" y="862929"/>
                    <a:pt x="229448" y="873174"/>
                    <a:pt x="221530" y="876693"/>
                  </a:cubicBezTo>
                  <a:cubicBezTo>
                    <a:pt x="212450" y="880729"/>
                    <a:pt x="193250" y="886120"/>
                    <a:pt x="193250" y="886120"/>
                  </a:cubicBezTo>
                  <a:cubicBezTo>
                    <a:pt x="160963" y="918406"/>
                    <a:pt x="176061" y="907005"/>
                    <a:pt x="150829" y="923827"/>
                  </a:cubicBezTo>
                  <a:cubicBezTo>
                    <a:pt x="147687" y="928540"/>
                    <a:pt x="143935" y="932900"/>
                    <a:pt x="141402" y="937967"/>
                  </a:cubicBezTo>
                  <a:cubicBezTo>
                    <a:pt x="139180" y="942411"/>
                    <a:pt x="139793" y="948227"/>
                    <a:pt x="136689" y="952107"/>
                  </a:cubicBezTo>
                  <a:cubicBezTo>
                    <a:pt x="133150" y="956531"/>
                    <a:pt x="127262" y="958392"/>
                    <a:pt x="122549" y="961534"/>
                  </a:cubicBezTo>
                  <a:cubicBezTo>
                    <a:pt x="119407" y="966247"/>
                    <a:pt x="117128" y="971668"/>
                    <a:pt x="113122" y="975674"/>
                  </a:cubicBezTo>
                  <a:cubicBezTo>
                    <a:pt x="109116" y="979680"/>
                    <a:pt x="101984" y="980297"/>
                    <a:pt x="98982" y="985101"/>
                  </a:cubicBezTo>
                  <a:cubicBezTo>
                    <a:pt x="93716" y="993528"/>
                    <a:pt x="92697" y="1003955"/>
                    <a:pt x="89555" y="1013382"/>
                  </a:cubicBezTo>
                  <a:lnTo>
                    <a:pt x="80128" y="1041662"/>
                  </a:lnTo>
                  <a:cubicBezTo>
                    <a:pt x="78557" y="1046375"/>
                    <a:pt x="76620" y="1050982"/>
                    <a:pt x="75415" y="1055802"/>
                  </a:cubicBezTo>
                  <a:lnTo>
                    <a:pt x="70701" y="1074656"/>
                  </a:lnTo>
                  <a:cubicBezTo>
                    <a:pt x="72272" y="1110792"/>
                    <a:pt x="75415" y="1146894"/>
                    <a:pt x="75415" y="1183064"/>
                  </a:cubicBezTo>
                  <a:cubicBezTo>
                    <a:pt x="75415" y="1243588"/>
                    <a:pt x="77109" y="1234541"/>
                    <a:pt x="65988" y="1267905"/>
                  </a:cubicBezTo>
                  <a:cubicBezTo>
                    <a:pt x="64417" y="1280474"/>
                    <a:pt x="63357" y="1293118"/>
                    <a:pt x="61274" y="1305613"/>
                  </a:cubicBezTo>
                  <a:cubicBezTo>
                    <a:pt x="56867" y="1332056"/>
                    <a:pt x="57451" y="1316196"/>
                    <a:pt x="51848" y="1338606"/>
                  </a:cubicBezTo>
                  <a:cubicBezTo>
                    <a:pt x="49905" y="1346378"/>
                    <a:pt x="49242" y="1354444"/>
                    <a:pt x="47134" y="1362173"/>
                  </a:cubicBezTo>
                  <a:cubicBezTo>
                    <a:pt x="44519" y="1371760"/>
                    <a:pt x="40117" y="1380814"/>
                    <a:pt x="37707" y="1390454"/>
                  </a:cubicBezTo>
                  <a:cubicBezTo>
                    <a:pt x="36598" y="1394889"/>
                    <a:pt x="31353" y="1417918"/>
                    <a:pt x="28281" y="1423448"/>
                  </a:cubicBezTo>
                  <a:cubicBezTo>
                    <a:pt x="14958" y="1447429"/>
                    <a:pt x="14302" y="1446853"/>
                    <a:pt x="0" y="1461155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6" name="Forma livre 465"/>
            <p:cNvSpPr/>
            <p:nvPr/>
          </p:nvSpPr>
          <p:spPr>
            <a:xfrm>
              <a:off x="4331616" y="1348033"/>
              <a:ext cx="1602557" cy="631596"/>
            </a:xfrm>
            <a:custGeom>
              <a:avLst/>
              <a:gdLst>
                <a:gd name="connsiteX0" fmla="*/ 0 w 1602557"/>
                <a:gd name="connsiteY0" fmla="*/ 42421 h 631596"/>
                <a:gd name="connsiteX1" fmla="*/ 28281 w 1602557"/>
                <a:gd name="connsiteY1" fmla="*/ 37707 h 631596"/>
                <a:gd name="connsiteX2" fmla="*/ 56561 w 1602557"/>
                <a:gd name="connsiteY2" fmla="*/ 28280 h 631596"/>
                <a:gd name="connsiteX3" fmla="*/ 164970 w 1602557"/>
                <a:gd name="connsiteY3" fmla="*/ 23567 h 631596"/>
                <a:gd name="connsiteX4" fmla="*/ 207390 w 1602557"/>
                <a:gd name="connsiteY4" fmla="*/ 4713 h 631596"/>
                <a:gd name="connsiteX5" fmla="*/ 221530 w 1602557"/>
                <a:gd name="connsiteY5" fmla="*/ 0 h 631596"/>
                <a:gd name="connsiteX6" fmla="*/ 235671 w 1602557"/>
                <a:gd name="connsiteY6" fmla="*/ 4713 h 631596"/>
                <a:gd name="connsiteX7" fmla="*/ 240384 w 1602557"/>
                <a:gd name="connsiteY7" fmla="*/ 18854 h 631596"/>
                <a:gd name="connsiteX8" fmla="*/ 254524 w 1602557"/>
                <a:gd name="connsiteY8" fmla="*/ 32994 h 631596"/>
                <a:gd name="connsiteX9" fmla="*/ 259238 w 1602557"/>
                <a:gd name="connsiteY9" fmla="*/ 47134 h 631596"/>
                <a:gd name="connsiteX10" fmla="*/ 301658 w 1602557"/>
                <a:gd name="connsiteY10" fmla="*/ 65988 h 631596"/>
                <a:gd name="connsiteX11" fmla="*/ 329939 w 1602557"/>
                <a:gd name="connsiteY11" fmla="*/ 75414 h 631596"/>
                <a:gd name="connsiteX12" fmla="*/ 344079 w 1602557"/>
                <a:gd name="connsiteY12" fmla="*/ 80128 h 631596"/>
                <a:gd name="connsiteX13" fmla="*/ 386499 w 1602557"/>
                <a:gd name="connsiteY13" fmla="*/ 84841 h 631596"/>
                <a:gd name="connsiteX14" fmla="*/ 400640 w 1602557"/>
                <a:gd name="connsiteY14" fmla="*/ 89555 h 631596"/>
                <a:gd name="connsiteX15" fmla="*/ 405353 w 1602557"/>
                <a:gd name="connsiteY15" fmla="*/ 103695 h 631596"/>
                <a:gd name="connsiteX16" fmla="*/ 414780 w 1602557"/>
                <a:gd name="connsiteY16" fmla="*/ 117835 h 631596"/>
                <a:gd name="connsiteX17" fmla="*/ 419493 w 1602557"/>
                <a:gd name="connsiteY17" fmla="*/ 141402 h 631596"/>
                <a:gd name="connsiteX18" fmla="*/ 433633 w 1602557"/>
                <a:gd name="connsiteY18" fmla="*/ 174396 h 631596"/>
                <a:gd name="connsiteX19" fmla="*/ 452487 w 1602557"/>
                <a:gd name="connsiteY19" fmla="*/ 202676 h 631596"/>
                <a:gd name="connsiteX20" fmla="*/ 457200 w 1602557"/>
                <a:gd name="connsiteY20" fmla="*/ 216816 h 631596"/>
                <a:gd name="connsiteX21" fmla="*/ 466627 w 1602557"/>
                <a:gd name="connsiteY21" fmla="*/ 235670 h 631596"/>
                <a:gd name="connsiteX22" fmla="*/ 471341 w 1602557"/>
                <a:gd name="connsiteY22" fmla="*/ 259237 h 631596"/>
                <a:gd name="connsiteX23" fmla="*/ 485481 w 1602557"/>
                <a:gd name="connsiteY23" fmla="*/ 348792 h 631596"/>
                <a:gd name="connsiteX24" fmla="*/ 499621 w 1602557"/>
                <a:gd name="connsiteY24" fmla="*/ 362932 h 631596"/>
                <a:gd name="connsiteX25" fmla="*/ 518475 w 1602557"/>
                <a:gd name="connsiteY25" fmla="*/ 386499 h 631596"/>
                <a:gd name="connsiteX26" fmla="*/ 546755 w 1602557"/>
                <a:gd name="connsiteY26" fmla="*/ 395926 h 631596"/>
                <a:gd name="connsiteX27" fmla="*/ 560895 w 1602557"/>
                <a:gd name="connsiteY27" fmla="*/ 424206 h 631596"/>
                <a:gd name="connsiteX28" fmla="*/ 570322 w 1602557"/>
                <a:gd name="connsiteY28" fmla="*/ 452487 h 631596"/>
                <a:gd name="connsiteX29" fmla="*/ 579749 w 1602557"/>
                <a:gd name="connsiteY29" fmla="*/ 466627 h 631596"/>
                <a:gd name="connsiteX30" fmla="*/ 622170 w 1602557"/>
                <a:gd name="connsiteY30" fmla="*/ 490194 h 631596"/>
                <a:gd name="connsiteX31" fmla="*/ 683444 w 1602557"/>
                <a:gd name="connsiteY31" fmla="*/ 499621 h 631596"/>
                <a:gd name="connsiteX32" fmla="*/ 702297 w 1602557"/>
                <a:gd name="connsiteY32" fmla="*/ 513761 h 631596"/>
                <a:gd name="connsiteX33" fmla="*/ 711724 w 1602557"/>
                <a:gd name="connsiteY33" fmla="*/ 527901 h 631596"/>
                <a:gd name="connsiteX34" fmla="*/ 740005 w 1602557"/>
                <a:gd name="connsiteY34" fmla="*/ 546755 h 631596"/>
                <a:gd name="connsiteX35" fmla="*/ 754145 w 1602557"/>
                <a:gd name="connsiteY35" fmla="*/ 556181 h 631596"/>
                <a:gd name="connsiteX36" fmla="*/ 768285 w 1602557"/>
                <a:gd name="connsiteY36" fmla="*/ 565608 h 631596"/>
                <a:gd name="connsiteX37" fmla="*/ 820132 w 1602557"/>
                <a:gd name="connsiteY37" fmla="*/ 579748 h 631596"/>
                <a:gd name="connsiteX38" fmla="*/ 834273 w 1602557"/>
                <a:gd name="connsiteY38" fmla="*/ 589175 h 631596"/>
                <a:gd name="connsiteX39" fmla="*/ 862553 w 1602557"/>
                <a:gd name="connsiteY39" fmla="*/ 598602 h 631596"/>
                <a:gd name="connsiteX40" fmla="*/ 876693 w 1602557"/>
                <a:gd name="connsiteY40" fmla="*/ 608029 h 631596"/>
                <a:gd name="connsiteX41" fmla="*/ 919114 w 1602557"/>
                <a:gd name="connsiteY41" fmla="*/ 622169 h 631596"/>
                <a:gd name="connsiteX42" fmla="*/ 933254 w 1602557"/>
                <a:gd name="connsiteY42" fmla="*/ 626882 h 631596"/>
                <a:gd name="connsiteX43" fmla="*/ 947394 w 1602557"/>
                <a:gd name="connsiteY43" fmla="*/ 631596 h 631596"/>
                <a:gd name="connsiteX44" fmla="*/ 1018095 w 1602557"/>
                <a:gd name="connsiteY44" fmla="*/ 626882 h 631596"/>
                <a:gd name="connsiteX45" fmla="*/ 1032236 w 1602557"/>
                <a:gd name="connsiteY45" fmla="*/ 617456 h 631596"/>
                <a:gd name="connsiteX46" fmla="*/ 1046376 w 1602557"/>
                <a:gd name="connsiteY46" fmla="*/ 579748 h 631596"/>
                <a:gd name="connsiteX47" fmla="*/ 1074656 w 1602557"/>
                <a:gd name="connsiteY47" fmla="*/ 551468 h 631596"/>
                <a:gd name="connsiteX48" fmla="*/ 1093510 w 1602557"/>
                <a:gd name="connsiteY48" fmla="*/ 527901 h 631596"/>
                <a:gd name="connsiteX49" fmla="*/ 1112363 w 1602557"/>
                <a:gd name="connsiteY49" fmla="*/ 509047 h 631596"/>
                <a:gd name="connsiteX50" fmla="*/ 1150071 w 1602557"/>
                <a:gd name="connsiteY50" fmla="*/ 476054 h 631596"/>
                <a:gd name="connsiteX51" fmla="*/ 1178351 w 1602557"/>
                <a:gd name="connsiteY51" fmla="*/ 466627 h 631596"/>
                <a:gd name="connsiteX52" fmla="*/ 1192491 w 1602557"/>
                <a:gd name="connsiteY52" fmla="*/ 461913 h 631596"/>
                <a:gd name="connsiteX53" fmla="*/ 1220772 w 1602557"/>
                <a:gd name="connsiteY53" fmla="*/ 447773 h 631596"/>
                <a:gd name="connsiteX54" fmla="*/ 1249052 w 1602557"/>
                <a:gd name="connsiteY54" fmla="*/ 424206 h 631596"/>
                <a:gd name="connsiteX55" fmla="*/ 1258479 w 1602557"/>
                <a:gd name="connsiteY55" fmla="*/ 410066 h 631596"/>
                <a:gd name="connsiteX56" fmla="*/ 1286759 w 1602557"/>
                <a:gd name="connsiteY56" fmla="*/ 414779 h 631596"/>
                <a:gd name="connsiteX57" fmla="*/ 1300899 w 1602557"/>
                <a:gd name="connsiteY57" fmla="*/ 419493 h 631596"/>
                <a:gd name="connsiteX58" fmla="*/ 1338607 w 1602557"/>
                <a:gd name="connsiteY58" fmla="*/ 414779 h 631596"/>
                <a:gd name="connsiteX59" fmla="*/ 1366887 w 1602557"/>
                <a:gd name="connsiteY59" fmla="*/ 419493 h 631596"/>
                <a:gd name="connsiteX60" fmla="*/ 1381027 w 1602557"/>
                <a:gd name="connsiteY60" fmla="*/ 424206 h 631596"/>
                <a:gd name="connsiteX61" fmla="*/ 1428161 w 1602557"/>
                <a:gd name="connsiteY61" fmla="*/ 414779 h 631596"/>
                <a:gd name="connsiteX62" fmla="*/ 1602557 w 1602557"/>
                <a:gd name="connsiteY62" fmla="*/ 410066 h 631596"/>
                <a:gd name="connsiteX0" fmla="*/ 0 w 1602557"/>
                <a:gd name="connsiteY0" fmla="*/ 42421 h 631596"/>
                <a:gd name="connsiteX1" fmla="*/ 28281 w 1602557"/>
                <a:gd name="connsiteY1" fmla="*/ 37707 h 631596"/>
                <a:gd name="connsiteX2" fmla="*/ 56561 w 1602557"/>
                <a:gd name="connsiteY2" fmla="*/ 28280 h 631596"/>
                <a:gd name="connsiteX3" fmla="*/ 164970 w 1602557"/>
                <a:gd name="connsiteY3" fmla="*/ 23567 h 631596"/>
                <a:gd name="connsiteX4" fmla="*/ 207390 w 1602557"/>
                <a:gd name="connsiteY4" fmla="*/ 4713 h 631596"/>
                <a:gd name="connsiteX5" fmla="*/ 221530 w 1602557"/>
                <a:gd name="connsiteY5" fmla="*/ 0 h 631596"/>
                <a:gd name="connsiteX6" fmla="*/ 235671 w 1602557"/>
                <a:gd name="connsiteY6" fmla="*/ 4713 h 631596"/>
                <a:gd name="connsiteX7" fmla="*/ 240384 w 1602557"/>
                <a:gd name="connsiteY7" fmla="*/ 18854 h 631596"/>
                <a:gd name="connsiteX8" fmla="*/ 254524 w 1602557"/>
                <a:gd name="connsiteY8" fmla="*/ 32994 h 631596"/>
                <a:gd name="connsiteX9" fmla="*/ 301658 w 1602557"/>
                <a:gd name="connsiteY9" fmla="*/ 65988 h 631596"/>
                <a:gd name="connsiteX10" fmla="*/ 329939 w 1602557"/>
                <a:gd name="connsiteY10" fmla="*/ 75414 h 631596"/>
                <a:gd name="connsiteX11" fmla="*/ 344079 w 1602557"/>
                <a:gd name="connsiteY11" fmla="*/ 80128 h 631596"/>
                <a:gd name="connsiteX12" fmla="*/ 386499 w 1602557"/>
                <a:gd name="connsiteY12" fmla="*/ 84841 h 631596"/>
                <a:gd name="connsiteX13" fmla="*/ 400640 w 1602557"/>
                <a:gd name="connsiteY13" fmla="*/ 89555 h 631596"/>
                <a:gd name="connsiteX14" fmla="*/ 405353 w 1602557"/>
                <a:gd name="connsiteY14" fmla="*/ 103695 h 631596"/>
                <a:gd name="connsiteX15" fmla="*/ 414780 w 1602557"/>
                <a:gd name="connsiteY15" fmla="*/ 117835 h 631596"/>
                <a:gd name="connsiteX16" fmla="*/ 419493 w 1602557"/>
                <a:gd name="connsiteY16" fmla="*/ 141402 h 631596"/>
                <a:gd name="connsiteX17" fmla="*/ 433633 w 1602557"/>
                <a:gd name="connsiteY17" fmla="*/ 174396 h 631596"/>
                <a:gd name="connsiteX18" fmla="*/ 452487 w 1602557"/>
                <a:gd name="connsiteY18" fmla="*/ 202676 h 631596"/>
                <a:gd name="connsiteX19" fmla="*/ 457200 w 1602557"/>
                <a:gd name="connsiteY19" fmla="*/ 216816 h 631596"/>
                <a:gd name="connsiteX20" fmla="*/ 466627 w 1602557"/>
                <a:gd name="connsiteY20" fmla="*/ 235670 h 631596"/>
                <a:gd name="connsiteX21" fmla="*/ 471341 w 1602557"/>
                <a:gd name="connsiteY21" fmla="*/ 259237 h 631596"/>
                <a:gd name="connsiteX22" fmla="*/ 485481 w 1602557"/>
                <a:gd name="connsiteY22" fmla="*/ 348792 h 631596"/>
                <a:gd name="connsiteX23" fmla="*/ 499621 w 1602557"/>
                <a:gd name="connsiteY23" fmla="*/ 362932 h 631596"/>
                <a:gd name="connsiteX24" fmla="*/ 518475 w 1602557"/>
                <a:gd name="connsiteY24" fmla="*/ 386499 h 631596"/>
                <a:gd name="connsiteX25" fmla="*/ 546755 w 1602557"/>
                <a:gd name="connsiteY25" fmla="*/ 395926 h 631596"/>
                <a:gd name="connsiteX26" fmla="*/ 560895 w 1602557"/>
                <a:gd name="connsiteY26" fmla="*/ 424206 h 631596"/>
                <a:gd name="connsiteX27" fmla="*/ 570322 w 1602557"/>
                <a:gd name="connsiteY27" fmla="*/ 452487 h 631596"/>
                <a:gd name="connsiteX28" fmla="*/ 579749 w 1602557"/>
                <a:gd name="connsiteY28" fmla="*/ 466627 h 631596"/>
                <a:gd name="connsiteX29" fmla="*/ 622170 w 1602557"/>
                <a:gd name="connsiteY29" fmla="*/ 490194 h 631596"/>
                <a:gd name="connsiteX30" fmla="*/ 683444 w 1602557"/>
                <a:gd name="connsiteY30" fmla="*/ 499621 h 631596"/>
                <a:gd name="connsiteX31" fmla="*/ 702297 w 1602557"/>
                <a:gd name="connsiteY31" fmla="*/ 513761 h 631596"/>
                <a:gd name="connsiteX32" fmla="*/ 711724 w 1602557"/>
                <a:gd name="connsiteY32" fmla="*/ 527901 h 631596"/>
                <a:gd name="connsiteX33" fmla="*/ 740005 w 1602557"/>
                <a:gd name="connsiteY33" fmla="*/ 546755 h 631596"/>
                <a:gd name="connsiteX34" fmla="*/ 754145 w 1602557"/>
                <a:gd name="connsiteY34" fmla="*/ 556181 h 631596"/>
                <a:gd name="connsiteX35" fmla="*/ 768285 w 1602557"/>
                <a:gd name="connsiteY35" fmla="*/ 565608 h 631596"/>
                <a:gd name="connsiteX36" fmla="*/ 820132 w 1602557"/>
                <a:gd name="connsiteY36" fmla="*/ 579748 h 631596"/>
                <a:gd name="connsiteX37" fmla="*/ 834273 w 1602557"/>
                <a:gd name="connsiteY37" fmla="*/ 589175 h 631596"/>
                <a:gd name="connsiteX38" fmla="*/ 862553 w 1602557"/>
                <a:gd name="connsiteY38" fmla="*/ 598602 h 631596"/>
                <a:gd name="connsiteX39" fmla="*/ 876693 w 1602557"/>
                <a:gd name="connsiteY39" fmla="*/ 608029 h 631596"/>
                <a:gd name="connsiteX40" fmla="*/ 919114 w 1602557"/>
                <a:gd name="connsiteY40" fmla="*/ 622169 h 631596"/>
                <a:gd name="connsiteX41" fmla="*/ 933254 w 1602557"/>
                <a:gd name="connsiteY41" fmla="*/ 626882 h 631596"/>
                <a:gd name="connsiteX42" fmla="*/ 947394 w 1602557"/>
                <a:gd name="connsiteY42" fmla="*/ 631596 h 631596"/>
                <a:gd name="connsiteX43" fmla="*/ 1018095 w 1602557"/>
                <a:gd name="connsiteY43" fmla="*/ 626882 h 631596"/>
                <a:gd name="connsiteX44" fmla="*/ 1032236 w 1602557"/>
                <a:gd name="connsiteY44" fmla="*/ 617456 h 631596"/>
                <a:gd name="connsiteX45" fmla="*/ 1046376 w 1602557"/>
                <a:gd name="connsiteY45" fmla="*/ 579748 h 631596"/>
                <a:gd name="connsiteX46" fmla="*/ 1074656 w 1602557"/>
                <a:gd name="connsiteY46" fmla="*/ 551468 h 631596"/>
                <a:gd name="connsiteX47" fmla="*/ 1093510 w 1602557"/>
                <a:gd name="connsiteY47" fmla="*/ 527901 h 631596"/>
                <a:gd name="connsiteX48" fmla="*/ 1112363 w 1602557"/>
                <a:gd name="connsiteY48" fmla="*/ 509047 h 631596"/>
                <a:gd name="connsiteX49" fmla="*/ 1150071 w 1602557"/>
                <a:gd name="connsiteY49" fmla="*/ 476054 h 631596"/>
                <a:gd name="connsiteX50" fmla="*/ 1178351 w 1602557"/>
                <a:gd name="connsiteY50" fmla="*/ 466627 h 631596"/>
                <a:gd name="connsiteX51" fmla="*/ 1192491 w 1602557"/>
                <a:gd name="connsiteY51" fmla="*/ 461913 h 631596"/>
                <a:gd name="connsiteX52" fmla="*/ 1220772 w 1602557"/>
                <a:gd name="connsiteY52" fmla="*/ 447773 h 631596"/>
                <a:gd name="connsiteX53" fmla="*/ 1249052 w 1602557"/>
                <a:gd name="connsiteY53" fmla="*/ 424206 h 631596"/>
                <a:gd name="connsiteX54" fmla="*/ 1258479 w 1602557"/>
                <a:gd name="connsiteY54" fmla="*/ 410066 h 631596"/>
                <a:gd name="connsiteX55" fmla="*/ 1286759 w 1602557"/>
                <a:gd name="connsiteY55" fmla="*/ 414779 h 631596"/>
                <a:gd name="connsiteX56" fmla="*/ 1300899 w 1602557"/>
                <a:gd name="connsiteY56" fmla="*/ 419493 h 631596"/>
                <a:gd name="connsiteX57" fmla="*/ 1338607 w 1602557"/>
                <a:gd name="connsiteY57" fmla="*/ 414779 h 631596"/>
                <a:gd name="connsiteX58" fmla="*/ 1366887 w 1602557"/>
                <a:gd name="connsiteY58" fmla="*/ 419493 h 631596"/>
                <a:gd name="connsiteX59" fmla="*/ 1381027 w 1602557"/>
                <a:gd name="connsiteY59" fmla="*/ 424206 h 631596"/>
                <a:gd name="connsiteX60" fmla="*/ 1428161 w 1602557"/>
                <a:gd name="connsiteY60" fmla="*/ 414779 h 631596"/>
                <a:gd name="connsiteX61" fmla="*/ 1602557 w 1602557"/>
                <a:gd name="connsiteY61" fmla="*/ 410066 h 631596"/>
                <a:gd name="connsiteX0" fmla="*/ 0 w 1602557"/>
                <a:gd name="connsiteY0" fmla="*/ 42421 h 631596"/>
                <a:gd name="connsiteX1" fmla="*/ 28281 w 1602557"/>
                <a:gd name="connsiteY1" fmla="*/ 37707 h 631596"/>
                <a:gd name="connsiteX2" fmla="*/ 56561 w 1602557"/>
                <a:gd name="connsiteY2" fmla="*/ 28280 h 631596"/>
                <a:gd name="connsiteX3" fmla="*/ 164970 w 1602557"/>
                <a:gd name="connsiteY3" fmla="*/ 23567 h 631596"/>
                <a:gd name="connsiteX4" fmla="*/ 207390 w 1602557"/>
                <a:gd name="connsiteY4" fmla="*/ 4713 h 631596"/>
                <a:gd name="connsiteX5" fmla="*/ 221530 w 1602557"/>
                <a:gd name="connsiteY5" fmla="*/ 0 h 631596"/>
                <a:gd name="connsiteX6" fmla="*/ 235671 w 1602557"/>
                <a:gd name="connsiteY6" fmla="*/ 4713 h 631596"/>
                <a:gd name="connsiteX7" fmla="*/ 240384 w 1602557"/>
                <a:gd name="connsiteY7" fmla="*/ 18854 h 631596"/>
                <a:gd name="connsiteX8" fmla="*/ 301658 w 1602557"/>
                <a:gd name="connsiteY8" fmla="*/ 65988 h 631596"/>
                <a:gd name="connsiteX9" fmla="*/ 329939 w 1602557"/>
                <a:gd name="connsiteY9" fmla="*/ 75414 h 631596"/>
                <a:gd name="connsiteX10" fmla="*/ 344079 w 1602557"/>
                <a:gd name="connsiteY10" fmla="*/ 80128 h 631596"/>
                <a:gd name="connsiteX11" fmla="*/ 386499 w 1602557"/>
                <a:gd name="connsiteY11" fmla="*/ 84841 h 631596"/>
                <a:gd name="connsiteX12" fmla="*/ 400640 w 1602557"/>
                <a:gd name="connsiteY12" fmla="*/ 89555 h 631596"/>
                <a:gd name="connsiteX13" fmla="*/ 405353 w 1602557"/>
                <a:gd name="connsiteY13" fmla="*/ 103695 h 631596"/>
                <a:gd name="connsiteX14" fmla="*/ 414780 w 1602557"/>
                <a:gd name="connsiteY14" fmla="*/ 117835 h 631596"/>
                <a:gd name="connsiteX15" fmla="*/ 419493 w 1602557"/>
                <a:gd name="connsiteY15" fmla="*/ 141402 h 631596"/>
                <a:gd name="connsiteX16" fmla="*/ 433633 w 1602557"/>
                <a:gd name="connsiteY16" fmla="*/ 174396 h 631596"/>
                <a:gd name="connsiteX17" fmla="*/ 452487 w 1602557"/>
                <a:gd name="connsiteY17" fmla="*/ 202676 h 631596"/>
                <a:gd name="connsiteX18" fmla="*/ 457200 w 1602557"/>
                <a:gd name="connsiteY18" fmla="*/ 216816 h 631596"/>
                <a:gd name="connsiteX19" fmla="*/ 466627 w 1602557"/>
                <a:gd name="connsiteY19" fmla="*/ 235670 h 631596"/>
                <a:gd name="connsiteX20" fmla="*/ 471341 w 1602557"/>
                <a:gd name="connsiteY20" fmla="*/ 259237 h 631596"/>
                <a:gd name="connsiteX21" fmla="*/ 485481 w 1602557"/>
                <a:gd name="connsiteY21" fmla="*/ 348792 h 631596"/>
                <a:gd name="connsiteX22" fmla="*/ 499621 w 1602557"/>
                <a:gd name="connsiteY22" fmla="*/ 362932 h 631596"/>
                <a:gd name="connsiteX23" fmla="*/ 518475 w 1602557"/>
                <a:gd name="connsiteY23" fmla="*/ 386499 h 631596"/>
                <a:gd name="connsiteX24" fmla="*/ 546755 w 1602557"/>
                <a:gd name="connsiteY24" fmla="*/ 395926 h 631596"/>
                <a:gd name="connsiteX25" fmla="*/ 560895 w 1602557"/>
                <a:gd name="connsiteY25" fmla="*/ 424206 h 631596"/>
                <a:gd name="connsiteX26" fmla="*/ 570322 w 1602557"/>
                <a:gd name="connsiteY26" fmla="*/ 452487 h 631596"/>
                <a:gd name="connsiteX27" fmla="*/ 579749 w 1602557"/>
                <a:gd name="connsiteY27" fmla="*/ 466627 h 631596"/>
                <a:gd name="connsiteX28" fmla="*/ 622170 w 1602557"/>
                <a:gd name="connsiteY28" fmla="*/ 490194 h 631596"/>
                <a:gd name="connsiteX29" fmla="*/ 683444 w 1602557"/>
                <a:gd name="connsiteY29" fmla="*/ 499621 h 631596"/>
                <a:gd name="connsiteX30" fmla="*/ 702297 w 1602557"/>
                <a:gd name="connsiteY30" fmla="*/ 513761 h 631596"/>
                <a:gd name="connsiteX31" fmla="*/ 711724 w 1602557"/>
                <a:gd name="connsiteY31" fmla="*/ 527901 h 631596"/>
                <a:gd name="connsiteX32" fmla="*/ 740005 w 1602557"/>
                <a:gd name="connsiteY32" fmla="*/ 546755 h 631596"/>
                <a:gd name="connsiteX33" fmla="*/ 754145 w 1602557"/>
                <a:gd name="connsiteY33" fmla="*/ 556181 h 631596"/>
                <a:gd name="connsiteX34" fmla="*/ 768285 w 1602557"/>
                <a:gd name="connsiteY34" fmla="*/ 565608 h 631596"/>
                <a:gd name="connsiteX35" fmla="*/ 820132 w 1602557"/>
                <a:gd name="connsiteY35" fmla="*/ 579748 h 631596"/>
                <a:gd name="connsiteX36" fmla="*/ 834273 w 1602557"/>
                <a:gd name="connsiteY36" fmla="*/ 589175 h 631596"/>
                <a:gd name="connsiteX37" fmla="*/ 862553 w 1602557"/>
                <a:gd name="connsiteY37" fmla="*/ 598602 h 631596"/>
                <a:gd name="connsiteX38" fmla="*/ 876693 w 1602557"/>
                <a:gd name="connsiteY38" fmla="*/ 608029 h 631596"/>
                <a:gd name="connsiteX39" fmla="*/ 919114 w 1602557"/>
                <a:gd name="connsiteY39" fmla="*/ 622169 h 631596"/>
                <a:gd name="connsiteX40" fmla="*/ 933254 w 1602557"/>
                <a:gd name="connsiteY40" fmla="*/ 626882 h 631596"/>
                <a:gd name="connsiteX41" fmla="*/ 947394 w 1602557"/>
                <a:gd name="connsiteY41" fmla="*/ 631596 h 631596"/>
                <a:gd name="connsiteX42" fmla="*/ 1018095 w 1602557"/>
                <a:gd name="connsiteY42" fmla="*/ 626882 h 631596"/>
                <a:gd name="connsiteX43" fmla="*/ 1032236 w 1602557"/>
                <a:gd name="connsiteY43" fmla="*/ 617456 h 631596"/>
                <a:gd name="connsiteX44" fmla="*/ 1046376 w 1602557"/>
                <a:gd name="connsiteY44" fmla="*/ 579748 h 631596"/>
                <a:gd name="connsiteX45" fmla="*/ 1074656 w 1602557"/>
                <a:gd name="connsiteY45" fmla="*/ 551468 h 631596"/>
                <a:gd name="connsiteX46" fmla="*/ 1093510 w 1602557"/>
                <a:gd name="connsiteY46" fmla="*/ 527901 h 631596"/>
                <a:gd name="connsiteX47" fmla="*/ 1112363 w 1602557"/>
                <a:gd name="connsiteY47" fmla="*/ 509047 h 631596"/>
                <a:gd name="connsiteX48" fmla="*/ 1150071 w 1602557"/>
                <a:gd name="connsiteY48" fmla="*/ 476054 h 631596"/>
                <a:gd name="connsiteX49" fmla="*/ 1178351 w 1602557"/>
                <a:gd name="connsiteY49" fmla="*/ 466627 h 631596"/>
                <a:gd name="connsiteX50" fmla="*/ 1192491 w 1602557"/>
                <a:gd name="connsiteY50" fmla="*/ 461913 h 631596"/>
                <a:gd name="connsiteX51" fmla="*/ 1220772 w 1602557"/>
                <a:gd name="connsiteY51" fmla="*/ 447773 h 631596"/>
                <a:gd name="connsiteX52" fmla="*/ 1249052 w 1602557"/>
                <a:gd name="connsiteY52" fmla="*/ 424206 h 631596"/>
                <a:gd name="connsiteX53" fmla="*/ 1258479 w 1602557"/>
                <a:gd name="connsiteY53" fmla="*/ 410066 h 631596"/>
                <a:gd name="connsiteX54" fmla="*/ 1286759 w 1602557"/>
                <a:gd name="connsiteY54" fmla="*/ 414779 h 631596"/>
                <a:gd name="connsiteX55" fmla="*/ 1300899 w 1602557"/>
                <a:gd name="connsiteY55" fmla="*/ 419493 h 631596"/>
                <a:gd name="connsiteX56" fmla="*/ 1338607 w 1602557"/>
                <a:gd name="connsiteY56" fmla="*/ 414779 h 631596"/>
                <a:gd name="connsiteX57" fmla="*/ 1366887 w 1602557"/>
                <a:gd name="connsiteY57" fmla="*/ 419493 h 631596"/>
                <a:gd name="connsiteX58" fmla="*/ 1381027 w 1602557"/>
                <a:gd name="connsiteY58" fmla="*/ 424206 h 631596"/>
                <a:gd name="connsiteX59" fmla="*/ 1428161 w 1602557"/>
                <a:gd name="connsiteY59" fmla="*/ 414779 h 631596"/>
                <a:gd name="connsiteX60" fmla="*/ 1602557 w 1602557"/>
                <a:gd name="connsiteY60" fmla="*/ 410066 h 631596"/>
                <a:gd name="connsiteX0" fmla="*/ 0 w 1602557"/>
                <a:gd name="connsiteY0" fmla="*/ 42421 h 631596"/>
                <a:gd name="connsiteX1" fmla="*/ 28281 w 1602557"/>
                <a:gd name="connsiteY1" fmla="*/ 37707 h 631596"/>
                <a:gd name="connsiteX2" fmla="*/ 56561 w 1602557"/>
                <a:gd name="connsiteY2" fmla="*/ 28280 h 631596"/>
                <a:gd name="connsiteX3" fmla="*/ 164970 w 1602557"/>
                <a:gd name="connsiteY3" fmla="*/ 23567 h 631596"/>
                <a:gd name="connsiteX4" fmla="*/ 207390 w 1602557"/>
                <a:gd name="connsiteY4" fmla="*/ 4713 h 631596"/>
                <a:gd name="connsiteX5" fmla="*/ 221530 w 1602557"/>
                <a:gd name="connsiteY5" fmla="*/ 0 h 631596"/>
                <a:gd name="connsiteX6" fmla="*/ 235671 w 1602557"/>
                <a:gd name="connsiteY6" fmla="*/ 4713 h 631596"/>
                <a:gd name="connsiteX7" fmla="*/ 240384 w 1602557"/>
                <a:gd name="connsiteY7" fmla="*/ 18854 h 631596"/>
                <a:gd name="connsiteX8" fmla="*/ 329939 w 1602557"/>
                <a:gd name="connsiteY8" fmla="*/ 75414 h 631596"/>
                <a:gd name="connsiteX9" fmla="*/ 344079 w 1602557"/>
                <a:gd name="connsiteY9" fmla="*/ 80128 h 631596"/>
                <a:gd name="connsiteX10" fmla="*/ 386499 w 1602557"/>
                <a:gd name="connsiteY10" fmla="*/ 84841 h 631596"/>
                <a:gd name="connsiteX11" fmla="*/ 400640 w 1602557"/>
                <a:gd name="connsiteY11" fmla="*/ 89555 h 631596"/>
                <a:gd name="connsiteX12" fmla="*/ 405353 w 1602557"/>
                <a:gd name="connsiteY12" fmla="*/ 103695 h 631596"/>
                <a:gd name="connsiteX13" fmla="*/ 414780 w 1602557"/>
                <a:gd name="connsiteY13" fmla="*/ 117835 h 631596"/>
                <a:gd name="connsiteX14" fmla="*/ 419493 w 1602557"/>
                <a:gd name="connsiteY14" fmla="*/ 141402 h 631596"/>
                <a:gd name="connsiteX15" fmla="*/ 433633 w 1602557"/>
                <a:gd name="connsiteY15" fmla="*/ 174396 h 631596"/>
                <a:gd name="connsiteX16" fmla="*/ 452487 w 1602557"/>
                <a:gd name="connsiteY16" fmla="*/ 202676 h 631596"/>
                <a:gd name="connsiteX17" fmla="*/ 457200 w 1602557"/>
                <a:gd name="connsiteY17" fmla="*/ 216816 h 631596"/>
                <a:gd name="connsiteX18" fmla="*/ 466627 w 1602557"/>
                <a:gd name="connsiteY18" fmla="*/ 235670 h 631596"/>
                <a:gd name="connsiteX19" fmla="*/ 471341 w 1602557"/>
                <a:gd name="connsiteY19" fmla="*/ 259237 h 631596"/>
                <a:gd name="connsiteX20" fmla="*/ 485481 w 1602557"/>
                <a:gd name="connsiteY20" fmla="*/ 348792 h 631596"/>
                <a:gd name="connsiteX21" fmla="*/ 499621 w 1602557"/>
                <a:gd name="connsiteY21" fmla="*/ 362932 h 631596"/>
                <a:gd name="connsiteX22" fmla="*/ 518475 w 1602557"/>
                <a:gd name="connsiteY22" fmla="*/ 386499 h 631596"/>
                <a:gd name="connsiteX23" fmla="*/ 546755 w 1602557"/>
                <a:gd name="connsiteY23" fmla="*/ 395926 h 631596"/>
                <a:gd name="connsiteX24" fmla="*/ 560895 w 1602557"/>
                <a:gd name="connsiteY24" fmla="*/ 424206 h 631596"/>
                <a:gd name="connsiteX25" fmla="*/ 570322 w 1602557"/>
                <a:gd name="connsiteY25" fmla="*/ 452487 h 631596"/>
                <a:gd name="connsiteX26" fmla="*/ 579749 w 1602557"/>
                <a:gd name="connsiteY26" fmla="*/ 466627 h 631596"/>
                <a:gd name="connsiteX27" fmla="*/ 622170 w 1602557"/>
                <a:gd name="connsiteY27" fmla="*/ 490194 h 631596"/>
                <a:gd name="connsiteX28" fmla="*/ 683444 w 1602557"/>
                <a:gd name="connsiteY28" fmla="*/ 499621 h 631596"/>
                <a:gd name="connsiteX29" fmla="*/ 702297 w 1602557"/>
                <a:gd name="connsiteY29" fmla="*/ 513761 h 631596"/>
                <a:gd name="connsiteX30" fmla="*/ 711724 w 1602557"/>
                <a:gd name="connsiteY30" fmla="*/ 527901 h 631596"/>
                <a:gd name="connsiteX31" fmla="*/ 740005 w 1602557"/>
                <a:gd name="connsiteY31" fmla="*/ 546755 h 631596"/>
                <a:gd name="connsiteX32" fmla="*/ 754145 w 1602557"/>
                <a:gd name="connsiteY32" fmla="*/ 556181 h 631596"/>
                <a:gd name="connsiteX33" fmla="*/ 768285 w 1602557"/>
                <a:gd name="connsiteY33" fmla="*/ 565608 h 631596"/>
                <a:gd name="connsiteX34" fmla="*/ 820132 w 1602557"/>
                <a:gd name="connsiteY34" fmla="*/ 579748 h 631596"/>
                <a:gd name="connsiteX35" fmla="*/ 834273 w 1602557"/>
                <a:gd name="connsiteY35" fmla="*/ 589175 h 631596"/>
                <a:gd name="connsiteX36" fmla="*/ 862553 w 1602557"/>
                <a:gd name="connsiteY36" fmla="*/ 598602 h 631596"/>
                <a:gd name="connsiteX37" fmla="*/ 876693 w 1602557"/>
                <a:gd name="connsiteY37" fmla="*/ 608029 h 631596"/>
                <a:gd name="connsiteX38" fmla="*/ 919114 w 1602557"/>
                <a:gd name="connsiteY38" fmla="*/ 622169 h 631596"/>
                <a:gd name="connsiteX39" fmla="*/ 933254 w 1602557"/>
                <a:gd name="connsiteY39" fmla="*/ 626882 h 631596"/>
                <a:gd name="connsiteX40" fmla="*/ 947394 w 1602557"/>
                <a:gd name="connsiteY40" fmla="*/ 631596 h 631596"/>
                <a:gd name="connsiteX41" fmla="*/ 1018095 w 1602557"/>
                <a:gd name="connsiteY41" fmla="*/ 626882 h 631596"/>
                <a:gd name="connsiteX42" fmla="*/ 1032236 w 1602557"/>
                <a:gd name="connsiteY42" fmla="*/ 617456 h 631596"/>
                <a:gd name="connsiteX43" fmla="*/ 1046376 w 1602557"/>
                <a:gd name="connsiteY43" fmla="*/ 579748 h 631596"/>
                <a:gd name="connsiteX44" fmla="*/ 1074656 w 1602557"/>
                <a:gd name="connsiteY44" fmla="*/ 551468 h 631596"/>
                <a:gd name="connsiteX45" fmla="*/ 1093510 w 1602557"/>
                <a:gd name="connsiteY45" fmla="*/ 527901 h 631596"/>
                <a:gd name="connsiteX46" fmla="*/ 1112363 w 1602557"/>
                <a:gd name="connsiteY46" fmla="*/ 509047 h 631596"/>
                <a:gd name="connsiteX47" fmla="*/ 1150071 w 1602557"/>
                <a:gd name="connsiteY47" fmla="*/ 476054 h 631596"/>
                <a:gd name="connsiteX48" fmla="*/ 1178351 w 1602557"/>
                <a:gd name="connsiteY48" fmla="*/ 466627 h 631596"/>
                <a:gd name="connsiteX49" fmla="*/ 1192491 w 1602557"/>
                <a:gd name="connsiteY49" fmla="*/ 461913 h 631596"/>
                <a:gd name="connsiteX50" fmla="*/ 1220772 w 1602557"/>
                <a:gd name="connsiteY50" fmla="*/ 447773 h 631596"/>
                <a:gd name="connsiteX51" fmla="*/ 1249052 w 1602557"/>
                <a:gd name="connsiteY51" fmla="*/ 424206 h 631596"/>
                <a:gd name="connsiteX52" fmla="*/ 1258479 w 1602557"/>
                <a:gd name="connsiteY52" fmla="*/ 410066 h 631596"/>
                <a:gd name="connsiteX53" fmla="*/ 1286759 w 1602557"/>
                <a:gd name="connsiteY53" fmla="*/ 414779 h 631596"/>
                <a:gd name="connsiteX54" fmla="*/ 1300899 w 1602557"/>
                <a:gd name="connsiteY54" fmla="*/ 419493 h 631596"/>
                <a:gd name="connsiteX55" fmla="*/ 1338607 w 1602557"/>
                <a:gd name="connsiteY55" fmla="*/ 414779 h 631596"/>
                <a:gd name="connsiteX56" fmla="*/ 1366887 w 1602557"/>
                <a:gd name="connsiteY56" fmla="*/ 419493 h 631596"/>
                <a:gd name="connsiteX57" fmla="*/ 1381027 w 1602557"/>
                <a:gd name="connsiteY57" fmla="*/ 424206 h 631596"/>
                <a:gd name="connsiteX58" fmla="*/ 1428161 w 1602557"/>
                <a:gd name="connsiteY58" fmla="*/ 414779 h 631596"/>
                <a:gd name="connsiteX59" fmla="*/ 1602557 w 1602557"/>
                <a:gd name="connsiteY59" fmla="*/ 410066 h 631596"/>
                <a:gd name="connsiteX0" fmla="*/ 0 w 1602557"/>
                <a:gd name="connsiteY0" fmla="*/ 42421 h 631596"/>
                <a:gd name="connsiteX1" fmla="*/ 28281 w 1602557"/>
                <a:gd name="connsiteY1" fmla="*/ 37707 h 631596"/>
                <a:gd name="connsiteX2" fmla="*/ 56561 w 1602557"/>
                <a:gd name="connsiteY2" fmla="*/ 28280 h 631596"/>
                <a:gd name="connsiteX3" fmla="*/ 164970 w 1602557"/>
                <a:gd name="connsiteY3" fmla="*/ 23567 h 631596"/>
                <a:gd name="connsiteX4" fmla="*/ 207390 w 1602557"/>
                <a:gd name="connsiteY4" fmla="*/ 4713 h 631596"/>
                <a:gd name="connsiteX5" fmla="*/ 221530 w 1602557"/>
                <a:gd name="connsiteY5" fmla="*/ 0 h 631596"/>
                <a:gd name="connsiteX6" fmla="*/ 235671 w 1602557"/>
                <a:gd name="connsiteY6" fmla="*/ 4713 h 631596"/>
                <a:gd name="connsiteX7" fmla="*/ 282804 w 1602557"/>
                <a:gd name="connsiteY7" fmla="*/ 37708 h 631596"/>
                <a:gd name="connsiteX8" fmla="*/ 329939 w 1602557"/>
                <a:gd name="connsiteY8" fmla="*/ 75414 h 631596"/>
                <a:gd name="connsiteX9" fmla="*/ 344079 w 1602557"/>
                <a:gd name="connsiteY9" fmla="*/ 80128 h 631596"/>
                <a:gd name="connsiteX10" fmla="*/ 386499 w 1602557"/>
                <a:gd name="connsiteY10" fmla="*/ 84841 h 631596"/>
                <a:gd name="connsiteX11" fmla="*/ 400640 w 1602557"/>
                <a:gd name="connsiteY11" fmla="*/ 89555 h 631596"/>
                <a:gd name="connsiteX12" fmla="*/ 405353 w 1602557"/>
                <a:gd name="connsiteY12" fmla="*/ 103695 h 631596"/>
                <a:gd name="connsiteX13" fmla="*/ 414780 w 1602557"/>
                <a:gd name="connsiteY13" fmla="*/ 117835 h 631596"/>
                <a:gd name="connsiteX14" fmla="*/ 419493 w 1602557"/>
                <a:gd name="connsiteY14" fmla="*/ 141402 h 631596"/>
                <a:gd name="connsiteX15" fmla="*/ 433633 w 1602557"/>
                <a:gd name="connsiteY15" fmla="*/ 174396 h 631596"/>
                <a:gd name="connsiteX16" fmla="*/ 452487 w 1602557"/>
                <a:gd name="connsiteY16" fmla="*/ 202676 h 631596"/>
                <a:gd name="connsiteX17" fmla="*/ 457200 w 1602557"/>
                <a:gd name="connsiteY17" fmla="*/ 216816 h 631596"/>
                <a:gd name="connsiteX18" fmla="*/ 466627 w 1602557"/>
                <a:gd name="connsiteY18" fmla="*/ 235670 h 631596"/>
                <a:gd name="connsiteX19" fmla="*/ 471341 w 1602557"/>
                <a:gd name="connsiteY19" fmla="*/ 259237 h 631596"/>
                <a:gd name="connsiteX20" fmla="*/ 485481 w 1602557"/>
                <a:gd name="connsiteY20" fmla="*/ 348792 h 631596"/>
                <a:gd name="connsiteX21" fmla="*/ 499621 w 1602557"/>
                <a:gd name="connsiteY21" fmla="*/ 362932 h 631596"/>
                <a:gd name="connsiteX22" fmla="*/ 518475 w 1602557"/>
                <a:gd name="connsiteY22" fmla="*/ 386499 h 631596"/>
                <a:gd name="connsiteX23" fmla="*/ 546755 w 1602557"/>
                <a:gd name="connsiteY23" fmla="*/ 395926 h 631596"/>
                <a:gd name="connsiteX24" fmla="*/ 560895 w 1602557"/>
                <a:gd name="connsiteY24" fmla="*/ 424206 h 631596"/>
                <a:gd name="connsiteX25" fmla="*/ 570322 w 1602557"/>
                <a:gd name="connsiteY25" fmla="*/ 452487 h 631596"/>
                <a:gd name="connsiteX26" fmla="*/ 579749 w 1602557"/>
                <a:gd name="connsiteY26" fmla="*/ 466627 h 631596"/>
                <a:gd name="connsiteX27" fmla="*/ 622170 w 1602557"/>
                <a:gd name="connsiteY27" fmla="*/ 490194 h 631596"/>
                <a:gd name="connsiteX28" fmla="*/ 683444 w 1602557"/>
                <a:gd name="connsiteY28" fmla="*/ 499621 h 631596"/>
                <a:gd name="connsiteX29" fmla="*/ 702297 w 1602557"/>
                <a:gd name="connsiteY29" fmla="*/ 513761 h 631596"/>
                <a:gd name="connsiteX30" fmla="*/ 711724 w 1602557"/>
                <a:gd name="connsiteY30" fmla="*/ 527901 h 631596"/>
                <a:gd name="connsiteX31" fmla="*/ 740005 w 1602557"/>
                <a:gd name="connsiteY31" fmla="*/ 546755 h 631596"/>
                <a:gd name="connsiteX32" fmla="*/ 754145 w 1602557"/>
                <a:gd name="connsiteY32" fmla="*/ 556181 h 631596"/>
                <a:gd name="connsiteX33" fmla="*/ 768285 w 1602557"/>
                <a:gd name="connsiteY33" fmla="*/ 565608 h 631596"/>
                <a:gd name="connsiteX34" fmla="*/ 820132 w 1602557"/>
                <a:gd name="connsiteY34" fmla="*/ 579748 h 631596"/>
                <a:gd name="connsiteX35" fmla="*/ 834273 w 1602557"/>
                <a:gd name="connsiteY35" fmla="*/ 589175 h 631596"/>
                <a:gd name="connsiteX36" fmla="*/ 862553 w 1602557"/>
                <a:gd name="connsiteY36" fmla="*/ 598602 h 631596"/>
                <a:gd name="connsiteX37" fmla="*/ 876693 w 1602557"/>
                <a:gd name="connsiteY37" fmla="*/ 608029 h 631596"/>
                <a:gd name="connsiteX38" fmla="*/ 919114 w 1602557"/>
                <a:gd name="connsiteY38" fmla="*/ 622169 h 631596"/>
                <a:gd name="connsiteX39" fmla="*/ 933254 w 1602557"/>
                <a:gd name="connsiteY39" fmla="*/ 626882 h 631596"/>
                <a:gd name="connsiteX40" fmla="*/ 947394 w 1602557"/>
                <a:gd name="connsiteY40" fmla="*/ 631596 h 631596"/>
                <a:gd name="connsiteX41" fmla="*/ 1018095 w 1602557"/>
                <a:gd name="connsiteY41" fmla="*/ 626882 h 631596"/>
                <a:gd name="connsiteX42" fmla="*/ 1032236 w 1602557"/>
                <a:gd name="connsiteY42" fmla="*/ 617456 h 631596"/>
                <a:gd name="connsiteX43" fmla="*/ 1046376 w 1602557"/>
                <a:gd name="connsiteY43" fmla="*/ 579748 h 631596"/>
                <a:gd name="connsiteX44" fmla="*/ 1074656 w 1602557"/>
                <a:gd name="connsiteY44" fmla="*/ 551468 h 631596"/>
                <a:gd name="connsiteX45" fmla="*/ 1093510 w 1602557"/>
                <a:gd name="connsiteY45" fmla="*/ 527901 h 631596"/>
                <a:gd name="connsiteX46" fmla="*/ 1112363 w 1602557"/>
                <a:gd name="connsiteY46" fmla="*/ 509047 h 631596"/>
                <a:gd name="connsiteX47" fmla="*/ 1150071 w 1602557"/>
                <a:gd name="connsiteY47" fmla="*/ 476054 h 631596"/>
                <a:gd name="connsiteX48" fmla="*/ 1178351 w 1602557"/>
                <a:gd name="connsiteY48" fmla="*/ 466627 h 631596"/>
                <a:gd name="connsiteX49" fmla="*/ 1192491 w 1602557"/>
                <a:gd name="connsiteY49" fmla="*/ 461913 h 631596"/>
                <a:gd name="connsiteX50" fmla="*/ 1220772 w 1602557"/>
                <a:gd name="connsiteY50" fmla="*/ 447773 h 631596"/>
                <a:gd name="connsiteX51" fmla="*/ 1249052 w 1602557"/>
                <a:gd name="connsiteY51" fmla="*/ 424206 h 631596"/>
                <a:gd name="connsiteX52" fmla="*/ 1258479 w 1602557"/>
                <a:gd name="connsiteY52" fmla="*/ 410066 h 631596"/>
                <a:gd name="connsiteX53" fmla="*/ 1286759 w 1602557"/>
                <a:gd name="connsiteY53" fmla="*/ 414779 h 631596"/>
                <a:gd name="connsiteX54" fmla="*/ 1300899 w 1602557"/>
                <a:gd name="connsiteY54" fmla="*/ 419493 h 631596"/>
                <a:gd name="connsiteX55" fmla="*/ 1338607 w 1602557"/>
                <a:gd name="connsiteY55" fmla="*/ 414779 h 631596"/>
                <a:gd name="connsiteX56" fmla="*/ 1366887 w 1602557"/>
                <a:gd name="connsiteY56" fmla="*/ 419493 h 631596"/>
                <a:gd name="connsiteX57" fmla="*/ 1381027 w 1602557"/>
                <a:gd name="connsiteY57" fmla="*/ 424206 h 631596"/>
                <a:gd name="connsiteX58" fmla="*/ 1428161 w 1602557"/>
                <a:gd name="connsiteY58" fmla="*/ 414779 h 631596"/>
                <a:gd name="connsiteX59" fmla="*/ 1602557 w 1602557"/>
                <a:gd name="connsiteY59" fmla="*/ 410066 h 63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1602557" h="631596">
                  <a:moveTo>
                    <a:pt x="0" y="42421"/>
                  </a:moveTo>
                  <a:cubicBezTo>
                    <a:pt x="9427" y="40850"/>
                    <a:pt x="19009" y="40025"/>
                    <a:pt x="28281" y="37707"/>
                  </a:cubicBezTo>
                  <a:cubicBezTo>
                    <a:pt x="37921" y="35297"/>
                    <a:pt x="46634" y="28712"/>
                    <a:pt x="56561" y="28280"/>
                  </a:cubicBezTo>
                  <a:lnTo>
                    <a:pt x="164970" y="23567"/>
                  </a:lnTo>
                  <a:cubicBezTo>
                    <a:pt x="187377" y="8628"/>
                    <a:pt x="173737" y="15931"/>
                    <a:pt x="207390" y="4713"/>
                  </a:cubicBezTo>
                  <a:lnTo>
                    <a:pt x="221530" y="0"/>
                  </a:lnTo>
                  <a:cubicBezTo>
                    <a:pt x="226244" y="1571"/>
                    <a:pt x="225459" y="-1572"/>
                    <a:pt x="235671" y="4713"/>
                  </a:cubicBezTo>
                  <a:cubicBezTo>
                    <a:pt x="245883" y="10998"/>
                    <a:pt x="267093" y="25925"/>
                    <a:pt x="282804" y="37708"/>
                  </a:cubicBezTo>
                  <a:cubicBezTo>
                    <a:pt x="298515" y="49491"/>
                    <a:pt x="319727" y="68344"/>
                    <a:pt x="329939" y="75414"/>
                  </a:cubicBezTo>
                  <a:cubicBezTo>
                    <a:pt x="340151" y="82484"/>
                    <a:pt x="339141" y="79579"/>
                    <a:pt x="344079" y="80128"/>
                  </a:cubicBezTo>
                  <a:lnTo>
                    <a:pt x="386499" y="84841"/>
                  </a:lnTo>
                  <a:cubicBezTo>
                    <a:pt x="391213" y="86412"/>
                    <a:pt x="397127" y="86042"/>
                    <a:pt x="400640" y="89555"/>
                  </a:cubicBezTo>
                  <a:cubicBezTo>
                    <a:pt x="404153" y="93068"/>
                    <a:pt x="403131" y="99251"/>
                    <a:pt x="405353" y="103695"/>
                  </a:cubicBezTo>
                  <a:cubicBezTo>
                    <a:pt x="407886" y="108762"/>
                    <a:pt x="411638" y="113122"/>
                    <a:pt x="414780" y="117835"/>
                  </a:cubicBezTo>
                  <a:cubicBezTo>
                    <a:pt x="416351" y="125691"/>
                    <a:pt x="417550" y="133630"/>
                    <a:pt x="419493" y="141402"/>
                  </a:cubicBezTo>
                  <a:cubicBezTo>
                    <a:pt x="422278" y="152542"/>
                    <a:pt x="427856" y="164767"/>
                    <a:pt x="433633" y="174396"/>
                  </a:cubicBezTo>
                  <a:cubicBezTo>
                    <a:pt x="439462" y="184111"/>
                    <a:pt x="452487" y="202676"/>
                    <a:pt x="452487" y="202676"/>
                  </a:cubicBezTo>
                  <a:cubicBezTo>
                    <a:pt x="454058" y="207389"/>
                    <a:pt x="455243" y="212249"/>
                    <a:pt x="457200" y="216816"/>
                  </a:cubicBezTo>
                  <a:cubicBezTo>
                    <a:pt x="459968" y="223274"/>
                    <a:pt x="464405" y="229004"/>
                    <a:pt x="466627" y="235670"/>
                  </a:cubicBezTo>
                  <a:cubicBezTo>
                    <a:pt x="469160" y="243270"/>
                    <a:pt x="469770" y="251381"/>
                    <a:pt x="471341" y="259237"/>
                  </a:cubicBezTo>
                  <a:cubicBezTo>
                    <a:pt x="471352" y="259378"/>
                    <a:pt x="472227" y="335538"/>
                    <a:pt x="485481" y="348792"/>
                  </a:cubicBezTo>
                  <a:lnTo>
                    <a:pt x="499621" y="362932"/>
                  </a:lnTo>
                  <a:cubicBezTo>
                    <a:pt x="504733" y="378265"/>
                    <a:pt x="501790" y="379083"/>
                    <a:pt x="518475" y="386499"/>
                  </a:cubicBezTo>
                  <a:cubicBezTo>
                    <a:pt x="527555" y="390535"/>
                    <a:pt x="546755" y="395926"/>
                    <a:pt x="546755" y="395926"/>
                  </a:cubicBezTo>
                  <a:cubicBezTo>
                    <a:pt x="563952" y="447510"/>
                    <a:pt x="536523" y="369367"/>
                    <a:pt x="560895" y="424206"/>
                  </a:cubicBezTo>
                  <a:cubicBezTo>
                    <a:pt x="564931" y="433287"/>
                    <a:pt x="564810" y="444219"/>
                    <a:pt x="570322" y="452487"/>
                  </a:cubicBezTo>
                  <a:cubicBezTo>
                    <a:pt x="573464" y="457200"/>
                    <a:pt x="575486" y="462897"/>
                    <a:pt x="579749" y="466627"/>
                  </a:cubicBezTo>
                  <a:cubicBezTo>
                    <a:pt x="590301" y="475860"/>
                    <a:pt x="606869" y="487325"/>
                    <a:pt x="622170" y="490194"/>
                  </a:cubicBezTo>
                  <a:cubicBezTo>
                    <a:pt x="642481" y="494002"/>
                    <a:pt x="663019" y="496479"/>
                    <a:pt x="683444" y="499621"/>
                  </a:cubicBezTo>
                  <a:cubicBezTo>
                    <a:pt x="689728" y="504334"/>
                    <a:pt x="696742" y="508206"/>
                    <a:pt x="702297" y="513761"/>
                  </a:cubicBezTo>
                  <a:cubicBezTo>
                    <a:pt x="706303" y="517767"/>
                    <a:pt x="707461" y="524171"/>
                    <a:pt x="711724" y="527901"/>
                  </a:cubicBezTo>
                  <a:cubicBezTo>
                    <a:pt x="720251" y="535362"/>
                    <a:pt x="730578" y="540470"/>
                    <a:pt x="740005" y="546755"/>
                  </a:cubicBezTo>
                  <a:lnTo>
                    <a:pt x="754145" y="556181"/>
                  </a:lnTo>
                  <a:cubicBezTo>
                    <a:pt x="758858" y="559323"/>
                    <a:pt x="762789" y="564234"/>
                    <a:pt x="768285" y="565608"/>
                  </a:cubicBezTo>
                  <a:cubicBezTo>
                    <a:pt x="810812" y="576240"/>
                    <a:pt x="793701" y="570938"/>
                    <a:pt x="820132" y="579748"/>
                  </a:cubicBezTo>
                  <a:cubicBezTo>
                    <a:pt x="824846" y="582890"/>
                    <a:pt x="829096" y="586874"/>
                    <a:pt x="834273" y="589175"/>
                  </a:cubicBezTo>
                  <a:cubicBezTo>
                    <a:pt x="843353" y="593211"/>
                    <a:pt x="862553" y="598602"/>
                    <a:pt x="862553" y="598602"/>
                  </a:cubicBezTo>
                  <a:cubicBezTo>
                    <a:pt x="867266" y="601744"/>
                    <a:pt x="871516" y="605728"/>
                    <a:pt x="876693" y="608029"/>
                  </a:cubicBezTo>
                  <a:cubicBezTo>
                    <a:pt x="876700" y="608032"/>
                    <a:pt x="912040" y="619811"/>
                    <a:pt x="919114" y="622169"/>
                  </a:cubicBezTo>
                  <a:lnTo>
                    <a:pt x="933254" y="626882"/>
                  </a:lnTo>
                  <a:lnTo>
                    <a:pt x="947394" y="631596"/>
                  </a:lnTo>
                  <a:cubicBezTo>
                    <a:pt x="970961" y="630025"/>
                    <a:pt x="994797" y="630765"/>
                    <a:pt x="1018095" y="626882"/>
                  </a:cubicBezTo>
                  <a:cubicBezTo>
                    <a:pt x="1023683" y="625951"/>
                    <a:pt x="1029425" y="622374"/>
                    <a:pt x="1032236" y="617456"/>
                  </a:cubicBezTo>
                  <a:cubicBezTo>
                    <a:pt x="1056582" y="574853"/>
                    <a:pt x="1019408" y="610088"/>
                    <a:pt x="1046376" y="579748"/>
                  </a:cubicBezTo>
                  <a:cubicBezTo>
                    <a:pt x="1055233" y="569784"/>
                    <a:pt x="1074656" y="551468"/>
                    <a:pt x="1074656" y="551468"/>
                  </a:cubicBezTo>
                  <a:cubicBezTo>
                    <a:pt x="1086506" y="515924"/>
                    <a:pt x="1069143" y="558361"/>
                    <a:pt x="1093510" y="527901"/>
                  </a:cubicBezTo>
                  <a:cubicBezTo>
                    <a:pt x="1111792" y="505048"/>
                    <a:pt x="1081511" y="519332"/>
                    <a:pt x="1112363" y="509047"/>
                  </a:cubicBezTo>
                  <a:cubicBezTo>
                    <a:pt x="1123362" y="492550"/>
                    <a:pt x="1126503" y="483910"/>
                    <a:pt x="1150071" y="476054"/>
                  </a:cubicBezTo>
                  <a:lnTo>
                    <a:pt x="1178351" y="466627"/>
                  </a:lnTo>
                  <a:cubicBezTo>
                    <a:pt x="1183064" y="465056"/>
                    <a:pt x="1188357" y="464669"/>
                    <a:pt x="1192491" y="461913"/>
                  </a:cubicBezTo>
                  <a:cubicBezTo>
                    <a:pt x="1233021" y="434895"/>
                    <a:pt x="1181735" y="467292"/>
                    <a:pt x="1220772" y="447773"/>
                  </a:cubicBezTo>
                  <a:cubicBezTo>
                    <a:pt x="1231365" y="442476"/>
                    <a:pt x="1241606" y="433141"/>
                    <a:pt x="1249052" y="424206"/>
                  </a:cubicBezTo>
                  <a:cubicBezTo>
                    <a:pt x="1252679" y="419854"/>
                    <a:pt x="1255337" y="414779"/>
                    <a:pt x="1258479" y="410066"/>
                  </a:cubicBezTo>
                  <a:cubicBezTo>
                    <a:pt x="1267906" y="411637"/>
                    <a:pt x="1277430" y="412706"/>
                    <a:pt x="1286759" y="414779"/>
                  </a:cubicBezTo>
                  <a:cubicBezTo>
                    <a:pt x="1291609" y="415857"/>
                    <a:pt x="1295931" y="419493"/>
                    <a:pt x="1300899" y="419493"/>
                  </a:cubicBezTo>
                  <a:cubicBezTo>
                    <a:pt x="1313566" y="419493"/>
                    <a:pt x="1326038" y="416350"/>
                    <a:pt x="1338607" y="414779"/>
                  </a:cubicBezTo>
                  <a:cubicBezTo>
                    <a:pt x="1348034" y="416350"/>
                    <a:pt x="1357558" y="417420"/>
                    <a:pt x="1366887" y="419493"/>
                  </a:cubicBezTo>
                  <a:cubicBezTo>
                    <a:pt x="1371737" y="420571"/>
                    <a:pt x="1376059" y="424206"/>
                    <a:pt x="1381027" y="424206"/>
                  </a:cubicBezTo>
                  <a:cubicBezTo>
                    <a:pt x="1440862" y="424206"/>
                    <a:pt x="1382980" y="417895"/>
                    <a:pt x="1428161" y="414779"/>
                  </a:cubicBezTo>
                  <a:cubicBezTo>
                    <a:pt x="1507423" y="409313"/>
                    <a:pt x="1534222" y="410066"/>
                    <a:pt x="1602557" y="410066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7" name="Forma livre 466"/>
            <p:cNvSpPr/>
            <p:nvPr/>
          </p:nvSpPr>
          <p:spPr>
            <a:xfrm>
              <a:off x="4864231" y="1720392"/>
              <a:ext cx="1706251" cy="801278"/>
            </a:xfrm>
            <a:custGeom>
              <a:avLst/>
              <a:gdLst>
                <a:gd name="connsiteX0" fmla="*/ 0 w 1706251"/>
                <a:gd name="connsiteY0" fmla="*/ 37707 h 801278"/>
                <a:gd name="connsiteX1" fmla="*/ 23567 w 1706251"/>
                <a:gd name="connsiteY1" fmla="*/ 28280 h 801278"/>
                <a:gd name="connsiteX2" fmla="*/ 51847 w 1706251"/>
                <a:gd name="connsiteY2" fmla="*/ 18853 h 801278"/>
                <a:gd name="connsiteX3" fmla="*/ 80128 w 1706251"/>
                <a:gd name="connsiteY3" fmla="*/ 0 h 801278"/>
                <a:gd name="connsiteX4" fmla="*/ 94268 w 1706251"/>
                <a:gd name="connsiteY4" fmla="*/ 9427 h 801278"/>
                <a:gd name="connsiteX5" fmla="*/ 127262 w 1706251"/>
                <a:gd name="connsiteY5" fmla="*/ 18853 h 801278"/>
                <a:gd name="connsiteX6" fmla="*/ 131975 w 1706251"/>
                <a:gd name="connsiteY6" fmla="*/ 42420 h 801278"/>
                <a:gd name="connsiteX7" fmla="*/ 141402 w 1706251"/>
                <a:gd name="connsiteY7" fmla="*/ 70701 h 801278"/>
                <a:gd name="connsiteX8" fmla="*/ 150829 w 1706251"/>
                <a:gd name="connsiteY8" fmla="*/ 141402 h 801278"/>
                <a:gd name="connsiteX9" fmla="*/ 160256 w 1706251"/>
                <a:gd name="connsiteY9" fmla="*/ 155542 h 801278"/>
                <a:gd name="connsiteX10" fmla="*/ 155542 w 1706251"/>
                <a:gd name="connsiteY10" fmla="*/ 202676 h 801278"/>
                <a:gd name="connsiteX11" fmla="*/ 150829 w 1706251"/>
                <a:gd name="connsiteY11" fmla="*/ 221530 h 801278"/>
                <a:gd name="connsiteX12" fmla="*/ 146115 w 1706251"/>
                <a:gd name="connsiteY12" fmla="*/ 245097 h 801278"/>
                <a:gd name="connsiteX13" fmla="*/ 136689 w 1706251"/>
                <a:gd name="connsiteY13" fmla="*/ 287517 h 801278"/>
                <a:gd name="connsiteX14" fmla="*/ 155542 w 1706251"/>
                <a:gd name="connsiteY14" fmla="*/ 311084 h 801278"/>
                <a:gd name="connsiteX15" fmla="*/ 160256 w 1706251"/>
                <a:gd name="connsiteY15" fmla="*/ 325224 h 801278"/>
                <a:gd name="connsiteX16" fmla="*/ 174396 w 1706251"/>
                <a:gd name="connsiteY16" fmla="*/ 353505 h 801278"/>
                <a:gd name="connsiteX17" fmla="*/ 183823 w 1706251"/>
                <a:gd name="connsiteY17" fmla="*/ 395926 h 801278"/>
                <a:gd name="connsiteX18" fmla="*/ 193249 w 1706251"/>
                <a:gd name="connsiteY18" fmla="*/ 410066 h 801278"/>
                <a:gd name="connsiteX19" fmla="*/ 207390 w 1706251"/>
                <a:gd name="connsiteY19" fmla="*/ 438346 h 801278"/>
                <a:gd name="connsiteX20" fmla="*/ 216816 w 1706251"/>
                <a:gd name="connsiteY20" fmla="*/ 466627 h 801278"/>
                <a:gd name="connsiteX21" fmla="*/ 221530 w 1706251"/>
                <a:gd name="connsiteY21" fmla="*/ 480767 h 801278"/>
                <a:gd name="connsiteX22" fmla="*/ 226243 w 1706251"/>
                <a:gd name="connsiteY22" fmla="*/ 499620 h 801278"/>
                <a:gd name="connsiteX23" fmla="*/ 240383 w 1706251"/>
                <a:gd name="connsiteY23" fmla="*/ 504334 h 801278"/>
                <a:gd name="connsiteX24" fmla="*/ 301658 w 1706251"/>
                <a:gd name="connsiteY24" fmla="*/ 509047 h 801278"/>
                <a:gd name="connsiteX25" fmla="*/ 329938 w 1706251"/>
                <a:gd name="connsiteY25" fmla="*/ 518474 h 801278"/>
                <a:gd name="connsiteX26" fmla="*/ 344078 w 1706251"/>
                <a:gd name="connsiteY26" fmla="*/ 523187 h 801278"/>
                <a:gd name="connsiteX27" fmla="*/ 358218 w 1706251"/>
                <a:gd name="connsiteY27" fmla="*/ 532614 h 801278"/>
                <a:gd name="connsiteX28" fmla="*/ 372359 w 1706251"/>
                <a:gd name="connsiteY28" fmla="*/ 546754 h 801278"/>
                <a:gd name="connsiteX29" fmla="*/ 400639 w 1706251"/>
                <a:gd name="connsiteY29" fmla="*/ 556181 h 801278"/>
                <a:gd name="connsiteX30" fmla="*/ 414779 w 1706251"/>
                <a:gd name="connsiteY30" fmla="*/ 565608 h 801278"/>
                <a:gd name="connsiteX31" fmla="*/ 433633 w 1706251"/>
                <a:gd name="connsiteY31" fmla="*/ 570321 h 801278"/>
                <a:gd name="connsiteX32" fmla="*/ 494907 w 1706251"/>
                <a:gd name="connsiteY32" fmla="*/ 579748 h 801278"/>
                <a:gd name="connsiteX33" fmla="*/ 608029 w 1706251"/>
                <a:gd name="connsiteY33" fmla="*/ 575035 h 801278"/>
                <a:gd name="connsiteX34" fmla="*/ 631596 w 1706251"/>
                <a:gd name="connsiteY34" fmla="*/ 579748 h 801278"/>
                <a:gd name="connsiteX35" fmla="*/ 659876 w 1706251"/>
                <a:gd name="connsiteY35" fmla="*/ 589175 h 801278"/>
                <a:gd name="connsiteX36" fmla="*/ 730577 w 1706251"/>
                <a:gd name="connsiteY36" fmla="*/ 603315 h 801278"/>
                <a:gd name="connsiteX37" fmla="*/ 740004 w 1706251"/>
                <a:gd name="connsiteY37" fmla="*/ 617455 h 801278"/>
                <a:gd name="connsiteX38" fmla="*/ 768284 w 1706251"/>
                <a:gd name="connsiteY38" fmla="*/ 636309 h 801278"/>
                <a:gd name="connsiteX39" fmla="*/ 796565 w 1706251"/>
                <a:gd name="connsiteY39" fmla="*/ 664589 h 801278"/>
                <a:gd name="connsiteX40" fmla="*/ 824845 w 1706251"/>
                <a:gd name="connsiteY40" fmla="*/ 683443 h 801278"/>
                <a:gd name="connsiteX41" fmla="*/ 857839 w 1706251"/>
                <a:gd name="connsiteY41" fmla="*/ 716437 h 801278"/>
                <a:gd name="connsiteX42" fmla="*/ 867266 w 1706251"/>
                <a:gd name="connsiteY42" fmla="*/ 730577 h 801278"/>
                <a:gd name="connsiteX43" fmla="*/ 881406 w 1706251"/>
                <a:gd name="connsiteY43" fmla="*/ 735290 h 801278"/>
                <a:gd name="connsiteX44" fmla="*/ 895546 w 1706251"/>
                <a:gd name="connsiteY44" fmla="*/ 744717 h 801278"/>
                <a:gd name="connsiteX45" fmla="*/ 923827 w 1706251"/>
                <a:gd name="connsiteY45" fmla="*/ 758857 h 801278"/>
                <a:gd name="connsiteX46" fmla="*/ 956821 w 1706251"/>
                <a:gd name="connsiteY46" fmla="*/ 754144 h 801278"/>
                <a:gd name="connsiteX47" fmla="*/ 970961 w 1706251"/>
                <a:gd name="connsiteY47" fmla="*/ 744717 h 801278"/>
                <a:gd name="connsiteX48" fmla="*/ 1084082 w 1706251"/>
                <a:gd name="connsiteY48" fmla="*/ 749431 h 801278"/>
                <a:gd name="connsiteX49" fmla="*/ 1135930 w 1706251"/>
                <a:gd name="connsiteY49" fmla="*/ 744717 h 801278"/>
                <a:gd name="connsiteX50" fmla="*/ 1150070 w 1706251"/>
                <a:gd name="connsiteY50" fmla="*/ 740004 h 801278"/>
                <a:gd name="connsiteX51" fmla="*/ 1244338 w 1706251"/>
                <a:gd name="connsiteY51" fmla="*/ 744717 h 801278"/>
                <a:gd name="connsiteX52" fmla="*/ 1277332 w 1706251"/>
                <a:gd name="connsiteY52" fmla="*/ 754144 h 801278"/>
                <a:gd name="connsiteX53" fmla="*/ 1296185 w 1706251"/>
                <a:gd name="connsiteY53" fmla="*/ 768284 h 801278"/>
                <a:gd name="connsiteX54" fmla="*/ 1315039 w 1706251"/>
                <a:gd name="connsiteY54" fmla="*/ 777711 h 801278"/>
                <a:gd name="connsiteX55" fmla="*/ 1324466 w 1706251"/>
                <a:gd name="connsiteY55" fmla="*/ 791851 h 801278"/>
                <a:gd name="connsiteX56" fmla="*/ 1352746 w 1706251"/>
                <a:gd name="connsiteY56" fmla="*/ 801278 h 801278"/>
                <a:gd name="connsiteX57" fmla="*/ 1404594 w 1706251"/>
                <a:gd name="connsiteY57" fmla="*/ 796565 h 801278"/>
                <a:gd name="connsiteX58" fmla="*/ 1423447 w 1706251"/>
                <a:gd name="connsiteY58" fmla="*/ 791851 h 801278"/>
                <a:gd name="connsiteX59" fmla="*/ 1503575 w 1706251"/>
                <a:gd name="connsiteY59" fmla="*/ 787138 h 801278"/>
                <a:gd name="connsiteX60" fmla="*/ 1536569 w 1706251"/>
                <a:gd name="connsiteY60" fmla="*/ 782424 h 801278"/>
                <a:gd name="connsiteX61" fmla="*/ 1569563 w 1706251"/>
                <a:gd name="connsiteY61" fmla="*/ 772998 h 801278"/>
                <a:gd name="connsiteX62" fmla="*/ 1654404 w 1706251"/>
                <a:gd name="connsiteY62" fmla="*/ 768284 h 801278"/>
                <a:gd name="connsiteX63" fmla="*/ 1692111 w 1706251"/>
                <a:gd name="connsiteY63" fmla="*/ 758857 h 801278"/>
                <a:gd name="connsiteX64" fmla="*/ 1706251 w 1706251"/>
                <a:gd name="connsiteY64" fmla="*/ 754144 h 8012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706251" h="801278">
                  <a:moveTo>
                    <a:pt x="0" y="37707"/>
                  </a:moveTo>
                  <a:cubicBezTo>
                    <a:pt x="7856" y="34565"/>
                    <a:pt x="15616" y="31172"/>
                    <a:pt x="23567" y="28280"/>
                  </a:cubicBezTo>
                  <a:cubicBezTo>
                    <a:pt x="32905" y="24884"/>
                    <a:pt x="43579" y="24365"/>
                    <a:pt x="51847" y="18853"/>
                  </a:cubicBezTo>
                  <a:lnTo>
                    <a:pt x="80128" y="0"/>
                  </a:lnTo>
                  <a:cubicBezTo>
                    <a:pt x="84841" y="3142"/>
                    <a:pt x="89201" y="6894"/>
                    <a:pt x="94268" y="9427"/>
                  </a:cubicBezTo>
                  <a:cubicBezTo>
                    <a:pt x="101029" y="12808"/>
                    <a:pt x="121222" y="17343"/>
                    <a:pt x="127262" y="18853"/>
                  </a:cubicBezTo>
                  <a:cubicBezTo>
                    <a:pt x="128833" y="26709"/>
                    <a:pt x="129867" y="34691"/>
                    <a:pt x="131975" y="42420"/>
                  </a:cubicBezTo>
                  <a:cubicBezTo>
                    <a:pt x="134590" y="52007"/>
                    <a:pt x="141402" y="70701"/>
                    <a:pt x="141402" y="70701"/>
                  </a:cubicBezTo>
                  <a:cubicBezTo>
                    <a:pt x="141667" y="72821"/>
                    <a:pt x="149433" y="136749"/>
                    <a:pt x="150829" y="141402"/>
                  </a:cubicBezTo>
                  <a:cubicBezTo>
                    <a:pt x="152457" y="146828"/>
                    <a:pt x="157114" y="150829"/>
                    <a:pt x="160256" y="155542"/>
                  </a:cubicBezTo>
                  <a:cubicBezTo>
                    <a:pt x="158685" y="171253"/>
                    <a:pt x="157775" y="187045"/>
                    <a:pt x="155542" y="202676"/>
                  </a:cubicBezTo>
                  <a:cubicBezTo>
                    <a:pt x="154626" y="209089"/>
                    <a:pt x="152234" y="215206"/>
                    <a:pt x="150829" y="221530"/>
                  </a:cubicBezTo>
                  <a:cubicBezTo>
                    <a:pt x="149091" y="229351"/>
                    <a:pt x="147548" y="237215"/>
                    <a:pt x="146115" y="245097"/>
                  </a:cubicBezTo>
                  <a:cubicBezTo>
                    <a:pt x="139478" y="281600"/>
                    <a:pt x="145000" y="262583"/>
                    <a:pt x="136689" y="287517"/>
                  </a:cubicBezTo>
                  <a:cubicBezTo>
                    <a:pt x="148534" y="323056"/>
                    <a:pt x="131178" y="280630"/>
                    <a:pt x="155542" y="311084"/>
                  </a:cubicBezTo>
                  <a:cubicBezTo>
                    <a:pt x="158646" y="314964"/>
                    <a:pt x="158034" y="320780"/>
                    <a:pt x="160256" y="325224"/>
                  </a:cubicBezTo>
                  <a:cubicBezTo>
                    <a:pt x="178530" y="361773"/>
                    <a:pt x="162547" y="317964"/>
                    <a:pt x="174396" y="353505"/>
                  </a:cubicBezTo>
                  <a:cubicBezTo>
                    <a:pt x="176207" y="364373"/>
                    <a:pt x="178020" y="384320"/>
                    <a:pt x="183823" y="395926"/>
                  </a:cubicBezTo>
                  <a:cubicBezTo>
                    <a:pt x="186356" y="400993"/>
                    <a:pt x="190716" y="404999"/>
                    <a:pt x="193249" y="410066"/>
                  </a:cubicBezTo>
                  <a:cubicBezTo>
                    <a:pt x="212759" y="449086"/>
                    <a:pt x="180380" y="397832"/>
                    <a:pt x="207390" y="438346"/>
                  </a:cubicBezTo>
                  <a:lnTo>
                    <a:pt x="216816" y="466627"/>
                  </a:lnTo>
                  <a:cubicBezTo>
                    <a:pt x="218387" y="471340"/>
                    <a:pt x="220325" y="475947"/>
                    <a:pt x="221530" y="480767"/>
                  </a:cubicBezTo>
                  <a:cubicBezTo>
                    <a:pt x="223101" y="487051"/>
                    <a:pt x="222196" y="494562"/>
                    <a:pt x="226243" y="499620"/>
                  </a:cubicBezTo>
                  <a:cubicBezTo>
                    <a:pt x="229347" y="503500"/>
                    <a:pt x="235453" y="503718"/>
                    <a:pt x="240383" y="504334"/>
                  </a:cubicBezTo>
                  <a:cubicBezTo>
                    <a:pt x="260710" y="506875"/>
                    <a:pt x="281233" y="507476"/>
                    <a:pt x="301658" y="509047"/>
                  </a:cubicBezTo>
                  <a:lnTo>
                    <a:pt x="329938" y="518474"/>
                  </a:lnTo>
                  <a:lnTo>
                    <a:pt x="344078" y="523187"/>
                  </a:lnTo>
                  <a:cubicBezTo>
                    <a:pt x="348791" y="526329"/>
                    <a:pt x="353866" y="528988"/>
                    <a:pt x="358218" y="532614"/>
                  </a:cubicBezTo>
                  <a:cubicBezTo>
                    <a:pt x="363339" y="536881"/>
                    <a:pt x="366532" y="543517"/>
                    <a:pt x="372359" y="546754"/>
                  </a:cubicBezTo>
                  <a:cubicBezTo>
                    <a:pt x="381045" y="551580"/>
                    <a:pt x="400639" y="556181"/>
                    <a:pt x="400639" y="556181"/>
                  </a:cubicBezTo>
                  <a:cubicBezTo>
                    <a:pt x="405352" y="559323"/>
                    <a:pt x="409572" y="563377"/>
                    <a:pt x="414779" y="565608"/>
                  </a:cubicBezTo>
                  <a:cubicBezTo>
                    <a:pt x="420733" y="568160"/>
                    <a:pt x="427404" y="568541"/>
                    <a:pt x="433633" y="570321"/>
                  </a:cubicBezTo>
                  <a:cubicBezTo>
                    <a:pt x="470225" y="580776"/>
                    <a:pt x="419081" y="572166"/>
                    <a:pt x="494907" y="579748"/>
                  </a:cubicBezTo>
                  <a:cubicBezTo>
                    <a:pt x="532614" y="578177"/>
                    <a:pt x="570289" y="575035"/>
                    <a:pt x="608029" y="575035"/>
                  </a:cubicBezTo>
                  <a:cubicBezTo>
                    <a:pt x="616040" y="575035"/>
                    <a:pt x="623867" y="577640"/>
                    <a:pt x="631596" y="579748"/>
                  </a:cubicBezTo>
                  <a:cubicBezTo>
                    <a:pt x="641182" y="582362"/>
                    <a:pt x="659876" y="589175"/>
                    <a:pt x="659876" y="589175"/>
                  </a:cubicBezTo>
                  <a:cubicBezTo>
                    <a:pt x="699651" y="615693"/>
                    <a:pt x="635327" y="576102"/>
                    <a:pt x="730577" y="603315"/>
                  </a:cubicBezTo>
                  <a:cubicBezTo>
                    <a:pt x="736024" y="604871"/>
                    <a:pt x="735741" y="613725"/>
                    <a:pt x="740004" y="617455"/>
                  </a:cubicBezTo>
                  <a:cubicBezTo>
                    <a:pt x="748530" y="624916"/>
                    <a:pt x="761486" y="627245"/>
                    <a:pt x="768284" y="636309"/>
                  </a:cubicBezTo>
                  <a:cubicBezTo>
                    <a:pt x="795387" y="672445"/>
                    <a:pt x="768993" y="641612"/>
                    <a:pt x="796565" y="664589"/>
                  </a:cubicBezTo>
                  <a:cubicBezTo>
                    <a:pt x="820104" y="684205"/>
                    <a:pt x="799994" y="675160"/>
                    <a:pt x="824845" y="683443"/>
                  </a:cubicBezTo>
                  <a:cubicBezTo>
                    <a:pt x="846455" y="715857"/>
                    <a:pt x="832951" y="708140"/>
                    <a:pt x="857839" y="716437"/>
                  </a:cubicBezTo>
                  <a:cubicBezTo>
                    <a:pt x="860981" y="721150"/>
                    <a:pt x="862842" y="727038"/>
                    <a:pt x="867266" y="730577"/>
                  </a:cubicBezTo>
                  <a:cubicBezTo>
                    <a:pt x="871146" y="733681"/>
                    <a:pt x="876962" y="733068"/>
                    <a:pt x="881406" y="735290"/>
                  </a:cubicBezTo>
                  <a:cubicBezTo>
                    <a:pt x="886473" y="737823"/>
                    <a:pt x="890479" y="742184"/>
                    <a:pt x="895546" y="744717"/>
                  </a:cubicBezTo>
                  <a:cubicBezTo>
                    <a:pt x="934583" y="764236"/>
                    <a:pt x="883297" y="731839"/>
                    <a:pt x="923827" y="758857"/>
                  </a:cubicBezTo>
                  <a:cubicBezTo>
                    <a:pt x="934825" y="757286"/>
                    <a:pt x="946180" y="757336"/>
                    <a:pt x="956821" y="754144"/>
                  </a:cubicBezTo>
                  <a:cubicBezTo>
                    <a:pt x="962247" y="752516"/>
                    <a:pt x="965300" y="744927"/>
                    <a:pt x="970961" y="744717"/>
                  </a:cubicBezTo>
                  <a:lnTo>
                    <a:pt x="1084082" y="749431"/>
                  </a:lnTo>
                  <a:cubicBezTo>
                    <a:pt x="1101365" y="747860"/>
                    <a:pt x="1118750" y="747171"/>
                    <a:pt x="1135930" y="744717"/>
                  </a:cubicBezTo>
                  <a:cubicBezTo>
                    <a:pt x="1140848" y="744014"/>
                    <a:pt x="1145102" y="740004"/>
                    <a:pt x="1150070" y="740004"/>
                  </a:cubicBezTo>
                  <a:cubicBezTo>
                    <a:pt x="1181532" y="740004"/>
                    <a:pt x="1212915" y="743146"/>
                    <a:pt x="1244338" y="744717"/>
                  </a:cubicBezTo>
                  <a:cubicBezTo>
                    <a:pt x="1248415" y="745736"/>
                    <a:pt x="1272075" y="751140"/>
                    <a:pt x="1277332" y="754144"/>
                  </a:cubicBezTo>
                  <a:cubicBezTo>
                    <a:pt x="1284152" y="758041"/>
                    <a:pt x="1289524" y="764121"/>
                    <a:pt x="1296185" y="768284"/>
                  </a:cubicBezTo>
                  <a:cubicBezTo>
                    <a:pt x="1302143" y="772008"/>
                    <a:pt x="1308754" y="774569"/>
                    <a:pt x="1315039" y="777711"/>
                  </a:cubicBezTo>
                  <a:cubicBezTo>
                    <a:pt x="1318181" y="782424"/>
                    <a:pt x="1319662" y="788849"/>
                    <a:pt x="1324466" y="791851"/>
                  </a:cubicBezTo>
                  <a:cubicBezTo>
                    <a:pt x="1332892" y="797117"/>
                    <a:pt x="1352746" y="801278"/>
                    <a:pt x="1352746" y="801278"/>
                  </a:cubicBezTo>
                  <a:cubicBezTo>
                    <a:pt x="1370029" y="799707"/>
                    <a:pt x="1387392" y="798859"/>
                    <a:pt x="1404594" y="796565"/>
                  </a:cubicBezTo>
                  <a:cubicBezTo>
                    <a:pt x="1411015" y="795709"/>
                    <a:pt x="1416998" y="792465"/>
                    <a:pt x="1423447" y="791851"/>
                  </a:cubicBezTo>
                  <a:cubicBezTo>
                    <a:pt x="1450082" y="789314"/>
                    <a:pt x="1476866" y="788709"/>
                    <a:pt x="1503575" y="787138"/>
                  </a:cubicBezTo>
                  <a:cubicBezTo>
                    <a:pt x="1514573" y="785567"/>
                    <a:pt x="1525675" y="784603"/>
                    <a:pt x="1536569" y="782424"/>
                  </a:cubicBezTo>
                  <a:cubicBezTo>
                    <a:pt x="1555170" y="778704"/>
                    <a:pt x="1548086" y="774950"/>
                    <a:pt x="1569563" y="772998"/>
                  </a:cubicBezTo>
                  <a:cubicBezTo>
                    <a:pt x="1597771" y="770434"/>
                    <a:pt x="1626124" y="769855"/>
                    <a:pt x="1654404" y="768284"/>
                  </a:cubicBezTo>
                  <a:cubicBezTo>
                    <a:pt x="1686726" y="757511"/>
                    <a:pt x="1646609" y="770233"/>
                    <a:pt x="1692111" y="758857"/>
                  </a:cubicBezTo>
                  <a:cubicBezTo>
                    <a:pt x="1696931" y="757652"/>
                    <a:pt x="1706251" y="754144"/>
                    <a:pt x="1706251" y="75414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8" name="Forma livre 467"/>
            <p:cNvSpPr/>
            <p:nvPr/>
          </p:nvSpPr>
          <p:spPr>
            <a:xfrm>
              <a:off x="5858759" y="1902239"/>
              <a:ext cx="655163" cy="675992"/>
            </a:xfrm>
            <a:custGeom>
              <a:avLst/>
              <a:gdLst>
                <a:gd name="connsiteX0" fmla="*/ 655163 w 655163"/>
                <a:gd name="connsiteY0" fmla="*/ 204652 h 675992"/>
                <a:gd name="connsiteX1" fmla="*/ 598602 w 655163"/>
                <a:gd name="connsiteY1" fmla="*/ 199938 h 675992"/>
                <a:gd name="connsiteX2" fmla="*/ 584462 w 655163"/>
                <a:gd name="connsiteY2" fmla="*/ 195225 h 675992"/>
                <a:gd name="connsiteX3" fmla="*/ 565608 w 655163"/>
                <a:gd name="connsiteY3" fmla="*/ 190512 h 675992"/>
                <a:gd name="connsiteX4" fmla="*/ 551468 w 655163"/>
                <a:gd name="connsiteY4" fmla="*/ 185798 h 675992"/>
                <a:gd name="connsiteX5" fmla="*/ 443060 w 655163"/>
                <a:gd name="connsiteY5" fmla="*/ 181085 h 675992"/>
                <a:gd name="connsiteX6" fmla="*/ 400639 w 655163"/>
                <a:gd name="connsiteY6" fmla="*/ 162231 h 675992"/>
                <a:gd name="connsiteX7" fmla="*/ 386499 w 655163"/>
                <a:gd name="connsiteY7" fmla="*/ 148091 h 675992"/>
                <a:gd name="connsiteX8" fmla="*/ 372359 w 655163"/>
                <a:gd name="connsiteY8" fmla="*/ 143377 h 675992"/>
                <a:gd name="connsiteX9" fmla="*/ 358218 w 655163"/>
                <a:gd name="connsiteY9" fmla="*/ 133951 h 675992"/>
                <a:gd name="connsiteX10" fmla="*/ 344078 w 655163"/>
                <a:gd name="connsiteY10" fmla="*/ 129237 h 675992"/>
                <a:gd name="connsiteX11" fmla="*/ 315798 w 655163"/>
                <a:gd name="connsiteY11" fmla="*/ 105670 h 675992"/>
                <a:gd name="connsiteX12" fmla="*/ 306371 w 655163"/>
                <a:gd name="connsiteY12" fmla="*/ 77390 h 675992"/>
                <a:gd name="connsiteX13" fmla="*/ 301657 w 655163"/>
                <a:gd name="connsiteY13" fmla="*/ 63250 h 675992"/>
                <a:gd name="connsiteX14" fmla="*/ 292231 w 655163"/>
                <a:gd name="connsiteY14" fmla="*/ 49109 h 675992"/>
                <a:gd name="connsiteX15" fmla="*/ 287517 w 655163"/>
                <a:gd name="connsiteY15" fmla="*/ 34969 h 675992"/>
                <a:gd name="connsiteX16" fmla="*/ 263950 w 655163"/>
                <a:gd name="connsiteY16" fmla="*/ 6689 h 675992"/>
                <a:gd name="connsiteX17" fmla="*/ 249810 w 655163"/>
                <a:gd name="connsiteY17" fmla="*/ 1975 h 675992"/>
                <a:gd name="connsiteX18" fmla="*/ 179109 w 655163"/>
                <a:gd name="connsiteY18" fmla="*/ 6689 h 675992"/>
                <a:gd name="connsiteX19" fmla="*/ 197963 w 655163"/>
                <a:gd name="connsiteY19" fmla="*/ 34969 h 675992"/>
                <a:gd name="connsiteX20" fmla="*/ 193249 w 655163"/>
                <a:gd name="connsiteY20" fmla="*/ 77390 h 675992"/>
                <a:gd name="connsiteX21" fmla="*/ 179109 w 655163"/>
                <a:gd name="connsiteY21" fmla="*/ 86817 h 675992"/>
                <a:gd name="connsiteX22" fmla="*/ 169682 w 655163"/>
                <a:gd name="connsiteY22" fmla="*/ 100957 h 675992"/>
                <a:gd name="connsiteX23" fmla="*/ 164969 w 655163"/>
                <a:gd name="connsiteY23" fmla="*/ 115097 h 675992"/>
                <a:gd name="connsiteX24" fmla="*/ 141402 w 655163"/>
                <a:gd name="connsiteY24" fmla="*/ 143377 h 675992"/>
                <a:gd name="connsiteX25" fmla="*/ 127262 w 655163"/>
                <a:gd name="connsiteY25" fmla="*/ 171658 h 675992"/>
                <a:gd name="connsiteX26" fmla="*/ 108408 w 655163"/>
                <a:gd name="connsiteY26" fmla="*/ 199938 h 675992"/>
                <a:gd name="connsiteX27" fmla="*/ 98981 w 655163"/>
                <a:gd name="connsiteY27" fmla="*/ 247072 h 675992"/>
                <a:gd name="connsiteX28" fmla="*/ 80128 w 655163"/>
                <a:gd name="connsiteY28" fmla="*/ 275353 h 675992"/>
                <a:gd name="connsiteX29" fmla="*/ 70701 w 655163"/>
                <a:gd name="connsiteY29" fmla="*/ 289493 h 675992"/>
                <a:gd name="connsiteX30" fmla="*/ 84841 w 655163"/>
                <a:gd name="connsiteY30" fmla="*/ 360194 h 675992"/>
                <a:gd name="connsiteX31" fmla="*/ 94268 w 655163"/>
                <a:gd name="connsiteY31" fmla="*/ 374334 h 675992"/>
                <a:gd name="connsiteX32" fmla="*/ 98981 w 655163"/>
                <a:gd name="connsiteY32" fmla="*/ 388474 h 675992"/>
                <a:gd name="connsiteX33" fmla="*/ 75414 w 655163"/>
                <a:gd name="connsiteY33" fmla="*/ 440322 h 675992"/>
                <a:gd name="connsiteX34" fmla="*/ 61274 w 655163"/>
                <a:gd name="connsiteY34" fmla="*/ 449749 h 675992"/>
                <a:gd name="connsiteX35" fmla="*/ 42420 w 655163"/>
                <a:gd name="connsiteY35" fmla="*/ 478029 h 675992"/>
                <a:gd name="connsiteX36" fmla="*/ 32994 w 655163"/>
                <a:gd name="connsiteY36" fmla="*/ 515736 h 675992"/>
                <a:gd name="connsiteX37" fmla="*/ 23567 w 655163"/>
                <a:gd name="connsiteY37" fmla="*/ 548730 h 675992"/>
                <a:gd name="connsiteX38" fmla="*/ 14140 w 655163"/>
                <a:gd name="connsiteY38" fmla="*/ 591151 h 675992"/>
                <a:gd name="connsiteX39" fmla="*/ 4713 w 655163"/>
                <a:gd name="connsiteY39" fmla="*/ 605291 h 675992"/>
                <a:gd name="connsiteX40" fmla="*/ 0 w 655163"/>
                <a:gd name="connsiteY40" fmla="*/ 619431 h 675992"/>
                <a:gd name="connsiteX41" fmla="*/ 4713 w 655163"/>
                <a:gd name="connsiteY41" fmla="*/ 675992 h 675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655163" h="675992">
                  <a:moveTo>
                    <a:pt x="655163" y="204652"/>
                  </a:moveTo>
                  <a:cubicBezTo>
                    <a:pt x="636309" y="203081"/>
                    <a:pt x="617355" y="202438"/>
                    <a:pt x="598602" y="199938"/>
                  </a:cubicBezTo>
                  <a:cubicBezTo>
                    <a:pt x="593677" y="199281"/>
                    <a:pt x="589239" y="196590"/>
                    <a:pt x="584462" y="195225"/>
                  </a:cubicBezTo>
                  <a:cubicBezTo>
                    <a:pt x="578233" y="193445"/>
                    <a:pt x="571837" y="192292"/>
                    <a:pt x="565608" y="190512"/>
                  </a:cubicBezTo>
                  <a:cubicBezTo>
                    <a:pt x="560831" y="189147"/>
                    <a:pt x="556422" y="186179"/>
                    <a:pt x="551468" y="185798"/>
                  </a:cubicBezTo>
                  <a:cubicBezTo>
                    <a:pt x="515404" y="183024"/>
                    <a:pt x="479196" y="182656"/>
                    <a:pt x="443060" y="181085"/>
                  </a:cubicBezTo>
                  <a:cubicBezTo>
                    <a:pt x="422506" y="174234"/>
                    <a:pt x="415578" y="174681"/>
                    <a:pt x="400639" y="162231"/>
                  </a:cubicBezTo>
                  <a:cubicBezTo>
                    <a:pt x="395518" y="157964"/>
                    <a:pt x="392045" y="151789"/>
                    <a:pt x="386499" y="148091"/>
                  </a:cubicBezTo>
                  <a:cubicBezTo>
                    <a:pt x="382365" y="145335"/>
                    <a:pt x="376803" y="145599"/>
                    <a:pt x="372359" y="143377"/>
                  </a:cubicBezTo>
                  <a:cubicBezTo>
                    <a:pt x="367292" y="140844"/>
                    <a:pt x="363285" y="136484"/>
                    <a:pt x="358218" y="133951"/>
                  </a:cubicBezTo>
                  <a:cubicBezTo>
                    <a:pt x="353774" y="131729"/>
                    <a:pt x="348522" y="131459"/>
                    <a:pt x="344078" y="129237"/>
                  </a:cubicBezTo>
                  <a:cubicBezTo>
                    <a:pt x="330954" y="122675"/>
                    <a:pt x="326222" y="116094"/>
                    <a:pt x="315798" y="105670"/>
                  </a:cubicBezTo>
                  <a:lnTo>
                    <a:pt x="306371" y="77390"/>
                  </a:lnTo>
                  <a:cubicBezTo>
                    <a:pt x="304800" y="72677"/>
                    <a:pt x="304413" y="67384"/>
                    <a:pt x="301657" y="63250"/>
                  </a:cubicBezTo>
                  <a:cubicBezTo>
                    <a:pt x="298515" y="58536"/>
                    <a:pt x="294764" y="54176"/>
                    <a:pt x="292231" y="49109"/>
                  </a:cubicBezTo>
                  <a:cubicBezTo>
                    <a:pt x="290009" y="44665"/>
                    <a:pt x="289739" y="39413"/>
                    <a:pt x="287517" y="34969"/>
                  </a:cubicBezTo>
                  <a:cubicBezTo>
                    <a:pt x="283169" y="26274"/>
                    <a:pt x="271768" y="11901"/>
                    <a:pt x="263950" y="6689"/>
                  </a:cubicBezTo>
                  <a:cubicBezTo>
                    <a:pt x="259816" y="3933"/>
                    <a:pt x="254523" y="3546"/>
                    <a:pt x="249810" y="1975"/>
                  </a:cubicBezTo>
                  <a:cubicBezTo>
                    <a:pt x="226243" y="3546"/>
                    <a:pt x="199036" y="-5992"/>
                    <a:pt x="179109" y="6689"/>
                  </a:cubicBezTo>
                  <a:cubicBezTo>
                    <a:pt x="169551" y="12772"/>
                    <a:pt x="197963" y="34969"/>
                    <a:pt x="197963" y="34969"/>
                  </a:cubicBezTo>
                  <a:cubicBezTo>
                    <a:pt x="196392" y="49109"/>
                    <a:pt x="198111" y="64019"/>
                    <a:pt x="193249" y="77390"/>
                  </a:cubicBezTo>
                  <a:cubicBezTo>
                    <a:pt x="191313" y="82714"/>
                    <a:pt x="183115" y="82811"/>
                    <a:pt x="179109" y="86817"/>
                  </a:cubicBezTo>
                  <a:cubicBezTo>
                    <a:pt x="175103" y="90823"/>
                    <a:pt x="172824" y="96244"/>
                    <a:pt x="169682" y="100957"/>
                  </a:cubicBezTo>
                  <a:cubicBezTo>
                    <a:pt x="168111" y="105670"/>
                    <a:pt x="167191" y="110653"/>
                    <a:pt x="164969" y="115097"/>
                  </a:cubicBezTo>
                  <a:cubicBezTo>
                    <a:pt x="158407" y="128220"/>
                    <a:pt x="151825" y="132954"/>
                    <a:pt x="141402" y="143377"/>
                  </a:cubicBezTo>
                  <a:cubicBezTo>
                    <a:pt x="129554" y="178919"/>
                    <a:pt x="145535" y="135112"/>
                    <a:pt x="127262" y="171658"/>
                  </a:cubicBezTo>
                  <a:cubicBezTo>
                    <a:pt x="113621" y="198941"/>
                    <a:pt x="135210" y="173136"/>
                    <a:pt x="108408" y="199938"/>
                  </a:cubicBezTo>
                  <a:cubicBezTo>
                    <a:pt x="107815" y="203495"/>
                    <a:pt x="102499" y="240036"/>
                    <a:pt x="98981" y="247072"/>
                  </a:cubicBezTo>
                  <a:cubicBezTo>
                    <a:pt x="93914" y="257206"/>
                    <a:pt x="86412" y="265926"/>
                    <a:pt x="80128" y="275353"/>
                  </a:cubicBezTo>
                  <a:lnTo>
                    <a:pt x="70701" y="289493"/>
                  </a:lnTo>
                  <a:cubicBezTo>
                    <a:pt x="72522" y="302242"/>
                    <a:pt x="78228" y="350276"/>
                    <a:pt x="84841" y="360194"/>
                  </a:cubicBezTo>
                  <a:lnTo>
                    <a:pt x="94268" y="374334"/>
                  </a:lnTo>
                  <a:cubicBezTo>
                    <a:pt x="95839" y="379047"/>
                    <a:pt x="98981" y="383506"/>
                    <a:pt x="98981" y="388474"/>
                  </a:cubicBezTo>
                  <a:cubicBezTo>
                    <a:pt x="98981" y="404800"/>
                    <a:pt x="88904" y="431328"/>
                    <a:pt x="75414" y="440322"/>
                  </a:cubicBezTo>
                  <a:lnTo>
                    <a:pt x="61274" y="449749"/>
                  </a:lnTo>
                  <a:cubicBezTo>
                    <a:pt x="54989" y="459176"/>
                    <a:pt x="45168" y="467038"/>
                    <a:pt x="42420" y="478029"/>
                  </a:cubicBezTo>
                  <a:cubicBezTo>
                    <a:pt x="39278" y="490598"/>
                    <a:pt x="37091" y="503445"/>
                    <a:pt x="32994" y="515736"/>
                  </a:cubicBezTo>
                  <a:cubicBezTo>
                    <a:pt x="27742" y="531489"/>
                    <a:pt x="27515" y="530966"/>
                    <a:pt x="23567" y="548730"/>
                  </a:cubicBezTo>
                  <a:cubicBezTo>
                    <a:pt x="22536" y="553368"/>
                    <a:pt x="16790" y="584967"/>
                    <a:pt x="14140" y="591151"/>
                  </a:cubicBezTo>
                  <a:cubicBezTo>
                    <a:pt x="11909" y="596358"/>
                    <a:pt x="7855" y="600578"/>
                    <a:pt x="4713" y="605291"/>
                  </a:cubicBezTo>
                  <a:cubicBezTo>
                    <a:pt x="3142" y="610004"/>
                    <a:pt x="0" y="614463"/>
                    <a:pt x="0" y="619431"/>
                  </a:cubicBezTo>
                  <a:cubicBezTo>
                    <a:pt x="0" y="638350"/>
                    <a:pt x="4713" y="675992"/>
                    <a:pt x="4713" y="675992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29" name="Forma livre 468"/>
            <p:cNvSpPr/>
            <p:nvPr/>
          </p:nvSpPr>
          <p:spPr>
            <a:xfrm>
              <a:off x="4911365" y="1753386"/>
              <a:ext cx="1060515" cy="1390453"/>
            </a:xfrm>
            <a:custGeom>
              <a:avLst/>
              <a:gdLst>
                <a:gd name="connsiteX0" fmla="*/ 1060515 w 1060515"/>
                <a:gd name="connsiteY0" fmla="*/ 0 h 1390453"/>
                <a:gd name="connsiteX1" fmla="*/ 1036948 w 1060515"/>
                <a:gd name="connsiteY1" fmla="*/ 14140 h 1390453"/>
                <a:gd name="connsiteX2" fmla="*/ 1018095 w 1060515"/>
                <a:gd name="connsiteY2" fmla="*/ 18853 h 1390453"/>
                <a:gd name="connsiteX3" fmla="*/ 975674 w 1060515"/>
                <a:gd name="connsiteY3" fmla="*/ 51847 h 1390453"/>
                <a:gd name="connsiteX4" fmla="*/ 956821 w 1060515"/>
                <a:gd name="connsiteY4" fmla="*/ 80127 h 1390453"/>
                <a:gd name="connsiteX5" fmla="*/ 947394 w 1060515"/>
                <a:gd name="connsiteY5" fmla="*/ 108408 h 1390453"/>
                <a:gd name="connsiteX6" fmla="*/ 928540 w 1060515"/>
                <a:gd name="connsiteY6" fmla="*/ 136688 h 1390453"/>
                <a:gd name="connsiteX7" fmla="*/ 900260 w 1060515"/>
                <a:gd name="connsiteY7" fmla="*/ 193249 h 1390453"/>
                <a:gd name="connsiteX8" fmla="*/ 871979 w 1060515"/>
                <a:gd name="connsiteY8" fmla="*/ 212103 h 1390453"/>
                <a:gd name="connsiteX9" fmla="*/ 862553 w 1060515"/>
                <a:gd name="connsiteY9" fmla="*/ 226243 h 1390453"/>
                <a:gd name="connsiteX10" fmla="*/ 857839 w 1060515"/>
                <a:gd name="connsiteY10" fmla="*/ 240383 h 1390453"/>
                <a:gd name="connsiteX11" fmla="*/ 838986 w 1060515"/>
                <a:gd name="connsiteY11" fmla="*/ 268663 h 1390453"/>
                <a:gd name="connsiteX12" fmla="*/ 829559 w 1060515"/>
                <a:gd name="connsiteY12" fmla="*/ 282804 h 1390453"/>
                <a:gd name="connsiteX13" fmla="*/ 815419 w 1060515"/>
                <a:gd name="connsiteY13" fmla="*/ 296944 h 1390453"/>
                <a:gd name="connsiteX14" fmla="*/ 805992 w 1060515"/>
                <a:gd name="connsiteY14" fmla="*/ 325224 h 1390453"/>
                <a:gd name="connsiteX15" fmla="*/ 801278 w 1060515"/>
                <a:gd name="connsiteY15" fmla="*/ 339365 h 1390453"/>
                <a:gd name="connsiteX16" fmla="*/ 782425 w 1060515"/>
                <a:gd name="connsiteY16" fmla="*/ 367645 h 1390453"/>
                <a:gd name="connsiteX17" fmla="*/ 772998 w 1060515"/>
                <a:gd name="connsiteY17" fmla="*/ 381785 h 1390453"/>
                <a:gd name="connsiteX18" fmla="*/ 758858 w 1060515"/>
                <a:gd name="connsiteY18" fmla="*/ 391212 h 1390453"/>
                <a:gd name="connsiteX19" fmla="*/ 740004 w 1060515"/>
                <a:gd name="connsiteY19" fmla="*/ 419492 h 1390453"/>
                <a:gd name="connsiteX20" fmla="*/ 730577 w 1060515"/>
                <a:gd name="connsiteY20" fmla="*/ 433633 h 1390453"/>
                <a:gd name="connsiteX21" fmla="*/ 716437 w 1060515"/>
                <a:gd name="connsiteY21" fmla="*/ 443059 h 1390453"/>
                <a:gd name="connsiteX22" fmla="*/ 692870 w 1060515"/>
                <a:gd name="connsiteY22" fmla="*/ 485480 h 1390453"/>
                <a:gd name="connsiteX23" fmla="*/ 683443 w 1060515"/>
                <a:gd name="connsiteY23" fmla="*/ 499620 h 1390453"/>
                <a:gd name="connsiteX24" fmla="*/ 669303 w 1060515"/>
                <a:gd name="connsiteY24" fmla="*/ 509047 h 1390453"/>
                <a:gd name="connsiteX25" fmla="*/ 645736 w 1060515"/>
                <a:gd name="connsiteY25" fmla="*/ 527901 h 1390453"/>
                <a:gd name="connsiteX26" fmla="*/ 617456 w 1060515"/>
                <a:gd name="connsiteY26" fmla="*/ 546754 h 1390453"/>
                <a:gd name="connsiteX27" fmla="*/ 598602 w 1060515"/>
                <a:gd name="connsiteY27" fmla="*/ 575035 h 1390453"/>
                <a:gd name="connsiteX28" fmla="*/ 584462 w 1060515"/>
                <a:gd name="connsiteY28" fmla="*/ 612742 h 1390453"/>
                <a:gd name="connsiteX29" fmla="*/ 570322 w 1060515"/>
                <a:gd name="connsiteY29" fmla="*/ 650449 h 1390453"/>
                <a:gd name="connsiteX30" fmla="*/ 523188 w 1060515"/>
                <a:gd name="connsiteY30" fmla="*/ 664589 h 1390453"/>
                <a:gd name="connsiteX31" fmla="*/ 504334 w 1060515"/>
                <a:gd name="connsiteY31" fmla="*/ 692870 h 1390453"/>
                <a:gd name="connsiteX32" fmla="*/ 494907 w 1060515"/>
                <a:gd name="connsiteY32" fmla="*/ 707010 h 1390453"/>
                <a:gd name="connsiteX33" fmla="*/ 480767 w 1060515"/>
                <a:gd name="connsiteY33" fmla="*/ 735290 h 1390453"/>
                <a:gd name="connsiteX34" fmla="*/ 476054 w 1060515"/>
                <a:gd name="connsiteY34" fmla="*/ 749430 h 1390453"/>
                <a:gd name="connsiteX35" fmla="*/ 461913 w 1060515"/>
                <a:gd name="connsiteY35" fmla="*/ 758857 h 1390453"/>
                <a:gd name="connsiteX36" fmla="*/ 452487 w 1060515"/>
                <a:gd name="connsiteY36" fmla="*/ 787138 h 1390453"/>
                <a:gd name="connsiteX37" fmla="*/ 433633 w 1060515"/>
                <a:gd name="connsiteY37" fmla="*/ 815418 h 1390453"/>
                <a:gd name="connsiteX38" fmla="*/ 419493 w 1060515"/>
                <a:gd name="connsiteY38" fmla="*/ 820132 h 1390453"/>
                <a:gd name="connsiteX39" fmla="*/ 405353 w 1060515"/>
                <a:gd name="connsiteY39" fmla="*/ 848412 h 1390453"/>
                <a:gd name="connsiteX40" fmla="*/ 391212 w 1060515"/>
                <a:gd name="connsiteY40" fmla="*/ 876692 h 1390453"/>
                <a:gd name="connsiteX41" fmla="*/ 386499 w 1060515"/>
                <a:gd name="connsiteY41" fmla="*/ 890833 h 1390453"/>
                <a:gd name="connsiteX42" fmla="*/ 362932 w 1060515"/>
                <a:gd name="connsiteY42" fmla="*/ 919113 h 1390453"/>
                <a:gd name="connsiteX43" fmla="*/ 348792 w 1060515"/>
                <a:gd name="connsiteY43" fmla="*/ 928540 h 1390453"/>
                <a:gd name="connsiteX44" fmla="*/ 334651 w 1060515"/>
                <a:gd name="connsiteY44" fmla="*/ 956820 h 1390453"/>
                <a:gd name="connsiteX45" fmla="*/ 320511 w 1060515"/>
                <a:gd name="connsiteY45" fmla="*/ 970960 h 1390453"/>
                <a:gd name="connsiteX46" fmla="*/ 296944 w 1060515"/>
                <a:gd name="connsiteY46" fmla="*/ 994527 h 1390453"/>
                <a:gd name="connsiteX47" fmla="*/ 278091 w 1060515"/>
                <a:gd name="connsiteY47" fmla="*/ 1022808 h 1390453"/>
                <a:gd name="connsiteX48" fmla="*/ 263950 w 1060515"/>
                <a:gd name="connsiteY48" fmla="*/ 1036948 h 1390453"/>
                <a:gd name="connsiteX49" fmla="*/ 230957 w 1060515"/>
                <a:gd name="connsiteY49" fmla="*/ 1074655 h 1390453"/>
                <a:gd name="connsiteX50" fmla="*/ 197963 w 1060515"/>
                <a:gd name="connsiteY50" fmla="*/ 1112362 h 1390453"/>
                <a:gd name="connsiteX51" fmla="*/ 164969 w 1060515"/>
                <a:gd name="connsiteY51" fmla="*/ 1154783 h 1390453"/>
                <a:gd name="connsiteX52" fmla="*/ 155542 w 1060515"/>
                <a:gd name="connsiteY52" fmla="*/ 1168923 h 1390453"/>
                <a:gd name="connsiteX53" fmla="*/ 127262 w 1060515"/>
                <a:gd name="connsiteY53" fmla="*/ 1187777 h 1390453"/>
                <a:gd name="connsiteX54" fmla="*/ 108408 w 1060515"/>
                <a:gd name="connsiteY54" fmla="*/ 1216057 h 1390453"/>
                <a:gd name="connsiteX55" fmla="*/ 94268 w 1060515"/>
                <a:gd name="connsiteY55" fmla="*/ 1230198 h 1390453"/>
                <a:gd name="connsiteX56" fmla="*/ 61274 w 1060515"/>
                <a:gd name="connsiteY56" fmla="*/ 1267905 h 1390453"/>
                <a:gd name="connsiteX57" fmla="*/ 51847 w 1060515"/>
                <a:gd name="connsiteY57" fmla="*/ 1282045 h 1390453"/>
                <a:gd name="connsiteX58" fmla="*/ 37707 w 1060515"/>
                <a:gd name="connsiteY58" fmla="*/ 1296185 h 1390453"/>
                <a:gd name="connsiteX59" fmla="*/ 23567 w 1060515"/>
                <a:gd name="connsiteY59" fmla="*/ 1338606 h 1390453"/>
                <a:gd name="connsiteX60" fmla="*/ 18854 w 1060515"/>
                <a:gd name="connsiteY60" fmla="*/ 1352746 h 1390453"/>
                <a:gd name="connsiteX61" fmla="*/ 9427 w 1060515"/>
                <a:gd name="connsiteY61" fmla="*/ 1366886 h 1390453"/>
                <a:gd name="connsiteX62" fmla="*/ 4713 w 1060515"/>
                <a:gd name="connsiteY62" fmla="*/ 1381026 h 1390453"/>
                <a:gd name="connsiteX63" fmla="*/ 0 w 1060515"/>
                <a:gd name="connsiteY63" fmla="*/ 1390453 h 1390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1060515" h="1390453">
                  <a:moveTo>
                    <a:pt x="1060515" y="0"/>
                  </a:moveTo>
                  <a:cubicBezTo>
                    <a:pt x="1052659" y="4713"/>
                    <a:pt x="1045320" y="10419"/>
                    <a:pt x="1036948" y="14140"/>
                  </a:cubicBezTo>
                  <a:cubicBezTo>
                    <a:pt x="1031029" y="16771"/>
                    <a:pt x="1023889" y="15956"/>
                    <a:pt x="1018095" y="18853"/>
                  </a:cubicBezTo>
                  <a:cubicBezTo>
                    <a:pt x="1005135" y="25333"/>
                    <a:pt x="985549" y="39151"/>
                    <a:pt x="975674" y="51847"/>
                  </a:cubicBezTo>
                  <a:cubicBezTo>
                    <a:pt x="968718" y="60790"/>
                    <a:pt x="960404" y="69379"/>
                    <a:pt x="956821" y="80127"/>
                  </a:cubicBezTo>
                  <a:cubicBezTo>
                    <a:pt x="953679" y="89554"/>
                    <a:pt x="952906" y="100140"/>
                    <a:pt x="947394" y="108408"/>
                  </a:cubicBezTo>
                  <a:lnTo>
                    <a:pt x="928540" y="136688"/>
                  </a:lnTo>
                  <a:cubicBezTo>
                    <a:pt x="923163" y="152819"/>
                    <a:pt x="915923" y="182807"/>
                    <a:pt x="900260" y="193249"/>
                  </a:cubicBezTo>
                  <a:lnTo>
                    <a:pt x="871979" y="212103"/>
                  </a:lnTo>
                  <a:cubicBezTo>
                    <a:pt x="868837" y="216816"/>
                    <a:pt x="865086" y="221176"/>
                    <a:pt x="862553" y="226243"/>
                  </a:cubicBezTo>
                  <a:cubicBezTo>
                    <a:pt x="860331" y="230687"/>
                    <a:pt x="860252" y="236040"/>
                    <a:pt x="857839" y="240383"/>
                  </a:cubicBezTo>
                  <a:cubicBezTo>
                    <a:pt x="852337" y="250287"/>
                    <a:pt x="845270" y="259236"/>
                    <a:pt x="838986" y="268663"/>
                  </a:cubicBezTo>
                  <a:cubicBezTo>
                    <a:pt x="835844" y="273377"/>
                    <a:pt x="833565" y="278798"/>
                    <a:pt x="829559" y="282804"/>
                  </a:cubicBezTo>
                  <a:lnTo>
                    <a:pt x="815419" y="296944"/>
                  </a:lnTo>
                  <a:lnTo>
                    <a:pt x="805992" y="325224"/>
                  </a:lnTo>
                  <a:cubicBezTo>
                    <a:pt x="804421" y="329938"/>
                    <a:pt x="804034" y="335231"/>
                    <a:pt x="801278" y="339365"/>
                  </a:cubicBezTo>
                  <a:lnTo>
                    <a:pt x="782425" y="367645"/>
                  </a:lnTo>
                  <a:cubicBezTo>
                    <a:pt x="779283" y="372358"/>
                    <a:pt x="777711" y="378643"/>
                    <a:pt x="772998" y="381785"/>
                  </a:cubicBezTo>
                  <a:lnTo>
                    <a:pt x="758858" y="391212"/>
                  </a:lnTo>
                  <a:lnTo>
                    <a:pt x="740004" y="419492"/>
                  </a:lnTo>
                  <a:cubicBezTo>
                    <a:pt x="736862" y="424206"/>
                    <a:pt x="735291" y="430491"/>
                    <a:pt x="730577" y="433633"/>
                  </a:cubicBezTo>
                  <a:lnTo>
                    <a:pt x="716437" y="443059"/>
                  </a:lnTo>
                  <a:cubicBezTo>
                    <a:pt x="708142" y="467948"/>
                    <a:pt x="714480" y="453066"/>
                    <a:pt x="692870" y="485480"/>
                  </a:cubicBezTo>
                  <a:cubicBezTo>
                    <a:pt x="689728" y="490193"/>
                    <a:pt x="688156" y="496478"/>
                    <a:pt x="683443" y="499620"/>
                  </a:cubicBezTo>
                  <a:lnTo>
                    <a:pt x="669303" y="509047"/>
                  </a:lnTo>
                  <a:cubicBezTo>
                    <a:pt x="648220" y="540670"/>
                    <a:pt x="673056" y="509687"/>
                    <a:pt x="645736" y="527901"/>
                  </a:cubicBezTo>
                  <a:cubicBezTo>
                    <a:pt x="610434" y="551437"/>
                    <a:pt x="651075" y="535549"/>
                    <a:pt x="617456" y="546754"/>
                  </a:cubicBezTo>
                  <a:cubicBezTo>
                    <a:pt x="611171" y="556181"/>
                    <a:pt x="602810" y="564516"/>
                    <a:pt x="598602" y="575035"/>
                  </a:cubicBezTo>
                  <a:cubicBezTo>
                    <a:pt x="595716" y="582251"/>
                    <a:pt x="586926" y="602886"/>
                    <a:pt x="584462" y="612742"/>
                  </a:cubicBezTo>
                  <a:cubicBezTo>
                    <a:pt x="579966" y="630724"/>
                    <a:pt x="583252" y="637519"/>
                    <a:pt x="570322" y="650449"/>
                  </a:cubicBezTo>
                  <a:cubicBezTo>
                    <a:pt x="556032" y="664739"/>
                    <a:pt x="543954" y="661623"/>
                    <a:pt x="523188" y="664589"/>
                  </a:cubicBezTo>
                  <a:lnTo>
                    <a:pt x="504334" y="692870"/>
                  </a:lnTo>
                  <a:lnTo>
                    <a:pt x="494907" y="707010"/>
                  </a:lnTo>
                  <a:cubicBezTo>
                    <a:pt x="483061" y="742551"/>
                    <a:pt x="499041" y="698742"/>
                    <a:pt x="480767" y="735290"/>
                  </a:cubicBezTo>
                  <a:cubicBezTo>
                    <a:pt x="478545" y="739734"/>
                    <a:pt x="479158" y="745550"/>
                    <a:pt x="476054" y="749430"/>
                  </a:cubicBezTo>
                  <a:cubicBezTo>
                    <a:pt x="472515" y="753854"/>
                    <a:pt x="466627" y="755715"/>
                    <a:pt x="461913" y="758857"/>
                  </a:cubicBezTo>
                  <a:lnTo>
                    <a:pt x="452487" y="787138"/>
                  </a:lnTo>
                  <a:cubicBezTo>
                    <a:pt x="447546" y="801962"/>
                    <a:pt x="448763" y="805331"/>
                    <a:pt x="433633" y="815418"/>
                  </a:cubicBezTo>
                  <a:cubicBezTo>
                    <a:pt x="429499" y="818174"/>
                    <a:pt x="424206" y="818561"/>
                    <a:pt x="419493" y="820132"/>
                  </a:cubicBezTo>
                  <a:cubicBezTo>
                    <a:pt x="407644" y="855674"/>
                    <a:pt x="423627" y="811864"/>
                    <a:pt x="405353" y="848412"/>
                  </a:cubicBezTo>
                  <a:cubicBezTo>
                    <a:pt x="385843" y="887432"/>
                    <a:pt x="418222" y="836178"/>
                    <a:pt x="391212" y="876692"/>
                  </a:cubicBezTo>
                  <a:cubicBezTo>
                    <a:pt x="389641" y="881406"/>
                    <a:pt x="388721" y="886389"/>
                    <a:pt x="386499" y="890833"/>
                  </a:cubicBezTo>
                  <a:cubicBezTo>
                    <a:pt x="381203" y="901425"/>
                    <a:pt x="371866" y="911668"/>
                    <a:pt x="362932" y="919113"/>
                  </a:cubicBezTo>
                  <a:cubicBezTo>
                    <a:pt x="358580" y="922740"/>
                    <a:pt x="353505" y="925398"/>
                    <a:pt x="348792" y="928540"/>
                  </a:cubicBezTo>
                  <a:cubicBezTo>
                    <a:pt x="344067" y="942712"/>
                    <a:pt x="344803" y="944637"/>
                    <a:pt x="334651" y="956820"/>
                  </a:cubicBezTo>
                  <a:cubicBezTo>
                    <a:pt x="330384" y="961941"/>
                    <a:pt x="324778" y="965839"/>
                    <a:pt x="320511" y="970960"/>
                  </a:cubicBezTo>
                  <a:cubicBezTo>
                    <a:pt x="300872" y="994527"/>
                    <a:pt x="322867" y="977246"/>
                    <a:pt x="296944" y="994527"/>
                  </a:cubicBezTo>
                  <a:cubicBezTo>
                    <a:pt x="290660" y="1003954"/>
                    <a:pt x="286103" y="1014797"/>
                    <a:pt x="278091" y="1022808"/>
                  </a:cubicBezTo>
                  <a:cubicBezTo>
                    <a:pt x="273377" y="1027521"/>
                    <a:pt x="268043" y="1031686"/>
                    <a:pt x="263950" y="1036948"/>
                  </a:cubicBezTo>
                  <a:cubicBezTo>
                    <a:pt x="234339" y="1075019"/>
                    <a:pt x="258332" y="1056405"/>
                    <a:pt x="230957" y="1074655"/>
                  </a:cubicBezTo>
                  <a:cubicBezTo>
                    <a:pt x="208961" y="1107649"/>
                    <a:pt x="221530" y="1096652"/>
                    <a:pt x="197963" y="1112362"/>
                  </a:cubicBezTo>
                  <a:cubicBezTo>
                    <a:pt x="150314" y="1183835"/>
                    <a:pt x="201886" y="1110483"/>
                    <a:pt x="164969" y="1154783"/>
                  </a:cubicBezTo>
                  <a:cubicBezTo>
                    <a:pt x="161342" y="1159135"/>
                    <a:pt x="159805" y="1165193"/>
                    <a:pt x="155542" y="1168923"/>
                  </a:cubicBezTo>
                  <a:cubicBezTo>
                    <a:pt x="147016" y="1176384"/>
                    <a:pt x="127262" y="1187777"/>
                    <a:pt x="127262" y="1187777"/>
                  </a:cubicBezTo>
                  <a:cubicBezTo>
                    <a:pt x="120977" y="1197204"/>
                    <a:pt x="116419" y="1208046"/>
                    <a:pt x="108408" y="1216057"/>
                  </a:cubicBezTo>
                  <a:cubicBezTo>
                    <a:pt x="103695" y="1220771"/>
                    <a:pt x="98360" y="1224936"/>
                    <a:pt x="94268" y="1230198"/>
                  </a:cubicBezTo>
                  <a:cubicBezTo>
                    <a:pt x="64659" y="1268266"/>
                    <a:pt x="88647" y="1249656"/>
                    <a:pt x="61274" y="1267905"/>
                  </a:cubicBezTo>
                  <a:cubicBezTo>
                    <a:pt x="58132" y="1272618"/>
                    <a:pt x="55474" y="1277693"/>
                    <a:pt x="51847" y="1282045"/>
                  </a:cubicBezTo>
                  <a:cubicBezTo>
                    <a:pt x="47580" y="1287166"/>
                    <a:pt x="40944" y="1290358"/>
                    <a:pt x="37707" y="1296185"/>
                  </a:cubicBezTo>
                  <a:cubicBezTo>
                    <a:pt x="37705" y="1296188"/>
                    <a:pt x="25924" y="1331534"/>
                    <a:pt x="23567" y="1338606"/>
                  </a:cubicBezTo>
                  <a:cubicBezTo>
                    <a:pt x="21996" y="1343319"/>
                    <a:pt x="21610" y="1348612"/>
                    <a:pt x="18854" y="1352746"/>
                  </a:cubicBezTo>
                  <a:cubicBezTo>
                    <a:pt x="15712" y="1357459"/>
                    <a:pt x="11961" y="1361819"/>
                    <a:pt x="9427" y="1366886"/>
                  </a:cubicBezTo>
                  <a:cubicBezTo>
                    <a:pt x="7205" y="1371330"/>
                    <a:pt x="6558" y="1376413"/>
                    <a:pt x="4713" y="1381026"/>
                  </a:cubicBezTo>
                  <a:cubicBezTo>
                    <a:pt x="3408" y="1384288"/>
                    <a:pt x="1571" y="1387311"/>
                    <a:pt x="0" y="1390453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0" name="Forma livre 469"/>
            <p:cNvSpPr/>
            <p:nvPr/>
          </p:nvSpPr>
          <p:spPr>
            <a:xfrm>
              <a:off x="3195687" y="3676454"/>
              <a:ext cx="1550709" cy="254523"/>
            </a:xfrm>
            <a:custGeom>
              <a:avLst/>
              <a:gdLst>
                <a:gd name="connsiteX0" fmla="*/ 0 w 1550709"/>
                <a:gd name="connsiteY0" fmla="*/ 56560 h 254523"/>
                <a:gd name="connsiteX1" fmla="*/ 9426 w 1550709"/>
                <a:gd name="connsiteY1" fmla="*/ 32993 h 254523"/>
                <a:gd name="connsiteX2" fmla="*/ 37707 w 1550709"/>
                <a:gd name="connsiteY2" fmla="*/ 14140 h 254523"/>
                <a:gd name="connsiteX3" fmla="*/ 65987 w 1550709"/>
                <a:gd name="connsiteY3" fmla="*/ 0 h 254523"/>
                <a:gd name="connsiteX4" fmla="*/ 98981 w 1550709"/>
                <a:gd name="connsiteY4" fmla="*/ 4713 h 254523"/>
                <a:gd name="connsiteX5" fmla="*/ 117835 w 1550709"/>
                <a:gd name="connsiteY5" fmla="*/ 9426 h 254523"/>
                <a:gd name="connsiteX6" fmla="*/ 131975 w 1550709"/>
                <a:gd name="connsiteY6" fmla="*/ 14140 h 254523"/>
                <a:gd name="connsiteX7" fmla="*/ 197962 w 1550709"/>
                <a:gd name="connsiteY7" fmla="*/ 18853 h 254523"/>
                <a:gd name="connsiteX8" fmla="*/ 212103 w 1550709"/>
                <a:gd name="connsiteY8" fmla="*/ 23567 h 254523"/>
                <a:gd name="connsiteX9" fmla="*/ 226243 w 1550709"/>
                <a:gd name="connsiteY9" fmla="*/ 32993 h 254523"/>
                <a:gd name="connsiteX10" fmla="*/ 254523 w 1550709"/>
                <a:gd name="connsiteY10" fmla="*/ 42420 h 254523"/>
                <a:gd name="connsiteX11" fmla="*/ 287517 w 1550709"/>
                <a:gd name="connsiteY11" fmla="*/ 37707 h 254523"/>
                <a:gd name="connsiteX12" fmla="*/ 315798 w 1550709"/>
                <a:gd name="connsiteY12" fmla="*/ 9426 h 254523"/>
                <a:gd name="connsiteX13" fmla="*/ 372358 w 1550709"/>
                <a:gd name="connsiteY13" fmla="*/ 14140 h 254523"/>
                <a:gd name="connsiteX14" fmla="*/ 391212 w 1550709"/>
                <a:gd name="connsiteY14" fmla="*/ 18853 h 254523"/>
                <a:gd name="connsiteX15" fmla="*/ 443059 w 1550709"/>
                <a:gd name="connsiteY15" fmla="*/ 23567 h 254523"/>
                <a:gd name="connsiteX16" fmla="*/ 471340 w 1550709"/>
                <a:gd name="connsiteY16" fmla="*/ 42420 h 254523"/>
                <a:gd name="connsiteX17" fmla="*/ 485480 w 1550709"/>
                <a:gd name="connsiteY17" fmla="*/ 51847 h 254523"/>
                <a:gd name="connsiteX18" fmla="*/ 499620 w 1550709"/>
                <a:gd name="connsiteY18" fmla="*/ 56560 h 254523"/>
                <a:gd name="connsiteX19" fmla="*/ 513760 w 1550709"/>
                <a:gd name="connsiteY19" fmla="*/ 65987 h 254523"/>
                <a:gd name="connsiteX20" fmla="*/ 565608 w 1550709"/>
                <a:gd name="connsiteY20" fmla="*/ 75414 h 254523"/>
                <a:gd name="connsiteX21" fmla="*/ 579748 w 1550709"/>
                <a:gd name="connsiteY21" fmla="*/ 84841 h 254523"/>
                <a:gd name="connsiteX22" fmla="*/ 688156 w 1550709"/>
                <a:gd name="connsiteY22" fmla="*/ 94268 h 254523"/>
                <a:gd name="connsiteX23" fmla="*/ 716437 w 1550709"/>
                <a:gd name="connsiteY23" fmla="*/ 80127 h 254523"/>
                <a:gd name="connsiteX24" fmla="*/ 763571 w 1550709"/>
                <a:gd name="connsiteY24" fmla="*/ 70701 h 254523"/>
                <a:gd name="connsiteX25" fmla="*/ 843699 w 1550709"/>
                <a:gd name="connsiteY25" fmla="*/ 80127 h 254523"/>
                <a:gd name="connsiteX26" fmla="*/ 857839 w 1550709"/>
                <a:gd name="connsiteY26" fmla="*/ 89554 h 254523"/>
                <a:gd name="connsiteX27" fmla="*/ 886119 w 1550709"/>
                <a:gd name="connsiteY27" fmla="*/ 98981 h 254523"/>
                <a:gd name="connsiteX28" fmla="*/ 994527 w 1550709"/>
                <a:gd name="connsiteY28" fmla="*/ 94268 h 254523"/>
                <a:gd name="connsiteX29" fmla="*/ 1022808 w 1550709"/>
                <a:gd name="connsiteY29" fmla="*/ 84841 h 254523"/>
                <a:gd name="connsiteX30" fmla="*/ 1036948 w 1550709"/>
                <a:gd name="connsiteY30" fmla="*/ 80127 h 254523"/>
                <a:gd name="connsiteX31" fmla="*/ 1069942 w 1550709"/>
                <a:gd name="connsiteY31" fmla="*/ 70701 h 254523"/>
                <a:gd name="connsiteX32" fmla="*/ 1220771 w 1550709"/>
                <a:gd name="connsiteY32" fmla="*/ 84841 h 254523"/>
                <a:gd name="connsiteX33" fmla="*/ 1277332 w 1550709"/>
                <a:gd name="connsiteY33" fmla="*/ 103694 h 254523"/>
                <a:gd name="connsiteX34" fmla="*/ 1291472 w 1550709"/>
                <a:gd name="connsiteY34" fmla="*/ 108408 h 254523"/>
                <a:gd name="connsiteX35" fmla="*/ 1305612 w 1550709"/>
                <a:gd name="connsiteY35" fmla="*/ 113121 h 254523"/>
                <a:gd name="connsiteX36" fmla="*/ 1319752 w 1550709"/>
                <a:gd name="connsiteY36" fmla="*/ 127261 h 254523"/>
                <a:gd name="connsiteX37" fmla="*/ 1329179 w 1550709"/>
                <a:gd name="connsiteY37" fmla="*/ 141402 h 254523"/>
                <a:gd name="connsiteX38" fmla="*/ 1385740 w 1550709"/>
                <a:gd name="connsiteY38" fmla="*/ 146115 h 254523"/>
                <a:gd name="connsiteX39" fmla="*/ 1395167 w 1550709"/>
                <a:gd name="connsiteY39" fmla="*/ 160255 h 254523"/>
                <a:gd name="connsiteX40" fmla="*/ 1399880 w 1550709"/>
                <a:gd name="connsiteY40" fmla="*/ 174395 h 254523"/>
                <a:gd name="connsiteX41" fmla="*/ 1414020 w 1550709"/>
                <a:gd name="connsiteY41" fmla="*/ 188536 h 254523"/>
                <a:gd name="connsiteX42" fmla="*/ 1475294 w 1550709"/>
                <a:gd name="connsiteY42" fmla="*/ 212103 h 254523"/>
                <a:gd name="connsiteX43" fmla="*/ 1489435 w 1550709"/>
                <a:gd name="connsiteY43" fmla="*/ 216816 h 254523"/>
                <a:gd name="connsiteX44" fmla="*/ 1508288 w 1550709"/>
                <a:gd name="connsiteY44" fmla="*/ 221530 h 254523"/>
                <a:gd name="connsiteX45" fmla="*/ 1522428 w 1550709"/>
                <a:gd name="connsiteY45" fmla="*/ 230956 h 254523"/>
                <a:gd name="connsiteX46" fmla="*/ 1536569 w 1550709"/>
                <a:gd name="connsiteY46" fmla="*/ 245097 h 254523"/>
                <a:gd name="connsiteX47" fmla="*/ 1550709 w 1550709"/>
                <a:gd name="connsiteY47" fmla="*/ 254523 h 254523"/>
                <a:gd name="connsiteX0" fmla="*/ 0 w 1550709"/>
                <a:gd name="connsiteY0" fmla="*/ 56560 h 254523"/>
                <a:gd name="connsiteX1" fmla="*/ 9426 w 1550709"/>
                <a:gd name="connsiteY1" fmla="*/ 32993 h 254523"/>
                <a:gd name="connsiteX2" fmla="*/ 37707 w 1550709"/>
                <a:gd name="connsiteY2" fmla="*/ 14140 h 254523"/>
                <a:gd name="connsiteX3" fmla="*/ 65987 w 1550709"/>
                <a:gd name="connsiteY3" fmla="*/ 0 h 254523"/>
                <a:gd name="connsiteX4" fmla="*/ 98981 w 1550709"/>
                <a:gd name="connsiteY4" fmla="*/ 4713 h 254523"/>
                <a:gd name="connsiteX5" fmla="*/ 117835 w 1550709"/>
                <a:gd name="connsiteY5" fmla="*/ 9426 h 254523"/>
                <a:gd name="connsiteX6" fmla="*/ 131975 w 1550709"/>
                <a:gd name="connsiteY6" fmla="*/ 14140 h 254523"/>
                <a:gd name="connsiteX7" fmla="*/ 197962 w 1550709"/>
                <a:gd name="connsiteY7" fmla="*/ 18853 h 254523"/>
                <a:gd name="connsiteX8" fmla="*/ 212103 w 1550709"/>
                <a:gd name="connsiteY8" fmla="*/ 23567 h 254523"/>
                <a:gd name="connsiteX9" fmla="*/ 226243 w 1550709"/>
                <a:gd name="connsiteY9" fmla="*/ 32993 h 254523"/>
                <a:gd name="connsiteX10" fmla="*/ 254523 w 1550709"/>
                <a:gd name="connsiteY10" fmla="*/ 42420 h 254523"/>
                <a:gd name="connsiteX11" fmla="*/ 287517 w 1550709"/>
                <a:gd name="connsiteY11" fmla="*/ 37707 h 254523"/>
                <a:gd name="connsiteX12" fmla="*/ 315798 w 1550709"/>
                <a:gd name="connsiteY12" fmla="*/ 9426 h 254523"/>
                <a:gd name="connsiteX13" fmla="*/ 372358 w 1550709"/>
                <a:gd name="connsiteY13" fmla="*/ 14140 h 254523"/>
                <a:gd name="connsiteX14" fmla="*/ 391212 w 1550709"/>
                <a:gd name="connsiteY14" fmla="*/ 18853 h 254523"/>
                <a:gd name="connsiteX15" fmla="*/ 443059 w 1550709"/>
                <a:gd name="connsiteY15" fmla="*/ 23567 h 254523"/>
                <a:gd name="connsiteX16" fmla="*/ 471340 w 1550709"/>
                <a:gd name="connsiteY16" fmla="*/ 42420 h 254523"/>
                <a:gd name="connsiteX17" fmla="*/ 485480 w 1550709"/>
                <a:gd name="connsiteY17" fmla="*/ 51847 h 254523"/>
                <a:gd name="connsiteX18" fmla="*/ 499620 w 1550709"/>
                <a:gd name="connsiteY18" fmla="*/ 56560 h 254523"/>
                <a:gd name="connsiteX19" fmla="*/ 513760 w 1550709"/>
                <a:gd name="connsiteY19" fmla="*/ 65987 h 254523"/>
                <a:gd name="connsiteX20" fmla="*/ 565608 w 1550709"/>
                <a:gd name="connsiteY20" fmla="*/ 75414 h 254523"/>
                <a:gd name="connsiteX21" fmla="*/ 617456 w 1550709"/>
                <a:gd name="connsiteY21" fmla="*/ 75414 h 254523"/>
                <a:gd name="connsiteX22" fmla="*/ 688156 w 1550709"/>
                <a:gd name="connsiteY22" fmla="*/ 94268 h 254523"/>
                <a:gd name="connsiteX23" fmla="*/ 716437 w 1550709"/>
                <a:gd name="connsiteY23" fmla="*/ 80127 h 254523"/>
                <a:gd name="connsiteX24" fmla="*/ 763571 w 1550709"/>
                <a:gd name="connsiteY24" fmla="*/ 70701 h 254523"/>
                <a:gd name="connsiteX25" fmla="*/ 843699 w 1550709"/>
                <a:gd name="connsiteY25" fmla="*/ 80127 h 254523"/>
                <a:gd name="connsiteX26" fmla="*/ 857839 w 1550709"/>
                <a:gd name="connsiteY26" fmla="*/ 89554 h 254523"/>
                <a:gd name="connsiteX27" fmla="*/ 886119 w 1550709"/>
                <a:gd name="connsiteY27" fmla="*/ 98981 h 254523"/>
                <a:gd name="connsiteX28" fmla="*/ 994527 w 1550709"/>
                <a:gd name="connsiteY28" fmla="*/ 94268 h 254523"/>
                <a:gd name="connsiteX29" fmla="*/ 1022808 w 1550709"/>
                <a:gd name="connsiteY29" fmla="*/ 84841 h 254523"/>
                <a:gd name="connsiteX30" fmla="*/ 1036948 w 1550709"/>
                <a:gd name="connsiteY30" fmla="*/ 80127 h 254523"/>
                <a:gd name="connsiteX31" fmla="*/ 1069942 w 1550709"/>
                <a:gd name="connsiteY31" fmla="*/ 70701 h 254523"/>
                <a:gd name="connsiteX32" fmla="*/ 1220771 w 1550709"/>
                <a:gd name="connsiteY32" fmla="*/ 84841 h 254523"/>
                <a:gd name="connsiteX33" fmla="*/ 1277332 w 1550709"/>
                <a:gd name="connsiteY33" fmla="*/ 103694 h 254523"/>
                <a:gd name="connsiteX34" fmla="*/ 1291472 w 1550709"/>
                <a:gd name="connsiteY34" fmla="*/ 108408 h 254523"/>
                <a:gd name="connsiteX35" fmla="*/ 1305612 w 1550709"/>
                <a:gd name="connsiteY35" fmla="*/ 113121 h 254523"/>
                <a:gd name="connsiteX36" fmla="*/ 1319752 w 1550709"/>
                <a:gd name="connsiteY36" fmla="*/ 127261 h 254523"/>
                <a:gd name="connsiteX37" fmla="*/ 1329179 w 1550709"/>
                <a:gd name="connsiteY37" fmla="*/ 141402 h 254523"/>
                <a:gd name="connsiteX38" fmla="*/ 1385740 w 1550709"/>
                <a:gd name="connsiteY38" fmla="*/ 146115 h 254523"/>
                <a:gd name="connsiteX39" fmla="*/ 1395167 w 1550709"/>
                <a:gd name="connsiteY39" fmla="*/ 160255 h 254523"/>
                <a:gd name="connsiteX40" fmla="*/ 1399880 w 1550709"/>
                <a:gd name="connsiteY40" fmla="*/ 174395 h 254523"/>
                <a:gd name="connsiteX41" fmla="*/ 1414020 w 1550709"/>
                <a:gd name="connsiteY41" fmla="*/ 188536 h 254523"/>
                <a:gd name="connsiteX42" fmla="*/ 1475294 w 1550709"/>
                <a:gd name="connsiteY42" fmla="*/ 212103 h 254523"/>
                <a:gd name="connsiteX43" fmla="*/ 1489435 w 1550709"/>
                <a:gd name="connsiteY43" fmla="*/ 216816 h 254523"/>
                <a:gd name="connsiteX44" fmla="*/ 1508288 w 1550709"/>
                <a:gd name="connsiteY44" fmla="*/ 221530 h 254523"/>
                <a:gd name="connsiteX45" fmla="*/ 1522428 w 1550709"/>
                <a:gd name="connsiteY45" fmla="*/ 230956 h 254523"/>
                <a:gd name="connsiteX46" fmla="*/ 1536569 w 1550709"/>
                <a:gd name="connsiteY46" fmla="*/ 245097 h 254523"/>
                <a:gd name="connsiteX47" fmla="*/ 1550709 w 1550709"/>
                <a:gd name="connsiteY47" fmla="*/ 254523 h 254523"/>
                <a:gd name="connsiteX0" fmla="*/ 0 w 1550709"/>
                <a:gd name="connsiteY0" fmla="*/ 56560 h 254523"/>
                <a:gd name="connsiteX1" fmla="*/ 9426 w 1550709"/>
                <a:gd name="connsiteY1" fmla="*/ 32993 h 254523"/>
                <a:gd name="connsiteX2" fmla="*/ 37707 w 1550709"/>
                <a:gd name="connsiteY2" fmla="*/ 14140 h 254523"/>
                <a:gd name="connsiteX3" fmla="*/ 65987 w 1550709"/>
                <a:gd name="connsiteY3" fmla="*/ 0 h 254523"/>
                <a:gd name="connsiteX4" fmla="*/ 98981 w 1550709"/>
                <a:gd name="connsiteY4" fmla="*/ 4713 h 254523"/>
                <a:gd name="connsiteX5" fmla="*/ 117835 w 1550709"/>
                <a:gd name="connsiteY5" fmla="*/ 9426 h 254523"/>
                <a:gd name="connsiteX6" fmla="*/ 131975 w 1550709"/>
                <a:gd name="connsiteY6" fmla="*/ 14140 h 254523"/>
                <a:gd name="connsiteX7" fmla="*/ 197962 w 1550709"/>
                <a:gd name="connsiteY7" fmla="*/ 18853 h 254523"/>
                <a:gd name="connsiteX8" fmla="*/ 212103 w 1550709"/>
                <a:gd name="connsiteY8" fmla="*/ 23567 h 254523"/>
                <a:gd name="connsiteX9" fmla="*/ 226243 w 1550709"/>
                <a:gd name="connsiteY9" fmla="*/ 32993 h 254523"/>
                <a:gd name="connsiteX10" fmla="*/ 254523 w 1550709"/>
                <a:gd name="connsiteY10" fmla="*/ 42420 h 254523"/>
                <a:gd name="connsiteX11" fmla="*/ 287517 w 1550709"/>
                <a:gd name="connsiteY11" fmla="*/ 37707 h 254523"/>
                <a:gd name="connsiteX12" fmla="*/ 315798 w 1550709"/>
                <a:gd name="connsiteY12" fmla="*/ 9426 h 254523"/>
                <a:gd name="connsiteX13" fmla="*/ 372358 w 1550709"/>
                <a:gd name="connsiteY13" fmla="*/ 14140 h 254523"/>
                <a:gd name="connsiteX14" fmla="*/ 391212 w 1550709"/>
                <a:gd name="connsiteY14" fmla="*/ 18853 h 254523"/>
                <a:gd name="connsiteX15" fmla="*/ 443059 w 1550709"/>
                <a:gd name="connsiteY15" fmla="*/ 23567 h 254523"/>
                <a:gd name="connsiteX16" fmla="*/ 471340 w 1550709"/>
                <a:gd name="connsiteY16" fmla="*/ 42420 h 254523"/>
                <a:gd name="connsiteX17" fmla="*/ 485480 w 1550709"/>
                <a:gd name="connsiteY17" fmla="*/ 51847 h 254523"/>
                <a:gd name="connsiteX18" fmla="*/ 499620 w 1550709"/>
                <a:gd name="connsiteY18" fmla="*/ 56560 h 254523"/>
                <a:gd name="connsiteX19" fmla="*/ 513760 w 1550709"/>
                <a:gd name="connsiteY19" fmla="*/ 65987 h 254523"/>
                <a:gd name="connsiteX20" fmla="*/ 565608 w 1550709"/>
                <a:gd name="connsiteY20" fmla="*/ 75414 h 254523"/>
                <a:gd name="connsiteX21" fmla="*/ 617456 w 1550709"/>
                <a:gd name="connsiteY21" fmla="*/ 75414 h 254523"/>
                <a:gd name="connsiteX22" fmla="*/ 688156 w 1550709"/>
                <a:gd name="connsiteY22" fmla="*/ 94268 h 254523"/>
                <a:gd name="connsiteX23" fmla="*/ 716437 w 1550709"/>
                <a:gd name="connsiteY23" fmla="*/ 80127 h 254523"/>
                <a:gd name="connsiteX24" fmla="*/ 763571 w 1550709"/>
                <a:gd name="connsiteY24" fmla="*/ 70701 h 254523"/>
                <a:gd name="connsiteX25" fmla="*/ 843699 w 1550709"/>
                <a:gd name="connsiteY25" fmla="*/ 80127 h 254523"/>
                <a:gd name="connsiteX26" fmla="*/ 857839 w 1550709"/>
                <a:gd name="connsiteY26" fmla="*/ 89554 h 254523"/>
                <a:gd name="connsiteX27" fmla="*/ 886119 w 1550709"/>
                <a:gd name="connsiteY27" fmla="*/ 98981 h 254523"/>
                <a:gd name="connsiteX28" fmla="*/ 994527 w 1550709"/>
                <a:gd name="connsiteY28" fmla="*/ 94268 h 254523"/>
                <a:gd name="connsiteX29" fmla="*/ 1022808 w 1550709"/>
                <a:gd name="connsiteY29" fmla="*/ 84841 h 254523"/>
                <a:gd name="connsiteX30" fmla="*/ 1036948 w 1550709"/>
                <a:gd name="connsiteY30" fmla="*/ 80127 h 254523"/>
                <a:gd name="connsiteX31" fmla="*/ 1069942 w 1550709"/>
                <a:gd name="connsiteY31" fmla="*/ 70701 h 254523"/>
                <a:gd name="connsiteX32" fmla="*/ 1220771 w 1550709"/>
                <a:gd name="connsiteY32" fmla="*/ 84841 h 254523"/>
                <a:gd name="connsiteX33" fmla="*/ 1277332 w 1550709"/>
                <a:gd name="connsiteY33" fmla="*/ 103694 h 254523"/>
                <a:gd name="connsiteX34" fmla="*/ 1291472 w 1550709"/>
                <a:gd name="connsiteY34" fmla="*/ 108408 h 254523"/>
                <a:gd name="connsiteX35" fmla="*/ 1305612 w 1550709"/>
                <a:gd name="connsiteY35" fmla="*/ 113121 h 254523"/>
                <a:gd name="connsiteX36" fmla="*/ 1319752 w 1550709"/>
                <a:gd name="connsiteY36" fmla="*/ 127261 h 254523"/>
                <a:gd name="connsiteX37" fmla="*/ 1329179 w 1550709"/>
                <a:gd name="connsiteY37" fmla="*/ 141402 h 254523"/>
                <a:gd name="connsiteX38" fmla="*/ 1385740 w 1550709"/>
                <a:gd name="connsiteY38" fmla="*/ 146115 h 254523"/>
                <a:gd name="connsiteX39" fmla="*/ 1395167 w 1550709"/>
                <a:gd name="connsiteY39" fmla="*/ 160255 h 254523"/>
                <a:gd name="connsiteX40" fmla="*/ 1399880 w 1550709"/>
                <a:gd name="connsiteY40" fmla="*/ 174395 h 254523"/>
                <a:gd name="connsiteX41" fmla="*/ 1414020 w 1550709"/>
                <a:gd name="connsiteY41" fmla="*/ 188536 h 254523"/>
                <a:gd name="connsiteX42" fmla="*/ 1475294 w 1550709"/>
                <a:gd name="connsiteY42" fmla="*/ 212103 h 254523"/>
                <a:gd name="connsiteX43" fmla="*/ 1489435 w 1550709"/>
                <a:gd name="connsiteY43" fmla="*/ 216816 h 254523"/>
                <a:gd name="connsiteX44" fmla="*/ 1508288 w 1550709"/>
                <a:gd name="connsiteY44" fmla="*/ 221530 h 254523"/>
                <a:gd name="connsiteX45" fmla="*/ 1522428 w 1550709"/>
                <a:gd name="connsiteY45" fmla="*/ 230956 h 254523"/>
                <a:gd name="connsiteX46" fmla="*/ 1536569 w 1550709"/>
                <a:gd name="connsiteY46" fmla="*/ 245097 h 254523"/>
                <a:gd name="connsiteX47" fmla="*/ 1550709 w 1550709"/>
                <a:gd name="connsiteY47" fmla="*/ 254523 h 254523"/>
                <a:gd name="connsiteX0" fmla="*/ 0 w 1550709"/>
                <a:gd name="connsiteY0" fmla="*/ 56560 h 254523"/>
                <a:gd name="connsiteX1" fmla="*/ 9426 w 1550709"/>
                <a:gd name="connsiteY1" fmla="*/ 32993 h 254523"/>
                <a:gd name="connsiteX2" fmla="*/ 37707 w 1550709"/>
                <a:gd name="connsiteY2" fmla="*/ 14140 h 254523"/>
                <a:gd name="connsiteX3" fmla="*/ 65987 w 1550709"/>
                <a:gd name="connsiteY3" fmla="*/ 0 h 254523"/>
                <a:gd name="connsiteX4" fmla="*/ 98981 w 1550709"/>
                <a:gd name="connsiteY4" fmla="*/ 4713 h 254523"/>
                <a:gd name="connsiteX5" fmla="*/ 117835 w 1550709"/>
                <a:gd name="connsiteY5" fmla="*/ 9426 h 254523"/>
                <a:gd name="connsiteX6" fmla="*/ 131975 w 1550709"/>
                <a:gd name="connsiteY6" fmla="*/ 14140 h 254523"/>
                <a:gd name="connsiteX7" fmla="*/ 197962 w 1550709"/>
                <a:gd name="connsiteY7" fmla="*/ 18853 h 254523"/>
                <a:gd name="connsiteX8" fmla="*/ 212103 w 1550709"/>
                <a:gd name="connsiteY8" fmla="*/ 23567 h 254523"/>
                <a:gd name="connsiteX9" fmla="*/ 226243 w 1550709"/>
                <a:gd name="connsiteY9" fmla="*/ 32993 h 254523"/>
                <a:gd name="connsiteX10" fmla="*/ 254523 w 1550709"/>
                <a:gd name="connsiteY10" fmla="*/ 42420 h 254523"/>
                <a:gd name="connsiteX11" fmla="*/ 287517 w 1550709"/>
                <a:gd name="connsiteY11" fmla="*/ 37707 h 254523"/>
                <a:gd name="connsiteX12" fmla="*/ 315798 w 1550709"/>
                <a:gd name="connsiteY12" fmla="*/ 9426 h 254523"/>
                <a:gd name="connsiteX13" fmla="*/ 372358 w 1550709"/>
                <a:gd name="connsiteY13" fmla="*/ 14140 h 254523"/>
                <a:gd name="connsiteX14" fmla="*/ 391212 w 1550709"/>
                <a:gd name="connsiteY14" fmla="*/ 18853 h 254523"/>
                <a:gd name="connsiteX15" fmla="*/ 443059 w 1550709"/>
                <a:gd name="connsiteY15" fmla="*/ 23567 h 254523"/>
                <a:gd name="connsiteX16" fmla="*/ 471340 w 1550709"/>
                <a:gd name="connsiteY16" fmla="*/ 42420 h 254523"/>
                <a:gd name="connsiteX17" fmla="*/ 485480 w 1550709"/>
                <a:gd name="connsiteY17" fmla="*/ 51847 h 254523"/>
                <a:gd name="connsiteX18" fmla="*/ 499620 w 1550709"/>
                <a:gd name="connsiteY18" fmla="*/ 56560 h 254523"/>
                <a:gd name="connsiteX19" fmla="*/ 513760 w 1550709"/>
                <a:gd name="connsiteY19" fmla="*/ 65987 h 254523"/>
                <a:gd name="connsiteX20" fmla="*/ 565608 w 1550709"/>
                <a:gd name="connsiteY20" fmla="*/ 75414 h 254523"/>
                <a:gd name="connsiteX21" fmla="*/ 617456 w 1550709"/>
                <a:gd name="connsiteY21" fmla="*/ 75414 h 254523"/>
                <a:gd name="connsiteX22" fmla="*/ 688156 w 1550709"/>
                <a:gd name="connsiteY22" fmla="*/ 94268 h 254523"/>
                <a:gd name="connsiteX23" fmla="*/ 716437 w 1550709"/>
                <a:gd name="connsiteY23" fmla="*/ 80127 h 254523"/>
                <a:gd name="connsiteX24" fmla="*/ 763571 w 1550709"/>
                <a:gd name="connsiteY24" fmla="*/ 70701 h 254523"/>
                <a:gd name="connsiteX25" fmla="*/ 843699 w 1550709"/>
                <a:gd name="connsiteY25" fmla="*/ 80127 h 254523"/>
                <a:gd name="connsiteX26" fmla="*/ 857839 w 1550709"/>
                <a:gd name="connsiteY26" fmla="*/ 89554 h 254523"/>
                <a:gd name="connsiteX27" fmla="*/ 886119 w 1550709"/>
                <a:gd name="connsiteY27" fmla="*/ 98981 h 254523"/>
                <a:gd name="connsiteX28" fmla="*/ 994527 w 1550709"/>
                <a:gd name="connsiteY28" fmla="*/ 94268 h 254523"/>
                <a:gd name="connsiteX29" fmla="*/ 1022808 w 1550709"/>
                <a:gd name="connsiteY29" fmla="*/ 84841 h 254523"/>
                <a:gd name="connsiteX30" fmla="*/ 1036948 w 1550709"/>
                <a:gd name="connsiteY30" fmla="*/ 80127 h 254523"/>
                <a:gd name="connsiteX31" fmla="*/ 1131216 w 1550709"/>
                <a:gd name="connsiteY31" fmla="*/ 56561 h 254523"/>
                <a:gd name="connsiteX32" fmla="*/ 1220771 w 1550709"/>
                <a:gd name="connsiteY32" fmla="*/ 84841 h 254523"/>
                <a:gd name="connsiteX33" fmla="*/ 1277332 w 1550709"/>
                <a:gd name="connsiteY33" fmla="*/ 103694 h 254523"/>
                <a:gd name="connsiteX34" fmla="*/ 1291472 w 1550709"/>
                <a:gd name="connsiteY34" fmla="*/ 108408 h 254523"/>
                <a:gd name="connsiteX35" fmla="*/ 1305612 w 1550709"/>
                <a:gd name="connsiteY35" fmla="*/ 113121 h 254523"/>
                <a:gd name="connsiteX36" fmla="*/ 1319752 w 1550709"/>
                <a:gd name="connsiteY36" fmla="*/ 127261 h 254523"/>
                <a:gd name="connsiteX37" fmla="*/ 1329179 w 1550709"/>
                <a:gd name="connsiteY37" fmla="*/ 141402 h 254523"/>
                <a:gd name="connsiteX38" fmla="*/ 1385740 w 1550709"/>
                <a:gd name="connsiteY38" fmla="*/ 146115 h 254523"/>
                <a:gd name="connsiteX39" fmla="*/ 1395167 w 1550709"/>
                <a:gd name="connsiteY39" fmla="*/ 160255 h 254523"/>
                <a:gd name="connsiteX40" fmla="*/ 1399880 w 1550709"/>
                <a:gd name="connsiteY40" fmla="*/ 174395 h 254523"/>
                <a:gd name="connsiteX41" fmla="*/ 1414020 w 1550709"/>
                <a:gd name="connsiteY41" fmla="*/ 188536 h 254523"/>
                <a:gd name="connsiteX42" fmla="*/ 1475294 w 1550709"/>
                <a:gd name="connsiteY42" fmla="*/ 212103 h 254523"/>
                <a:gd name="connsiteX43" fmla="*/ 1489435 w 1550709"/>
                <a:gd name="connsiteY43" fmla="*/ 216816 h 254523"/>
                <a:gd name="connsiteX44" fmla="*/ 1508288 w 1550709"/>
                <a:gd name="connsiteY44" fmla="*/ 221530 h 254523"/>
                <a:gd name="connsiteX45" fmla="*/ 1522428 w 1550709"/>
                <a:gd name="connsiteY45" fmla="*/ 230956 h 254523"/>
                <a:gd name="connsiteX46" fmla="*/ 1536569 w 1550709"/>
                <a:gd name="connsiteY46" fmla="*/ 245097 h 254523"/>
                <a:gd name="connsiteX47" fmla="*/ 1550709 w 1550709"/>
                <a:gd name="connsiteY47" fmla="*/ 254523 h 2545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550709" h="254523">
                  <a:moveTo>
                    <a:pt x="0" y="56560"/>
                  </a:moveTo>
                  <a:cubicBezTo>
                    <a:pt x="3142" y="48704"/>
                    <a:pt x="3805" y="39317"/>
                    <a:pt x="9426" y="32993"/>
                  </a:cubicBezTo>
                  <a:cubicBezTo>
                    <a:pt x="16953" y="24525"/>
                    <a:pt x="28280" y="20424"/>
                    <a:pt x="37707" y="14140"/>
                  </a:cubicBezTo>
                  <a:cubicBezTo>
                    <a:pt x="55983" y="1956"/>
                    <a:pt x="46471" y="6505"/>
                    <a:pt x="65987" y="0"/>
                  </a:cubicBezTo>
                  <a:cubicBezTo>
                    <a:pt x="76985" y="1571"/>
                    <a:pt x="88051" y="2726"/>
                    <a:pt x="98981" y="4713"/>
                  </a:cubicBezTo>
                  <a:cubicBezTo>
                    <a:pt x="105355" y="5872"/>
                    <a:pt x="111606" y="7646"/>
                    <a:pt x="117835" y="9426"/>
                  </a:cubicBezTo>
                  <a:cubicBezTo>
                    <a:pt x="122612" y="10791"/>
                    <a:pt x="127041" y="13559"/>
                    <a:pt x="131975" y="14140"/>
                  </a:cubicBezTo>
                  <a:cubicBezTo>
                    <a:pt x="153876" y="16717"/>
                    <a:pt x="175966" y="17282"/>
                    <a:pt x="197962" y="18853"/>
                  </a:cubicBezTo>
                  <a:cubicBezTo>
                    <a:pt x="202676" y="20424"/>
                    <a:pt x="207659" y="21345"/>
                    <a:pt x="212103" y="23567"/>
                  </a:cubicBezTo>
                  <a:cubicBezTo>
                    <a:pt x="217170" y="26100"/>
                    <a:pt x="221067" y="30692"/>
                    <a:pt x="226243" y="32993"/>
                  </a:cubicBezTo>
                  <a:cubicBezTo>
                    <a:pt x="235323" y="37029"/>
                    <a:pt x="254523" y="42420"/>
                    <a:pt x="254523" y="42420"/>
                  </a:cubicBezTo>
                  <a:cubicBezTo>
                    <a:pt x="265521" y="40849"/>
                    <a:pt x="277735" y="42974"/>
                    <a:pt x="287517" y="37707"/>
                  </a:cubicBezTo>
                  <a:cubicBezTo>
                    <a:pt x="299255" y="31386"/>
                    <a:pt x="315798" y="9426"/>
                    <a:pt x="315798" y="9426"/>
                  </a:cubicBezTo>
                  <a:cubicBezTo>
                    <a:pt x="334651" y="10997"/>
                    <a:pt x="353585" y="11793"/>
                    <a:pt x="372358" y="14140"/>
                  </a:cubicBezTo>
                  <a:cubicBezTo>
                    <a:pt x="378786" y="14944"/>
                    <a:pt x="384791" y="17997"/>
                    <a:pt x="391212" y="18853"/>
                  </a:cubicBezTo>
                  <a:cubicBezTo>
                    <a:pt x="408413" y="21147"/>
                    <a:pt x="425777" y="21996"/>
                    <a:pt x="443059" y="23567"/>
                  </a:cubicBezTo>
                  <a:lnTo>
                    <a:pt x="471340" y="42420"/>
                  </a:lnTo>
                  <a:cubicBezTo>
                    <a:pt x="476053" y="45562"/>
                    <a:pt x="480106" y="50056"/>
                    <a:pt x="485480" y="51847"/>
                  </a:cubicBezTo>
                  <a:lnTo>
                    <a:pt x="499620" y="56560"/>
                  </a:lnTo>
                  <a:cubicBezTo>
                    <a:pt x="504333" y="59702"/>
                    <a:pt x="508693" y="63454"/>
                    <a:pt x="513760" y="65987"/>
                  </a:cubicBezTo>
                  <a:cubicBezTo>
                    <a:pt x="528293" y="73254"/>
                    <a:pt x="552605" y="73789"/>
                    <a:pt x="565608" y="75414"/>
                  </a:cubicBezTo>
                  <a:cubicBezTo>
                    <a:pt x="570321" y="78556"/>
                    <a:pt x="611996" y="73903"/>
                    <a:pt x="617456" y="75414"/>
                  </a:cubicBezTo>
                  <a:cubicBezTo>
                    <a:pt x="679562" y="92605"/>
                    <a:pt x="554828" y="100934"/>
                    <a:pt x="688156" y="94268"/>
                  </a:cubicBezTo>
                  <a:cubicBezTo>
                    <a:pt x="723704" y="82418"/>
                    <a:pt x="679884" y="98404"/>
                    <a:pt x="716437" y="80127"/>
                  </a:cubicBezTo>
                  <a:cubicBezTo>
                    <a:pt x="729598" y="73546"/>
                    <a:pt x="751415" y="72437"/>
                    <a:pt x="763571" y="70701"/>
                  </a:cubicBezTo>
                  <a:cubicBezTo>
                    <a:pt x="773986" y="71445"/>
                    <a:pt x="822275" y="69416"/>
                    <a:pt x="843699" y="80127"/>
                  </a:cubicBezTo>
                  <a:cubicBezTo>
                    <a:pt x="848766" y="82660"/>
                    <a:pt x="852662" y="87253"/>
                    <a:pt x="857839" y="89554"/>
                  </a:cubicBezTo>
                  <a:cubicBezTo>
                    <a:pt x="866919" y="93590"/>
                    <a:pt x="886119" y="98981"/>
                    <a:pt x="886119" y="98981"/>
                  </a:cubicBezTo>
                  <a:cubicBezTo>
                    <a:pt x="922255" y="97410"/>
                    <a:pt x="958549" y="97990"/>
                    <a:pt x="994527" y="94268"/>
                  </a:cubicBezTo>
                  <a:cubicBezTo>
                    <a:pt x="1004411" y="93246"/>
                    <a:pt x="1013381" y="87983"/>
                    <a:pt x="1022808" y="84841"/>
                  </a:cubicBezTo>
                  <a:cubicBezTo>
                    <a:pt x="1027521" y="83270"/>
                    <a:pt x="1018880" y="84840"/>
                    <a:pt x="1036948" y="80127"/>
                  </a:cubicBezTo>
                  <a:cubicBezTo>
                    <a:pt x="1055016" y="75414"/>
                    <a:pt x="1110930" y="63322"/>
                    <a:pt x="1131216" y="56561"/>
                  </a:cubicBezTo>
                  <a:cubicBezTo>
                    <a:pt x="1263701" y="61656"/>
                    <a:pt x="1196418" y="76986"/>
                    <a:pt x="1220771" y="84841"/>
                  </a:cubicBezTo>
                  <a:cubicBezTo>
                    <a:pt x="1245124" y="92697"/>
                    <a:pt x="1258478" y="97410"/>
                    <a:pt x="1277332" y="103694"/>
                  </a:cubicBezTo>
                  <a:lnTo>
                    <a:pt x="1291472" y="108408"/>
                  </a:lnTo>
                  <a:lnTo>
                    <a:pt x="1305612" y="113121"/>
                  </a:lnTo>
                  <a:cubicBezTo>
                    <a:pt x="1310325" y="117834"/>
                    <a:pt x="1315485" y="122140"/>
                    <a:pt x="1319752" y="127261"/>
                  </a:cubicBezTo>
                  <a:cubicBezTo>
                    <a:pt x="1323379" y="131613"/>
                    <a:pt x="1323732" y="139846"/>
                    <a:pt x="1329179" y="141402"/>
                  </a:cubicBezTo>
                  <a:cubicBezTo>
                    <a:pt x="1347370" y="146600"/>
                    <a:pt x="1366886" y="144544"/>
                    <a:pt x="1385740" y="146115"/>
                  </a:cubicBezTo>
                  <a:cubicBezTo>
                    <a:pt x="1388882" y="150828"/>
                    <a:pt x="1392634" y="155188"/>
                    <a:pt x="1395167" y="160255"/>
                  </a:cubicBezTo>
                  <a:cubicBezTo>
                    <a:pt x="1397389" y="164699"/>
                    <a:pt x="1397124" y="170261"/>
                    <a:pt x="1399880" y="174395"/>
                  </a:cubicBezTo>
                  <a:cubicBezTo>
                    <a:pt x="1403577" y="179941"/>
                    <a:pt x="1408758" y="184444"/>
                    <a:pt x="1414020" y="188536"/>
                  </a:cubicBezTo>
                  <a:cubicBezTo>
                    <a:pt x="1444976" y="212613"/>
                    <a:pt x="1437527" y="206707"/>
                    <a:pt x="1475294" y="212103"/>
                  </a:cubicBezTo>
                  <a:cubicBezTo>
                    <a:pt x="1480008" y="213674"/>
                    <a:pt x="1484658" y="215451"/>
                    <a:pt x="1489435" y="216816"/>
                  </a:cubicBezTo>
                  <a:cubicBezTo>
                    <a:pt x="1495664" y="218596"/>
                    <a:pt x="1502334" y="218978"/>
                    <a:pt x="1508288" y="221530"/>
                  </a:cubicBezTo>
                  <a:cubicBezTo>
                    <a:pt x="1513495" y="223761"/>
                    <a:pt x="1518076" y="227330"/>
                    <a:pt x="1522428" y="230956"/>
                  </a:cubicBezTo>
                  <a:cubicBezTo>
                    <a:pt x="1527549" y="235223"/>
                    <a:pt x="1531448" y="240830"/>
                    <a:pt x="1536569" y="245097"/>
                  </a:cubicBezTo>
                  <a:cubicBezTo>
                    <a:pt x="1540921" y="248723"/>
                    <a:pt x="1550709" y="254523"/>
                    <a:pt x="1550709" y="254523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1" name="Forma livre 470"/>
            <p:cNvSpPr/>
            <p:nvPr/>
          </p:nvSpPr>
          <p:spPr>
            <a:xfrm>
              <a:off x="4732256" y="3921551"/>
              <a:ext cx="193249" cy="0"/>
            </a:xfrm>
            <a:custGeom>
              <a:avLst/>
              <a:gdLst>
                <a:gd name="connsiteX0" fmla="*/ 0 w 193249"/>
                <a:gd name="connsiteY0" fmla="*/ 0 h 0"/>
                <a:gd name="connsiteX1" fmla="*/ 193249 w 193249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249">
                  <a:moveTo>
                    <a:pt x="0" y="0"/>
                  </a:moveTo>
                  <a:lnTo>
                    <a:pt x="193249" y="0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2" name="Forma livre 471"/>
            <p:cNvSpPr/>
            <p:nvPr/>
          </p:nvSpPr>
          <p:spPr>
            <a:xfrm>
              <a:off x="4916078" y="3761295"/>
              <a:ext cx="589176" cy="164969"/>
            </a:xfrm>
            <a:custGeom>
              <a:avLst/>
              <a:gdLst>
                <a:gd name="connsiteX0" fmla="*/ 0 w 589176"/>
                <a:gd name="connsiteY0" fmla="*/ 164969 h 164969"/>
                <a:gd name="connsiteX1" fmla="*/ 23567 w 589176"/>
                <a:gd name="connsiteY1" fmla="*/ 155542 h 164969"/>
                <a:gd name="connsiteX2" fmla="*/ 70701 w 589176"/>
                <a:gd name="connsiteY2" fmla="*/ 131975 h 164969"/>
                <a:gd name="connsiteX3" fmla="*/ 136689 w 589176"/>
                <a:gd name="connsiteY3" fmla="*/ 136689 h 164969"/>
                <a:gd name="connsiteX4" fmla="*/ 169683 w 589176"/>
                <a:gd name="connsiteY4" fmla="*/ 155542 h 164969"/>
                <a:gd name="connsiteX5" fmla="*/ 202677 w 589176"/>
                <a:gd name="connsiteY5" fmla="*/ 141402 h 164969"/>
                <a:gd name="connsiteX6" fmla="*/ 207390 w 589176"/>
                <a:gd name="connsiteY6" fmla="*/ 127262 h 164969"/>
                <a:gd name="connsiteX7" fmla="*/ 212103 w 589176"/>
                <a:gd name="connsiteY7" fmla="*/ 103695 h 164969"/>
                <a:gd name="connsiteX8" fmla="*/ 287518 w 589176"/>
                <a:gd name="connsiteY8" fmla="*/ 89554 h 164969"/>
                <a:gd name="connsiteX9" fmla="*/ 301658 w 589176"/>
                <a:gd name="connsiteY9" fmla="*/ 80128 h 164969"/>
                <a:gd name="connsiteX10" fmla="*/ 315798 w 589176"/>
                <a:gd name="connsiteY10" fmla="*/ 65987 h 164969"/>
                <a:gd name="connsiteX11" fmla="*/ 344079 w 589176"/>
                <a:gd name="connsiteY11" fmla="*/ 56561 h 164969"/>
                <a:gd name="connsiteX12" fmla="*/ 391213 w 589176"/>
                <a:gd name="connsiteY12" fmla="*/ 47134 h 164969"/>
                <a:gd name="connsiteX13" fmla="*/ 405353 w 589176"/>
                <a:gd name="connsiteY13" fmla="*/ 42420 h 164969"/>
                <a:gd name="connsiteX14" fmla="*/ 457200 w 589176"/>
                <a:gd name="connsiteY14" fmla="*/ 32994 h 164969"/>
                <a:gd name="connsiteX15" fmla="*/ 476054 w 589176"/>
                <a:gd name="connsiteY15" fmla="*/ 37707 h 164969"/>
                <a:gd name="connsiteX16" fmla="*/ 490194 w 589176"/>
                <a:gd name="connsiteY16" fmla="*/ 47134 h 164969"/>
                <a:gd name="connsiteX17" fmla="*/ 504334 w 589176"/>
                <a:gd name="connsiteY17" fmla="*/ 51847 h 164969"/>
                <a:gd name="connsiteX18" fmla="*/ 513761 w 589176"/>
                <a:gd name="connsiteY18" fmla="*/ 37707 h 164969"/>
                <a:gd name="connsiteX19" fmla="*/ 518475 w 589176"/>
                <a:gd name="connsiteY19" fmla="*/ 9427 h 164969"/>
                <a:gd name="connsiteX20" fmla="*/ 546755 w 589176"/>
                <a:gd name="connsiteY20" fmla="*/ 0 h 164969"/>
                <a:gd name="connsiteX21" fmla="*/ 589176 w 589176"/>
                <a:gd name="connsiteY21" fmla="*/ 4713 h 164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9176" h="164969">
                  <a:moveTo>
                    <a:pt x="0" y="164969"/>
                  </a:moveTo>
                  <a:cubicBezTo>
                    <a:pt x="7856" y="161827"/>
                    <a:pt x="16139" y="159593"/>
                    <a:pt x="23567" y="155542"/>
                  </a:cubicBezTo>
                  <a:cubicBezTo>
                    <a:pt x="71052" y="129642"/>
                    <a:pt x="32959" y="141412"/>
                    <a:pt x="70701" y="131975"/>
                  </a:cubicBezTo>
                  <a:cubicBezTo>
                    <a:pt x="92697" y="133546"/>
                    <a:pt x="114937" y="133064"/>
                    <a:pt x="136689" y="136689"/>
                  </a:cubicBezTo>
                  <a:cubicBezTo>
                    <a:pt x="144666" y="138018"/>
                    <a:pt x="162551" y="150787"/>
                    <a:pt x="169683" y="155542"/>
                  </a:cubicBezTo>
                  <a:cubicBezTo>
                    <a:pt x="181004" y="152712"/>
                    <a:pt x="194539" y="151574"/>
                    <a:pt x="202677" y="141402"/>
                  </a:cubicBezTo>
                  <a:cubicBezTo>
                    <a:pt x="205781" y="137522"/>
                    <a:pt x="206185" y="132082"/>
                    <a:pt x="207390" y="127262"/>
                  </a:cubicBezTo>
                  <a:cubicBezTo>
                    <a:pt x="209333" y="119490"/>
                    <a:pt x="206438" y="109360"/>
                    <a:pt x="212103" y="103695"/>
                  </a:cubicBezTo>
                  <a:cubicBezTo>
                    <a:pt x="223318" y="92480"/>
                    <a:pt x="281416" y="90164"/>
                    <a:pt x="287518" y="89554"/>
                  </a:cubicBezTo>
                  <a:cubicBezTo>
                    <a:pt x="292231" y="86412"/>
                    <a:pt x="297306" y="83754"/>
                    <a:pt x="301658" y="80128"/>
                  </a:cubicBezTo>
                  <a:cubicBezTo>
                    <a:pt x="306779" y="75861"/>
                    <a:pt x="309971" y="69224"/>
                    <a:pt x="315798" y="65987"/>
                  </a:cubicBezTo>
                  <a:cubicBezTo>
                    <a:pt x="324484" y="61161"/>
                    <a:pt x="334652" y="59703"/>
                    <a:pt x="344079" y="56561"/>
                  </a:cubicBezTo>
                  <a:cubicBezTo>
                    <a:pt x="368766" y="48332"/>
                    <a:pt x="353285" y="52552"/>
                    <a:pt x="391213" y="47134"/>
                  </a:cubicBezTo>
                  <a:cubicBezTo>
                    <a:pt x="395926" y="45563"/>
                    <a:pt x="400533" y="43625"/>
                    <a:pt x="405353" y="42420"/>
                  </a:cubicBezTo>
                  <a:cubicBezTo>
                    <a:pt x="418523" y="39127"/>
                    <a:pt x="444599" y="35094"/>
                    <a:pt x="457200" y="32994"/>
                  </a:cubicBezTo>
                  <a:cubicBezTo>
                    <a:pt x="463485" y="34565"/>
                    <a:pt x="470100" y="35155"/>
                    <a:pt x="476054" y="37707"/>
                  </a:cubicBezTo>
                  <a:cubicBezTo>
                    <a:pt x="481261" y="39938"/>
                    <a:pt x="485127" y="44601"/>
                    <a:pt x="490194" y="47134"/>
                  </a:cubicBezTo>
                  <a:cubicBezTo>
                    <a:pt x="494638" y="49356"/>
                    <a:pt x="499621" y="50276"/>
                    <a:pt x="504334" y="51847"/>
                  </a:cubicBezTo>
                  <a:cubicBezTo>
                    <a:pt x="507476" y="47134"/>
                    <a:pt x="511970" y="43081"/>
                    <a:pt x="513761" y="37707"/>
                  </a:cubicBezTo>
                  <a:cubicBezTo>
                    <a:pt x="516783" y="28641"/>
                    <a:pt x="512182" y="16619"/>
                    <a:pt x="518475" y="9427"/>
                  </a:cubicBezTo>
                  <a:cubicBezTo>
                    <a:pt x="525018" y="1949"/>
                    <a:pt x="546755" y="0"/>
                    <a:pt x="546755" y="0"/>
                  </a:cubicBezTo>
                  <a:lnTo>
                    <a:pt x="589176" y="4713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3" name="Forma livre 472"/>
            <p:cNvSpPr/>
            <p:nvPr/>
          </p:nvSpPr>
          <p:spPr>
            <a:xfrm>
              <a:off x="5495827" y="3756581"/>
              <a:ext cx="315798" cy="70726"/>
            </a:xfrm>
            <a:custGeom>
              <a:avLst/>
              <a:gdLst>
                <a:gd name="connsiteX0" fmla="*/ 0 w 315798"/>
                <a:gd name="connsiteY0" fmla="*/ 4714 h 70726"/>
                <a:gd name="connsiteX1" fmla="*/ 28280 w 315798"/>
                <a:gd name="connsiteY1" fmla="*/ 9427 h 70726"/>
                <a:gd name="connsiteX2" fmla="*/ 32994 w 315798"/>
                <a:gd name="connsiteY2" fmla="*/ 23567 h 70726"/>
                <a:gd name="connsiteX3" fmla="*/ 47134 w 315798"/>
                <a:gd name="connsiteY3" fmla="*/ 28281 h 70726"/>
                <a:gd name="connsiteX4" fmla="*/ 94268 w 315798"/>
                <a:gd name="connsiteY4" fmla="*/ 23567 h 70726"/>
                <a:gd name="connsiteX5" fmla="*/ 108408 w 315798"/>
                <a:gd name="connsiteY5" fmla="*/ 14141 h 70726"/>
                <a:gd name="connsiteX6" fmla="*/ 136688 w 315798"/>
                <a:gd name="connsiteY6" fmla="*/ 4714 h 70726"/>
                <a:gd name="connsiteX7" fmla="*/ 150829 w 315798"/>
                <a:gd name="connsiteY7" fmla="*/ 0 h 70726"/>
                <a:gd name="connsiteX8" fmla="*/ 221530 w 315798"/>
                <a:gd name="connsiteY8" fmla="*/ 4714 h 70726"/>
                <a:gd name="connsiteX9" fmla="*/ 235670 w 315798"/>
                <a:gd name="connsiteY9" fmla="*/ 9427 h 70726"/>
                <a:gd name="connsiteX10" fmla="*/ 240383 w 315798"/>
                <a:gd name="connsiteY10" fmla="*/ 23567 h 70726"/>
                <a:gd name="connsiteX11" fmla="*/ 254524 w 315798"/>
                <a:gd name="connsiteY11" fmla="*/ 37708 h 70726"/>
                <a:gd name="connsiteX12" fmla="*/ 263950 w 315798"/>
                <a:gd name="connsiteY12" fmla="*/ 51848 h 70726"/>
                <a:gd name="connsiteX13" fmla="*/ 278091 w 315798"/>
                <a:gd name="connsiteY13" fmla="*/ 61275 h 70726"/>
                <a:gd name="connsiteX14" fmla="*/ 315798 w 315798"/>
                <a:gd name="connsiteY14" fmla="*/ 70701 h 70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5798" h="70726">
                  <a:moveTo>
                    <a:pt x="0" y="4714"/>
                  </a:moveTo>
                  <a:cubicBezTo>
                    <a:pt x="9427" y="6285"/>
                    <a:pt x="19982" y="4686"/>
                    <a:pt x="28280" y="9427"/>
                  </a:cubicBezTo>
                  <a:cubicBezTo>
                    <a:pt x="32594" y="11892"/>
                    <a:pt x="29481" y="20054"/>
                    <a:pt x="32994" y="23567"/>
                  </a:cubicBezTo>
                  <a:cubicBezTo>
                    <a:pt x="36507" y="27080"/>
                    <a:pt x="42421" y="26710"/>
                    <a:pt x="47134" y="28281"/>
                  </a:cubicBezTo>
                  <a:cubicBezTo>
                    <a:pt x="62845" y="26710"/>
                    <a:pt x="78883" y="27117"/>
                    <a:pt x="94268" y="23567"/>
                  </a:cubicBezTo>
                  <a:cubicBezTo>
                    <a:pt x="99788" y="22293"/>
                    <a:pt x="103232" y="16442"/>
                    <a:pt x="108408" y="14141"/>
                  </a:cubicBezTo>
                  <a:cubicBezTo>
                    <a:pt x="117488" y="10105"/>
                    <a:pt x="127261" y="7856"/>
                    <a:pt x="136688" y="4714"/>
                  </a:cubicBezTo>
                  <a:lnTo>
                    <a:pt x="150829" y="0"/>
                  </a:lnTo>
                  <a:cubicBezTo>
                    <a:pt x="174396" y="1571"/>
                    <a:pt x="198055" y="2106"/>
                    <a:pt x="221530" y="4714"/>
                  </a:cubicBezTo>
                  <a:cubicBezTo>
                    <a:pt x="226468" y="5263"/>
                    <a:pt x="232157" y="5914"/>
                    <a:pt x="235670" y="9427"/>
                  </a:cubicBezTo>
                  <a:cubicBezTo>
                    <a:pt x="239183" y="12940"/>
                    <a:pt x="237627" y="19433"/>
                    <a:pt x="240383" y="23567"/>
                  </a:cubicBezTo>
                  <a:cubicBezTo>
                    <a:pt x="244081" y="29114"/>
                    <a:pt x="250257" y="32587"/>
                    <a:pt x="254524" y="37708"/>
                  </a:cubicBezTo>
                  <a:cubicBezTo>
                    <a:pt x="258150" y="42060"/>
                    <a:pt x="259945" y="47843"/>
                    <a:pt x="263950" y="51848"/>
                  </a:cubicBezTo>
                  <a:cubicBezTo>
                    <a:pt x="267956" y="55854"/>
                    <a:pt x="272914" y="58974"/>
                    <a:pt x="278091" y="61275"/>
                  </a:cubicBezTo>
                  <a:cubicBezTo>
                    <a:pt x="301536" y="71695"/>
                    <a:pt x="298906" y="70701"/>
                    <a:pt x="315798" y="7070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4" name="Forma livre 473"/>
            <p:cNvSpPr/>
            <p:nvPr/>
          </p:nvSpPr>
          <p:spPr>
            <a:xfrm>
              <a:off x="5806911" y="3826702"/>
              <a:ext cx="98982" cy="28861"/>
            </a:xfrm>
            <a:custGeom>
              <a:avLst/>
              <a:gdLst>
                <a:gd name="connsiteX0" fmla="*/ 0 w 98982"/>
                <a:gd name="connsiteY0" fmla="*/ 5294 h 28861"/>
                <a:gd name="connsiteX1" fmla="*/ 51848 w 98982"/>
                <a:gd name="connsiteY1" fmla="*/ 19434 h 28861"/>
                <a:gd name="connsiteX2" fmla="*/ 65988 w 98982"/>
                <a:gd name="connsiteY2" fmla="*/ 24147 h 28861"/>
                <a:gd name="connsiteX3" fmla="*/ 80128 w 98982"/>
                <a:gd name="connsiteY3" fmla="*/ 28861 h 28861"/>
                <a:gd name="connsiteX4" fmla="*/ 89555 w 98982"/>
                <a:gd name="connsiteY4" fmla="*/ 14721 h 28861"/>
                <a:gd name="connsiteX5" fmla="*/ 94268 w 98982"/>
                <a:gd name="connsiteY5" fmla="*/ 580 h 28861"/>
                <a:gd name="connsiteX6" fmla="*/ 98982 w 98982"/>
                <a:gd name="connsiteY6" fmla="*/ 580 h 28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8982" h="28861">
                  <a:moveTo>
                    <a:pt x="0" y="5294"/>
                  </a:moveTo>
                  <a:cubicBezTo>
                    <a:pt x="33313" y="11956"/>
                    <a:pt x="15965" y="7473"/>
                    <a:pt x="51848" y="19434"/>
                  </a:cubicBezTo>
                  <a:lnTo>
                    <a:pt x="65988" y="24147"/>
                  </a:lnTo>
                  <a:lnTo>
                    <a:pt x="80128" y="28861"/>
                  </a:lnTo>
                  <a:cubicBezTo>
                    <a:pt x="83270" y="24148"/>
                    <a:pt x="87022" y="19788"/>
                    <a:pt x="89555" y="14721"/>
                  </a:cubicBezTo>
                  <a:cubicBezTo>
                    <a:pt x="91777" y="10277"/>
                    <a:pt x="91512" y="4714"/>
                    <a:pt x="94268" y="580"/>
                  </a:cubicBezTo>
                  <a:cubicBezTo>
                    <a:pt x="95140" y="-727"/>
                    <a:pt x="97411" y="580"/>
                    <a:pt x="98982" y="58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5" name="Forma livre 474"/>
            <p:cNvSpPr/>
            <p:nvPr/>
          </p:nvSpPr>
          <p:spPr>
            <a:xfrm>
              <a:off x="4410872" y="3124986"/>
              <a:ext cx="392085" cy="641022"/>
            </a:xfrm>
            <a:custGeom>
              <a:avLst/>
              <a:gdLst>
                <a:gd name="connsiteX0" fmla="*/ 392085 w 392085"/>
                <a:gd name="connsiteY0" fmla="*/ 0 h 641022"/>
                <a:gd name="connsiteX1" fmla="*/ 377944 w 392085"/>
                <a:gd name="connsiteY1" fmla="*/ 51847 h 641022"/>
                <a:gd name="connsiteX2" fmla="*/ 368518 w 392085"/>
                <a:gd name="connsiteY2" fmla="*/ 70701 h 641022"/>
                <a:gd name="connsiteX3" fmla="*/ 349664 w 392085"/>
                <a:gd name="connsiteY3" fmla="*/ 113121 h 641022"/>
                <a:gd name="connsiteX4" fmla="*/ 344951 w 392085"/>
                <a:gd name="connsiteY4" fmla="*/ 136688 h 641022"/>
                <a:gd name="connsiteX5" fmla="*/ 340237 w 392085"/>
                <a:gd name="connsiteY5" fmla="*/ 164969 h 641022"/>
                <a:gd name="connsiteX6" fmla="*/ 335524 w 392085"/>
                <a:gd name="connsiteY6" fmla="*/ 179109 h 641022"/>
                <a:gd name="connsiteX7" fmla="*/ 330810 w 392085"/>
                <a:gd name="connsiteY7" fmla="*/ 197962 h 641022"/>
                <a:gd name="connsiteX8" fmla="*/ 326097 w 392085"/>
                <a:gd name="connsiteY8" fmla="*/ 235670 h 641022"/>
                <a:gd name="connsiteX9" fmla="*/ 316670 w 392085"/>
                <a:gd name="connsiteY9" fmla="*/ 263950 h 641022"/>
                <a:gd name="connsiteX10" fmla="*/ 307243 w 392085"/>
                <a:gd name="connsiteY10" fmla="*/ 292230 h 641022"/>
                <a:gd name="connsiteX11" fmla="*/ 297817 w 392085"/>
                <a:gd name="connsiteY11" fmla="*/ 320511 h 641022"/>
                <a:gd name="connsiteX12" fmla="*/ 278963 w 392085"/>
                <a:gd name="connsiteY12" fmla="*/ 348791 h 641022"/>
                <a:gd name="connsiteX13" fmla="*/ 269536 w 392085"/>
                <a:gd name="connsiteY13" fmla="*/ 362932 h 641022"/>
                <a:gd name="connsiteX14" fmla="*/ 260109 w 392085"/>
                <a:gd name="connsiteY14" fmla="*/ 395925 h 641022"/>
                <a:gd name="connsiteX15" fmla="*/ 245969 w 392085"/>
                <a:gd name="connsiteY15" fmla="*/ 424206 h 641022"/>
                <a:gd name="connsiteX16" fmla="*/ 217689 w 392085"/>
                <a:gd name="connsiteY16" fmla="*/ 443059 h 641022"/>
                <a:gd name="connsiteX17" fmla="*/ 203549 w 392085"/>
                <a:gd name="connsiteY17" fmla="*/ 452486 h 641022"/>
                <a:gd name="connsiteX18" fmla="*/ 189408 w 392085"/>
                <a:gd name="connsiteY18" fmla="*/ 461913 h 641022"/>
                <a:gd name="connsiteX19" fmla="*/ 184695 w 392085"/>
                <a:gd name="connsiteY19" fmla="*/ 476053 h 641022"/>
                <a:gd name="connsiteX20" fmla="*/ 156415 w 392085"/>
                <a:gd name="connsiteY20" fmla="*/ 504334 h 641022"/>
                <a:gd name="connsiteX21" fmla="*/ 156415 w 392085"/>
                <a:gd name="connsiteY21" fmla="*/ 565608 h 641022"/>
                <a:gd name="connsiteX22" fmla="*/ 137561 w 392085"/>
                <a:gd name="connsiteY22" fmla="*/ 575035 h 641022"/>
                <a:gd name="connsiteX23" fmla="*/ 95140 w 392085"/>
                <a:gd name="connsiteY23" fmla="*/ 584461 h 641022"/>
                <a:gd name="connsiteX24" fmla="*/ 76287 w 392085"/>
                <a:gd name="connsiteY24" fmla="*/ 589175 h 641022"/>
                <a:gd name="connsiteX25" fmla="*/ 48006 w 392085"/>
                <a:gd name="connsiteY25" fmla="*/ 598602 h 641022"/>
                <a:gd name="connsiteX26" fmla="*/ 33866 w 392085"/>
                <a:gd name="connsiteY26" fmla="*/ 612742 h 641022"/>
                <a:gd name="connsiteX27" fmla="*/ 872 w 392085"/>
                <a:gd name="connsiteY27" fmla="*/ 631595 h 641022"/>
                <a:gd name="connsiteX28" fmla="*/ 872 w 392085"/>
                <a:gd name="connsiteY28" fmla="*/ 641022 h 641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92085" h="641022">
                  <a:moveTo>
                    <a:pt x="392085" y="0"/>
                  </a:moveTo>
                  <a:cubicBezTo>
                    <a:pt x="388636" y="17242"/>
                    <a:pt x="385918" y="35898"/>
                    <a:pt x="377944" y="51847"/>
                  </a:cubicBezTo>
                  <a:cubicBezTo>
                    <a:pt x="374802" y="58132"/>
                    <a:pt x="371127" y="64177"/>
                    <a:pt x="368518" y="70701"/>
                  </a:cubicBezTo>
                  <a:cubicBezTo>
                    <a:pt x="351693" y="112764"/>
                    <a:pt x="367799" y="85919"/>
                    <a:pt x="349664" y="113121"/>
                  </a:cubicBezTo>
                  <a:cubicBezTo>
                    <a:pt x="348093" y="120977"/>
                    <a:pt x="346384" y="128806"/>
                    <a:pt x="344951" y="136688"/>
                  </a:cubicBezTo>
                  <a:cubicBezTo>
                    <a:pt x="343241" y="146091"/>
                    <a:pt x="342310" y="155640"/>
                    <a:pt x="340237" y="164969"/>
                  </a:cubicBezTo>
                  <a:cubicBezTo>
                    <a:pt x="339159" y="169819"/>
                    <a:pt x="336889" y="174332"/>
                    <a:pt x="335524" y="179109"/>
                  </a:cubicBezTo>
                  <a:cubicBezTo>
                    <a:pt x="333744" y="185338"/>
                    <a:pt x="332381" y="191678"/>
                    <a:pt x="330810" y="197962"/>
                  </a:cubicBezTo>
                  <a:cubicBezTo>
                    <a:pt x="329239" y="210531"/>
                    <a:pt x="328751" y="223284"/>
                    <a:pt x="326097" y="235670"/>
                  </a:cubicBezTo>
                  <a:cubicBezTo>
                    <a:pt x="324015" y="245386"/>
                    <a:pt x="319812" y="254523"/>
                    <a:pt x="316670" y="263950"/>
                  </a:cubicBezTo>
                  <a:lnTo>
                    <a:pt x="307243" y="292230"/>
                  </a:lnTo>
                  <a:cubicBezTo>
                    <a:pt x="307243" y="292231"/>
                    <a:pt x="297818" y="320510"/>
                    <a:pt x="297817" y="320511"/>
                  </a:cubicBezTo>
                  <a:lnTo>
                    <a:pt x="278963" y="348791"/>
                  </a:lnTo>
                  <a:lnTo>
                    <a:pt x="269536" y="362932"/>
                  </a:lnTo>
                  <a:cubicBezTo>
                    <a:pt x="258238" y="396829"/>
                    <a:pt x="271944" y="354505"/>
                    <a:pt x="260109" y="395925"/>
                  </a:cubicBezTo>
                  <a:cubicBezTo>
                    <a:pt x="257387" y="405453"/>
                    <a:pt x="253840" y="417319"/>
                    <a:pt x="245969" y="424206"/>
                  </a:cubicBezTo>
                  <a:cubicBezTo>
                    <a:pt x="237443" y="431666"/>
                    <a:pt x="227116" y="436775"/>
                    <a:pt x="217689" y="443059"/>
                  </a:cubicBezTo>
                  <a:lnTo>
                    <a:pt x="203549" y="452486"/>
                  </a:lnTo>
                  <a:lnTo>
                    <a:pt x="189408" y="461913"/>
                  </a:lnTo>
                  <a:cubicBezTo>
                    <a:pt x="187837" y="466626"/>
                    <a:pt x="187745" y="472131"/>
                    <a:pt x="184695" y="476053"/>
                  </a:cubicBezTo>
                  <a:cubicBezTo>
                    <a:pt x="176510" y="486576"/>
                    <a:pt x="156415" y="504334"/>
                    <a:pt x="156415" y="504334"/>
                  </a:cubicBezTo>
                  <a:cubicBezTo>
                    <a:pt x="156922" y="508893"/>
                    <a:pt x="166819" y="553123"/>
                    <a:pt x="156415" y="565608"/>
                  </a:cubicBezTo>
                  <a:cubicBezTo>
                    <a:pt x="151917" y="571006"/>
                    <a:pt x="144019" y="572267"/>
                    <a:pt x="137561" y="575035"/>
                  </a:cubicBezTo>
                  <a:cubicBezTo>
                    <a:pt x="121508" y="581915"/>
                    <a:pt x="114560" y="580577"/>
                    <a:pt x="95140" y="584461"/>
                  </a:cubicBezTo>
                  <a:cubicBezTo>
                    <a:pt x="88788" y="585731"/>
                    <a:pt x="82492" y="587314"/>
                    <a:pt x="76287" y="589175"/>
                  </a:cubicBezTo>
                  <a:cubicBezTo>
                    <a:pt x="66769" y="592031"/>
                    <a:pt x="48006" y="598602"/>
                    <a:pt x="48006" y="598602"/>
                  </a:cubicBezTo>
                  <a:cubicBezTo>
                    <a:pt x="43293" y="603315"/>
                    <a:pt x="39412" y="609045"/>
                    <a:pt x="33866" y="612742"/>
                  </a:cubicBezTo>
                  <a:cubicBezTo>
                    <a:pt x="12309" y="627113"/>
                    <a:pt x="23644" y="603131"/>
                    <a:pt x="872" y="631595"/>
                  </a:cubicBezTo>
                  <a:cubicBezTo>
                    <a:pt x="-1091" y="634049"/>
                    <a:pt x="872" y="637880"/>
                    <a:pt x="872" y="641022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6" name="Forma livre 475"/>
            <p:cNvSpPr/>
            <p:nvPr/>
          </p:nvSpPr>
          <p:spPr>
            <a:xfrm>
              <a:off x="5010346" y="3601039"/>
              <a:ext cx="678730" cy="796565"/>
            </a:xfrm>
            <a:custGeom>
              <a:avLst/>
              <a:gdLst>
                <a:gd name="connsiteX0" fmla="*/ 56561 w 678730"/>
                <a:gd name="connsiteY0" fmla="*/ 0 h 796565"/>
                <a:gd name="connsiteX1" fmla="*/ 51848 w 678730"/>
                <a:gd name="connsiteY1" fmla="*/ 23567 h 796565"/>
                <a:gd name="connsiteX2" fmla="*/ 23567 w 678730"/>
                <a:gd name="connsiteY2" fmla="*/ 37707 h 796565"/>
                <a:gd name="connsiteX3" fmla="*/ 9427 w 678730"/>
                <a:gd name="connsiteY3" fmla="*/ 51848 h 796565"/>
                <a:gd name="connsiteX4" fmla="*/ 4714 w 678730"/>
                <a:gd name="connsiteY4" fmla="*/ 89555 h 796565"/>
                <a:gd name="connsiteX5" fmla="*/ 0 w 678730"/>
                <a:gd name="connsiteY5" fmla="*/ 103695 h 796565"/>
                <a:gd name="connsiteX6" fmla="*/ 14141 w 678730"/>
                <a:gd name="connsiteY6" fmla="*/ 179109 h 796565"/>
                <a:gd name="connsiteX7" fmla="*/ 18854 w 678730"/>
                <a:gd name="connsiteY7" fmla="*/ 193250 h 796565"/>
                <a:gd name="connsiteX8" fmla="*/ 32994 w 678730"/>
                <a:gd name="connsiteY8" fmla="*/ 197963 h 796565"/>
                <a:gd name="connsiteX9" fmla="*/ 51848 w 678730"/>
                <a:gd name="connsiteY9" fmla="*/ 221530 h 796565"/>
                <a:gd name="connsiteX10" fmla="*/ 56561 w 678730"/>
                <a:gd name="connsiteY10" fmla="*/ 235670 h 796565"/>
                <a:gd name="connsiteX11" fmla="*/ 80128 w 678730"/>
                <a:gd name="connsiteY11" fmla="*/ 259237 h 796565"/>
                <a:gd name="connsiteX12" fmla="*/ 84842 w 678730"/>
                <a:gd name="connsiteY12" fmla="*/ 273377 h 796565"/>
                <a:gd name="connsiteX13" fmla="*/ 94268 w 678730"/>
                <a:gd name="connsiteY13" fmla="*/ 287518 h 796565"/>
                <a:gd name="connsiteX14" fmla="*/ 103695 w 678730"/>
                <a:gd name="connsiteY14" fmla="*/ 329938 h 796565"/>
                <a:gd name="connsiteX15" fmla="*/ 108409 w 678730"/>
                <a:gd name="connsiteY15" fmla="*/ 344079 h 796565"/>
                <a:gd name="connsiteX16" fmla="*/ 113122 w 678730"/>
                <a:gd name="connsiteY16" fmla="*/ 367646 h 796565"/>
                <a:gd name="connsiteX17" fmla="*/ 127262 w 678730"/>
                <a:gd name="connsiteY17" fmla="*/ 372359 h 796565"/>
                <a:gd name="connsiteX18" fmla="*/ 141402 w 678730"/>
                <a:gd name="connsiteY18" fmla="*/ 381786 h 796565"/>
                <a:gd name="connsiteX19" fmla="*/ 160256 w 678730"/>
                <a:gd name="connsiteY19" fmla="*/ 400639 h 796565"/>
                <a:gd name="connsiteX20" fmla="*/ 188536 w 678730"/>
                <a:gd name="connsiteY20" fmla="*/ 419493 h 796565"/>
                <a:gd name="connsiteX21" fmla="*/ 230957 w 678730"/>
                <a:gd name="connsiteY21" fmla="*/ 433633 h 796565"/>
                <a:gd name="connsiteX22" fmla="*/ 259238 w 678730"/>
                <a:gd name="connsiteY22" fmla="*/ 476054 h 796565"/>
                <a:gd name="connsiteX23" fmla="*/ 268664 w 678730"/>
                <a:gd name="connsiteY23" fmla="*/ 490194 h 796565"/>
                <a:gd name="connsiteX24" fmla="*/ 287518 w 678730"/>
                <a:gd name="connsiteY24" fmla="*/ 504334 h 796565"/>
                <a:gd name="connsiteX25" fmla="*/ 301658 w 678730"/>
                <a:gd name="connsiteY25" fmla="*/ 518474 h 796565"/>
                <a:gd name="connsiteX26" fmla="*/ 329939 w 678730"/>
                <a:gd name="connsiteY26" fmla="*/ 527901 h 796565"/>
                <a:gd name="connsiteX27" fmla="*/ 325225 w 678730"/>
                <a:gd name="connsiteY27" fmla="*/ 542041 h 796565"/>
                <a:gd name="connsiteX28" fmla="*/ 311085 w 678730"/>
                <a:gd name="connsiteY28" fmla="*/ 546755 h 796565"/>
                <a:gd name="connsiteX29" fmla="*/ 296945 w 678730"/>
                <a:gd name="connsiteY29" fmla="*/ 556182 h 796565"/>
                <a:gd name="connsiteX30" fmla="*/ 325225 w 678730"/>
                <a:gd name="connsiteY30" fmla="*/ 565608 h 796565"/>
                <a:gd name="connsiteX31" fmla="*/ 339365 w 678730"/>
                <a:gd name="connsiteY31" fmla="*/ 575035 h 796565"/>
                <a:gd name="connsiteX32" fmla="*/ 367646 w 678730"/>
                <a:gd name="connsiteY32" fmla="*/ 584462 h 796565"/>
                <a:gd name="connsiteX33" fmla="*/ 395926 w 678730"/>
                <a:gd name="connsiteY33" fmla="*/ 603316 h 796565"/>
                <a:gd name="connsiteX34" fmla="*/ 410066 w 678730"/>
                <a:gd name="connsiteY34" fmla="*/ 612742 h 796565"/>
                <a:gd name="connsiteX35" fmla="*/ 424207 w 678730"/>
                <a:gd name="connsiteY35" fmla="*/ 626883 h 796565"/>
                <a:gd name="connsiteX36" fmla="*/ 438347 w 678730"/>
                <a:gd name="connsiteY36" fmla="*/ 636309 h 796565"/>
                <a:gd name="connsiteX37" fmla="*/ 466627 w 678730"/>
                <a:gd name="connsiteY37" fmla="*/ 645736 h 796565"/>
                <a:gd name="connsiteX38" fmla="*/ 480767 w 678730"/>
                <a:gd name="connsiteY38" fmla="*/ 674017 h 796565"/>
                <a:gd name="connsiteX39" fmla="*/ 518475 w 678730"/>
                <a:gd name="connsiteY39" fmla="*/ 683443 h 796565"/>
                <a:gd name="connsiteX40" fmla="*/ 523188 w 678730"/>
                <a:gd name="connsiteY40" fmla="*/ 702297 h 796565"/>
                <a:gd name="connsiteX41" fmla="*/ 527901 w 678730"/>
                <a:gd name="connsiteY41" fmla="*/ 725864 h 796565"/>
                <a:gd name="connsiteX42" fmla="*/ 542042 w 678730"/>
                <a:gd name="connsiteY42" fmla="*/ 730577 h 796565"/>
                <a:gd name="connsiteX43" fmla="*/ 584462 w 678730"/>
                <a:gd name="connsiteY43" fmla="*/ 754145 h 796565"/>
                <a:gd name="connsiteX44" fmla="*/ 655163 w 678730"/>
                <a:gd name="connsiteY44" fmla="*/ 758858 h 796565"/>
                <a:gd name="connsiteX45" fmla="*/ 659877 w 678730"/>
                <a:gd name="connsiteY45" fmla="*/ 772998 h 796565"/>
                <a:gd name="connsiteX46" fmla="*/ 678730 w 678730"/>
                <a:gd name="connsiteY46" fmla="*/ 796565 h 796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78730" h="796565">
                  <a:moveTo>
                    <a:pt x="56561" y="0"/>
                  </a:moveTo>
                  <a:cubicBezTo>
                    <a:pt x="54990" y="7856"/>
                    <a:pt x="55823" y="16611"/>
                    <a:pt x="51848" y="23567"/>
                  </a:cubicBezTo>
                  <a:cubicBezTo>
                    <a:pt x="47548" y="31093"/>
                    <a:pt x="30826" y="35288"/>
                    <a:pt x="23567" y="37707"/>
                  </a:cubicBezTo>
                  <a:cubicBezTo>
                    <a:pt x="18854" y="42421"/>
                    <a:pt x="11705" y="45583"/>
                    <a:pt x="9427" y="51848"/>
                  </a:cubicBezTo>
                  <a:cubicBezTo>
                    <a:pt x="5098" y="63752"/>
                    <a:pt x="6980" y="77093"/>
                    <a:pt x="4714" y="89555"/>
                  </a:cubicBezTo>
                  <a:cubicBezTo>
                    <a:pt x="3825" y="94443"/>
                    <a:pt x="1571" y="98982"/>
                    <a:pt x="0" y="103695"/>
                  </a:cubicBezTo>
                  <a:cubicBezTo>
                    <a:pt x="5703" y="160722"/>
                    <a:pt x="-280" y="135846"/>
                    <a:pt x="14141" y="179109"/>
                  </a:cubicBezTo>
                  <a:cubicBezTo>
                    <a:pt x="15712" y="183823"/>
                    <a:pt x="14140" y="191679"/>
                    <a:pt x="18854" y="193250"/>
                  </a:cubicBezTo>
                  <a:lnTo>
                    <a:pt x="32994" y="197963"/>
                  </a:lnTo>
                  <a:cubicBezTo>
                    <a:pt x="44844" y="233507"/>
                    <a:pt x="27481" y="191070"/>
                    <a:pt x="51848" y="221530"/>
                  </a:cubicBezTo>
                  <a:cubicBezTo>
                    <a:pt x="54952" y="225410"/>
                    <a:pt x="54339" y="231226"/>
                    <a:pt x="56561" y="235670"/>
                  </a:cubicBezTo>
                  <a:cubicBezTo>
                    <a:pt x="64416" y="251380"/>
                    <a:pt x="65989" y="249811"/>
                    <a:pt x="80128" y="259237"/>
                  </a:cubicBezTo>
                  <a:cubicBezTo>
                    <a:pt x="81699" y="263950"/>
                    <a:pt x="82620" y="268933"/>
                    <a:pt x="84842" y="273377"/>
                  </a:cubicBezTo>
                  <a:cubicBezTo>
                    <a:pt x="87375" y="278444"/>
                    <a:pt x="92037" y="282311"/>
                    <a:pt x="94268" y="287518"/>
                  </a:cubicBezTo>
                  <a:cubicBezTo>
                    <a:pt x="97175" y="294300"/>
                    <a:pt x="102350" y="324559"/>
                    <a:pt x="103695" y="329938"/>
                  </a:cubicBezTo>
                  <a:cubicBezTo>
                    <a:pt x="104900" y="334758"/>
                    <a:pt x="107204" y="339259"/>
                    <a:pt x="108409" y="344079"/>
                  </a:cubicBezTo>
                  <a:cubicBezTo>
                    <a:pt x="110352" y="351851"/>
                    <a:pt x="108678" y="360980"/>
                    <a:pt x="113122" y="367646"/>
                  </a:cubicBezTo>
                  <a:cubicBezTo>
                    <a:pt x="115878" y="371780"/>
                    <a:pt x="122549" y="370788"/>
                    <a:pt x="127262" y="372359"/>
                  </a:cubicBezTo>
                  <a:cubicBezTo>
                    <a:pt x="131975" y="375501"/>
                    <a:pt x="137863" y="377363"/>
                    <a:pt x="141402" y="381786"/>
                  </a:cubicBezTo>
                  <a:cubicBezTo>
                    <a:pt x="159684" y="404638"/>
                    <a:pt x="129406" y="390356"/>
                    <a:pt x="160256" y="400639"/>
                  </a:cubicBezTo>
                  <a:cubicBezTo>
                    <a:pt x="169683" y="406924"/>
                    <a:pt x="177788" y="415910"/>
                    <a:pt x="188536" y="419493"/>
                  </a:cubicBezTo>
                  <a:lnTo>
                    <a:pt x="230957" y="433633"/>
                  </a:lnTo>
                  <a:lnTo>
                    <a:pt x="259238" y="476054"/>
                  </a:lnTo>
                  <a:cubicBezTo>
                    <a:pt x="262380" y="480767"/>
                    <a:pt x="264132" y="486795"/>
                    <a:pt x="268664" y="490194"/>
                  </a:cubicBezTo>
                  <a:cubicBezTo>
                    <a:pt x="274949" y="494907"/>
                    <a:pt x="281553" y="499222"/>
                    <a:pt x="287518" y="504334"/>
                  </a:cubicBezTo>
                  <a:cubicBezTo>
                    <a:pt x="292579" y="508672"/>
                    <a:pt x="295831" y="515237"/>
                    <a:pt x="301658" y="518474"/>
                  </a:cubicBezTo>
                  <a:cubicBezTo>
                    <a:pt x="310344" y="523300"/>
                    <a:pt x="329939" y="527901"/>
                    <a:pt x="329939" y="527901"/>
                  </a:cubicBezTo>
                  <a:cubicBezTo>
                    <a:pt x="328368" y="532614"/>
                    <a:pt x="328738" y="538528"/>
                    <a:pt x="325225" y="542041"/>
                  </a:cubicBezTo>
                  <a:cubicBezTo>
                    <a:pt x="321712" y="545554"/>
                    <a:pt x="315529" y="544533"/>
                    <a:pt x="311085" y="546755"/>
                  </a:cubicBezTo>
                  <a:cubicBezTo>
                    <a:pt x="306018" y="549289"/>
                    <a:pt x="301658" y="553040"/>
                    <a:pt x="296945" y="556182"/>
                  </a:cubicBezTo>
                  <a:cubicBezTo>
                    <a:pt x="306372" y="559324"/>
                    <a:pt x="316957" y="560096"/>
                    <a:pt x="325225" y="565608"/>
                  </a:cubicBezTo>
                  <a:cubicBezTo>
                    <a:pt x="329938" y="568750"/>
                    <a:pt x="334188" y="572734"/>
                    <a:pt x="339365" y="575035"/>
                  </a:cubicBezTo>
                  <a:cubicBezTo>
                    <a:pt x="348445" y="579071"/>
                    <a:pt x="367646" y="584462"/>
                    <a:pt x="367646" y="584462"/>
                  </a:cubicBezTo>
                  <a:lnTo>
                    <a:pt x="395926" y="603316"/>
                  </a:lnTo>
                  <a:cubicBezTo>
                    <a:pt x="400639" y="606458"/>
                    <a:pt x="406061" y="608737"/>
                    <a:pt x="410066" y="612742"/>
                  </a:cubicBezTo>
                  <a:cubicBezTo>
                    <a:pt x="414780" y="617456"/>
                    <a:pt x="419086" y="622616"/>
                    <a:pt x="424207" y="626883"/>
                  </a:cubicBezTo>
                  <a:cubicBezTo>
                    <a:pt x="428559" y="630509"/>
                    <a:pt x="433171" y="634008"/>
                    <a:pt x="438347" y="636309"/>
                  </a:cubicBezTo>
                  <a:cubicBezTo>
                    <a:pt x="447427" y="640345"/>
                    <a:pt x="466627" y="645736"/>
                    <a:pt x="466627" y="645736"/>
                  </a:cubicBezTo>
                  <a:cubicBezTo>
                    <a:pt x="469732" y="655048"/>
                    <a:pt x="472463" y="667374"/>
                    <a:pt x="480767" y="674017"/>
                  </a:cubicBezTo>
                  <a:cubicBezTo>
                    <a:pt x="485597" y="677881"/>
                    <a:pt x="517303" y="683209"/>
                    <a:pt x="518475" y="683443"/>
                  </a:cubicBezTo>
                  <a:cubicBezTo>
                    <a:pt x="520046" y="689728"/>
                    <a:pt x="521783" y="695973"/>
                    <a:pt x="523188" y="702297"/>
                  </a:cubicBezTo>
                  <a:cubicBezTo>
                    <a:pt x="524926" y="710117"/>
                    <a:pt x="523457" y="719198"/>
                    <a:pt x="527901" y="725864"/>
                  </a:cubicBezTo>
                  <a:cubicBezTo>
                    <a:pt x="530657" y="729998"/>
                    <a:pt x="537328" y="729006"/>
                    <a:pt x="542042" y="730577"/>
                  </a:cubicBezTo>
                  <a:cubicBezTo>
                    <a:pt x="551751" y="737050"/>
                    <a:pt x="569531" y="752486"/>
                    <a:pt x="584462" y="754145"/>
                  </a:cubicBezTo>
                  <a:cubicBezTo>
                    <a:pt x="607937" y="756753"/>
                    <a:pt x="631596" y="757287"/>
                    <a:pt x="655163" y="758858"/>
                  </a:cubicBezTo>
                  <a:cubicBezTo>
                    <a:pt x="656734" y="763571"/>
                    <a:pt x="657655" y="768554"/>
                    <a:pt x="659877" y="772998"/>
                  </a:cubicBezTo>
                  <a:cubicBezTo>
                    <a:pt x="665824" y="784891"/>
                    <a:pt x="669961" y="787796"/>
                    <a:pt x="678730" y="796565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7" name="Forma livre 476"/>
            <p:cNvSpPr/>
            <p:nvPr/>
          </p:nvSpPr>
          <p:spPr>
            <a:xfrm>
              <a:off x="5434553" y="4227428"/>
              <a:ext cx="325224" cy="9920"/>
            </a:xfrm>
            <a:custGeom>
              <a:avLst/>
              <a:gdLst>
                <a:gd name="connsiteX0" fmla="*/ 0 w 325224"/>
                <a:gd name="connsiteY0" fmla="*/ 5207 h 9920"/>
                <a:gd name="connsiteX1" fmla="*/ 164969 w 325224"/>
                <a:gd name="connsiteY1" fmla="*/ 9920 h 9920"/>
                <a:gd name="connsiteX2" fmla="*/ 245096 w 325224"/>
                <a:gd name="connsiteY2" fmla="*/ 494 h 9920"/>
                <a:gd name="connsiteX3" fmla="*/ 325224 w 325224"/>
                <a:gd name="connsiteY3" fmla="*/ 494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224" h="9920">
                  <a:moveTo>
                    <a:pt x="0" y="5207"/>
                  </a:moveTo>
                  <a:cubicBezTo>
                    <a:pt x="54990" y="6778"/>
                    <a:pt x="109957" y="9920"/>
                    <a:pt x="164969" y="9920"/>
                  </a:cubicBezTo>
                  <a:cubicBezTo>
                    <a:pt x="251348" y="9920"/>
                    <a:pt x="176638" y="3346"/>
                    <a:pt x="245096" y="494"/>
                  </a:cubicBezTo>
                  <a:cubicBezTo>
                    <a:pt x="271782" y="-618"/>
                    <a:pt x="298515" y="494"/>
                    <a:pt x="325224" y="494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8" name="Forma livre 477"/>
            <p:cNvSpPr/>
            <p:nvPr/>
          </p:nvSpPr>
          <p:spPr>
            <a:xfrm>
              <a:off x="4590854" y="3959258"/>
              <a:ext cx="513760" cy="716437"/>
            </a:xfrm>
            <a:custGeom>
              <a:avLst/>
              <a:gdLst>
                <a:gd name="connsiteX0" fmla="*/ 514848 w 514848"/>
                <a:gd name="connsiteY0" fmla="*/ 0 h 716437"/>
                <a:gd name="connsiteX1" fmla="*/ 486568 w 514848"/>
                <a:gd name="connsiteY1" fmla="*/ 37707 h 716437"/>
                <a:gd name="connsiteX2" fmla="*/ 477141 w 514848"/>
                <a:gd name="connsiteY2" fmla="*/ 65987 h 716437"/>
                <a:gd name="connsiteX3" fmla="*/ 472428 w 514848"/>
                <a:gd name="connsiteY3" fmla="*/ 108408 h 716437"/>
                <a:gd name="connsiteX4" fmla="*/ 448861 w 514848"/>
                <a:gd name="connsiteY4" fmla="*/ 150829 h 716437"/>
                <a:gd name="connsiteX5" fmla="*/ 434721 w 514848"/>
                <a:gd name="connsiteY5" fmla="*/ 179109 h 716437"/>
                <a:gd name="connsiteX6" fmla="*/ 420580 w 514848"/>
                <a:gd name="connsiteY6" fmla="*/ 207389 h 716437"/>
                <a:gd name="connsiteX7" fmla="*/ 420580 w 514848"/>
                <a:gd name="connsiteY7" fmla="*/ 259237 h 716437"/>
                <a:gd name="connsiteX8" fmla="*/ 411154 w 514848"/>
                <a:gd name="connsiteY8" fmla="*/ 306371 h 716437"/>
                <a:gd name="connsiteX9" fmla="*/ 406440 w 514848"/>
                <a:gd name="connsiteY9" fmla="*/ 320511 h 716437"/>
                <a:gd name="connsiteX10" fmla="*/ 392300 w 514848"/>
                <a:gd name="connsiteY10" fmla="*/ 329938 h 716437"/>
                <a:gd name="connsiteX11" fmla="*/ 382873 w 514848"/>
                <a:gd name="connsiteY11" fmla="*/ 344078 h 716437"/>
                <a:gd name="connsiteX12" fmla="*/ 368733 w 514848"/>
                <a:gd name="connsiteY12" fmla="*/ 353505 h 716437"/>
                <a:gd name="connsiteX13" fmla="*/ 364020 w 514848"/>
                <a:gd name="connsiteY13" fmla="*/ 367645 h 716437"/>
                <a:gd name="connsiteX14" fmla="*/ 331026 w 514848"/>
                <a:gd name="connsiteY14" fmla="*/ 405352 h 716437"/>
                <a:gd name="connsiteX15" fmla="*/ 307459 w 514848"/>
                <a:gd name="connsiteY15" fmla="*/ 428919 h 716437"/>
                <a:gd name="connsiteX16" fmla="*/ 250898 w 514848"/>
                <a:gd name="connsiteY16" fmla="*/ 476053 h 716437"/>
                <a:gd name="connsiteX17" fmla="*/ 208477 w 514848"/>
                <a:gd name="connsiteY17" fmla="*/ 490194 h 716437"/>
                <a:gd name="connsiteX18" fmla="*/ 194337 w 514848"/>
                <a:gd name="connsiteY18" fmla="*/ 494907 h 716437"/>
                <a:gd name="connsiteX19" fmla="*/ 180197 w 514848"/>
                <a:gd name="connsiteY19" fmla="*/ 504334 h 716437"/>
                <a:gd name="connsiteX20" fmla="*/ 151916 w 514848"/>
                <a:gd name="connsiteY20" fmla="*/ 513761 h 716437"/>
                <a:gd name="connsiteX21" fmla="*/ 123636 w 514848"/>
                <a:gd name="connsiteY21" fmla="*/ 532614 h 716437"/>
                <a:gd name="connsiteX22" fmla="*/ 109496 w 514848"/>
                <a:gd name="connsiteY22" fmla="*/ 537328 h 716437"/>
                <a:gd name="connsiteX23" fmla="*/ 76502 w 514848"/>
                <a:gd name="connsiteY23" fmla="*/ 551468 h 716437"/>
                <a:gd name="connsiteX24" fmla="*/ 52935 w 514848"/>
                <a:gd name="connsiteY24" fmla="*/ 575035 h 716437"/>
                <a:gd name="connsiteX25" fmla="*/ 48222 w 514848"/>
                <a:gd name="connsiteY25" fmla="*/ 589175 h 716437"/>
                <a:gd name="connsiteX26" fmla="*/ 29368 w 514848"/>
                <a:gd name="connsiteY26" fmla="*/ 617455 h 716437"/>
                <a:gd name="connsiteX27" fmla="*/ 24655 w 514848"/>
                <a:gd name="connsiteY27" fmla="*/ 631596 h 716437"/>
                <a:gd name="connsiteX28" fmla="*/ 5801 w 514848"/>
                <a:gd name="connsiteY28" fmla="*/ 659876 h 716437"/>
                <a:gd name="connsiteX29" fmla="*/ 1088 w 514848"/>
                <a:gd name="connsiteY29" fmla="*/ 716437 h 716437"/>
                <a:gd name="connsiteX0" fmla="*/ 514848 w 514848"/>
                <a:gd name="connsiteY0" fmla="*/ 0 h 716437"/>
                <a:gd name="connsiteX1" fmla="*/ 486568 w 514848"/>
                <a:gd name="connsiteY1" fmla="*/ 37707 h 716437"/>
                <a:gd name="connsiteX2" fmla="*/ 477141 w 514848"/>
                <a:gd name="connsiteY2" fmla="*/ 65987 h 716437"/>
                <a:gd name="connsiteX3" fmla="*/ 472428 w 514848"/>
                <a:gd name="connsiteY3" fmla="*/ 108408 h 716437"/>
                <a:gd name="connsiteX4" fmla="*/ 448861 w 514848"/>
                <a:gd name="connsiteY4" fmla="*/ 150829 h 716437"/>
                <a:gd name="connsiteX5" fmla="*/ 434721 w 514848"/>
                <a:gd name="connsiteY5" fmla="*/ 179109 h 716437"/>
                <a:gd name="connsiteX6" fmla="*/ 420580 w 514848"/>
                <a:gd name="connsiteY6" fmla="*/ 207389 h 716437"/>
                <a:gd name="connsiteX7" fmla="*/ 420580 w 514848"/>
                <a:gd name="connsiteY7" fmla="*/ 259237 h 716437"/>
                <a:gd name="connsiteX8" fmla="*/ 411154 w 514848"/>
                <a:gd name="connsiteY8" fmla="*/ 306371 h 716437"/>
                <a:gd name="connsiteX9" fmla="*/ 406440 w 514848"/>
                <a:gd name="connsiteY9" fmla="*/ 320511 h 716437"/>
                <a:gd name="connsiteX10" fmla="*/ 392300 w 514848"/>
                <a:gd name="connsiteY10" fmla="*/ 329938 h 716437"/>
                <a:gd name="connsiteX11" fmla="*/ 382873 w 514848"/>
                <a:gd name="connsiteY11" fmla="*/ 344078 h 716437"/>
                <a:gd name="connsiteX12" fmla="*/ 368733 w 514848"/>
                <a:gd name="connsiteY12" fmla="*/ 353505 h 716437"/>
                <a:gd name="connsiteX13" fmla="*/ 364020 w 514848"/>
                <a:gd name="connsiteY13" fmla="*/ 367645 h 716437"/>
                <a:gd name="connsiteX14" fmla="*/ 331026 w 514848"/>
                <a:gd name="connsiteY14" fmla="*/ 405352 h 716437"/>
                <a:gd name="connsiteX15" fmla="*/ 307459 w 514848"/>
                <a:gd name="connsiteY15" fmla="*/ 428919 h 716437"/>
                <a:gd name="connsiteX16" fmla="*/ 250898 w 514848"/>
                <a:gd name="connsiteY16" fmla="*/ 476053 h 716437"/>
                <a:gd name="connsiteX17" fmla="*/ 208477 w 514848"/>
                <a:gd name="connsiteY17" fmla="*/ 490194 h 716437"/>
                <a:gd name="connsiteX18" fmla="*/ 194337 w 514848"/>
                <a:gd name="connsiteY18" fmla="*/ 494907 h 716437"/>
                <a:gd name="connsiteX19" fmla="*/ 180197 w 514848"/>
                <a:gd name="connsiteY19" fmla="*/ 504334 h 716437"/>
                <a:gd name="connsiteX20" fmla="*/ 151916 w 514848"/>
                <a:gd name="connsiteY20" fmla="*/ 513761 h 716437"/>
                <a:gd name="connsiteX21" fmla="*/ 123636 w 514848"/>
                <a:gd name="connsiteY21" fmla="*/ 532614 h 716437"/>
                <a:gd name="connsiteX22" fmla="*/ 109496 w 514848"/>
                <a:gd name="connsiteY22" fmla="*/ 537328 h 716437"/>
                <a:gd name="connsiteX23" fmla="*/ 90642 w 514848"/>
                <a:gd name="connsiteY23" fmla="*/ 542041 h 716437"/>
                <a:gd name="connsiteX24" fmla="*/ 52935 w 514848"/>
                <a:gd name="connsiteY24" fmla="*/ 575035 h 716437"/>
                <a:gd name="connsiteX25" fmla="*/ 48222 w 514848"/>
                <a:gd name="connsiteY25" fmla="*/ 589175 h 716437"/>
                <a:gd name="connsiteX26" fmla="*/ 29368 w 514848"/>
                <a:gd name="connsiteY26" fmla="*/ 617455 h 716437"/>
                <a:gd name="connsiteX27" fmla="*/ 24655 w 514848"/>
                <a:gd name="connsiteY27" fmla="*/ 631596 h 716437"/>
                <a:gd name="connsiteX28" fmla="*/ 5801 w 514848"/>
                <a:gd name="connsiteY28" fmla="*/ 659876 h 716437"/>
                <a:gd name="connsiteX29" fmla="*/ 1088 w 514848"/>
                <a:gd name="connsiteY29" fmla="*/ 716437 h 716437"/>
                <a:gd name="connsiteX0" fmla="*/ 514848 w 514848"/>
                <a:gd name="connsiteY0" fmla="*/ 0 h 716437"/>
                <a:gd name="connsiteX1" fmla="*/ 486568 w 514848"/>
                <a:gd name="connsiteY1" fmla="*/ 37707 h 716437"/>
                <a:gd name="connsiteX2" fmla="*/ 477141 w 514848"/>
                <a:gd name="connsiteY2" fmla="*/ 65987 h 716437"/>
                <a:gd name="connsiteX3" fmla="*/ 472428 w 514848"/>
                <a:gd name="connsiteY3" fmla="*/ 108408 h 716437"/>
                <a:gd name="connsiteX4" fmla="*/ 448861 w 514848"/>
                <a:gd name="connsiteY4" fmla="*/ 150829 h 716437"/>
                <a:gd name="connsiteX5" fmla="*/ 434721 w 514848"/>
                <a:gd name="connsiteY5" fmla="*/ 179109 h 716437"/>
                <a:gd name="connsiteX6" fmla="*/ 420580 w 514848"/>
                <a:gd name="connsiteY6" fmla="*/ 207389 h 716437"/>
                <a:gd name="connsiteX7" fmla="*/ 420580 w 514848"/>
                <a:gd name="connsiteY7" fmla="*/ 259237 h 716437"/>
                <a:gd name="connsiteX8" fmla="*/ 411154 w 514848"/>
                <a:gd name="connsiteY8" fmla="*/ 306371 h 716437"/>
                <a:gd name="connsiteX9" fmla="*/ 406440 w 514848"/>
                <a:gd name="connsiteY9" fmla="*/ 320511 h 716437"/>
                <a:gd name="connsiteX10" fmla="*/ 392300 w 514848"/>
                <a:gd name="connsiteY10" fmla="*/ 329938 h 716437"/>
                <a:gd name="connsiteX11" fmla="*/ 382873 w 514848"/>
                <a:gd name="connsiteY11" fmla="*/ 344078 h 716437"/>
                <a:gd name="connsiteX12" fmla="*/ 368733 w 514848"/>
                <a:gd name="connsiteY12" fmla="*/ 353505 h 716437"/>
                <a:gd name="connsiteX13" fmla="*/ 364020 w 514848"/>
                <a:gd name="connsiteY13" fmla="*/ 367645 h 716437"/>
                <a:gd name="connsiteX14" fmla="*/ 331026 w 514848"/>
                <a:gd name="connsiteY14" fmla="*/ 405352 h 716437"/>
                <a:gd name="connsiteX15" fmla="*/ 307459 w 514848"/>
                <a:gd name="connsiteY15" fmla="*/ 428919 h 716437"/>
                <a:gd name="connsiteX16" fmla="*/ 250898 w 514848"/>
                <a:gd name="connsiteY16" fmla="*/ 476053 h 716437"/>
                <a:gd name="connsiteX17" fmla="*/ 208477 w 514848"/>
                <a:gd name="connsiteY17" fmla="*/ 490194 h 716437"/>
                <a:gd name="connsiteX18" fmla="*/ 194337 w 514848"/>
                <a:gd name="connsiteY18" fmla="*/ 494907 h 716437"/>
                <a:gd name="connsiteX19" fmla="*/ 180197 w 514848"/>
                <a:gd name="connsiteY19" fmla="*/ 504334 h 716437"/>
                <a:gd name="connsiteX20" fmla="*/ 151916 w 514848"/>
                <a:gd name="connsiteY20" fmla="*/ 513761 h 716437"/>
                <a:gd name="connsiteX21" fmla="*/ 123636 w 514848"/>
                <a:gd name="connsiteY21" fmla="*/ 532614 h 716437"/>
                <a:gd name="connsiteX22" fmla="*/ 109496 w 514848"/>
                <a:gd name="connsiteY22" fmla="*/ 537328 h 716437"/>
                <a:gd name="connsiteX23" fmla="*/ 90642 w 514848"/>
                <a:gd name="connsiteY23" fmla="*/ 542041 h 716437"/>
                <a:gd name="connsiteX24" fmla="*/ 52935 w 514848"/>
                <a:gd name="connsiteY24" fmla="*/ 575035 h 716437"/>
                <a:gd name="connsiteX25" fmla="*/ 29368 w 514848"/>
                <a:gd name="connsiteY25" fmla="*/ 617455 h 716437"/>
                <a:gd name="connsiteX26" fmla="*/ 24655 w 514848"/>
                <a:gd name="connsiteY26" fmla="*/ 631596 h 716437"/>
                <a:gd name="connsiteX27" fmla="*/ 5801 w 514848"/>
                <a:gd name="connsiteY27" fmla="*/ 659876 h 716437"/>
                <a:gd name="connsiteX28" fmla="*/ 1088 w 514848"/>
                <a:gd name="connsiteY28" fmla="*/ 716437 h 716437"/>
                <a:gd name="connsiteX0" fmla="*/ 513760 w 513760"/>
                <a:gd name="connsiteY0" fmla="*/ 0 h 716437"/>
                <a:gd name="connsiteX1" fmla="*/ 485480 w 513760"/>
                <a:gd name="connsiteY1" fmla="*/ 37707 h 716437"/>
                <a:gd name="connsiteX2" fmla="*/ 476053 w 513760"/>
                <a:gd name="connsiteY2" fmla="*/ 65987 h 716437"/>
                <a:gd name="connsiteX3" fmla="*/ 471340 w 513760"/>
                <a:gd name="connsiteY3" fmla="*/ 108408 h 716437"/>
                <a:gd name="connsiteX4" fmla="*/ 447773 w 513760"/>
                <a:gd name="connsiteY4" fmla="*/ 150829 h 716437"/>
                <a:gd name="connsiteX5" fmla="*/ 433633 w 513760"/>
                <a:gd name="connsiteY5" fmla="*/ 179109 h 716437"/>
                <a:gd name="connsiteX6" fmla="*/ 419492 w 513760"/>
                <a:gd name="connsiteY6" fmla="*/ 207389 h 716437"/>
                <a:gd name="connsiteX7" fmla="*/ 419492 w 513760"/>
                <a:gd name="connsiteY7" fmla="*/ 259237 h 716437"/>
                <a:gd name="connsiteX8" fmla="*/ 410066 w 513760"/>
                <a:gd name="connsiteY8" fmla="*/ 306371 h 716437"/>
                <a:gd name="connsiteX9" fmla="*/ 405352 w 513760"/>
                <a:gd name="connsiteY9" fmla="*/ 320511 h 716437"/>
                <a:gd name="connsiteX10" fmla="*/ 391212 w 513760"/>
                <a:gd name="connsiteY10" fmla="*/ 329938 h 716437"/>
                <a:gd name="connsiteX11" fmla="*/ 381785 w 513760"/>
                <a:gd name="connsiteY11" fmla="*/ 344078 h 716437"/>
                <a:gd name="connsiteX12" fmla="*/ 367645 w 513760"/>
                <a:gd name="connsiteY12" fmla="*/ 353505 h 716437"/>
                <a:gd name="connsiteX13" fmla="*/ 362932 w 513760"/>
                <a:gd name="connsiteY13" fmla="*/ 367645 h 716437"/>
                <a:gd name="connsiteX14" fmla="*/ 329938 w 513760"/>
                <a:gd name="connsiteY14" fmla="*/ 405352 h 716437"/>
                <a:gd name="connsiteX15" fmla="*/ 306371 w 513760"/>
                <a:gd name="connsiteY15" fmla="*/ 428919 h 716437"/>
                <a:gd name="connsiteX16" fmla="*/ 249810 w 513760"/>
                <a:gd name="connsiteY16" fmla="*/ 476053 h 716437"/>
                <a:gd name="connsiteX17" fmla="*/ 207389 w 513760"/>
                <a:gd name="connsiteY17" fmla="*/ 490194 h 716437"/>
                <a:gd name="connsiteX18" fmla="*/ 193249 w 513760"/>
                <a:gd name="connsiteY18" fmla="*/ 494907 h 716437"/>
                <a:gd name="connsiteX19" fmla="*/ 179109 w 513760"/>
                <a:gd name="connsiteY19" fmla="*/ 504334 h 716437"/>
                <a:gd name="connsiteX20" fmla="*/ 150828 w 513760"/>
                <a:gd name="connsiteY20" fmla="*/ 513761 h 716437"/>
                <a:gd name="connsiteX21" fmla="*/ 122548 w 513760"/>
                <a:gd name="connsiteY21" fmla="*/ 532614 h 716437"/>
                <a:gd name="connsiteX22" fmla="*/ 108408 w 513760"/>
                <a:gd name="connsiteY22" fmla="*/ 537328 h 716437"/>
                <a:gd name="connsiteX23" fmla="*/ 89554 w 513760"/>
                <a:gd name="connsiteY23" fmla="*/ 542041 h 716437"/>
                <a:gd name="connsiteX24" fmla="*/ 51847 w 513760"/>
                <a:gd name="connsiteY24" fmla="*/ 575035 h 716437"/>
                <a:gd name="connsiteX25" fmla="*/ 28280 w 513760"/>
                <a:gd name="connsiteY25" fmla="*/ 617455 h 716437"/>
                <a:gd name="connsiteX26" fmla="*/ 23567 w 513760"/>
                <a:gd name="connsiteY26" fmla="*/ 631596 h 716437"/>
                <a:gd name="connsiteX27" fmla="*/ 0 w 513760"/>
                <a:gd name="connsiteY27" fmla="*/ 716437 h 716437"/>
                <a:gd name="connsiteX0" fmla="*/ 513760 w 513760"/>
                <a:gd name="connsiteY0" fmla="*/ 0 h 716437"/>
                <a:gd name="connsiteX1" fmla="*/ 485480 w 513760"/>
                <a:gd name="connsiteY1" fmla="*/ 37707 h 716437"/>
                <a:gd name="connsiteX2" fmla="*/ 476053 w 513760"/>
                <a:gd name="connsiteY2" fmla="*/ 65987 h 716437"/>
                <a:gd name="connsiteX3" fmla="*/ 471340 w 513760"/>
                <a:gd name="connsiteY3" fmla="*/ 108408 h 716437"/>
                <a:gd name="connsiteX4" fmla="*/ 447773 w 513760"/>
                <a:gd name="connsiteY4" fmla="*/ 150829 h 716437"/>
                <a:gd name="connsiteX5" fmla="*/ 433633 w 513760"/>
                <a:gd name="connsiteY5" fmla="*/ 179109 h 716437"/>
                <a:gd name="connsiteX6" fmla="*/ 419492 w 513760"/>
                <a:gd name="connsiteY6" fmla="*/ 207389 h 716437"/>
                <a:gd name="connsiteX7" fmla="*/ 419492 w 513760"/>
                <a:gd name="connsiteY7" fmla="*/ 259237 h 716437"/>
                <a:gd name="connsiteX8" fmla="*/ 410066 w 513760"/>
                <a:gd name="connsiteY8" fmla="*/ 306371 h 716437"/>
                <a:gd name="connsiteX9" fmla="*/ 405352 w 513760"/>
                <a:gd name="connsiteY9" fmla="*/ 320511 h 716437"/>
                <a:gd name="connsiteX10" fmla="*/ 391212 w 513760"/>
                <a:gd name="connsiteY10" fmla="*/ 329938 h 716437"/>
                <a:gd name="connsiteX11" fmla="*/ 381785 w 513760"/>
                <a:gd name="connsiteY11" fmla="*/ 344078 h 716437"/>
                <a:gd name="connsiteX12" fmla="*/ 367645 w 513760"/>
                <a:gd name="connsiteY12" fmla="*/ 353505 h 716437"/>
                <a:gd name="connsiteX13" fmla="*/ 362932 w 513760"/>
                <a:gd name="connsiteY13" fmla="*/ 367645 h 716437"/>
                <a:gd name="connsiteX14" fmla="*/ 329938 w 513760"/>
                <a:gd name="connsiteY14" fmla="*/ 405352 h 716437"/>
                <a:gd name="connsiteX15" fmla="*/ 306371 w 513760"/>
                <a:gd name="connsiteY15" fmla="*/ 428919 h 716437"/>
                <a:gd name="connsiteX16" fmla="*/ 249810 w 513760"/>
                <a:gd name="connsiteY16" fmla="*/ 476053 h 716437"/>
                <a:gd name="connsiteX17" fmla="*/ 207389 w 513760"/>
                <a:gd name="connsiteY17" fmla="*/ 490194 h 716437"/>
                <a:gd name="connsiteX18" fmla="*/ 193249 w 513760"/>
                <a:gd name="connsiteY18" fmla="*/ 494907 h 716437"/>
                <a:gd name="connsiteX19" fmla="*/ 179109 w 513760"/>
                <a:gd name="connsiteY19" fmla="*/ 504334 h 716437"/>
                <a:gd name="connsiteX20" fmla="*/ 150828 w 513760"/>
                <a:gd name="connsiteY20" fmla="*/ 513761 h 716437"/>
                <a:gd name="connsiteX21" fmla="*/ 122548 w 513760"/>
                <a:gd name="connsiteY21" fmla="*/ 532614 h 716437"/>
                <a:gd name="connsiteX22" fmla="*/ 108408 w 513760"/>
                <a:gd name="connsiteY22" fmla="*/ 537328 h 716437"/>
                <a:gd name="connsiteX23" fmla="*/ 89554 w 513760"/>
                <a:gd name="connsiteY23" fmla="*/ 542041 h 716437"/>
                <a:gd name="connsiteX24" fmla="*/ 51847 w 513760"/>
                <a:gd name="connsiteY24" fmla="*/ 575035 h 716437"/>
                <a:gd name="connsiteX25" fmla="*/ 28280 w 513760"/>
                <a:gd name="connsiteY25" fmla="*/ 617455 h 716437"/>
                <a:gd name="connsiteX26" fmla="*/ 18854 w 513760"/>
                <a:gd name="connsiteY26" fmla="*/ 664590 h 716437"/>
                <a:gd name="connsiteX27" fmla="*/ 0 w 513760"/>
                <a:gd name="connsiteY27" fmla="*/ 716437 h 716437"/>
                <a:gd name="connsiteX0" fmla="*/ 513760 w 513760"/>
                <a:gd name="connsiteY0" fmla="*/ 0 h 716437"/>
                <a:gd name="connsiteX1" fmla="*/ 485480 w 513760"/>
                <a:gd name="connsiteY1" fmla="*/ 37707 h 716437"/>
                <a:gd name="connsiteX2" fmla="*/ 476053 w 513760"/>
                <a:gd name="connsiteY2" fmla="*/ 65987 h 716437"/>
                <a:gd name="connsiteX3" fmla="*/ 471340 w 513760"/>
                <a:gd name="connsiteY3" fmla="*/ 108408 h 716437"/>
                <a:gd name="connsiteX4" fmla="*/ 447773 w 513760"/>
                <a:gd name="connsiteY4" fmla="*/ 150829 h 716437"/>
                <a:gd name="connsiteX5" fmla="*/ 433633 w 513760"/>
                <a:gd name="connsiteY5" fmla="*/ 179109 h 716437"/>
                <a:gd name="connsiteX6" fmla="*/ 419492 w 513760"/>
                <a:gd name="connsiteY6" fmla="*/ 207389 h 716437"/>
                <a:gd name="connsiteX7" fmla="*/ 419492 w 513760"/>
                <a:gd name="connsiteY7" fmla="*/ 259237 h 716437"/>
                <a:gd name="connsiteX8" fmla="*/ 410066 w 513760"/>
                <a:gd name="connsiteY8" fmla="*/ 306371 h 716437"/>
                <a:gd name="connsiteX9" fmla="*/ 405352 w 513760"/>
                <a:gd name="connsiteY9" fmla="*/ 320511 h 716437"/>
                <a:gd name="connsiteX10" fmla="*/ 391212 w 513760"/>
                <a:gd name="connsiteY10" fmla="*/ 329938 h 716437"/>
                <a:gd name="connsiteX11" fmla="*/ 381785 w 513760"/>
                <a:gd name="connsiteY11" fmla="*/ 344078 h 716437"/>
                <a:gd name="connsiteX12" fmla="*/ 367645 w 513760"/>
                <a:gd name="connsiteY12" fmla="*/ 353505 h 716437"/>
                <a:gd name="connsiteX13" fmla="*/ 362932 w 513760"/>
                <a:gd name="connsiteY13" fmla="*/ 367645 h 716437"/>
                <a:gd name="connsiteX14" fmla="*/ 329938 w 513760"/>
                <a:gd name="connsiteY14" fmla="*/ 405352 h 716437"/>
                <a:gd name="connsiteX15" fmla="*/ 306371 w 513760"/>
                <a:gd name="connsiteY15" fmla="*/ 428919 h 716437"/>
                <a:gd name="connsiteX16" fmla="*/ 249810 w 513760"/>
                <a:gd name="connsiteY16" fmla="*/ 476053 h 716437"/>
                <a:gd name="connsiteX17" fmla="*/ 207389 w 513760"/>
                <a:gd name="connsiteY17" fmla="*/ 490194 h 716437"/>
                <a:gd name="connsiteX18" fmla="*/ 193249 w 513760"/>
                <a:gd name="connsiteY18" fmla="*/ 494907 h 716437"/>
                <a:gd name="connsiteX19" fmla="*/ 179109 w 513760"/>
                <a:gd name="connsiteY19" fmla="*/ 504334 h 716437"/>
                <a:gd name="connsiteX20" fmla="*/ 150828 w 513760"/>
                <a:gd name="connsiteY20" fmla="*/ 513761 h 716437"/>
                <a:gd name="connsiteX21" fmla="*/ 122548 w 513760"/>
                <a:gd name="connsiteY21" fmla="*/ 532614 h 716437"/>
                <a:gd name="connsiteX22" fmla="*/ 108408 w 513760"/>
                <a:gd name="connsiteY22" fmla="*/ 537328 h 716437"/>
                <a:gd name="connsiteX23" fmla="*/ 89554 w 513760"/>
                <a:gd name="connsiteY23" fmla="*/ 542041 h 716437"/>
                <a:gd name="connsiteX24" fmla="*/ 51847 w 513760"/>
                <a:gd name="connsiteY24" fmla="*/ 575035 h 716437"/>
                <a:gd name="connsiteX25" fmla="*/ 47133 w 513760"/>
                <a:gd name="connsiteY25" fmla="*/ 617455 h 716437"/>
                <a:gd name="connsiteX26" fmla="*/ 18854 w 513760"/>
                <a:gd name="connsiteY26" fmla="*/ 664590 h 716437"/>
                <a:gd name="connsiteX27" fmla="*/ 0 w 513760"/>
                <a:gd name="connsiteY27" fmla="*/ 716437 h 716437"/>
                <a:gd name="connsiteX0" fmla="*/ 513760 w 513760"/>
                <a:gd name="connsiteY0" fmla="*/ 0 h 716437"/>
                <a:gd name="connsiteX1" fmla="*/ 485480 w 513760"/>
                <a:gd name="connsiteY1" fmla="*/ 37707 h 716437"/>
                <a:gd name="connsiteX2" fmla="*/ 476053 w 513760"/>
                <a:gd name="connsiteY2" fmla="*/ 65987 h 716437"/>
                <a:gd name="connsiteX3" fmla="*/ 471340 w 513760"/>
                <a:gd name="connsiteY3" fmla="*/ 108408 h 716437"/>
                <a:gd name="connsiteX4" fmla="*/ 447773 w 513760"/>
                <a:gd name="connsiteY4" fmla="*/ 150829 h 716437"/>
                <a:gd name="connsiteX5" fmla="*/ 433633 w 513760"/>
                <a:gd name="connsiteY5" fmla="*/ 179109 h 716437"/>
                <a:gd name="connsiteX6" fmla="*/ 419492 w 513760"/>
                <a:gd name="connsiteY6" fmla="*/ 207389 h 716437"/>
                <a:gd name="connsiteX7" fmla="*/ 419492 w 513760"/>
                <a:gd name="connsiteY7" fmla="*/ 259237 h 716437"/>
                <a:gd name="connsiteX8" fmla="*/ 410066 w 513760"/>
                <a:gd name="connsiteY8" fmla="*/ 306371 h 716437"/>
                <a:gd name="connsiteX9" fmla="*/ 405352 w 513760"/>
                <a:gd name="connsiteY9" fmla="*/ 320511 h 716437"/>
                <a:gd name="connsiteX10" fmla="*/ 391212 w 513760"/>
                <a:gd name="connsiteY10" fmla="*/ 329938 h 716437"/>
                <a:gd name="connsiteX11" fmla="*/ 381785 w 513760"/>
                <a:gd name="connsiteY11" fmla="*/ 344078 h 716437"/>
                <a:gd name="connsiteX12" fmla="*/ 367645 w 513760"/>
                <a:gd name="connsiteY12" fmla="*/ 353505 h 716437"/>
                <a:gd name="connsiteX13" fmla="*/ 362932 w 513760"/>
                <a:gd name="connsiteY13" fmla="*/ 367645 h 716437"/>
                <a:gd name="connsiteX14" fmla="*/ 329938 w 513760"/>
                <a:gd name="connsiteY14" fmla="*/ 405352 h 716437"/>
                <a:gd name="connsiteX15" fmla="*/ 306371 w 513760"/>
                <a:gd name="connsiteY15" fmla="*/ 428919 h 716437"/>
                <a:gd name="connsiteX16" fmla="*/ 249810 w 513760"/>
                <a:gd name="connsiteY16" fmla="*/ 476053 h 716437"/>
                <a:gd name="connsiteX17" fmla="*/ 207389 w 513760"/>
                <a:gd name="connsiteY17" fmla="*/ 490194 h 716437"/>
                <a:gd name="connsiteX18" fmla="*/ 193249 w 513760"/>
                <a:gd name="connsiteY18" fmla="*/ 494907 h 716437"/>
                <a:gd name="connsiteX19" fmla="*/ 179109 w 513760"/>
                <a:gd name="connsiteY19" fmla="*/ 504334 h 716437"/>
                <a:gd name="connsiteX20" fmla="*/ 150828 w 513760"/>
                <a:gd name="connsiteY20" fmla="*/ 513761 h 716437"/>
                <a:gd name="connsiteX21" fmla="*/ 122548 w 513760"/>
                <a:gd name="connsiteY21" fmla="*/ 532614 h 716437"/>
                <a:gd name="connsiteX22" fmla="*/ 108408 w 513760"/>
                <a:gd name="connsiteY22" fmla="*/ 537328 h 716437"/>
                <a:gd name="connsiteX23" fmla="*/ 89554 w 513760"/>
                <a:gd name="connsiteY23" fmla="*/ 542041 h 716437"/>
                <a:gd name="connsiteX24" fmla="*/ 70700 w 513760"/>
                <a:gd name="connsiteY24" fmla="*/ 570322 h 716437"/>
                <a:gd name="connsiteX25" fmla="*/ 47133 w 513760"/>
                <a:gd name="connsiteY25" fmla="*/ 617455 h 716437"/>
                <a:gd name="connsiteX26" fmla="*/ 18854 w 513760"/>
                <a:gd name="connsiteY26" fmla="*/ 664590 h 716437"/>
                <a:gd name="connsiteX27" fmla="*/ 0 w 513760"/>
                <a:gd name="connsiteY27" fmla="*/ 716437 h 716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3760" h="716437">
                  <a:moveTo>
                    <a:pt x="513760" y="0"/>
                  </a:moveTo>
                  <a:cubicBezTo>
                    <a:pt x="511359" y="3002"/>
                    <a:pt x="489231" y="29268"/>
                    <a:pt x="485480" y="37707"/>
                  </a:cubicBezTo>
                  <a:cubicBezTo>
                    <a:pt x="481444" y="46787"/>
                    <a:pt x="476053" y="65987"/>
                    <a:pt x="476053" y="65987"/>
                  </a:cubicBezTo>
                  <a:cubicBezTo>
                    <a:pt x="474482" y="80127"/>
                    <a:pt x="473679" y="94374"/>
                    <a:pt x="471340" y="108408"/>
                  </a:cubicBezTo>
                  <a:cubicBezTo>
                    <a:pt x="466604" y="136823"/>
                    <a:pt x="461261" y="110371"/>
                    <a:pt x="447773" y="150829"/>
                  </a:cubicBezTo>
                  <a:cubicBezTo>
                    <a:pt x="435924" y="186371"/>
                    <a:pt x="451907" y="142561"/>
                    <a:pt x="433633" y="179109"/>
                  </a:cubicBezTo>
                  <a:cubicBezTo>
                    <a:pt x="414123" y="218129"/>
                    <a:pt x="446502" y="166875"/>
                    <a:pt x="419492" y="207389"/>
                  </a:cubicBezTo>
                  <a:cubicBezTo>
                    <a:pt x="407151" y="244419"/>
                    <a:pt x="423400" y="188884"/>
                    <a:pt x="419492" y="259237"/>
                  </a:cubicBezTo>
                  <a:cubicBezTo>
                    <a:pt x="418603" y="275235"/>
                    <a:pt x="413669" y="290759"/>
                    <a:pt x="410066" y="306371"/>
                  </a:cubicBezTo>
                  <a:cubicBezTo>
                    <a:pt x="408949" y="311212"/>
                    <a:pt x="408456" y="316631"/>
                    <a:pt x="405352" y="320511"/>
                  </a:cubicBezTo>
                  <a:cubicBezTo>
                    <a:pt x="401813" y="324934"/>
                    <a:pt x="395925" y="326796"/>
                    <a:pt x="391212" y="329938"/>
                  </a:cubicBezTo>
                  <a:cubicBezTo>
                    <a:pt x="388070" y="334651"/>
                    <a:pt x="385791" y="340072"/>
                    <a:pt x="381785" y="344078"/>
                  </a:cubicBezTo>
                  <a:cubicBezTo>
                    <a:pt x="377779" y="348084"/>
                    <a:pt x="371184" y="349081"/>
                    <a:pt x="367645" y="353505"/>
                  </a:cubicBezTo>
                  <a:cubicBezTo>
                    <a:pt x="364541" y="357385"/>
                    <a:pt x="365345" y="363302"/>
                    <a:pt x="362932" y="367645"/>
                  </a:cubicBezTo>
                  <a:cubicBezTo>
                    <a:pt x="346758" y="396758"/>
                    <a:pt x="350594" y="391582"/>
                    <a:pt x="329938" y="405352"/>
                  </a:cubicBezTo>
                  <a:cubicBezTo>
                    <a:pt x="310512" y="434492"/>
                    <a:pt x="332081" y="406066"/>
                    <a:pt x="306371" y="428919"/>
                  </a:cubicBezTo>
                  <a:cubicBezTo>
                    <a:pt x="290618" y="442922"/>
                    <a:pt x="271729" y="468746"/>
                    <a:pt x="249810" y="476053"/>
                  </a:cubicBezTo>
                  <a:lnTo>
                    <a:pt x="207389" y="490194"/>
                  </a:lnTo>
                  <a:lnTo>
                    <a:pt x="193249" y="494907"/>
                  </a:lnTo>
                  <a:cubicBezTo>
                    <a:pt x="188536" y="498049"/>
                    <a:pt x="184286" y="502033"/>
                    <a:pt x="179109" y="504334"/>
                  </a:cubicBezTo>
                  <a:cubicBezTo>
                    <a:pt x="170029" y="508370"/>
                    <a:pt x="159096" y="508249"/>
                    <a:pt x="150828" y="513761"/>
                  </a:cubicBezTo>
                  <a:cubicBezTo>
                    <a:pt x="141401" y="520045"/>
                    <a:pt x="133296" y="529031"/>
                    <a:pt x="122548" y="532614"/>
                  </a:cubicBezTo>
                  <a:cubicBezTo>
                    <a:pt x="117835" y="534185"/>
                    <a:pt x="113907" y="535757"/>
                    <a:pt x="108408" y="537328"/>
                  </a:cubicBezTo>
                  <a:cubicBezTo>
                    <a:pt x="102909" y="538899"/>
                    <a:pt x="128791" y="532231"/>
                    <a:pt x="89554" y="542041"/>
                  </a:cubicBezTo>
                  <a:cubicBezTo>
                    <a:pt x="75415" y="551467"/>
                    <a:pt x="77770" y="557753"/>
                    <a:pt x="70700" y="570322"/>
                  </a:cubicBezTo>
                  <a:cubicBezTo>
                    <a:pt x="63630" y="582891"/>
                    <a:pt x="55774" y="601744"/>
                    <a:pt x="47133" y="617455"/>
                  </a:cubicBezTo>
                  <a:cubicBezTo>
                    <a:pt x="38492" y="633166"/>
                    <a:pt x="26710" y="648093"/>
                    <a:pt x="18854" y="664590"/>
                  </a:cubicBezTo>
                  <a:cubicBezTo>
                    <a:pt x="10999" y="681087"/>
                    <a:pt x="4910" y="698762"/>
                    <a:pt x="0" y="716437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39" name="Forma livre 478"/>
            <p:cNvSpPr/>
            <p:nvPr/>
          </p:nvSpPr>
          <p:spPr>
            <a:xfrm>
              <a:off x="4996206" y="3973398"/>
              <a:ext cx="329938" cy="254524"/>
            </a:xfrm>
            <a:custGeom>
              <a:avLst/>
              <a:gdLst>
                <a:gd name="connsiteX0" fmla="*/ 0 w 329938"/>
                <a:gd name="connsiteY0" fmla="*/ 254524 h 254524"/>
                <a:gd name="connsiteX1" fmla="*/ 23567 w 329938"/>
                <a:gd name="connsiteY1" fmla="*/ 240383 h 254524"/>
                <a:gd name="connsiteX2" fmla="*/ 51848 w 329938"/>
                <a:gd name="connsiteY2" fmla="*/ 230957 h 254524"/>
                <a:gd name="connsiteX3" fmla="*/ 65988 w 329938"/>
                <a:gd name="connsiteY3" fmla="*/ 226243 h 254524"/>
                <a:gd name="connsiteX4" fmla="*/ 80128 w 329938"/>
                <a:gd name="connsiteY4" fmla="*/ 216816 h 254524"/>
                <a:gd name="connsiteX5" fmla="*/ 108408 w 329938"/>
                <a:gd name="connsiteY5" fmla="*/ 207390 h 254524"/>
                <a:gd name="connsiteX6" fmla="*/ 122549 w 329938"/>
                <a:gd name="connsiteY6" fmla="*/ 197963 h 254524"/>
                <a:gd name="connsiteX7" fmla="*/ 127262 w 329938"/>
                <a:gd name="connsiteY7" fmla="*/ 174396 h 254524"/>
                <a:gd name="connsiteX8" fmla="*/ 164969 w 329938"/>
                <a:gd name="connsiteY8" fmla="*/ 169682 h 254524"/>
                <a:gd name="connsiteX9" fmla="*/ 183823 w 329938"/>
                <a:gd name="connsiteY9" fmla="*/ 150829 h 254524"/>
                <a:gd name="connsiteX10" fmla="*/ 202676 w 329938"/>
                <a:gd name="connsiteY10" fmla="*/ 122548 h 254524"/>
                <a:gd name="connsiteX11" fmla="*/ 207390 w 329938"/>
                <a:gd name="connsiteY11" fmla="*/ 103695 h 254524"/>
                <a:gd name="connsiteX12" fmla="*/ 212103 w 329938"/>
                <a:gd name="connsiteY12" fmla="*/ 56561 h 254524"/>
                <a:gd name="connsiteX13" fmla="*/ 226243 w 329938"/>
                <a:gd name="connsiteY13" fmla="*/ 51847 h 254524"/>
                <a:gd name="connsiteX14" fmla="*/ 240384 w 329938"/>
                <a:gd name="connsiteY14" fmla="*/ 42421 h 254524"/>
                <a:gd name="connsiteX15" fmla="*/ 254524 w 329938"/>
                <a:gd name="connsiteY15" fmla="*/ 14140 h 254524"/>
                <a:gd name="connsiteX16" fmla="*/ 268664 w 329938"/>
                <a:gd name="connsiteY16" fmla="*/ 4713 h 254524"/>
                <a:gd name="connsiteX17" fmla="*/ 282804 w 329938"/>
                <a:gd name="connsiteY17" fmla="*/ 9427 h 254524"/>
                <a:gd name="connsiteX18" fmla="*/ 301658 w 329938"/>
                <a:gd name="connsiteY18" fmla="*/ 28280 h 254524"/>
                <a:gd name="connsiteX19" fmla="*/ 315798 w 329938"/>
                <a:gd name="connsiteY19" fmla="*/ 18854 h 254524"/>
                <a:gd name="connsiteX20" fmla="*/ 325225 w 329938"/>
                <a:gd name="connsiteY20" fmla="*/ 4713 h 254524"/>
                <a:gd name="connsiteX21" fmla="*/ 329938 w 329938"/>
                <a:gd name="connsiteY21" fmla="*/ 0 h 254524"/>
                <a:gd name="connsiteX0" fmla="*/ 0 w 329938"/>
                <a:gd name="connsiteY0" fmla="*/ 254524 h 254524"/>
                <a:gd name="connsiteX1" fmla="*/ 23567 w 329938"/>
                <a:gd name="connsiteY1" fmla="*/ 240383 h 254524"/>
                <a:gd name="connsiteX2" fmla="*/ 51848 w 329938"/>
                <a:gd name="connsiteY2" fmla="*/ 230957 h 254524"/>
                <a:gd name="connsiteX3" fmla="*/ 65988 w 329938"/>
                <a:gd name="connsiteY3" fmla="*/ 226243 h 254524"/>
                <a:gd name="connsiteX4" fmla="*/ 80128 w 329938"/>
                <a:gd name="connsiteY4" fmla="*/ 216816 h 254524"/>
                <a:gd name="connsiteX5" fmla="*/ 108408 w 329938"/>
                <a:gd name="connsiteY5" fmla="*/ 207390 h 254524"/>
                <a:gd name="connsiteX6" fmla="*/ 122549 w 329938"/>
                <a:gd name="connsiteY6" fmla="*/ 197963 h 254524"/>
                <a:gd name="connsiteX7" fmla="*/ 127262 w 329938"/>
                <a:gd name="connsiteY7" fmla="*/ 174396 h 254524"/>
                <a:gd name="connsiteX8" fmla="*/ 164969 w 329938"/>
                <a:gd name="connsiteY8" fmla="*/ 169682 h 254524"/>
                <a:gd name="connsiteX9" fmla="*/ 202676 w 329938"/>
                <a:gd name="connsiteY9" fmla="*/ 122548 h 254524"/>
                <a:gd name="connsiteX10" fmla="*/ 207390 w 329938"/>
                <a:gd name="connsiteY10" fmla="*/ 103695 h 254524"/>
                <a:gd name="connsiteX11" fmla="*/ 212103 w 329938"/>
                <a:gd name="connsiteY11" fmla="*/ 56561 h 254524"/>
                <a:gd name="connsiteX12" fmla="*/ 226243 w 329938"/>
                <a:gd name="connsiteY12" fmla="*/ 51847 h 254524"/>
                <a:gd name="connsiteX13" fmla="*/ 240384 w 329938"/>
                <a:gd name="connsiteY13" fmla="*/ 42421 h 254524"/>
                <a:gd name="connsiteX14" fmla="*/ 254524 w 329938"/>
                <a:gd name="connsiteY14" fmla="*/ 14140 h 254524"/>
                <a:gd name="connsiteX15" fmla="*/ 268664 w 329938"/>
                <a:gd name="connsiteY15" fmla="*/ 4713 h 254524"/>
                <a:gd name="connsiteX16" fmla="*/ 282804 w 329938"/>
                <a:gd name="connsiteY16" fmla="*/ 9427 h 254524"/>
                <a:gd name="connsiteX17" fmla="*/ 301658 w 329938"/>
                <a:gd name="connsiteY17" fmla="*/ 28280 h 254524"/>
                <a:gd name="connsiteX18" fmla="*/ 315798 w 329938"/>
                <a:gd name="connsiteY18" fmla="*/ 18854 h 254524"/>
                <a:gd name="connsiteX19" fmla="*/ 325225 w 329938"/>
                <a:gd name="connsiteY19" fmla="*/ 4713 h 254524"/>
                <a:gd name="connsiteX20" fmla="*/ 329938 w 329938"/>
                <a:gd name="connsiteY20" fmla="*/ 0 h 254524"/>
                <a:gd name="connsiteX0" fmla="*/ 0 w 329938"/>
                <a:gd name="connsiteY0" fmla="*/ 254524 h 254524"/>
                <a:gd name="connsiteX1" fmla="*/ 23567 w 329938"/>
                <a:gd name="connsiteY1" fmla="*/ 240383 h 254524"/>
                <a:gd name="connsiteX2" fmla="*/ 51848 w 329938"/>
                <a:gd name="connsiteY2" fmla="*/ 230957 h 254524"/>
                <a:gd name="connsiteX3" fmla="*/ 65988 w 329938"/>
                <a:gd name="connsiteY3" fmla="*/ 226243 h 254524"/>
                <a:gd name="connsiteX4" fmla="*/ 80128 w 329938"/>
                <a:gd name="connsiteY4" fmla="*/ 216816 h 254524"/>
                <a:gd name="connsiteX5" fmla="*/ 108408 w 329938"/>
                <a:gd name="connsiteY5" fmla="*/ 207390 h 254524"/>
                <a:gd name="connsiteX6" fmla="*/ 122549 w 329938"/>
                <a:gd name="connsiteY6" fmla="*/ 197963 h 254524"/>
                <a:gd name="connsiteX7" fmla="*/ 127262 w 329938"/>
                <a:gd name="connsiteY7" fmla="*/ 174396 h 254524"/>
                <a:gd name="connsiteX8" fmla="*/ 202676 w 329938"/>
                <a:gd name="connsiteY8" fmla="*/ 122548 h 254524"/>
                <a:gd name="connsiteX9" fmla="*/ 207390 w 329938"/>
                <a:gd name="connsiteY9" fmla="*/ 103695 h 254524"/>
                <a:gd name="connsiteX10" fmla="*/ 212103 w 329938"/>
                <a:gd name="connsiteY10" fmla="*/ 56561 h 254524"/>
                <a:gd name="connsiteX11" fmla="*/ 226243 w 329938"/>
                <a:gd name="connsiteY11" fmla="*/ 51847 h 254524"/>
                <a:gd name="connsiteX12" fmla="*/ 240384 w 329938"/>
                <a:gd name="connsiteY12" fmla="*/ 42421 h 254524"/>
                <a:gd name="connsiteX13" fmla="*/ 254524 w 329938"/>
                <a:gd name="connsiteY13" fmla="*/ 14140 h 254524"/>
                <a:gd name="connsiteX14" fmla="*/ 268664 w 329938"/>
                <a:gd name="connsiteY14" fmla="*/ 4713 h 254524"/>
                <a:gd name="connsiteX15" fmla="*/ 282804 w 329938"/>
                <a:gd name="connsiteY15" fmla="*/ 9427 h 254524"/>
                <a:gd name="connsiteX16" fmla="*/ 301658 w 329938"/>
                <a:gd name="connsiteY16" fmla="*/ 28280 h 254524"/>
                <a:gd name="connsiteX17" fmla="*/ 315798 w 329938"/>
                <a:gd name="connsiteY17" fmla="*/ 18854 h 254524"/>
                <a:gd name="connsiteX18" fmla="*/ 325225 w 329938"/>
                <a:gd name="connsiteY18" fmla="*/ 4713 h 254524"/>
                <a:gd name="connsiteX19" fmla="*/ 329938 w 329938"/>
                <a:gd name="connsiteY19" fmla="*/ 0 h 254524"/>
                <a:gd name="connsiteX0" fmla="*/ 0 w 329938"/>
                <a:gd name="connsiteY0" fmla="*/ 254524 h 254524"/>
                <a:gd name="connsiteX1" fmla="*/ 23567 w 329938"/>
                <a:gd name="connsiteY1" fmla="*/ 240383 h 254524"/>
                <a:gd name="connsiteX2" fmla="*/ 51848 w 329938"/>
                <a:gd name="connsiteY2" fmla="*/ 230957 h 254524"/>
                <a:gd name="connsiteX3" fmla="*/ 65988 w 329938"/>
                <a:gd name="connsiteY3" fmla="*/ 226243 h 254524"/>
                <a:gd name="connsiteX4" fmla="*/ 80128 w 329938"/>
                <a:gd name="connsiteY4" fmla="*/ 216816 h 254524"/>
                <a:gd name="connsiteX5" fmla="*/ 108408 w 329938"/>
                <a:gd name="connsiteY5" fmla="*/ 207390 h 254524"/>
                <a:gd name="connsiteX6" fmla="*/ 122549 w 329938"/>
                <a:gd name="connsiteY6" fmla="*/ 197963 h 254524"/>
                <a:gd name="connsiteX7" fmla="*/ 155543 w 329938"/>
                <a:gd name="connsiteY7" fmla="*/ 164969 h 254524"/>
                <a:gd name="connsiteX8" fmla="*/ 202676 w 329938"/>
                <a:gd name="connsiteY8" fmla="*/ 122548 h 254524"/>
                <a:gd name="connsiteX9" fmla="*/ 207390 w 329938"/>
                <a:gd name="connsiteY9" fmla="*/ 103695 h 254524"/>
                <a:gd name="connsiteX10" fmla="*/ 212103 w 329938"/>
                <a:gd name="connsiteY10" fmla="*/ 56561 h 254524"/>
                <a:gd name="connsiteX11" fmla="*/ 226243 w 329938"/>
                <a:gd name="connsiteY11" fmla="*/ 51847 h 254524"/>
                <a:gd name="connsiteX12" fmla="*/ 240384 w 329938"/>
                <a:gd name="connsiteY12" fmla="*/ 42421 h 254524"/>
                <a:gd name="connsiteX13" fmla="*/ 254524 w 329938"/>
                <a:gd name="connsiteY13" fmla="*/ 14140 h 254524"/>
                <a:gd name="connsiteX14" fmla="*/ 268664 w 329938"/>
                <a:gd name="connsiteY14" fmla="*/ 4713 h 254524"/>
                <a:gd name="connsiteX15" fmla="*/ 282804 w 329938"/>
                <a:gd name="connsiteY15" fmla="*/ 9427 h 254524"/>
                <a:gd name="connsiteX16" fmla="*/ 301658 w 329938"/>
                <a:gd name="connsiteY16" fmla="*/ 28280 h 254524"/>
                <a:gd name="connsiteX17" fmla="*/ 315798 w 329938"/>
                <a:gd name="connsiteY17" fmla="*/ 18854 h 254524"/>
                <a:gd name="connsiteX18" fmla="*/ 325225 w 329938"/>
                <a:gd name="connsiteY18" fmla="*/ 4713 h 254524"/>
                <a:gd name="connsiteX19" fmla="*/ 329938 w 329938"/>
                <a:gd name="connsiteY19" fmla="*/ 0 h 254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29938" h="254524">
                  <a:moveTo>
                    <a:pt x="0" y="254524"/>
                  </a:moveTo>
                  <a:cubicBezTo>
                    <a:pt x="7856" y="249810"/>
                    <a:pt x="15227" y="244174"/>
                    <a:pt x="23567" y="240383"/>
                  </a:cubicBezTo>
                  <a:cubicBezTo>
                    <a:pt x="32613" y="236271"/>
                    <a:pt x="42421" y="234099"/>
                    <a:pt x="51848" y="230957"/>
                  </a:cubicBezTo>
                  <a:cubicBezTo>
                    <a:pt x="56561" y="229386"/>
                    <a:pt x="61854" y="228999"/>
                    <a:pt x="65988" y="226243"/>
                  </a:cubicBezTo>
                  <a:cubicBezTo>
                    <a:pt x="70701" y="223101"/>
                    <a:pt x="74951" y="219117"/>
                    <a:pt x="80128" y="216816"/>
                  </a:cubicBezTo>
                  <a:cubicBezTo>
                    <a:pt x="89208" y="212780"/>
                    <a:pt x="108408" y="207390"/>
                    <a:pt x="108408" y="207390"/>
                  </a:cubicBezTo>
                  <a:cubicBezTo>
                    <a:pt x="113122" y="204248"/>
                    <a:pt x="114693" y="205033"/>
                    <a:pt x="122549" y="197963"/>
                  </a:cubicBezTo>
                  <a:cubicBezTo>
                    <a:pt x="130405" y="190893"/>
                    <a:pt x="142189" y="177538"/>
                    <a:pt x="155543" y="164969"/>
                  </a:cubicBezTo>
                  <a:cubicBezTo>
                    <a:pt x="168898" y="152400"/>
                    <a:pt x="194035" y="132760"/>
                    <a:pt x="202676" y="122548"/>
                  </a:cubicBezTo>
                  <a:cubicBezTo>
                    <a:pt x="211317" y="112336"/>
                    <a:pt x="206474" y="110108"/>
                    <a:pt x="207390" y="103695"/>
                  </a:cubicBezTo>
                  <a:cubicBezTo>
                    <a:pt x="209623" y="88064"/>
                    <a:pt x="206707" y="71400"/>
                    <a:pt x="212103" y="56561"/>
                  </a:cubicBezTo>
                  <a:cubicBezTo>
                    <a:pt x="213801" y="51892"/>
                    <a:pt x="221799" y="54069"/>
                    <a:pt x="226243" y="51847"/>
                  </a:cubicBezTo>
                  <a:cubicBezTo>
                    <a:pt x="231310" y="49314"/>
                    <a:pt x="235670" y="45563"/>
                    <a:pt x="240384" y="42421"/>
                  </a:cubicBezTo>
                  <a:cubicBezTo>
                    <a:pt x="244218" y="30919"/>
                    <a:pt x="245386" y="23278"/>
                    <a:pt x="254524" y="14140"/>
                  </a:cubicBezTo>
                  <a:cubicBezTo>
                    <a:pt x="258530" y="10134"/>
                    <a:pt x="263951" y="7855"/>
                    <a:pt x="268664" y="4713"/>
                  </a:cubicBezTo>
                  <a:cubicBezTo>
                    <a:pt x="273377" y="6284"/>
                    <a:pt x="279291" y="5914"/>
                    <a:pt x="282804" y="9427"/>
                  </a:cubicBezTo>
                  <a:cubicBezTo>
                    <a:pt x="307941" y="34564"/>
                    <a:pt x="263954" y="15713"/>
                    <a:pt x="301658" y="28280"/>
                  </a:cubicBezTo>
                  <a:cubicBezTo>
                    <a:pt x="306371" y="25138"/>
                    <a:pt x="311793" y="22859"/>
                    <a:pt x="315798" y="18854"/>
                  </a:cubicBezTo>
                  <a:cubicBezTo>
                    <a:pt x="319804" y="14848"/>
                    <a:pt x="321826" y="9245"/>
                    <a:pt x="325225" y="4713"/>
                  </a:cubicBezTo>
                  <a:cubicBezTo>
                    <a:pt x="326558" y="2936"/>
                    <a:pt x="328367" y="1571"/>
                    <a:pt x="329938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0" name="Forma livre 479"/>
            <p:cNvSpPr/>
            <p:nvPr/>
          </p:nvSpPr>
          <p:spPr>
            <a:xfrm>
              <a:off x="5349711" y="3812649"/>
              <a:ext cx="278091" cy="104358"/>
            </a:xfrm>
            <a:custGeom>
              <a:avLst/>
              <a:gdLst>
                <a:gd name="connsiteX0" fmla="*/ 0 w 278091"/>
                <a:gd name="connsiteY0" fmla="*/ 99475 h 104358"/>
                <a:gd name="connsiteX1" fmla="*/ 70701 w 278091"/>
                <a:gd name="connsiteY1" fmla="*/ 99475 h 104358"/>
                <a:gd name="connsiteX2" fmla="*/ 80128 w 278091"/>
                <a:gd name="connsiteY2" fmla="*/ 85335 h 104358"/>
                <a:gd name="connsiteX3" fmla="*/ 94268 w 278091"/>
                <a:gd name="connsiteY3" fmla="*/ 75908 h 104358"/>
                <a:gd name="connsiteX4" fmla="*/ 155543 w 278091"/>
                <a:gd name="connsiteY4" fmla="*/ 66481 h 104358"/>
                <a:gd name="connsiteX5" fmla="*/ 179110 w 278091"/>
                <a:gd name="connsiteY5" fmla="*/ 47627 h 104358"/>
                <a:gd name="connsiteX6" fmla="*/ 207390 w 278091"/>
                <a:gd name="connsiteY6" fmla="*/ 38200 h 104358"/>
                <a:gd name="connsiteX7" fmla="*/ 249811 w 278091"/>
                <a:gd name="connsiteY7" fmla="*/ 28774 h 104358"/>
                <a:gd name="connsiteX8" fmla="*/ 263951 w 278091"/>
                <a:gd name="connsiteY8" fmla="*/ 14633 h 104358"/>
                <a:gd name="connsiteX9" fmla="*/ 273378 w 278091"/>
                <a:gd name="connsiteY9" fmla="*/ 493 h 104358"/>
                <a:gd name="connsiteX10" fmla="*/ 278091 w 278091"/>
                <a:gd name="connsiteY10" fmla="*/ 493 h 104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8091" h="104358">
                  <a:moveTo>
                    <a:pt x="0" y="99475"/>
                  </a:moveTo>
                  <a:cubicBezTo>
                    <a:pt x="21234" y="102129"/>
                    <a:pt x="49284" y="108993"/>
                    <a:pt x="70701" y="99475"/>
                  </a:cubicBezTo>
                  <a:cubicBezTo>
                    <a:pt x="75878" y="97174"/>
                    <a:pt x="76122" y="89341"/>
                    <a:pt x="80128" y="85335"/>
                  </a:cubicBezTo>
                  <a:cubicBezTo>
                    <a:pt x="84134" y="81329"/>
                    <a:pt x="89061" y="78140"/>
                    <a:pt x="94268" y="75908"/>
                  </a:cubicBezTo>
                  <a:cubicBezTo>
                    <a:pt x="108558" y="69784"/>
                    <a:pt x="147021" y="67428"/>
                    <a:pt x="155543" y="66481"/>
                  </a:cubicBezTo>
                  <a:cubicBezTo>
                    <a:pt x="207116" y="49288"/>
                    <a:pt x="130375" y="78087"/>
                    <a:pt x="179110" y="47627"/>
                  </a:cubicBezTo>
                  <a:cubicBezTo>
                    <a:pt x="187536" y="42361"/>
                    <a:pt x="197963" y="41342"/>
                    <a:pt x="207390" y="38200"/>
                  </a:cubicBezTo>
                  <a:cubicBezTo>
                    <a:pt x="230593" y="30466"/>
                    <a:pt x="216636" y="34303"/>
                    <a:pt x="249811" y="28774"/>
                  </a:cubicBezTo>
                  <a:cubicBezTo>
                    <a:pt x="254524" y="24060"/>
                    <a:pt x="259684" y="19754"/>
                    <a:pt x="263951" y="14633"/>
                  </a:cubicBezTo>
                  <a:cubicBezTo>
                    <a:pt x="267577" y="10281"/>
                    <a:pt x="269372" y="4499"/>
                    <a:pt x="273378" y="493"/>
                  </a:cubicBezTo>
                  <a:cubicBezTo>
                    <a:pt x="274489" y="-618"/>
                    <a:pt x="276520" y="493"/>
                    <a:pt x="278091" y="493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1" name="Forma livre 480"/>
            <p:cNvSpPr/>
            <p:nvPr/>
          </p:nvSpPr>
          <p:spPr>
            <a:xfrm>
              <a:off x="3700021" y="3242821"/>
              <a:ext cx="113121" cy="858151"/>
            </a:xfrm>
            <a:custGeom>
              <a:avLst/>
              <a:gdLst>
                <a:gd name="connsiteX0" fmla="*/ 84841 w 113121"/>
                <a:gd name="connsiteY0" fmla="*/ 0 h 858151"/>
                <a:gd name="connsiteX1" fmla="*/ 80127 w 113121"/>
                <a:gd name="connsiteY1" fmla="*/ 28280 h 858151"/>
                <a:gd name="connsiteX2" fmla="*/ 61274 w 113121"/>
                <a:gd name="connsiteY2" fmla="*/ 56560 h 858151"/>
                <a:gd name="connsiteX3" fmla="*/ 56560 w 113121"/>
                <a:gd name="connsiteY3" fmla="*/ 75414 h 858151"/>
                <a:gd name="connsiteX4" fmla="*/ 56560 w 113121"/>
                <a:gd name="connsiteY4" fmla="*/ 150828 h 858151"/>
                <a:gd name="connsiteX5" fmla="*/ 42420 w 113121"/>
                <a:gd name="connsiteY5" fmla="*/ 164969 h 858151"/>
                <a:gd name="connsiteX6" fmla="*/ 37707 w 113121"/>
                <a:gd name="connsiteY6" fmla="*/ 183822 h 858151"/>
                <a:gd name="connsiteX7" fmla="*/ 37707 w 113121"/>
                <a:gd name="connsiteY7" fmla="*/ 221530 h 858151"/>
                <a:gd name="connsiteX8" fmla="*/ 51847 w 113121"/>
                <a:gd name="connsiteY8" fmla="*/ 226243 h 858151"/>
                <a:gd name="connsiteX9" fmla="*/ 18853 w 113121"/>
                <a:gd name="connsiteY9" fmla="*/ 263950 h 858151"/>
                <a:gd name="connsiteX10" fmla="*/ 4713 w 113121"/>
                <a:gd name="connsiteY10" fmla="*/ 273377 h 858151"/>
                <a:gd name="connsiteX11" fmla="*/ 0 w 113121"/>
                <a:gd name="connsiteY11" fmla="*/ 287517 h 858151"/>
                <a:gd name="connsiteX12" fmla="*/ 14140 w 113121"/>
                <a:gd name="connsiteY12" fmla="*/ 320511 h 858151"/>
                <a:gd name="connsiteX13" fmla="*/ 28280 w 113121"/>
                <a:gd name="connsiteY13" fmla="*/ 362932 h 858151"/>
                <a:gd name="connsiteX14" fmla="*/ 32993 w 113121"/>
                <a:gd name="connsiteY14" fmla="*/ 377072 h 858151"/>
                <a:gd name="connsiteX15" fmla="*/ 18853 w 113121"/>
                <a:gd name="connsiteY15" fmla="*/ 457200 h 858151"/>
                <a:gd name="connsiteX16" fmla="*/ 9426 w 113121"/>
                <a:gd name="connsiteY16" fmla="*/ 471340 h 858151"/>
                <a:gd name="connsiteX17" fmla="*/ 23567 w 113121"/>
                <a:gd name="connsiteY17" fmla="*/ 537327 h 858151"/>
                <a:gd name="connsiteX18" fmla="*/ 28280 w 113121"/>
                <a:gd name="connsiteY18" fmla="*/ 551468 h 858151"/>
                <a:gd name="connsiteX19" fmla="*/ 32993 w 113121"/>
                <a:gd name="connsiteY19" fmla="*/ 565608 h 858151"/>
                <a:gd name="connsiteX20" fmla="*/ 61274 w 113121"/>
                <a:gd name="connsiteY20" fmla="*/ 584461 h 858151"/>
                <a:gd name="connsiteX21" fmla="*/ 75414 w 113121"/>
                <a:gd name="connsiteY21" fmla="*/ 593888 h 858151"/>
                <a:gd name="connsiteX22" fmla="*/ 89554 w 113121"/>
                <a:gd name="connsiteY22" fmla="*/ 608028 h 858151"/>
                <a:gd name="connsiteX23" fmla="*/ 94268 w 113121"/>
                <a:gd name="connsiteY23" fmla="*/ 626882 h 858151"/>
                <a:gd name="connsiteX24" fmla="*/ 103694 w 113121"/>
                <a:gd name="connsiteY24" fmla="*/ 655163 h 858151"/>
                <a:gd name="connsiteX25" fmla="*/ 94268 w 113121"/>
                <a:gd name="connsiteY25" fmla="*/ 697583 h 858151"/>
                <a:gd name="connsiteX26" fmla="*/ 84841 w 113121"/>
                <a:gd name="connsiteY26" fmla="*/ 711723 h 858151"/>
                <a:gd name="connsiteX27" fmla="*/ 84841 w 113121"/>
                <a:gd name="connsiteY27" fmla="*/ 834272 h 858151"/>
                <a:gd name="connsiteX28" fmla="*/ 108408 w 113121"/>
                <a:gd name="connsiteY28" fmla="*/ 857839 h 858151"/>
                <a:gd name="connsiteX29" fmla="*/ 113121 w 113121"/>
                <a:gd name="connsiteY29" fmla="*/ 857839 h 858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3121" h="858151">
                  <a:moveTo>
                    <a:pt x="84841" y="0"/>
                  </a:moveTo>
                  <a:cubicBezTo>
                    <a:pt x="83270" y="9427"/>
                    <a:pt x="83803" y="19458"/>
                    <a:pt x="80127" y="28280"/>
                  </a:cubicBezTo>
                  <a:cubicBezTo>
                    <a:pt x="75769" y="38738"/>
                    <a:pt x="61274" y="56560"/>
                    <a:pt x="61274" y="56560"/>
                  </a:cubicBezTo>
                  <a:cubicBezTo>
                    <a:pt x="59703" y="62845"/>
                    <a:pt x="56560" y="68936"/>
                    <a:pt x="56560" y="75414"/>
                  </a:cubicBezTo>
                  <a:cubicBezTo>
                    <a:pt x="56560" y="99521"/>
                    <a:pt x="67299" y="126666"/>
                    <a:pt x="56560" y="150828"/>
                  </a:cubicBezTo>
                  <a:cubicBezTo>
                    <a:pt x="53853" y="156919"/>
                    <a:pt x="47133" y="160255"/>
                    <a:pt x="42420" y="164969"/>
                  </a:cubicBezTo>
                  <a:cubicBezTo>
                    <a:pt x="40849" y="171253"/>
                    <a:pt x="39487" y="177594"/>
                    <a:pt x="37707" y="183822"/>
                  </a:cubicBezTo>
                  <a:cubicBezTo>
                    <a:pt x="33654" y="198008"/>
                    <a:pt x="26868" y="205272"/>
                    <a:pt x="37707" y="221530"/>
                  </a:cubicBezTo>
                  <a:cubicBezTo>
                    <a:pt x="40463" y="225664"/>
                    <a:pt x="47134" y="224672"/>
                    <a:pt x="51847" y="226243"/>
                  </a:cubicBezTo>
                  <a:cubicBezTo>
                    <a:pt x="44386" y="256089"/>
                    <a:pt x="52524" y="241503"/>
                    <a:pt x="18853" y="263950"/>
                  </a:cubicBezTo>
                  <a:lnTo>
                    <a:pt x="4713" y="273377"/>
                  </a:lnTo>
                  <a:cubicBezTo>
                    <a:pt x="3142" y="278090"/>
                    <a:pt x="0" y="282549"/>
                    <a:pt x="0" y="287517"/>
                  </a:cubicBezTo>
                  <a:cubicBezTo>
                    <a:pt x="0" y="302737"/>
                    <a:pt x="6442" y="308965"/>
                    <a:pt x="14140" y="320511"/>
                  </a:cubicBezTo>
                  <a:lnTo>
                    <a:pt x="28280" y="362932"/>
                  </a:lnTo>
                  <a:lnTo>
                    <a:pt x="32993" y="377072"/>
                  </a:lnTo>
                  <a:cubicBezTo>
                    <a:pt x="31493" y="393575"/>
                    <a:pt x="31413" y="438361"/>
                    <a:pt x="18853" y="457200"/>
                  </a:cubicBezTo>
                  <a:lnTo>
                    <a:pt x="9426" y="471340"/>
                  </a:lnTo>
                  <a:cubicBezTo>
                    <a:pt x="15373" y="518912"/>
                    <a:pt x="10134" y="497026"/>
                    <a:pt x="23567" y="537327"/>
                  </a:cubicBezTo>
                  <a:lnTo>
                    <a:pt x="28280" y="551468"/>
                  </a:lnTo>
                  <a:cubicBezTo>
                    <a:pt x="29851" y="556181"/>
                    <a:pt x="28859" y="562852"/>
                    <a:pt x="32993" y="565608"/>
                  </a:cubicBezTo>
                  <a:lnTo>
                    <a:pt x="61274" y="584461"/>
                  </a:lnTo>
                  <a:cubicBezTo>
                    <a:pt x="65987" y="587603"/>
                    <a:pt x="71408" y="589882"/>
                    <a:pt x="75414" y="593888"/>
                  </a:cubicBezTo>
                  <a:lnTo>
                    <a:pt x="89554" y="608028"/>
                  </a:lnTo>
                  <a:cubicBezTo>
                    <a:pt x="91125" y="614313"/>
                    <a:pt x="92407" y="620677"/>
                    <a:pt x="94268" y="626882"/>
                  </a:cubicBezTo>
                  <a:cubicBezTo>
                    <a:pt x="97123" y="636400"/>
                    <a:pt x="103694" y="655163"/>
                    <a:pt x="103694" y="655163"/>
                  </a:cubicBezTo>
                  <a:cubicBezTo>
                    <a:pt x="101884" y="666022"/>
                    <a:pt x="100069" y="685981"/>
                    <a:pt x="94268" y="697583"/>
                  </a:cubicBezTo>
                  <a:cubicBezTo>
                    <a:pt x="91735" y="702650"/>
                    <a:pt x="87983" y="707010"/>
                    <a:pt x="84841" y="711723"/>
                  </a:cubicBezTo>
                  <a:cubicBezTo>
                    <a:pt x="79735" y="762779"/>
                    <a:pt x="75769" y="776821"/>
                    <a:pt x="84841" y="834272"/>
                  </a:cubicBezTo>
                  <a:cubicBezTo>
                    <a:pt x="86457" y="844506"/>
                    <a:pt x="100508" y="853889"/>
                    <a:pt x="108408" y="857839"/>
                  </a:cubicBezTo>
                  <a:cubicBezTo>
                    <a:pt x="109813" y="858542"/>
                    <a:pt x="111550" y="857839"/>
                    <a:pt x="113121" y="857839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2" name="Forma livre 481"/>
            <p:cNvSpPr/>
            <p:nvPr/>
          </p:nvSpPr>
          <p:spPr>
            <a:xfrm>
              <a:off x="2785621" y="4520153"/>
              <a:ext cx="537327" cy="221529"/>
            </a:xfrm>
            <a:custGeom>
              <a:avLst/>
              <a:gdLst>
                <a:gd name="connsiteX0" fmla="*/ 0 w 537327"/>
                <a:gd name="connsiteY0" fmla="*/ 179109 h 221529"/>
                <a:gd name="connsiteX1" fmla="*/ 37707 w 537327"/>
                <a:gd name="connsiteY1" fmla="*/ 188536 h 221529"/>
                <a:gd name="connsiteX2" fmla="*/ 65987 w 537327"/>
                <a:gd name="connsiteY2" fmla="*/ 207389 h 221529"/>
                <a:gd name="connsiteX3" fmla="*/ 80127 w 537327"/>
                <a:gd name="connsiteY3" fmla="*/ 216816 h 221529"/>
                <a:gd name="connsiteX4" fmla="*/ 94268 w 537327"/>
                <a:gd name="connsiteY4" fmla="*/ 221529 h 221529"/>
                <a:gd name="connsiteX5" fmla="*/ 188536 w 537327"/>
                <a:gd name="connsiteY5" fmla="*/ 216816 h 221529"/>
                <a:gd name="connsiteX6" fmla="*/ 197963 w 537327"/>
                <a:gd name="connsiteY6" fmla="*/ 202676 h 221529"/>
                <a:gd name="connsiteX7" fmla="*/ 212103 w 537327"/>
                <a:gd name="connsiteY7" fmla="*/ 188536 h 221529"/>
                <a:gd name="connsiteX8" fmla="*/ 240383 w 537327"/>
                <a:gd name="connsiteY8" fmla="*/ 169682 h 221529"/>
                <a:gd name="connsiteX9" fmla="*/ 287517 w 537327"/>
                <a:gd name="connsiteY9" fmla="*/ 155542 h 221529"/>
                <a:gd name="connsiteX10" fmla="*/ 301657 w 537327"/>
                <a:gd name="connsiteY10" fmla="*/ 150828 h 221529"/>
                <a:gd name="connsiteX11" fmla="*/ 315798 w 537327"/>
                <a:gd name="connsiteY11" fmla="*/ 141402 h 221529"/>
                <a:gd name="connsiteX12" fmla="*/ 329938 w 537327"/>
                <a:gd name="connsiteY12" fmla="*/ 108408 h 221529"/>
                <a:gd name="connsiteX13" fmla="*/ 353505 w 537327"/>
                <a:gd name="connsiteY13" fmla="*/ 103694 h 221529"/>
                <a:gd name="connsiteX14" fmla="*/ 372358 w 537327"/>
                <a:gd name="connsiteY14" fmla="*/ 108408 h 221529"/>
                <a:gd name="connsiteX15" fmla="*/ 381785 w 537327"/>
                <a:gd name="connsiteY15" fmla="*/ 122548 h 221529"/>
                <a:gd name="connsiteX16" fmla="*/ 414779 w 537327"/>
                <a:gd name="connsiteY16" fmla="*/ 117835 h 221529"/>
                <a:gd name="connsiteX17" fmla="*/ 428919 w 537327"/>
                <a:gd name="connsiteY17" fmla="*/ 108408 h 221529"/>
                <a:gd name="connsiteX18" fmla="*/ 443059 w 537327"/>
                <a:gd name="connsiteY18" fmla="*/ 80127 h 221529"/>
                <a:gd name="connsiteX19" fmla="*/ 476053 w 537327"/>
                <a:gd name="connsiteY19" fmla="*/ 75414 h 221529"/>
                <a:gd name="connsiteX20" fmla="*/ 490193 w 537327"/>
                <a:gd name="connsiteY20" fmla="*/ 70701 h 221529"/>
                <a:gd name="connsiteX21" fmla="*/ 509047 w 537327"/>
                <a:gd name="connsiteY21" fmla="*/ 28280 h 221529"/>
                <a:gd name="connsiteX22" fmla="*/ 518474 w 537327"/>
                <a:gd name="connsiteY22" fmla="*/ 14140 h 221529"/>
                <a:gd name="connsiteX23" fmla="*/ 532614 w 537327"/>
                <a:gd name="connsiteY23" fmla="*/ 4713 h 221529"/>
                <a:gd name="connsiteX24" fmla="*/ 537327 w 537327"/>
                <a:gd name="connsiteY24" fmla="*/ 0 h 221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37327" h="221529">
                  <a:moveTo>
                    <a:pt x="0" y="179109"/>
                  </a:moveTo>
                  <a:cubicBezTo>
                    <a:pt x="6535" y="180416"/>
                    <a:pt x="29551" y="184005"/>
                    <a:pt x="37707" y="188536"/>
                  </a:cubicBezTo>
                  <a:cubicBezTo>
                    <a:pt x="47611" y="194038"/>
                    <a:pt x="56560" y="201105"/>
                    <a:pt x="65987" y="207389"/>
                  </a:cubicBezTo>
                  <a:cubicBezTo>
                    <a:pt x="70700" y="210531"/>
                    <a:pt x="74753" y="215025"/>
                    <a:pt x="80127" y="216816"/>
                  </a:cubicBezTo>
                  <a:lnTo>
                    <a:pt x="94268" y="221529"/>
                  </a:lnTo>
                  <a:cubicBezTo>
                    <a:pt x="125691" y="219958"/>
                    <a:pt x="157582" y="222444"/>
                    <a:pt x="188536" y="216816"/>
                  </a:cubicBezTo>
                  <a:cubicBezTo>
                    <a:pt x="194109" y="215803"/>
                    <a:pt x="194336" y="207028"/>
                    <a:pt x="197963" y="202676"/>
                  </a:cubicBezTo>
                  <a:cubicBezTo>
                    <a:pt x="202230" y="197555"/>
                    <a:pt x="206841" y="192628"/>
                    <a:pt x="212103" y="188536"/>
                  </a:cubicBezTo>
                  <a:cubicBezTo>
                    <a:pt x="221046" y="181580"/>
                    <a:pt x="229392" y="172430"/>
                    <a:pt x="240383" y="169682"/>
                  </a:cubicBezTo>
                  <a:cubicBezTo>
                    <a:pt x="268874" y="162560"/>
                    <a:pt x="253096" y="167016"/>
                    <a:pt x="287517" y="155542"/>
                  </a:cubicBezTo>
                  <a:cubicBezTo>
                    <a:pt x="292230" y="153971"/>
                    <a:pt x="297523" y="153584"/>
                    <a:pt x="301657" y="150828"/>
                  </a:cubicBezTo>
                  <a:lnTo>
                    <a:pt x="315798" y="141402"/>
                  </a:lnTo>
                  <a:cubicBezTo>
                    <a:pt x="317853" y="133182"/>
                    <a:pt x="320443" y="113834"/>
                    <a:pt x="329938" y="108408"/>
                  </a:cubicBezTo>
                  <a:cubicBezTo>
                    <a:pt x="336894" y="104433"/>
                    <a:pt x="345649" y="105265"/>
                    <a:pt x="353505" y="103694"/>
                  </a:cubicBezTo>
                  <a:cubicBezTo>
                    <a:pt x="359789" y="105265"/>
                    <a:pt x="366968" y="104815"/>
                    <a:pt x="372358" y="108408"/>
                  </a:cubicBezTo>
                  <a:cubicBezTo>
                    <a:pt x="377071" y="111550"/>
                    <a:pt x="376255" y="121319"/>
                    <a:pt x="381785" y="122548"/>
                  </a:cubicBezTo>
                  <a:cubicBezTo>
                    <a:pt x="392630" y="124958"/>
                    <a:pt x="403781" y="119406"/>
                    <a:pt x="414779" y="117835"/>
                  </a:cubicBezTo>
                  <a:cubicBezTo>
                    <a:pt x="419492" y="114693"/>
                    <a:pt x="425380" y="112831"/>
                    <a:pt x="428919" y="108408"/>
                  </a:cubicBezTo>
                  <a:cubicBezTo>
                    <a:pt x="435552" y="100117"/>
                    <a:pt x="430732" y="85606"/>
                    <a:pt x="443059" y="80127"/>
                  </a:cubicBezTo>
                  <a:cubicBezTo>
                    <a:pt x="453211" y="75615"/>
                    <a:pt x="465055" y="76985"/>
                    <a:pt x="476053" y="75414"/>
                  </a:cubicBezTo>
                  <a:cubicBezTo>
                    <a:pt x="480766" y="73843"/>
                    <a:pt x="486313" y="73805"/>
                    <a:pt x="490193" y="70701"/>
                  </a:cubicBezTo>
                  <a:cubicBezTo>
                    <a:pt x="503897" y="59737"/>
                    <a:pt x="499994" y="41859"/>
                    <a:pt x="509047" y="28280"/>
                  </a:cubicBezTo>
                  <a:cubicBezTo>
                    <a:pt x="512189" y="23567"/>
                    <a:pt x="514468" y="18146"/>
                    <a:pt x="518474" y="14140"/>
                  </a:cubicBezTo>
                  <a:cubicBezTo>
                    <a:pt x="522480" y="10134"/>
                    <a:pt x="528082" y="8112"/>
                    <a:pt x="532614" y="4713"/>
                  </a:cubicBezTo>
                  <a:cubicBezTo>
                    <a:pt x="534391" y="3380"/>
                    <a:pt x="535756" y="1571"/>
                    <a:pt x="537327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3" name="Forma livre 482"/>
            <p:cNvSpPr/>
            <p:nvPr/>
          </p:nvSpPr>
          <p:spPr>
            <a:xfrm>
              <a:off x="3370082" y="4091233"/>
              <a:ext cx="433660" cy="292231"/>
            </a:xfrm>
            <a:custGeom>
              <a:avLst/>
              <a:gdLst>
                <a:gd name="connsiteX0" fmla="*/ 0 w 433660"/>
                <a:gd name="connsiteY0" fmla="*/ 292231 h 292231"/>
                <a:gd name="connsiteX1" fmla="*/ 51848 w 433660"/>
                <a:gd name="connsiteY1" fmla="*/ 278091 h 292231"/>
                <a:gd name="connsiteX2" fmla="*/ 56561 w 433660"/>
                <a:gd name="connsiteY2" fmla="*/ 254524 h 292231"/>
                <a:gd name="connsiteX3" fmla="*/ 84842 w 433660"/>
                <a:gd name="connsiteY3" fmla="*/ 259237 h 292231"/>
                <a:gd name="connsiteX4" fmla="*/ 98982 w 433660"/>
                <a:gd name="connsiteY4" fmla="*/ 263951 h 292231"/>
                <a:gd name="connsiteX5" fmla="*/ 136689 w 433660"/>
                <a:gd name="connsiteY5" fmla="*/ 259237 h 292231"/>
                <a:gd name="connsiteX6" fmla="*/ 164970 w 433660"/>
                <a:gd name="connsiteY6" fmla="*/ 245097 h 292231"/>
                <a:gd name="connsiteX7" fmla="*/ 174396 w 433660"/>
                <a:gd name="connsiteY7" fmla="*/ 230957 h 292231"/>
                <a:gd name="connsiteX8" fmla="*/ 188537 w 433660"/>
                <a:gd name="connsiteY8" fmla="*/ 226243 h 292231"/>
                <a:gd name="connsiteX9" fmla="*/ 230957 w 433660"/>
                <a:gd name="connsiteY9" fmla="*/ 193249 h 292231"/>
                <a:gd name="connsiteX10" fmla="*/ 249811 w 433660"/>
                <a:gd name="connsiteY10" fmla="*/ 164969 h 292231"/>
                <a:gd name="connsiteX11" fmla="*/ 278091 w 433660"/>
                <a:gd name="connsiteY11" fmla="*/ 146115 h 292231"/>
                <a:gd name="connsiteX12" fmla="*/ 292231 w 433660"/>
                <a:gd name="connsiteY12" fmla="*/ 136689 h 292231"/>
                <a:gd name="connsiteX13" fmla="*/ 320512 w 433660"/>
                <a:gd name="connsiteY13" fmla="*/ 127262 h 292231"/>
                <a:gd name="connsiteX14" fmla="*/ 334652 w 433660"/>
                <a:gd name="connsiteY14" fmla="*/ 117835 h 292231"/>
                <a:gd name="connsiteX15" fmla="*/ 377073 w 433660"/>
                <a:gd name="connsiteY15" fmla="*/ 98981 h 292231"/>
                <a:gd name="connsiteX16" fmla="*/ 381786 w 433660"/>
                <a:gd name="connsiteY16" fmla="*/ 84841 h 292231"/>
                <a:gd name="connsiteX17" fmla="*/ 400640 w 433660"/>
                <a:gd name="connsiteY17" fmla="*/ 56561 h 292231"/>
                <a:gd name="connsiteX18" fmla="*/ 419493 w 433660"/>
                <a:gd name="connsiteY18" fmla="*/ 14140 h 292231"/>
                <a:gd name="connsiteX19" fmla="*/ 433633 w 433660"/>
                <a:gd name="connsiteY19" fmla="*/ 0 h 292231"/>
                <a:gd name="connsiteX0" fmla="*/ 0 w 433660"/>
                <a:gd name="connsiteY0" fmla="*/ 292231 h 292231"/>
                <a:gd name="connsiteX1" fmla="*/ 51848 w 433660"/>
                <a:gd name="connsiteY1" fmla="*/ 278091 h 292231"/>
                <a:gd name="connsiteX2" fmla="*/ 56561 w 433660"/>
                <a:gd name="connsiteY2" fmla="*/ 254524 h 292231"/>
                <a:gd name="connsiteX3" fmla="*/ 84842 w 433660"/>
                <a:gd name="connsiteY3" fmla="*/ 259237 h 292231"/>
                <a:gd name="connsiteX4" fmla="*/ 98982 w 433660"/>
                <a:gd name="connsiteY4" fmla="*/ 263951 h 292231"/>
                <a:gd name="connsiteX5" fmla="*/ 164970 w 433660"/>
                <a:gd name="connsiteY5" fmla="*/ 245097 h 292231"/>
                <a:gd name="connsiteX6" fmla="*/ 174396 w 433660"/>
                <a:gd name="connsiteY6" fmla="*/ 230957 h 292231"/>
                <a:gd name="connsiteX7" fmla="*/ 188537 w 433660"/>
                <a:gd name="connsiteY7" fmla="*/ 226243 h 292231"/>
                <a:gd name="connsiteX8" fmla="*/ 230957 w 433660"/>
                <a:gd name="connsiteY8" fmla="*/ 193249 h 292231"/>
                <a:gd name="connsiteX9" fmla="*/ 249811 w 433660"/>
                <a:gd name="connsiteY9" fmla="*/ 164969 h 292231"/>
                <a:gd name="connsiteX10" fmla="*/ 278091 w 433660"/>
                <a:gd name="connsiteY10" fmla="*/ 146115 h 292231"/>
                <a:gd name="connsiteX11" fmla="*/ 292231 w 433660"/>
                <a:gd name="connsiteY11" fmla="*/ 136689 h 292231"/>
                <a:gd name="connsiteX12" fmla="*/ 320512 w 433660"/>
                <a:gd name="connsiteY12" fmla="*/ 127262 h 292231"/>
                <a:gd name="connsiteX13" fmla="*/ 334652 w 433660"/>
                <a:gd name="connsiteY13" fmla="*/ 117835 h 292231"/>
                <a:gd name="connsiteX14" fmla="*/ 377073 w 433660"/>
                <a:gd name="connsiteY14" fmla="*/ 98981 h 292231"/>
                <a:gd name="connsiteX15" fmla="*/ 381786 w 433660"/>
                <a:gd name="connsiteY15" fmla="*/ 84841 h 292231"/>
                <a:gd name="connsiteX16" fmla="*/ 400640 w 433660"/>
                <a:gd name="connsiteY16" fmla="*/ 56561 h 292231"/>
                <a:gd name="connsiteX17" fmla="*/ 419493 w 433660"/>
                <a:gd name="connsiteY17" fmla="*/ 14140 h 292231"/>
                <a:gd name="connsiteX18" fmla="*/ 433633 w 433660"/>
                <a:gd name="connsiteY18" fmla="*/ 0 h 292231"/>
                <a:gd name="connsiteX0" fmla="*/ 0 w 433660"/>
                <a:gd name="connsiteY0" fmla="*/ 292231 h 292231"/>
                <a:gd name="connsiteX1" fmla="*/ 51848 w 433660"/>
                <a:gd name="connsiteY1" fmla="*/ 278091 h 292231"/>
                <a:gd name="connsiteX2" fmla="*/ 56561 w 433660"/>
                <a:gd name="connsiteY2" fmla="*/ 254524 h 292231"/>
                <a:gd name="connsiteX3" fmla="*/ 84842 w 433660"/>
                <a:gd name="connsiteY3" fmla="*/ 259237 h 292231"/>
                <a:gd name="connsiteX4" fmla="*/ 164970 w 433660"/>
                <a:gd name="connsiteY4" fmla="*/ 245097 h 292231"/>
                <a:gd name="connsiteX5" fmla="*/ 174396 w 433660"/>
                <a:gd name="connsiteY5" fmla="*/ 230957 h 292231"/>
                <a:gd name="connsiteX6" fmla="*/ 188537 w 433660"/>
                <a:gd name="connsiteY6" fmla="*/ 226243 h 292231"/>
                <a:gd name="connsiteX7" fmla="*/ 230957 w 433660"/>
                <a:gd name="connsiteY7" fmla="*/ 193249 h 292231"/>
                <a:gd name="connsiteX8" fmla="*/ 249811 w 433660"/>
                <a:gd name="connsiteY8" fmla="*/ 164969 h 292231"/>
                <a:gd name="connsiteX9" fmla="*/ 278091 w 433660"/>
                <a:gd name="connsiteY9" fmla="*/ 146115 h 292231"/>
                <a:gd name="connsiteX10" fmla="*/ 292231 w 433660"/>
                <a:gd name="connsiteY10" fmla="*/ 136689 h 292231"/>
                <a:gd name="connsiteX11" fmla="*/ 320512 w 433660"/>
                <a:gd name="connsiteY11" fmla="*/ 127262 h 292231"/>
                <a:gd name="connsiteX12" fmla="*/ 334652 w 433660"/>
                <a:gd name="connsiteY12" fmla="*/ 117835 h 292231"/>
                <a:gd name="connsiteX13" fmla="*/ 377073 w 433660"/>
                <a:gd name="connsiteY13" fmla="*/ 98981 h 292231"/>
                <a:gd name="connsiteX14" fmla="*/ 381786 w 433660"/>
                <a:gd name="connsiteY14" fmla="*/ 84841 h 292231"/>
                <a:gd name="connsiteX15" fmla="*/ 400640 w 433660"/>
                <a:gd name="connsiteY15" fmla="*/ 56561 h 292231"/>
                <a:gd name="connsiteX16" fmla="*/ 419493 w 433660"/>
                <a:gd name="connsiteY16" fmla="*/ 14140 h 292231"/>
                <a:gd name="connsiteX17" fmla="*/ 433633 w 433660"/>
                <a:gd name="connsiteY17" fmla="*/ 0 h 292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3660" h="292231">
                  <a:moveTo>
                    <a:pt x="0" y="292231"/>
                  </a:moveTo>
                  <a:cubicBezTo>
                    <a:pt x="6538" y="291414"/>
                    <a:pt x="43621" y="292488"/>
                    <a:pt x="51848" y="278091"/>
                  </a:cubicBezTo>
                  <a:cubicBezTo>
                    <a:pt x="55823" y="271135"/>
                    <a:pt x="54990" y="262380"/>
                    <a:pt x="56561" y="254524"/>
                  </a:cubicBezTo>
                  <a:cubicBezTo>
                    <a:pt x="65988" y="256095"/>
                    <a:pt x="66774" y="260808"/>
                    <a:pt x="84842" y="259237"/>
                  </a:cubicBezTo>
                  <a:cubicBezTo>
                    <a:pt x="102910" y="257666"/>
                    <a:pt x="150044" y="249810"/>
                    <a:pt x="164970" y="245097"/>
                  </a:cubicBezTo>
                  <a:cubicBezTo>
                    <a:pt x="179896" y="240384"/>
                    <a:pt x="169973" y="234496"/>
                    <a:pt x="174396" y="230957"/>
                  </a:cubicBezTo>
                  <a:cubicBezTo>
                    <a:pt x="178276" y="227853"/>
                    <a:pt x="184194" y="228656"/>
                    <a:pt x="188537" y="226243"/>
                  </a:cubicBezTo>
                  <a:cubicBezTo>
                    <a:pt x="202488" y="218492"/>
                    <a:pt x="220500" y="206693"/>
                    <a:pt x="230957" y="193249"/>
                  </a:cubicBezTo>
                  <a:cubicBezTo>
                    <a:pt x="237913" y="184306"/>
                    <a:pt x="240384" y="171254"/>
                    <a:pt x="249811" y="164969"/>
                  </a:cubicBezTo>
                  <a:lnTo>
                    <a:pt x="278091" y="146115"/>
                  </a:lnTo>
                  <a:cubicBezTo>
                    <a:pt x="282804" y="142973"/>
                    <a:pt x="286857" y="138480"/>
                    <a:pt x="292231" y="136689"/>
                  </a:cubicBezTo>
                  <a:lnTo>
                    <a:pt x="320512" y="127262"/>
                  </a:lnTo>
                  <a:cubicBezTo>
                    <a:pt x="325225" y="124120"/>
                    <a:pt x="329475" y="120136"/>
                    <a:pt x="334652" y="117835"/>
                  </a:cubicBezTo>
                  <a:cubicBezTo>
                    <a:pt x="385137" y="95396"/>
                    <a:pt x="345069" y="120317"/>
                    <a:pt x="377073" y="98981"/>
                  </a:cubicBezTo>
                  <a:cubicBezTo>
                    <a:pt x="378644" y="94268"/>
                    <a:pt x="379373" y="89184"/>
                    <a:pt x="381786" y="84841"/>
                  </a:cubicBezTo>
                  <a:cubicBezTo>
                    <a:pt x="387288" y="74937"/>
                    <a:pt x="400640" y="56561"/>
                    <a:pt x="400640" y="56561"/>
                  </a:cubicBezTo>
                  <a:cubicBezTo>
                    <a:pt x="405308" y="42557"/>
                    <a:pt x="408288" y="25345"/>
                    <a:pt x="419493" y="14140"/>
                  </a:cubicBezTo>
                  <a:cubicBezTo>
                    <a:pt x="434940" y="-1307"/>
                    <a:pt x="433633" y="11806"/>
                    <a:pt x="433633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4" name="Forma livre 483"/>
            <p:cNvSpPr/>
            <p:nvPr/>
          </p:nvSpPr>
          <p:spPr>
            <a:xfrm>
              <a:off x="3153266" y="4786894"/>
              <a:ext cx="461913" cy="96191"/>
            </a:xfrm>
            <a:custGeom>
              <a:avLst/>
              <a:gdLst>
                <a:gd name="connsiteX0" fmla="*/ 0 w 461913"/>
                <a:gd name="connsiteY0" fmla="*/ 65987 h 103695"/>
                <a:gd name="connsiteX1" fmla="*/ 42421 w 461913"/>
                <a:gd name="connsiteY1" fmla="*/ 61274 h 103695"/>
                <a:gd name="connsiteX2" fmla="*/ 51847 w 461913"/>
                <a:gd name="connsiteY2" fmla="*/ 47134 h 103695"/>
                <a:gd name="connsiteX3" fmla="*/ 65988 w 461913"/>
                <a:gd name="connsiteY3" fmla="*/ 18853 h 103695"/>
                <a:gd name="connsiteX4" fmla="*/ 94268 w 461913"/>
                <a:gd name="connsiteY4" fmla="*/ 0 h 103695"/>
                <a:gd name="connsiteX5" fmla="*/ 155542 w 461913"/>
                <a:gd name="connsiteY5" fmla="*/ 9426 h 103695"/>
                <a:gd name="connsiteX6" fmla="*/ 169682 w 461913"/>
                <a:gd name="connsiteY6" fmla="*/ 14140 h 103695"/>
                <a:gd name="connsiteX7" fmla="*/ 197963 w 461913"/>
                <a:gd name="connsiteY7" fmla="*/ 32994 h 103695"/>
                <a:gd name="connsiteX8" fmla="*/ 212103 w 461913"/>
                <a:gd name="connsiteY8" fmla="*/ 42420 h 103695"/>
                <a:gd name="connsiteX9" fmla="*/ 240383 w 461913"/>
                <a:gd name="connsiteY9" fmla="*/ 51847 h 103695"/>
                <a:gd name="connsiteX10" fmla="*/ 249810 w 461913"/>
                <a:gd name="connsiteY10" fmla="*/ 37707 h 103695"/>
                <a:gd name="connsiteX11" fmla="*/ 254524 w 461913"/>
                <a:gd name="connsiteY11" fmla="*/ 23567 h 103695"/>
                <a:gd name="connsiteX12" fmla="*/ 292231 w 461913"/>
                <a:gd name="connsiteY12" fmla="*/ 28280 h 103695"/>
                <a:gd name="connsiteX13" fmla="*/ 329938 w 461913"/>
                <a:gd name="connsiteY13" fmla="*/ 37707 h 103695"/>
                <a:gd name="connsiteX14" fmla="*/ 348792 w 461913"/>
                <a:gd name="connsiteY14" fmla="*/ 42420 h 103695"/>
                <a:gd name="connsiteX15" fmla="*/ 367645 w 461913"/>
                <a:gd name="connsiteY15" fmla="*/ 37707 h 103695"/>
                <a:gd name="connsiteX16" fmla="*/ 381786 w 461913"/>
                <a:gd name="connsiteY16" fmla="*/ 28280 h 103695"/>
                <a:gd name="connsiteX17" fmla="*/ 395926 w 461913"/>
                <a:gd name="connsiteY17" fmla="*/ 32994 h 103695"/>
                <a:gd name="connsiteX18" fmla="*/ 414779 w 461913"/>
                <a:gd name="connsiteY18" fmla="*/ 56561 h 103695"/>
                <a:gd name="connsiteX19" fmla="*/ 443060 w 461913"/>
                <a:gd name="connsiteY19" fmla="*/ 65987 h 103695"/>
                <a:gd name="connsiteX20" fmla="*/ 461913 w 461913"/>
                <a:gd name="connsiteY20" fmla="*/ 89554 h 103695"/>
                <a:gd name="connsiteX21" fmla="*/ 457200 w 461913"/>
                <a:gd name="connsiteY21" fmla="*/ 103695 h 103695"/>
                <a:gd name="connsiteX0" fmla="*/ 0 w 461913"/>
                <a:gd name="connsiteY0" fmla="*/ 56686 h 94394"/>
                <a:gd name="connsiteX1" fmla="*/ 42421 w 461913"/>
                <a:gd name="connsiteY1" fmla="*/ 51973 h 94394"/>
                <a:gd name="connsiteX2" fmla="*/ 51847 w 461913"/>
                <a:gd name="connsiteY2" fmla="*/ 37833 h 94394"/>
                <a:gd name="connsiteX3" fmla="*/ 65988 w 461913"/>
                <a:gd name="connsiteY3" fmla="*/ 9552 h 94394"/>
                <a:gd name="connsiteX4" fmla="*/ 155542 w 461913"/>
                <a:gd name="connsiteY4" fmla="*/ 125 h 94394"/>
                <a:gd name="connsiteX5" fmla="*/ 169682 w 461913"/>
                <a:gd name="connsiteY5" fmla="*/ 4839 h 94394"/>
                <a:gd name="connsiteX6" fmla="*/ 197963 w 461913"/>
                <a:gd name="connsiteY6" fmla="*/ 23693 h 94394"/>
                <a:gd name="connsiteX7" fmla="*/ 212103 w 461913"/>
                <a:gd name="connsiteY7" fmla="*/ 33119 h 94394"/>
                <a:gd name="connsiteX8" fmla="*/ 240383 w 461913"/>
                <a:gd name="connsiteY8" fmla="*/ 42546 h 94394"/>
                <a:gd name="connsiteX9" fmla="*/ 249810 w 461913"/>
                <a:gd name="connsiteY9" fmla="*/ 28406 h 94394"/>
                <a:gd name="connsiteX10" fmla="*/ 254524 w 461913"/>
                <a:gd name="connsiteY10" fmla="*/ 14266 h 94394"/>
                <a:gd name="connsiteX11" fmla="*/ 292231 w 461913"/>
                <a:gd name="connsiteY11" fmla="*/ 18979 h 94394"/>
                <a:gd name="connsiteX12" fmla="*/ 329938 w 461913"/>
                <a:gd name="connsiteY12" fmla="*/ 28406 h 94394"/>
                <a:gd name="connsiteX13" fmla="*/ 348792 w 461913"/>
                <a:gd name="connsiteY13" fmla="*/ 33119 h 94394"/>
                <a:gd name="connsiteX14" fmla="*/ 367645 w 461913"/>
                <a:gd name="connsiteY14" fmla="*/ 28406 h 94394"/>
                <a:gd name="connsiteX15" fmla="*/ 381786 w 461913"/>
                <a:gd name="connsiteY15" fmla="*/ 18979 h 94394"/>
                <a:gd name="connsiteX16" fmla="*/ 395926 w 461913"/>
                <a:gd name="connsiteY16" fmla="*/ 23693 h 94394"/>
                <a:gd name="connsiteX17" fmla="*/ 414779 w 461913"/>
                <a:gd name="connsiteY17" fmla="*/ 47260 h 94394"/>
                <a:gd name="connsiteX18" fmla="*/ 443060 w 461913"/>
                <a:gd name="connsiteY18" fmla="*/ 56686 h 94394"/>
                <a:gd name="connsiteX19" fmla="*/ 461913 w 461913"/>
                <a:gd name="connsiteY19" fmla="*/ 80253 h 94394"/>
                <a:gd name="connsiteX20" fmla="*/ 457200 w 461913"/>
                <a:gd name="connsiteY20" fmla="*/ 94394 h 94394"/>
                <a:gd name="connsiteX0" fmla="*/ 0 w 461913"/>
                <a:gd name="connsiteY0" fmla="*/ 58483 h 96191"/>
                <a:gd name="connsiteX1" fmla="*/ 42421 w 461913"/>
                <a:gd name="connsiteY1" fmla="*/ 53770 h 96191"/>
                <a:gd name="connsiteX2" fmla="*/ 51847 w 461913"/>
                <a:gd name="connsiteY2" fmla="*/ 39630 h 96191"/>
                <a:gd name="connsiteX3" fmla="*/ 155542 w 461913"/>
                <a:gd name="connsiteY3" fmla="*/ 1922 h 96191"/>
                <a:gd name="connsiteX4" fmla="*/ 169682 w 461913"/>
                <a:gd name="connsiteY4" fmla="*/ 6636 h 96191"/>
                <a:gd name="connsiteX5" fmla="*/ 197963 w 461913"/>
                <a:gd name="connsiteY5" fmla="*/ 25490 h 96191"/>
                <a:gd name="connsiteX6" fmla="*/ 212103 w 461913"/>
                <a:gd name="connsiteY6" fmla="*/ 34916 h 96191"/>
                <a:gd name="connsiteX7" fmla="*/ 240383 w 461913"/>
                <a:gd name="connsiteY7" fmla="*/ 44343 h 96191"/>
                <a:gd name="connsiteX8" fmla="*/ 249810 w 461913"/>
                <a:gd name="connsiteY8" fmla="*/ 30203 h 96191"/>
                <a:gd name="connsiteX9" fmla="*/ 254524 w 461913"/>
                <a:gd name="connsiteY9" fmla="*/ 16063 h 96191"/>
                <a:gd name="connsiteX10" fmla="*/ 292231 w 461913"/>
                <a:gd name="connsiteY10" fmla="*/ 20776 h 96191"/>
                <a:gd name="connsiteX11" fmla="*/ 329938 w 461913"/>
                <a:gd name="connsiteY11" fmla="*/ 30203 h 96191"/>
                <a:gd name="connsiteX12" fmla="*/ 348792 w 461913"/>
                <a:gd name="connsiteY12" fmla="*/ 34916 h 96191"/>
                <a:gd name="connsiteX13" fmla="*/ 367645 w 461913"/>
                <a:gd name="connsiteY13" fmla="*/ 30203 h 96191"/>
                <a:gd name="connsiteX14" fmla="*/ 381786 w 461913"/>
                <a:gd name="connsiteY14" fmla="*/ 20776 h 96191"/>
                <a:gd name="connsiteX15" fmla="*/ 395926 w 461913"/>
                <a:gd name="connsiteY15" fmla="*/ 25490 h 96191"/>
                <a:gd name="connsiteX16" fmla="*/ 414779 w 461913"/>
                <a:gd name="connsiteY16" fmla="*/ 49057 h 96191"/>
                <a:gd name="connsiteX17" fmla="*/ 443060 w 461913"/>
                <a:gd name="connsiteY17" fmla="*/ 58483 h 96191"/>
                <a:gd name="connsiteX18" fmla="*/ 461913 w 461913"/>
                <a:gd name="connsiteY18" fmla="*/ 82050 h 96191"/>
                <a:gd name="connsiteX19" fmla="*/ 457200 w 461913"/>
                <a:gd name="connsiteY19" fmla="*/ 96191 h 96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1913" h="96191">
                  <a:moveTo>
                    <a:pt x="0" y="58483"/>
                  </a:moveTo>
                  <a:cubicBezTo>
                    <a:pt x="14140" y="56912"/>
                    <a:pt x="29050" y="58632"/>
                    <a:pt x="42421" y="53770"/>
                  </a:cubicBezTo>
                  <a:cubicBezTo>
                    <a:pt x="47745" y="51834"/>
                    <a:pt x="32994" y="48271"/>
                    <a:pt x="51847" y="39630"/>
                  </a:cubicBezTo>
                  <a:cubicBezTo>
                    <a:pt x="70700" y="30989"/>
                    <a:pt x="135903" y="7421"/>
                    <a:pt x="155542" y="1922"/>
                  </a:cubicBezTo>
                  <a:cubicBezTo>
                    <a:pt x="175181" y="-3577"/>
                    <a:pt x="165339" y="4223"/>
                    <a:pt x="169682" y="6636"/>
                  </a:cubicBezTo>
                  <a:cubicBezTo>
                    <a:pt x="179586" y="12138"/>
                    <a:pt x="188536" y="19205"/>
                    <a:pt x="197963" y="25490"/>
                  </a:cubicBezTo>
                  <a:cubicBezTo>
                    <a:pt x="202676" y="28632"/>
                    <a:pt x="206729" y="33125"/>
                    <a:pt x="212103" y="34916"/>
                  </a:cubicBezTo>
                  <a:lnTo>
                    <a:pt x="240383" y="44343"/>
                  </a:lnTo>
                  <a:cubicBezTo>
                    <a:pt x="243525" y="39630"/>
                    <a:pt x="247276" y="35270"/>
                    <a:pt x="249810" y="30203"/>
                  </a:cubicBezTo>
                  <a:cubicBezTo>
                    <a:pt x="252032" y="25759"/>
                    <a:pt x="249674" y="17141"/>
                    <a:pt x="254524" y="16063"/>
                  </a:cubicBezTo>
                  <a:cubicBezTo>
                    <a:pt x="266889" y="13315"/>
                    <a:pt x="279662" y="19205"/>
                    <a:pt x="292231" y="20776"/>
                  </a:cubicBezTo>
                  <a:lnTo>
                    <a:pt x="329938" y="30203"/>
                  </a:lnTo>
                  <a:lnTo>
                    <a:pt x="348792" y="34916"/>
                  </a:lnTo>
                  <a:cubicBezTo>
                    <a:pt x="355076" y="33345"/>
                    <a:pt x="361691" y="32755"/>
                    <a:pt x="367645" y="30203"/>
                  </a:cubicBezTo>
                  <a:cubicBezTo>
                    <a:pt x="372852" y="27971"/>
                    <a:pt x="376198" y="21707"/>
                    <a:pt x="381786" y="20776"/>
                  </a:cubicBezTo>
                  <a:cubicBezTo>
                    <a:pt x="386687" y="19959"/>
                    <a:pt x="391213" y="23919"/>
                    <a:pt x="395926" y="25490"/>
                  </a:cubicBezTo>
                  <a:cubicBezTo>
                    <a:pt x="401036" y="40822"/>
                    <a:pt x="398094" y="41642"/>
                    <a:pt x="414779" y="49057"/>
                  </a:cubicBezTo>
                  <a:cubicBezTo>
                    <a:pt x="423859" y="53093"/>
                    <a:pt x="443060" y="58483"/>
                    <a:pt x="443060" y="58483"/>
                  </a:cubicBezTo>
                  <a:cubicBezTo>
                    <a:pt x="453918" y="65722"/>
                    <a:pt x="461913" y="66872"/>
                    <a:pt x="461913" y="82050"/>
                  </a:cubicBezTo>
                  <a:cubicBezTo>
                    <a:pt x="461913" y="87019"/>
                    <a:pt x="457200" y="96191"/>
                    <a:pt x="457200" y="9619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5" name="Forma livre 484"/>
            <p:cNvSpPr/>
            <p:nvPr/>
          </p:nvSpPr>
          <p:spPr>
            <a:xfrm>
              <a:off x="4015298" y="4977353"/>
              <a:ext cx="66508" cy="245096"/>
            </a:xfrm>
            <a:custGeom>
              <a:avLst/>
              <a:gdLst>
                <a:gd name="connsiteX0" fmla="*/ 66508 w 66508"/>
                <a:gd name="connsiteY0" fmla="*/ 0 h 245096"/>
                <a:gd name="connsiteX1" fmla="*/ 47655 w 66508"/>
                <a:gd name="connsiteY1" fmla="*/ 42420 h 245096"/>
                <a:gd name="connsiteX2" fmla="*/ 38228 w 66508"/>
                <a:gd name="connsiteY2" fmla="*/ 70701 h 245096"/>
                <a:gd name="connsiteX3" fmla="*/ 33514 w 66508"/>
                <a:gd name="connsiteY3" fmla="*/ 127261 h 245096"/>
                <a:gd name="connsiteX4" fmla="*/ 24088 w 66508"/>
                <a:gd name="connsiteY4" fmla="*/ 141402 h 245096"/>
                <a:gd name="connsiteX5" fmla="*/ 9947 w 66508"/>
                <a:gd name="connsiteY5" fmla="*/ 169682 h 245096"/>
                <a:gd name="connsiteX6" fmla="*/ 5234 w 66508"/>
                <a:gd name="connsiteY6" fmla="*/ 188536 h 245096"/>
                <a:gd name="connsiteX7" fmla="*/ 521 w 66508"/>
                <a:gd name="connsiteY7" fmla="*/ 202676 h 245096"/>
                <a:gd name="connsiteX8" fmla="*/ 521 w 66508"/>
                <a:gd name="connsiteY8" fmla="*/ 245096 h 245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508" h="245096">
                  <a:moveTo>
                    <a:pt x="66508" y="0"/>
                  </a:moveTo>
                  <a:cubicBezTo>
                    <a:pt x="45111" y="35662"/>
                    <a:pt x="57364" y="10055"/>
                    <a:pt x="47655" y="42420"/>
                  </a:cubicBezTo>
                  <a:cubicBezTo>
                    <a:pt x="44800" y="51938"/>
                    <a:pt x="38228" y="70701"/>
                    <a:pt x="38228" y="70701"/>
                  </a:cubicBezTo>
                  <a:cubicBezTo>
                    <a:pt x="36657" y="89554"/>
                    <a:pt x="37224" y="108710"/>
                    <a:pt x="33514" y="127261"/>
                  </a:cubicBezTo>
                  <a:cubicBezTo>
                    <a:pt x="32403" y="132816"/>
                    <a:pt x="26621" y="136335"/>
                    <a:pt x="24088" y="141402"/>
                  </a:cubicBezTo>
                  <a:cubicBezTo>
                    <a:pt x="4581" y="180418"/>
                    <a:pt x="36954" y="129173"/>
                    <a:pt x="9947" y="169682"/>
                  </a:cubicBezTo>
                  <a:cubicBezTo>
                    <a:pt x="8376" y="175967"/>
                    <a:pt x="7014" y="182307"/>
                    <a:pt x="5234" y="188536"/>
                  </a:cubicBezTo>
                  <a:cubicBezTo>
                    <a:pt x="3869" y="193313"/>
                    <a:pt x="934" y="197725"/>
                    <a:pt x="521" y="202676"/>
                  </a:cubicBezTo>
                  <a:cubicBezTo>
                    <a:pt x="-653" y="216767"/>
                    <a:pt x="521" y="230956"/>
                    <a:pt x="521" y="245096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6" name="Forma livre 485"/>
            <p:cNvSpPr/>
            <p:nvPr/>
          </p:nvSpPr>
          <p:spPr>
            <a:xfrm>
              <a:off x="3926264" y="5283724"/>
              <a:ext cx="70701" cy="160255"/>
            </a:xfrm>
            <a:custGeom>
              <a:avLst/>
              <a:gdLst>
                <a:gd name="connsiteX0" fmla="*/ 70701 w 70701"/>
                <a:gd name="connsiteY0" fmla="*/ 0 h 160255"/>
                <a:gd name="connsiteX1" fmla="*/ 61274 w 70701"/>
                <a:gd name="connsiteY1" fmla="*/ 23567 h 160255"/>
                <a:gd name="connsiteX2" fmla="*/ 56561 w 70701"/>
                <a:gd name="connsiteY2" fmla="*/ 51847 h 160255"/>
                <a:gd name="connsiteX3" fmla="*/ 42421 w 70701"/>
                <a:gd name="connsiteY3" fmla="*/ 61274 h 160255"/>
                <a:gd name="connsiteX4" fmla="*/ 32994 w 70701"/>
                <a:gd name="connsiteY4" fmla="*/ 75414 h 160255"/>
                <a:gd name="connsiteX5" fmla="*/ 23567 w 70701"/>
                <a:gd name="connsiteY5" fmla="*/ 150829 h 160255"/>
                <a:gd name="connsiteX6" fmla="*/ 9427 w 70701"/>
                <a:gd name="connsiteY6" fmla="*/ 155542 h 160255"/>
                <a:gd name="connsiteX7" fmla="*/ 0 w 70701"/>
                <a:gd name="connsiteY7" fmla="*/ 160255 h 160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0701" h="160255">
                  <a:moveTo>
                    <a:pt x="70701" y="0"/>
                  </a:moveTo>
                  <a:cubicBezTo>
                    <a:pt x="67559" y="7856"/>
                    <a:pt x="63500" y="15404"/>
                    <a:pt x="61274" y="23567"/>
                  </a:cubicBezTo>
                  <a:cubicBezTo>
                    <a:pt x="58759" y="32787"/>
                    <a:pt x="60835" y="43299"/>
                    <a:pt x="56561" y="51847"/>
                  </a:cubicBezTo>
                  <a:cubicBezTo>
                    <a:pt x="54028" y="56914"/>
                    <a:pt x="47134" y="58132"/>
                    <a:pt x="42421" y="61274"/>
                  </a:cubicBezTo>
                  <a:cubicBezTo>
                    <a:pt x="39279" y="65987"/>
                    <a:pt x="35528" y="70347"/>
                    <a:pt x="32994" y="75414"/>
                  </a:cubicBezTo>
                  <a:cubicBezTo>
                    <a:pt x="21435" y="98529"/>
                    <a:pt x="30169" y="127722"/>
                    <a:pt x="23567" y="150829"/>
                  </a:cubicBezTo>
                  <a:cubicBezTo>
                    <a:pt x="22202" y="155606"/>
                    <a:pt x="14040" y="153697"/>
                    <a:pt x="9427" y="155542"/>
                  </a:cubicBezTo>
                  <a:cubicBezTo>
                    <a:pt x="6165" y="156847"/>
                    <a:pt x="3142" y="158684"/>
                    <a:pt x="0" y="160255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7" name="Forma livre 486"/>
            <p:cNvSpPr/>
            <p:nvPr/>
          </p:nvSpPr>
          <p:spPr>
            <a:xfrm>
              <a:off x="4194862" y="5015060"/>
              <a:ext cx="207456" cy="334651"/>
            </a:xfrm>
            <a:custGeom>
              <a:avLst/>
              <a:gdLst>
                <a:gd name="connsiteX0" fmla="*/ 207456 w 207456"/>
                <a:gd name="connsiteY0" fmla="*/ 0 h 334651"/>
                <a:gd name="connsiteX1" fmla="*/ 183889 w 207456"/>
                <a:gd name="connsiteY1" fmla="*/ 14140 h 334651"/>
                <a:gd name="connsiteX2" fmla="*/ 169748 w 207456"/>
                <a:gd name="connsiteY2" fmla="*/ 23567 h 334651"/>
                <a:gd name="connsiteX3" fmla="*/ 165035 w 207456"/>
                <a:gd name="connsiteY3" fmla="*/ 37707 h 334651"/>
                <a:gd name="connsiteX4" fmla="*/ 169748 w 207456"/>
                <a:gd name="connsiteY4" fmla="*/ 51847 h 334651"/>
                <a:gd name="connsiteX5" fmla="*/ 165035 w 207456"/>
                <a:gd name="connsiteY5" fmla="*/ 75414 h 334651"/>
                <a:gd name="connsiteX6" fmla="*/ 150895 w 207456"/>
                <a:gd name="connsiteY6" fmla="*/ 80128 h 334651"/>
                <a:gd name="connsiteX7" fmla="*/ 127328 w 207456"/>
                <a:gd name="connsiteY7" fmla="*/ 84841 h 334651"/>
                <a:gd name="connsiteX8" fmla="*/ 113187 w 207456"/>
                <a:gd name="connsiteY8" fmla="*/ 94268 h 334651"/>
                <a:gd name="connsiteX9" fmla="*/ 113187 w 207456"/>
                <a:gd name="connsiteY9" fmla="*/ 131975 h 334651"/>
                <a:gd name="connsiteX10" fmla="*/ 108474 w 207456"/>
                <a:gd name="connsiteY10" fmla="*/ 150829 h 334651"/>
                <a:gd name="connsiteX11" fmla="*/ 80194 w 207456"/>
                <a:gd name="connsiteY11" fmla="*/ 160255 h 334651"/>
                <a:gd name="connsiteX12" fmla="*/ 66053 w 207456"/>
                <a:gd name="connsiteY12" fmla="*/ 169682 h 334651"/>
                <a:gd name="connsiteX13" fmla="*/ 56627 w 207456"/>
                <a:gd name="connsiteY13" fmla="*/ 207389 h 334651"/>
                <a:gd name="connsiteX14" fmla="*/ 47200 w 207456"/>
                <a:gd name="connsiteY14" fmla="*/ 235670 h 334651"/>
                <a:gd name="connsiteX15" fmla="*/ 42486 w 207456"/>
                <a:gd name="connsiteY15" fmla="*/ 259237 h 334651"/>
                <a:gd name="connsiteX16" fmla="*/ 33060 w 207456"/>
                <a:gd name="connsiteY16" fmla="*/ 273377 h 334651"/>
                <a:gd name="connsiteX17" fmla="*/ 18919 w 207456"/>
                <a:gd name="connsiteY17" fmla="*/ 301658 h 334651"/>
                <a:gd name="connsiteX18" fmla="*/ 4779 w 207456"/>
                <a:gd name="connsiteY18" fmla="*/ 311084 h 334651"/>
                <a:gd name="connsiteX19" fmla="*/ 66 w 207456"/>
                <a:gd name="connsiteY19" fmla="*/ 334651 h 334651"/>
                <a:gd name="connsiteX0" fmla="*/ 207456 w 207456"/>
                <a:gd name="connsiteY0" fmla="*/ 0 h 334651"/>
                <a:gd name="connsiteX1" fmla="*/ 183889 w 207456"/>
                <a:gd name="connsiteY1" fmla="*/ 14140 h 334651"/>
                <a:gd name="connsiteX2" fmla="*/ 169748 w 207456"/>
                <a:gd name="connsiteY2" fmla="*/ 23567 h 334651"/>
                <a:gd name="connsiteX3" fmla="*/ 165035 w 207456"/>
                <a:gd name="connsiteY3" fmla="*/ 37707 h 334651"/>
                <a:gd name="connsiteX4" fmla="*/ 169748 w 207456"/>
                <a:gd name="connsiteY4" fmla="*/ 51847 h 334651"/>
                <a:gd name="connsiteX5" fmla="*/ 165035 w 207456"/>
                <a:gd name="connsiteY5" fmla="*/ 75414 h 334651"/>
                <a:gd name="connsiteX6" fmla="*/ 150895 w 207456"/>
                <a:gd name="connsiteY6" fmla="*/ 80128 h 334651"/>
                <a:gd name="connsiteX7" fmla="*/ 127328 w 207456"/>
                <a:gd name="connsiteY7" fmla="*/ 84841 h 334651"/>
                <a:gd name="connsiteX8" fmla="*/ 113187 w 207456"/>
                <a:gd name="connsiteY8" fmla="*/ 131975 h 334651"/>
                <a:gd name="connsiteX9" fmla="*/ 108474 w 207456"/>
                <a:gd name="connsiteY9" fmla="*/ 150829 h 334651"/>
                <a:gd name="connsiteX10" fmla="*/ 80194 w 207456"/>
                <a:gd name="connsiteY10" fmla="*/ 160255 h 334651"/>
                <a:gd name="connsiteX11" fmla="*/ 66053 w 207456"/>
                <a:gd name="connsiteY11" fmla="*/ 169682 h 334651"/>
                <a:gd name="connsiteX12" fmla="*/ 56627 w 207456"/>
                <a:gd name="connsiteY12" fmla="*/ 207389 h 334651"/>
                <a:gd name="connsiteX13" fmla="*/ 47200 w 207456"/>
                <a:gd name="connsiteY13" fmla="*/ 235670 h 334651"/>
                <a:gd name="connsiteX14" fmla="*/ 42486 w 207456"/>
                <a:gd name="connsiteY14" fmla="*/ 259237 h 334651"/>
                <a:gd name="connsiteX15" fmla="*/ 33060 w 207456"/>
                <a:gd name="connsiteY15" fmla="*/ 273377 h 334651"/>
                <a:gd name="connsiteX16" fmla="*/ 18919 w 207456"/>
                <a:gd name="connsiteY16" fmla="*/ 301658 h 334651"/>
                <a:gd name="connsiteX17" fmla="*/ 4779 w 207456"/>
                <a:gd name="connsiteY17" fmla="*/ 311084 h 334651"/>
                <a:gd name="connsiteX18" fmla="*/ 66 w 207456"/>
                <a:gd name="connsiteY18" fmla="*/ 334651 h 334651"/>
                <a:gd name="connsiteX0" fmla="*/ 207456 w 207456"/>
                <a:gd name="connsiteY0" fmla="*/ 0 h 334651"/>
                <a:gd name="connsiteX1" fmla="*/ 183889 w 207456"/>
                <a:gd name="connsiteY1" fmla="*/ 14140 h 334651"/>
                <a:gd name="connsiteX2" fmla="*/ 169748 w 207456"/>
                <a:gd name="connsiteY2" fmla="*/ 23567 h 334651"/>
                <a:gd name="connsiteX3" fmla="*/ 165035 w 207456"/>
                <a:gd name="connsiteY3" fmla="*/ 37707 h 334651"/>
                <a:gd name="connsiteX4" fmla="*/ 169748 w 207456"/>
                <a:gd name="connsiteY4" fmla="*/ 51847 h 334651"/>
                <a:gd name="connsiteX5" fmla="*/ 165035 w 207456"/>
                <a:gd name="connsiteY5" fmla="*/ 75414 h 334651"/>
                <a:gd name="connsiteX6" fmla="*/ 150895 w 207456"/>
                <a:gd name="connsiteY6" fmla="*/ 80128 h 334651"/>
                <a:gd name="connsiteX7" fmla="*/ 113187 w 207456"/>
                <a:gd name="connsiteY7" fmla="*/ 131975 h 334651"/>
                <a:gd name="connsiteX8" fmla="*/ 108474 w 207456"/>
                <a:gd name="connsiteY8" fmla="*/ 150829 h 334651"/>
                <a:gd name="connsiteX9" fmla="*/ 80194 w 207456"/>
                <a:gd name="connsiteY9" fmla="*/ 160255 h 334651"/>
                <a:gd name="connsiteX10" fmla="*/ 66053 w 207456"/>
                <a:gd name="connsiteY10" fmla="*/ 169682 h 334651"/>
                <a:gd name="connsiteX11" fmla="*/ 56627 w 207456"/>
                <a:gd name="connsiteY11" fmla="*/ 207389 h 334651"/>
                <a:gd name="connsiteX12" fmla="*/ 47200 w 207456"/>
                <a:gd name="connsiteY12" fmla="*/ 235670 h 334651"/>
                <a:gd name="connsiteX13" fmla="*/ 42486 w 207456"/>
                <a:gd name="connsiteY13" fmla="*/ 259237 h 334651"/>
                <a:gd name="connsiteX14" fmla="*/ 33060 w 207456"/>
                <a:gd name="connsiteY14" fmla="*/ 273377 h 334651"/>
                <a:gd name="connsiteX15" fmla="*/ 18919 w 207456"/>
                <a:gd name="connsiteY15" fmla="*/ 301658 h 334651"/>
                <a:gd name="connsiteX16" fmla="*/ 4779 w 207456"/>
                <a:gd name="connsiteY16" fmla="*/ 311084 h 334651"/>
                <a:gd name="connsiteX17" fmla="*/ 66 w 207456"/>
                <a:gd name="connsiteY17" fmla="*/ 334651 h 334651"/>
                <a:gd name="connsiteX0" fmla="*/ 207456 w 207456"/>
                <a:gd name="connsiteY0" fmla="*/ 0 h 334651"/>
                <a:gd name="connsiteX1" fmla="*/ 183889 w 207456"/>
                <a:gd name="connsiteY1" fmla="*/ 14140 h 334651"/>
                <a:gd name="connsiteX2" fmla="*/ 169748 w 207456"/>
                <a:gd name="connsiteY2" fmla="*/ 23567 h 334651"/>
                <a:gd name="connsiteX3" fmla="*/ 169748 w 207456"/>
                <a:gd name="connsiteY3" fmla="*/ 51847 h 334651"/>
                <a:gd name="connsiteX4" fmla="*/ 165035 w 207456"/>
                <a:gd name="connsiteY4" fmla="*/ 75414 h 334651"/>
                <a:gd name="connsiteX5" fmla="*/ 150895 w 207456"/>
                <a:gd name="connsiteY5" fmla="*/ 80128 h 334651"/>
                <a:gd name="connsiteX6" fmla="*/ 113187 w 207456"/>
                <a:gd name="connsiteY6" fmla="*/ 131975 h 334651"/>
                <a:gd name="connsiteX7" fmla="*/ 108474 w 207456"/>
                <a:gd name="connsiteY7" fmla="*/ 150829 h 334651"/>
                <a:gd name="connsiteX8" fmla="*/ 80194 w 207456"/>
                <a:gd name="connsiteY8" fmla="*/ 160255 h 334651"/>
                <a:gd name="connsiteX9" fmla="*/ 66053 w 207456"/>
                <a:gd name="connsiteY9" fmla="*/ 169682 h 334651"/>
                <a:gd name="connsiteX10" fmla="*/ 56627 w 207456"/>
                <a:gd name="connsiteY10" fmla="*/ 207389 h 334651"/>
                <a:gd name="connsiteX11" fmla="*/ 47200 w 207456"/>
                <a:gd name="connsiteY11" fmla="*/ 235670 h 334651"/>
                <a:gd name="connsiteX12" fmla="*/ 42486 w 207456"/>
                <a:gd name="connsiteY12" fmla="*/ 259237 h 334651"/>
                <a:gd name="connsiteX13" fmla="*/ 33060 w 207456"/>
                <a:gd name="connsiteY13" fmla="*/ 273377 h 334651"/>
                <a:gd name="connsiteX14" fmla="*/ 18919 w 207456"/>
                <a:gd name="connsiteY14" fmla="*/ 301658 h 334651"/>
                <a:gd name="connsiteX15" fmla="*/ 4779 w 207456"/>
                <a:gd name="connsiteY15" fmla="*/ 311084 h 334651"/>
                <a:gd name="connsiteX16" fmla="*/ 66 w 207456"/>
                <a:gd name="connsiteY16" fmla="*/ 334651 h 334651"/>
                <a:gd name="connsiteX0" fmla="*/ 207456 w 207456"/>
                <a:gd name="connsiteY0" fmla="*/ 0 h 334651"/>
                <a:gd name="connsiteX1" fmla="*/ 183889 w 207456"/>
                <a:gd name="connsiteY1" fmla="*/ 14140 h 334651"/>
                <a:gd name="connsiteX2" fmla="*/ 169748 w 207456"/>
                <a:gd name="connsiteY2" fmla="*/ 51847 h 334651"/>
                <a:gd name="connsiteX3" fmla="*/ 165035 w 207456"/>
                <a:gd name="connsiteY3" fmla="*/ 75414 h 334651"/>
                <a:gd name="connsiteX4" fmla="*/ 150895 w 207456"/>
                <a:gd name="connsiteY4" fmla="*/ 80128 h 334651"/>
                <a:gd name="connsiteX5" fmla="*/ 113187 w 207456"/>
                <a:gd name="connsiteY5" fmla="*/ 131975 h 334651"/>
                <a:gd name="connsiteX6" fmla="*/ 108474 w 207456"/>
                <a:gd name="connsiteY6" fmla="*/ 150829 h 334651"/>
                <a:gd name="connsiteX7" fmla="*/ 80194 w 207456"/>
                <a:gd name="connsiteY7" fmla="*/ 160255 h 334651"/>
                <a:gd name="connsiteX8" fmla="*/ 66053 w 207456"/>
                <a:gd name="connsiteY8" fmla="*/ 169682 h 334651"/>
                <a:gd name="connsiteX9" fmla="*/ 56627 w 207456"/>
                <a:gd name="connsiteY9" fmla="*/ 207389 h 334651"/>
                <a:gd name="connsiteX10" fmla="*/ 47200 w 207456"/>
                <a:gd name="connsiteY10" fmla="*/ 235670 h 334651"/>
                <a:gd name="connsiteX11" fmla="*/ 42486 w 207456"/>
                <a:gd name="connsiteY11" fmla="*/ 259237 h 334651"/>
                <a:gd name="connsiteX12" fmla="*/ 33060 w 207456"/>
                <a:gd name="connsiteY12" fmla="*/ 273377 h 334651"/>
                <a:gd name="connsiteX13" fmla="*/ 18919 w 207456"/>
                <a:gd name="connsiteY13" fmla="*/ 301658 h 334651"/>
                <a:gd name="connsiteX14" fmla="*/ 4779 w 207456"/>
                <a:gd name="connsiteY14" fmla="*/ 311084 h 334651"/>
                <a:gd name="connsiteX15" fmla="*/ 66 w 207456"/>
                <a:gd name="connsiteY15" fmla="*/ 334651 h 334651"/>
                <a:gd name="connsiteX0" fmla="*/ 207456 w 207456"/>
                <a:gd name="connsiteY0" fmla="*/ 0 h 334651"/>
                <a:gd name="connsiteX1" fmla="*/ 169748 w 207456"/>
                <a:gd name="connsiteY1" fmla="*/ 51847 h 334651"/>
                <a:gd name="connsiteX2" fmla="*/ 165035 w 207456"/>
                <a:gd name="connsiteY2" fmla="*/ 75414 h 334651"/>
                <a:gd name="connsiteX3" fmla="*/ 150895 w 207456"/>
                <a:gd name="connsiteY3" fmla="*/ 80128 h 334651"/>
                <a:gd name="connsiteX4" fmla="*/ 113187 w 207456"/>
                <a:gd name="connsiteY4" fmla="*/ 131975 h 334651"/>
                <a:gd name="connsiteX5" fmla="*/ 108474 w 207456"/>
                <a:gd name="connsiteY5" fmla="*/ 150829 h 334651"/>
                <a:gd name="connsiteX6" fmla="*/ 80194 w 207456"/>
                <a:gd name="connsiteY6" fmla="*/ 160255 h 334651"/>
                <a:gd name="connsiteX7" fmla="*/ 66053 w 207456"/>
                <a:gd name="connsiteY7" fmla="*/ 169682 h 334651"/>
                <a:gd name="connsiteX8" fmla="*/ 56627 w 207456"/>
                <a:gd name="connsiteY8" fmla="*/ 207389 h 334651"/>
                <a:gd name="connsiteX9" fmla="*/ 47200 w 207456"/>
                <a:gd name="connsiteY9" fmla="*/ 235670 h 334651"/>
                <a:gd name="connsiteX10" fmla="*/ 42486 w 207456"/>
                <a:gd name="connsiteY10" fmla="*/ 259237 h 334651"/>
                <a:gd name="connsiteX11" fmla="*/ 33060 w 207456"/>
                <a:gd name="connsiteY11" fmla="*/ 273377 h 334651"/>
                <a:gd name="connsiteX12" fmla="*/ 18919 w 207456"/>
                <a:gd name="connsiteY12" fmla="*/ 301658 h 334651"/>
                <a:gd name="connsiteX13" fmla="*/ 4779 w 207456"/>
                <a:gd name="connsiteY13" fmla="*/ 311084 h 334651"/>
                <a:gd name="connsiteX14" fmla="*/ 66 w 207456"/>
                <a:gd name="connsiteY14" fmla="*/ 334651 h 334651"/>
                <a:gd name="connsiteX0" fmla="*/ 207456 w 207456"/>
                <a:gd name="connsiteY0" fmla="*/ 0 h 334651"/>
                <a:gd name="connsiteX1" fmla="*/ 169748 w 207456"/>
                <a:gd name="connsiteY1" fmla="*/ 51847 h 334651"/>
                <a:gd name="connsiteX2" fmla="*/ 165035 w 207456"/>
                <a:gd name="connsiteY2" fmla="*/ 75414 h 334651"/>
                <a:gd name="connsiteX3" fmla="*/ 150895 w 207456"/>
                <a:gd name="connsiteY3" fmla="*/ 80128 h 334651"/>
                <a:gd name="connsiteX4" fmla="*/ 108474 w 207456"/>
                <a:gd name="connsiteY4" fmla="*/ 150829 h 334651"/>
                <a:gd name="connsiteX5" fmla="*/ 80194 w 207456"/>
                <a:gd name="connsiteY5" fmla="*/ 160255 h 334651"/>
                <a:gd name="connsiteX6" fmla="*/ 66053 w 207456"/>
                <a:gd name="connsiteY6" fmla="*/ 169682 h 334651"/>
                <a:gd name="connsiteX7" fmla="*/ 56627 w 207456"/>
                <a:gd name="connsiteY7" fmla="*/ 207389 h 334651"/>
                <a:gd name="connsiteX8" fmla="*/ 47200 w 207456"/>
                <a:gd name="connsiteY8" fmla="*/ 235670 h 334651"/>
                <a:gd name="connsiteX9" fmla="*/ 42486 w 207456"/>
                <a:gd name="connsiteY9" fmla="*/ 259237 h 334651"/>
                <a:gd name="connsiteX10" fmla="*/ 33060 w 207456"/>
                <a:gd name="connsiteY10" fmla="*/ 273377 h 334651"/>
                <a:gd name="connsiteX11" fmla="*/ 18919 w 207456"/>
                <a:gd name="connsiteY11" fmla="*/ 301658 h 334651"/>
                <a:gd name="connsiteX12" fmla="*/ 4779 w 207456"/>
                <a:gd name="connsiteY12" fmla="*/ 311084 h 334651"/>
                <a:gd name="connsiteX13" fmla="*/ 66 w 207456"/>
                <a:gd name="connsiteY13" fmla="*/ 334651 h 334651"/>
                <a:gd name="connsiteX0" fmla="*/ 207456 w 207456"/>
                <a:gd name="connsiteY0" fmla="*/ 0 h 334651"/>
                <a:gd name="connsiteX1" fmla="*/ 169748 w 207456"/>
                <a:gd name="connsiteY1" fmla="*/ 51847 h 334651"/>
                <a:gd name="connsiteX2" fmla="*/ 165035 w 207456"/>
                <a:gd name="connsiteY2" fmla="*/ 75414 h 334651"/>
                <a:gd name="connsiteX3" fmla="*/ 150895 w 207456"/>
                <a:gd name="connsiteY3" fmla="*/ 80128 h 334651"/>
                <a:gd name="connsiteX4" fmla="*/ 132041 w 207456"/>
                <a:gd name="connsiteY4" fmla="*/ 136689 h 334651"/>
                <a:gd name="connsiteX5" fmla="*/ 80194 w 207456"/>
                <a:gd name="connsiteY5" fmla="*/ 160255 h 334651"/>
                <a:gd name="connsiteX6" fmla="*/ 66053 w 207456"/>
                <a:gd name="connsiteY6" fmla="*/ 169682 h 334651"/>
                <a:gd name="connsiteX7" fmla="*/ 56627 w 207456"/>
                <a:gd name="connsiteY7" fmla="*/ 207389 h 334651"/>
                <a:gd name="connsiteX8" fmla="*/ 47200 w 207456"/>
                <a:gd name="connsiteY8" fmla="*/ 235670 h 334651"/>
                <a:gd name="connsiteX9" fmla="*/ 42486 w 207456"/>
                <a:gd name="connsiteY9" fmla="*/ 259237 h 334651"/>
                <a:gd name="connsiteX10" fmla="*/ 33060 w 207456"/>
                <a:gd name="connsiteY10" fmla="*/ 273377 h 334651"/>
                <a:gd name="connsiteX11" fmla="*/ 18919 w 207456"/>
                <a:gd name="connsiteY11" fmla="*/ 301658 h 334651"/>
                <a:gd name="connsiteX12" fmla="*/ 4779 w 207456"/>
                <a:gd name="connsiteY12" fmla="*/ 311084 h 334651"/>
                <a:gd name="connsiteX13" fmla="*/ 66 w 207456"/>
                <a:gd name="connsiteY13" fmla="*/ 334651 h 3346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7456" h="334651">
                  <a:moveTo>
                    <a:pt x="207456" y="0"/>
                  </a:moveTo>
                  <a:cubicBezTo>
                    <a:pt x="199600" y="10802"/>
                    <a:pt x="176818" y="39278"/>
                    <a:pt x="169748" y="51847"/>
                  </a:cubicBezTo>
                  <a:cubicBezTo>
                    <a:pt x="162678" y="64416"/>
                    <a:pt x="169479" y="68748"/>
                    <a:pt x="165035" y="75414"/>
                  </a:cubicBezTo>
                  <a:cubicBezTo>
                    <a:pt x="162279" y="79548"/>
                    <a:pt x="156394" y="69916"/>
                    <a:pt x="150895" y="80128"/>
                  </a:cubicBezTo>
                  <a:cubicBezTo>
                    <a:pt x="145396" y="90340"/>
                    <a:pt x="143825" y="123334"/>
                    <a:pt x="132041" y="136689"/>
                  </a:cubicBezTo>
                  <a:cubicBezTo>
                    <a:pt x="120257" y="150044"/>
                    <a:pt x="91192" y="154756"/>
                    <a:pt x="80194" y="160255"/>
                  </a:cubicBezTo>
                  <a:cubicBezTo>
                    <a:pt x="69196" y="165754"/>
                    <a:pt x="69592" y="165258"/>
                    <a:pt x="66053" y="169682"/>
                  </a:cubicBezTo>
                  <a:cubicBezTo>
                    <a:pt x="62108" y="174613"/>
                    <a:pt x="56991" y="206055"/>
                    <a:pt x="56627" y="207389"/>
                  </a:cubicBezTo>
                  <a:cubicBezTo>
                    <a:pt x="54012" y="216976"/>
                    <a:pt x="49149" y="225926"/>
                    <a:pt x="47200" y="235670"/>
                  </a:cubicBezTo>
                  <a:cubicBezTo>
                    <a:pt x="45629" y="243526"/>
                    <a:pt x="45299" y="251736"/>
                    <a:pt x="42486" y="259237"/>
                  </a:cubicBezTo>
                  <a:cubicBezTo>
                    <a:pt x="40497" y="264541"/>
                    <a:pt x="35593" y="268310"/>
                    <a:pt x="33060" y="273377"/>
                  </a:cubicBezTo>
                  <a:cubicBezTo>
                    <a:pt x="25394" y="288708"/>
                    <a:pt x="32425" y="288152"/>
                    <a:pt x="18919" y="301658"/>
                  </a:cubicBezTo>
                  <a:cubicBezTo>
                    <a:pt x="14914" y="305663"/>
                    <a:pt x="9492" y="307942"/>
                    <a:pt x="4779" y="311084"/>
                  </a:cubicBezTo>
                  <a:cubicBezTo>
                    <a:pt x="-927" y="328206"/>
                    <a:pt x="66" y="320256"/>
                    <a:pt x="66" y="33465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8" name="Forma livre 487"/>
            <p:cNvSpPr/>
            <p:nvPr/>
          </p:nvSpPr>
          <p:spPr>
            <a:xfrm>
              <a:off x="3469064" y="5514680"/>
              <a:ext cx="838991" cy="207390"/>
            </a:xfrm>
            <a:custGeom>
              <a:avLst/>
              <a:gdLst>
                <a:gd name="connsiteX0" fmla="*/ 0 w 838991"/>
                <a:gd name="connsiteY0" fmla="*/ 0 h 207390"/>
                <a:gd name="connsiteX1" fmla="*/ 42421 w 838991"/>
                <a:gd name="connsiteY1" fmla="*/ 14141 h 207390"/>
                <a:gd name="connsiteX2" fmla="*/ 56561 w 838991"/>
                <a:gd name="connsiteY2" fmla="*/ 42421 h 207390"/>
                <a:gd name="connsiteX3" fmla="*/ 117835 w 838991"/>
                <a:gd name="connsiteY3" fmla="*/ 47134 h 207390"/>
                <a:gd name="connsiteX4" fmla="*/ 136689 w 838991"/>
                <a:gd name="connsiteY4" fmla="*/ 51848 h 207390"/>
                <a:gd name="connsiteX5" fmla="*/ 150829 w 838991"/>
                <a:gd name="connsiteY5" fmla="*/ 61275 h 207390"/>
                <a:gd name="connsiteX6" fmla="*/ 164969 w 838991"/>
                <a:gd name="connsiteY6" fmla="*/ 65988 h 207390"/>
                <a:gd name="connsiteX7" fmla="*/ 207390 w 838991"/>
                <a:gd name="connsiteY7" fmla="*/ 61275 h 207390"/>
                <a:gd name="connsiteX8" fmla="*/ 230957 w 838991"/>
                <a:gd name="connsiteY8" fmla="*/ 56561 h 207390"/>
                <a:gd name="connsiteX9" fmla="*/ 245097 w 838991"/>
                <a:gd name="connsiteY9" fmla="*/ 51848 h 207390"/>
                <a:gd name="connsiteX10" fmla="*/ 282804 w 838991"/>
                <a:gd name="connsiteY10" fmla="*/ 47134 h 207390"/>
                <a:gd name="connsiteX11" fmla="*/ 306371 w 838991"/>
                <a:gd name="connsiteY11" fmla="*/ 51848 h 207390"/>
                <a:gd name="connsiteX12" fmla="*/ 348792 w 838991"/>
                <a:gd name="connsiteY12" fmla="*/ 75415 h 207390"/>
                <a:gd name="connsiteX13" fmla="*/ 405352 w 838991"/>
                <a:gd name="connsiteY13" fmla="*/ 122549 h 207390"/>
                <a:gd name="connsiteX14" fmla="*/ 447773 w 838991"/>
                <a:gd name="connsiteY14" fmla="*/ 127262 h 207390"/>
                <a:gd name="connsiteX15" fmla="*/ 461913 w 838991"/>
                <a:gd name="connsiteY15" fmla="*/ 136689 h 207390"/>
                <a:gd name="connsiteX16" fmla="*/ 476054 w 838991"/>
                <a:gd name="connsiteY16" fmla="*/ 141402 h 207390"/>
                <a:gd name="connsiteX17" fmla="*/ 499621 w 838991"/>
                <a:gd name="connsiteY17" fmla="*/ 160256 h 207390"/>
                <a:gd name="connsiteX18" fmla="*/ 546755 w 838991"/>
                <a:gd name="connsiteY18" fmla="*/ 193250 h 207390"/>
                <a:gd name="connsiteX19" fmla="*/ 593889 w 838991"/>
                <a:gd name="connsiteY19" fmla="*/ 207390 h 207390"/>
                <a:gd name="connsiteX20" fmla="*/ 631596 w 838991"/>
                <a:gd name="connsiteY20" fmla="*/ 202677 h 207390"/>
                <a:gd name="connsiteX21" fmla="*/ 659876 w 838991"/>
                <a:gd name="connsiteY21" fmla="*/ 193250 h 207390"/>
                <a:gd name="connsiteX22" fmla="*/ 678730 w 838991"/>
                <a:gd name="connsiteY22" fmla="*/ 188536 h 207390"/>
                <a:gd name="connsiteX23" fmla="*/ 702297 w 838991"/>
                <a:gd name="connsiteY23" fmla="*/ 193250 h 207390"/>
                <a:gd name="connsiteX24" fmla="*/ 716437 w 838991"/>
                <a:gd name="connsiteY24" fmla="*/ 202677 h 207390"/>
                <a:gd name="connsiteX25" fmla="*/ 730577 w 838991"/>
                <a:gd name="connsiteY25" fmla="*/ 197963 h 207390"/>
                <a:gd name="connsiteX26" fmla="*/ 735291 w 838991"/>
                <a:gd name="connsiteY26" fmla="*/ 183823 h 207390"/>
                <a:gd name="connsiteX27" fmla="*/ 749431 w 838991"/>
                <a:gd name="connsiteY27" fmla="*/ 179110 h 207390"/>
                <a:gd name="connsiteX28" fmla="*/ 796565 w 838991"/>
                <a:gd name="connsiteY28" fmla="*/ 188536 h 207390"/>
                <a:gd name="connsiteX29" fmla="*/ 838985 w 838991"/>
                <a:gd name="connsiteY29" fmla="*/ 179110 h 207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38991" h="207390">
                  <a:moveTo>
                    <a:pt x="0" y="0"/>
                  </a:moveTo>
                  <a:cubicBezTo>
                    <a:pt x="13799" y="2300"/>
                    <a:pt x="32225" y="1396"/>
                    <a:pt x="42421" y="14141"/>
                  </a:cubicBezTo>
                  <a:cubicBezTo>
                    <a:pt x="47101" y="19991"/>
                    <a:pt x="46458" y="39727"/>
                    <a:pt x="56561" y="42421"/>
                  </a:cubicBezTo>
                  <a:cubicBezTo>
                    <a:pt x="76354" y="47699"/>
                    <a:pt x="97410" y="45563"/>
                    <a:pt x="117835" y="47134"/>
                  </a:cubicBezTo>
                  <a:cubicBezTo>
                    <a:pt x="124120" y="48705"/>
                    <a:pt x="130735" y="49296"/>
                    <a:pt x="136689" y="51848"/>
                  </a:cubicBezTo>
                  <a:cubicBezTo>
                    <a:pt x="141896" y="54080"/>
                    <a:pt x="145762" y="58742"/>
                    <a:pt x="150829" y="61275"/>
                  </a:cubicBezTo>
                  <a:cubicBezTo>
                    <a:pt x="155273" y="63497"/>
                    <a:pt x="160256" y="64417"/>
                    <a:pt x="164969" y="65988"/>
                  </a:cubicBezTo>
                  <a:cubicBezTo>
                    <a:pt x="179109" y="64417"/>
                    <a:pt x="193306" y="63287"/>
                    <a:pt x="207390" y="61275"/>
                  </a:cubicBezTo>
                  <a:cubicBezTo>
                    <a:pt x="215321" y="60142"/>
                    <a:pt x="223185" y="58504"/>
                    <a:pt x="230957" y="56561"/>
                  </a:cubicBezTo>
                  <a:cubicBezTo>
                    <a:pt x="235777" y="55356"/>
                    <a:pt x="240209" y="52737"/>
                    <a:pt x="245097" y="51848"/>
                  </a:cubicBezTo>
                  <a:cubicBezTo>
                    <a:pt x="257560" y="49582"/>
                    <a:pt x="270235" y="48705"/>
                    <a:pt x="282804" y="47134"/>
                  </a:cubicBezTo>
                  <a:cubicBezTo>
                    <a:pt x="290660" y="48705"/>
                    <a:pt x="298599" y="49905"/>
                    <a:pt x="306371" y="51848"/>
                  </a:cubicBezTo>
                  <a:cubicBezTo>
                    <a:pt x="322178" y="55800"/>
                    <a:pt x="337088" y="63711"/>
                    <a:pt x="348792" y="75415"/>
                  </a:cubicBezTo>
                  <a:cubicBezTo>
                    <a:pt x="356126" y="82749"/>
                    <a:pt x="390589" y="120909"/>
                    <a:pt x="405352" y="122549"/>
                  </a:cubicBezTo>
                  <a:lnTo>
                    <a:pt x="447773" y="127262"/>
                  </a:lnTo>
                  <a:cubicBezTo>
                    <a:pt x="452486" y="130404"/>
                    <a:pt x="456846" y="134156"/>
                    <a:pt x="461913" y="136689"/>
                  </a:cubicBezTo>
                  <a:cubicBezTo>
                    <a:pt x="466357" y="138911"/>
                    <a:pt x="472174" y="138298"/>
                    <a:pt x="476054" y="141402"/>
                  </a:cubicBezTo>
                  <a:cubicBezTo>
                    <a:pt x="506511" y="165768"/>
                    <a:pt x="464077" y="148410"/>
                    <a:pt x="499621" y="160256"/>
                  </a:cubicBezTo>
                  <a:cubicBezTo>
                    <a:pt x="508226" y="166710"/>
                    <a:pt x="539790" y="190928"/>
                    <a:pt x="546755" y="193250"/>
                  </a:cubicBezTo>
                  <a:cubicBezTo>
                    <a:pt x="581181" y="204726"/>
                    <a:pt x="565395" y="200267"/>
                    <a:pt x="593889" y="207390"/>
                  </a:cubicBezTo>
                  <a:cubicBezTo>
                    <a:pt x="606458" y="205819"/>
                    <a:pt x="619210" y="205331"/>
                    <a:pt x="631596" y="202677"/>
                  </a:cubicBezTo>
                  <a:cubicBezTo>
                    <a:pt x="641312" y="200595"/>
                    <a:pt x="650236" y="195660"/>
                    <a:pt x="659876" y="193250"/>
                  </a:cubicBezTo>
                  <a:lnTo>
                    <a:pt x="678730" y="188536"/>
                  </a:lnTo>
                  <a:cubicBezTo>
                    <a:pt x="686586" y="190107"/>
                    <a:pt x="694796" y="190437"/>
                    <a:pt x="702297" y="193250"/>
                  </a:cubicBezTo>
                  <a:cubicBezTo>
                    <a:pt x="707601" y="195239"/>
                    <a:pt x="710849" y="201746"/>
                    <a:pt x="716437" y="202677"/>
                  </a:cubicBezTo>
                  <a:cubicBezTo>
                    <a:pt x="721338" y="203494"/>
                    <a:pt x="725864" y="199534"/>
                    <a:pt x="730577" y="197963"/>
                  </a:cubicBezTo>
                  <a:cubicBezTo>
                    <a:pt x="732148" y="193250"/>
                    <a:pt x="731778" y="187336"/>
                    <a:pt x="735291" y="183823"/>
                  </a:cubicBezTo>
                  <a:cubicBezTo>
                    <a:pt x="738804" y="180310"/>
                    <a:pt x="744463" y="179110"/>
                    <a:pt x="749431" y="179110"/>
                  </a:cubicBezTo>
                  <a:cubicBezTo>
                    <a:pt x="760987" y="179110"/>
                    <a:pt x="784108" y="185422"/>
                    <a:pt x="796565" y="188536"/>
                  </a:cubicBezTo>
                  <a:cubicBezTo>
                    <a:pt x="840546" y="183650"/>
                    <a:pt x="838985" y="198050"/>
                    <a:pt x="838985" y="17911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49" name="Forma livre 488"/>
            <p:cNvSpPr/>
            <p:nvPr/>
          </p:nvSpPr>
          <p:spPr>
            <a:xfrm>
              <a:off x="2917596" y="6033155"/>
              <a:ext cx="631596" cy="348791"/>
            </a:xfrm>
            <a:custGeom>
              <a:avLst/>
              <a:gdLst>
                <a:gd name="connsiteX0" fmla="*/ 0 w 631596"/>
                <a:gd name="connsiteY0" fmla="*/ 0 h 348791"/>
                <a:gd name="connsiteX1" fmla="*/ 56561 w 631596"/>
                <a:gd name="connsiteY1" fmla="*/ 14140 h 348791"/>
                <a:gd name="connsiteX2" fmla="*/ 84841 w 631596"/>
                <a:gd name="connsiteY2" fmla="*/ 28280 h 348791"/>
                <a:gd name="connsiteX3" fmla="*/ 127262 w 631596"/>
                <a:gd name="connsiteY3" fmla="*/ 51847 h 348791"/>
                <a:gd name="connsiteX4" fmla="*/ 164969 w 631596"/>
                <a:gd name="connsiteY4" fmla="*/ 47134 h 348791"/>
                <a:gd name="connsiteX5" fmla="*/ 179109 w 631596"/>
                <a:gd name="connsiteY5" fmla="*/ 42420 h 348791"/>
                <a:gd name="connsiteX6" fmla="*/ 188536 w 631596"/>
                <a:gd name="connsiteY6" fmla="*/ 28280 h 348791"/>
                <a:gd name="connsiteX7" fmla="*/ 216816 w 631596"/>
                <a:gd name="connsiteY7" fmla="*/ 14140 h 348791"/>
                <a:gd name="connsiteX8" fmla="*/ 254524 w 631596"/>
                <a:gd name="connsiteY8" fmla="*/ 18853 h 348791"/>
                <a:gd name="connsiteX9" fmla="*/ 282804 w 631596"/>
                <a:gd name="connsiteY9" fmla="*/ 28280 h 348791"/>
                <a:gd name="connsiteX10" fmla="*/ 311084 w 631596"/>
                <a:gd name="connsiteY10" fmla="*/ 47134 h 348791"/>
                <a:gd name="connsiteX11" fmla="*/ 325225 w 631596"/>
                <a:gd name="connsiteY11" fmla="*/ 56560 h 348791"/>
                <a:gd name="connsiteX12" fmla="*/ 339365 w 631596"/>
                <a:gd name="connsiteY12" fmla="*/ 70701 h 348791"/>
                <a:gd name="connsiteX13" fmla="*/ 367645 w 631596"/>
                <a:gd name="connsiteY13" fmla="*/ 80127 h 348791"/>
                <a:gd name="connsiteX14" fmla="*/ 381785 w 631596"/>
                <a:gd name="connsiteY14" fmla="*/ 84841 h 348791"/>
                <a:gd name="connsiteX15" fmla="*/ 395926 w 631596"/>
                <a:gd name="connsiteY15" fmla="*/ 89554 h 348791"/>
                <a:gd name="connsiteX16" fmla="*/ 414779 w 631596"/>
                <a:gd name="connsiteY16" fmla="*/ 84841 h 348791"/>
                <a:gd name="connsiteX17" fmla="*/ 428919 w 631596"/>
                <a:gd name="connsiteY17" fmla="*/ 75414 h 348791"/>
                <a:gd name="connsiteX18" fmla="*/ 452486 w 631596"/>
                <a:gd name="connsiteY18" fmla="*/ 80127 h 348791"/>
                <a:gd name="connsiteX19" fmla="*/ 480767 w 631596"/>
                <a:gd name="connsiteY19" fmla="*/ 103694 h 348791"/>
                <a:gd name="connsiteX20" fmla="*/ 494907 w 631596"/>
                <a:gd name="connsiteY20" fmla="*/ 108408 h 348791"/>
                <a:gd name="connsiteX21" fmla="*/ 532614 w 631596"/>
                <a:gd name="connsiteY21" fmla="*/ 103694 h 348791"/>
                <a:gd name="connsiteX22" fmla="*/ 546755 w 631596"/>
                <a:gd name="connsiteY22" fmla="*/ 98981 h 348791"/>
                <a:gd name="connsiteX23" fmla="*/ 631596 w 631596"/>
                <a:gd name="connsiteY23" fmla="*/ 103694 h 348791"/>
                <a:gd name="connsiteX24" fmla="*/ 622169 w 631596"/>
                <a:gd name="connsiteY24" fmla="*/ 117835 h 348791"/>
                <a:gd name="connsiteX25" fmla="*/ 612742 w 631596"/>
                <a:gd name="connsiteY25" fmla="*/ 146115 h 348791"/>
                <a:gd name="connsiteX26" fmla="*/ 584462 w 631596"/>
                <a:gd name="connsiteY26" fmla="*/ 164969 h 348791"/>
                <a:gd name="connsiteX27" fmla="*/ 560895 w 631596"/>
                <a:gd name="connsiteY27" fmla="*/ 207389 h 348791"/>
                <a:gd name="connsiteX28" fmla="*/ 546755 w 631596"/>
                <a:gd name="connsiteY28" fmla="*/ 216816 h 348791"/>
                <a:gd name="connsiteX29" fmla="*/ 527901 w 631596"/>
                <a:gd name="connsiteY29" fmla="*/ 245097 h 348791"/>
                <a:gd name="connsiteX30" fmla="*/ 518474 w 631596"/>
                <a:gd name="connsiteY30" fmla="*/ 259237 h 348791"/>
                <a:gd name="connsiteX31" fmla="*/ 504334 w 631596"/>
                <a:gd name="connsiteY31" fmla="*/ 268664 h 348791"/>
                <a:gd name="connsiteX32" fmla="*/ 494907 w 631596"/>
                <a:gd name="connsiteY32" fmla="*/ 282804 h 348791"/>
                <a:gd name="connsiteX33" fmla="*/ 490194 w 631596"/>
                <a:gd name="connsiteY33" fmla="*/ 348791 h 348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631596" h="348791">
                  <a:moveTo>
                    <a:pt x="0" y="0"/>
                  </a:moveTo>
                  <a:cubicBezTo>
                    <a:pt x="14136" y="2356"/>
                    <a:pt x="44112" y="5840"/>
                    <a:pt x="56561" y="14140"/>
                  </a:cubicBezTo>
                  <a:cubicBezTo>
                    <a:pt x="74835" y="26323"/>
                    <a:pt x="65327" y="21776"/>
                    <a:pt x="84841" y="28280"/>
                  </a:cubicBezTo>
                  <a:cubicBezTo>
                    <a:pt x="117256" y="49890"/>
                    <a:pt x="102373" y="43551"/>
                    <a:pt x="127262" y="51847"/>
                  </a:cubicBezTo>
                  <a:cubicBezTo>
                    <a:pt x="139831" y="50276"/>
                    <a:pt x="152507" y="49400"/>
                    <a:pt x="164969" y="47134"/>
                  </a:cubicBezTo>
                  <a:cubicBezTo>
                    <a:pt x="169857" y="46245"/>
                    <a:pt x="175229" y="45524"/>
                    <a:pt x="179109" y="42420"/>
                  </a:cubicBezTo>
                  <a:cubicBezTo>
                    <a:pt x="183532" y="38881"/>
                    <a:pt x="184530" y="32286"/>
                    <a:pt x="188536" y="28280"/>
                  </a:cubicBezTo>
                  <a:cubicBezTo>
                    <a:pt x="197674" y="19142"/>
                    <a:pt x="205314" y="17974"/>
                    <a:pt x="216816" y="14140"/>
                  </a:cubicBezTo>
                  <a:cubicBezTo>
                    <a:pt x="229385" y="15711"/>
                    <a:pt x="242138" y="16199"/>
                    <a:pt x="254524" y="18853"/>
                  </a:cubicBezTo>
                  <a:cubicBezTo>
                    <a:pt x="264240" y="20935"/>
                    <a:pt x="282804" y="28280"/>
                    <a:pt x="282804" y="28280"/>
                  </a:cubicBezTo>
                  <a:lnTo>
                    <a:pt x="311084" y="47134"/>
                  </a:lnTo>
                  <a:cubicBezTo>
                    <a:pt x="315797" y="50276"/>
                    <a:pt x="321219" y="52554"/>
                    <a:pt x="325225" y="56560"/>
                  </a:cubicBezTo>
                  <a:cubicBezTo>
                    <a:pt x="329938" y="61274"/>
                    <a:pt x="333538" y="67464"/>
                    <a:pt x="339365" y="70701"/>
                  </a:cubicBezTo>
                  <a:cubicBezTo>
                    <a:pt x="348051" y="75527"/>
                    <a:pt x="358218" y="76985"/>
                    <a:pt x="367645" y="80127"/>
                  </a:cubicBezTo>
                  <a:lnTo>
                    <a:pt x="381785" y="84841"/>
                  </a:lnTo>
                  <a:lnTo>
                    <a:pt x="395926" y="89554"/>
                  </a:lnTo>
                  <a:cubicBezTo>
                    <a:pt x="402210" y="87983"/>
                    <a:pt x="408825" y="87393"/>
                    <a:pt x="414779" y="84841"/>
                  </a:cubicBezTo>
                  <a:cubicBezTo>
                    <a:pt x="419986" y="82610"/>
                    <a:pt x="423298" y="76117"/>
                    <a:pt x="428919" y="75414"/>
                  </a:cubicBezTo>
                  <a:cubicBezTo>
                    <a:pt x="436868" y="74420"/>
                    <a:pt x="444630" y="78556"/>
                    <a:pt x="452486" y="80127"/>
                  </a:cubicBezTo>
                  <a:cubicBezTo>
                    <a:pt x="462912" y="90553"/>
                    <a:pt x="467641" y="97131"/>
                    <a:pt x="480767" y="103694"/>
                  </a:cubicBezTo>
                  <a:cubicBezTo>
                    <a:pt x="485211" y="105916"/>
                    <a:pt x="490194" y="106837"/>
                    <a:pt x="494907" y="108408"/>
                  </a:cubicBezTo>
                  <a:cubicBezTo>
                    <a:pt x="507476" y="106837"/>
                    <a:pt x="520151" y="105960"/>
                    <a:pt x="532614" y="103694"/>
                  </a:cubicBezTo>
                  <a:cubicBezTo>
                    <a:pt x="537502" y="102805"/>
                    <a:pt x="541786" y="98981"/>
                    <a:pt x="546755" y="98981"/>
                  </a:cubicBezTo>
                  <a:cubicBezTo>
                    <a:pt x="575079" y="98981"/>
                    <a:pt x="603316" y="102123"/>
                    <a:pt x="631596" y="103694"/>
                  </a:cubicBezTo>
                  <a:cubicBezTo>
                    <a:pt x="628454" y="108408"/>
                    <a:pt x="624470" y="112658"/>
                    <a:pt x="622169" y="117835"/>
                  </a:cubicBezTo>
                  <a:cubicBezTo>
                    <a:pt x="618133" y="126915"/>
                    <a:pt x="621010" y="140603"/>
                    <a:pt x="612742" y="146115"/>
                  </a:cubicBezTo>
                  <a:lnTo>
                    <a:pt x="584462" y="164969"/>
                  </a:lnTo>
                  <a:cubicBezTo>
                    <a:pt x="575354" y="192292"/>
                    <a:pt x="580433" y="191107"/>
                    <a:pt x="560895" y="207389"/>
                  </a:cubicBezTo>
                  <a:cubicBezTo>
                    <a:pt x="556543" y="211016"/>
                    <a:pt x="551468" y="213674"/>
                    <a:pt x="546755" y="216816"/>
                  </a:cubicBezTo>
                  <a:lnTo>
                    <a:pt x="527901" y="245097"/>
                  </a:lnTo>
                  <a:cubicBezTo>
                    <a:pt x="524759" y="249810"/>
                    <a:pt x="523187" y="256095"/>
                    <a:pt x="518474" y="259237"/>
                  </a:cubicBezTo>
                  <a:lnTo>
                    <a:pt x="504334" y="268664"/>
                  </a:lnTo>
                  <a:cubicBezTo>
                    <a:pt x="501192" y="273377"/>
                    <a:pt x="497440" y="277737"/>
                    <a:pt x="494907" y="282804"/>
                  </a:cubicBezTo>
                  <a:cubicBezTo>
                    <a:pt x="484729" y="303160"/>
                    <a:pt x="490194" y="327387"/>
                    <a:pt x="490194" y="34879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0" name="Forma livre 489"/>
            <p:cNvSpPr/>
            <p:nvPr/>
          </p:nvSpPr>
          <p:spPr>
            <a:xfrm>
              <a:off x="3652887" y="5877612"/>
              <a:ext cx="37707" cy="150829"/>
            </a:xfrm>
            <a:custGeom>
              <a:avLst/>
              <a:gdLst>
                <a:gd name="connsiteX0" fmla="*/ 37707 w 42933"/>
                <a:gd name="connsiteY0" fmla="*/ 150829 h 150829"/>
                <a:gd name="connsiteX1" fmla="*/ 37707 w 42933"/>
                <a:gd name="connsiteY1" fmla="*/ 98982 h 150829"/>
                <a:gd name="connsiteX2" fmla="*/ 23567 w 42933"/>
                <a:gd name="connsiteY2" fmla="*/ 94268 h 150829"/>
                <a:gd name="connsiteX3" fmla="*/ 4713 w 42933"/>
                <a:gd name="connsiteY3" fmla="*/ 51848 h 150829"/>
                <a:gd name="connsiteX4" fmla="*/ 0 w 42933"/>
                <a:gd name="connsiteY4" fmla="*/ 37708 h 150829"/>
                <a:gd name="connsiteX5" fmla="*/ 9426 w 42933"/>
                <a:gd name="connsiteY5" fmla="*/ 23567 h 150829"/>
                <a:gd name="connsiteX6" fmla="*/ 23567 w 42933"/>
                <a:gd name="connsiteY6" fmla="*/ 18854 h 150829"/>
                <a:gd name="connsiteX7" fmla="*/ 28280 w 42933"/>
                <a:gd name="connsiteY7" fmla="*/ 0 h 150829"/>
                <a:gd name="connsiteX0" fmla="*/ 37707 w 37707"/>
                <a:gd name="connsiteY0" fmla="*/ 150829 h 150829"/>
                <a:gd name="connsiteX1" fmla="*/ 23567 w 37707"/>
                <a:gd name="connsiteY1" fmla="*/ 94268 h 150829"/>
                <a:gd name="connsiteX2" fmla="*/ 4713 w 37707"/>
                <a:gd name="connsiteY2" fmla="*/ 51848 h 150829"/>
                <a:gd name="connsiteX3" fmla="*/ 0 w 37707"/>
                <a:gd name="connsiteY3" fmla="*/ 37708 h 150829"/>
                <a:gd name="connsiteX4" fmla="*/ 9426 w 37707"/>
                <a:gd name="connsiteY4" fmla="*/ 23567 h 150829"/>
                <a:gd name="connsiteX5" fmla="*/ 23567 w 37707"/>
                <a:gd name="connsiteY5" fmla="*/ 18854 h 150829"/>
                <a:gd name="connsiteX6" fmla="*/ 28280 w 37707"/>
                <a:gd name="connsiteY6" fmla="*/ 0 h 150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707" h="150829">
                  <a:moveTo>
                    <a:pt x="37707" y="150829"/>
                  </a:moveTo>
                  <a:cubicBezTo>
                    <a:pt x="34761" y="139046"/>
                    <a:pt x="29066" y="110765"/>
                    <a:pt x="23567" y="94268"/>
                  </a:cubicBezTo>
                  <a:cubicBezTo>
                    <a:pt x="8628" y="71861"/>
                    <a:pt x="15931" y="85501"/>
                    <a:pt x="4713" y="51848"/>
                  </a:cubicBezTo>
                  <a:lnTo>
                    <a:pt x="0" y="37708"/>
                  </a:lnTo>
                  <a:cubicBezTo>
                    <a:pt x="3142" y="32994"/>
                    <a:pt x="5003" y="27106"/>
                    <a:pt x="9426" y="23567"/>
                  </a:cubicBezTo>
                  <a:cubicBezTo>
                    <a:pt x="13306" y="20463"/>
                    <a:pt x="20463" y="22734"/>
                    <a:pt x="23567" y="18854"/>
                  </a:cubicBezTo>
                  <a:cubicBezTo>
                    <a:pt x="27614" y="13796"/>
                    <a:pt x="28280" y="0"/>
                    <a:pt x="28280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1" name="Forma livre 490"/>
            <p:cNvSpPr/>
            <p:nvPr/>
          </p:nvSpPr>
          <p:spPr>
            <a:xfrm>
              <a:off x="3629320" y="6132136"/>
              <a:ext cx="65999" cy="127262"/>
            </a:xfrm>
            <a:custGeom>
              <a:avLst/>
              <a:gdLst>
                <a:gd name="connsiteX0" fmla="*/ 0 w 65999"/>
                <a:gd name="connsiteY0" fmla="*/ 127262 h 127262"/>
                <a:gd name="connsiteX1" fmla="*/ 42420 w 65999"/>
                <a:gd name="connsiteY1" fmla="*/ 75415 h 127262"/>
                <a:gd name="connsiteX2" fmla="*/ 47134 w 65999"/>
                <a:gd name="connsiteY2" fmla="*/ 28280 h 127262"/>
                <a:gd name="connsiteX3" fmla="*/ 61274 w 65999"/>
                <a:gd name="connsiteY3" fmla="*/ 18854 h 127262"/>
                <a:gd name="connsiteX4" fmla="*/ 65987 w 65999"/>
                <a:gd name="connsiteY4" fmla="*/ 0 h 127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999" h="127262">
                  <a:moveTo>
                    <a:pt x="0" y="127262"/>
                  </a:moveTo>
                  <a:cubicBezTo>
                    <a:pt x="41220" y="86042"/>
                    <a:pt x="32086" y="106418"/>
                    <a:pt x="42420" y="75415"/>
                  </a:cubicBezTo>
                  <a:cubicBezTo>
                    <a:pt x="43991" y="59703"/>
                    <a:pt x="42141" y="43260"/>
                    <a:pt x="47134" y="28280"/>
                  </a:cubicBezTo>
                  <a:cubicBezTo>
                    <a:pt x="48925" y="22906"/>
                    <a:pt x="57735" y="23277"/>
                    <a:pt x="61274" y="18854"/>
                  </a:cubicBezTo>
                  <a:cubicBezTo>
                    <a:pt x="66484" y="12342"/>
                    <a:pt x="65987" y="6798"/>
                    <a:pt x="65987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2" name="Forma livre 491"/>
            <p:cNvSpPr/>
            <p:nvPr/>
          </p:nvSpPr>
          <p:spPr>
            <a:xfrm>
              <a:off x="3822569" y="5962454"/>
              <a:ext cx="94268" cy="89636"/>
            </a:xfrm>
            <a:custGeom>
              <a:avLst/>
              <a:gdLst>
                <a:gd name="connsiteX0" fmla="*/ 0 w 94268"/>
                <a:gd name="connsiteY0" fmla="*/ 56560 h 89636"/>
                <a:gd name="connsiteX1" fmla="*/ 23567 w 94268"/>
                <a:gd name="connsiteY1" fmla="*/ 70701 h 89636"/>
                <a:gd name="connsiteX2" fmla="*/ 51847 w 94268"/>
                <a:gd name="connsiteY2" fmla="*/ 80127 h 89636"/>
                <a:gd name="connsiteX3" fmla="*/ 65988 w 94268"/>
                <a:gd name="connsiteY3" fmla="*/ 89554 h 89636"/>
                <a:gd name="connsiteX4" fmla="*/ 89555 w 94268"/>
                <a:gd name="connsiteY4" fmla="*/ 61274 h 89636"/>
                <a:gd name="connsiteX5" fmla="*/ 94268 w 94268"/>
                <a:gd name="connsiteY5" fmla="*/ 47134 h 89636"/>
                <a:gd name="connsiteX6" fmla="*/ 89555 w 94268"/>
                <a:gd name="connsiteY6" fmla="*/ 18853 h 89636"/>
                <a:gd name="connsiteX7" fmla="*/ 84841 w 94268"/>
                <a:gd name="connsiteY7" fmla="*/ 0 h 8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268" h="89636">
                  <a:moveTo>
                    <a:pt x="0" y="56560"/>
                  </a:moveTo>
                  <a:cubicBezTo>
                    <a:pt x="7856" y="61274"/>
                    <a:pt x="15227" y="66910"/>
                    <a:pt x="23567" y="70701"/>
                  </a:cubicBezTo>
                  <a:cubicBezTo>
                    <a:pt x="32613" y="74813"/>
                    <a:pt x="51847" y="80127"/>
                    <a:pt x="51847" y="80127"/>
                  </a:cubicBezTo>
                  <a:cubicBezTo>
                    <a:pt x="56561" y="83269"/>
                    <a:pt x="60400" y="90485"/>
                    <a:pt x="65988" y="89554"/>
                  </a:cubicBezTo>
                  <a:cubicBezTo>
                    <a:pt x="72792" y="88420"/>
                    <a:pt x="86069" y="66503"/>
                    <a:pt x="89555" y="61274"/>
                  </a:cubicBezTo>
                  <a:cubicBezTo>
                    <a:pt x="91126" y="56561"/>
                    <a:pt x="94268" y="52102"/>
                    <a:pt x="94268" y="47134"/>
                  </a:cubicBezTo>
                  <a:cubicBezTo>
                    <a:pt x="94268" y="37577"/>
                    <a:pt x="91628" y="28182"/>
                    <a:pt x="89555" y="18853"/>
                  </a:cubicBezTo>
                  <a:cubicBezTo>
                    <a:pt x="84344" y="-4596"/>
                    <a:pt x="84841" y="12153"/>
                    <a:pt x="84841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3" name="Forma livre 492"/>
            <p:cNvSpPr/>
            <p:nvPr/>
          </p:nvSpPr>
          <p:spPr>
            <a:xfrm>
              <a:off x="4058239" y="5953027"/>
              <a:ext cx="75415" cy="89554"/>
            </a:xfrm>
            <a:custGeom>
              <a:avLst/>
              <a:gdLst>
                <a:gd name="connsiteX0" fmla="*/ 0 w 75415"/>
                <a:gd name="connsiteY0" fmla="*/ 89554 h 89554"/>
                <a:gd name="connsiteX1" fmla="*/ 18854 w 75415"/>
                <a:gd name="connsiteY1" fmla="*/ 65987 h 89554"/>
                <a:gd name="connsiteX2" fmla="*/ 23567 w 75415"/>
                <a:gd name="connsiteY2" fmla="*/ 51847 h 89554"/>
                <a:gd name="connsiteX3" fmla="*/ 51848 w 75415"/>
                <a:gd name="connsiteY3" fmla="*/ 32994 h 89554"/>
                <a:gd name="connsiteX4" fmla="*/ 65988 w 75415"/>
                <a:gd name="connsiteY4" fmla="*/ 23567 h 89554"/>
                <a:gd name="connsiteX5" fmla="*/ 75415 w 75415"/>
                <a:gd name="connsiteY5" fmla="*/ 0 h 89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415" h="89554">
                  <a:moveTo>
                    <a:pt x="0" y="89554"/>
                  </a:moveTo>
                  <a:cubicBezTo>
                    <a:pt x="6285" y="81698"/>
                    <a:pt x="13522" y="74518"/>
                    <a:pt x="18854" y="65987"/>
                  </a:cubicBezTo>
                  <a:cubicBezTo>
                    <a:pt x="21487" y="61774"/>
                    <a:pt x="20054" y="55360"/>
                    <a:pt x="23567" y="51847"/>
                  </a:cubicBezTo>
                  <a:cubicBezTo>
                    <a:pt x="31578" y="43836"/>
                    <a:pt x="42421" y="39278"/>
                    <a:pt x="51848" y="32994"/>
                  </a:cubicBezTo>
                  <a:lnTo>
                    <a:pt x="65988" y="23567"/>
                  </a:lnTo>
                  <a:cubicBezTo>
                    <a:pt x="71812" y="6094"/>
                    <a:pt x="68479" y="13871"/>
                    <a:pt x="75415" y="0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4" name="Forma livre 493"/>
            <p:cNvSpPr/>
            <p:nvPr/>
          </p:nvSpPr>
          <p:spPr>
            <a:xfrm>
              <a:off x="3709447" y="5505254"/>
              <a:ext cx="136689" cy="188536"/>
            </a:xfrm>
            <a:custGeom>
              <a:avLst/>
              <a:gdLst>
                <a:gd name="connsiteX0" fmla="*/ 136689 w 136689"/>
                <a:gd name="connsiteY0" fmla="*/ 0 h 188536"/>
                <a:gd name="connsiteX1" fmla="*/ 113122 w 136689"/>
                <a:gd name="connsiteY1" fmla="*/ 4713 h 188536"/>
                <a:gd name="connsiteX2" fmla="*/ 103695 w 136689"/>
                <a:gd name="connsiteY2" fmla="*/ 18853 h 188536"/>
                <a:gd name="connsiteX3" fmla="*/ 89555 w 136689"/>
                <a:gd name="connsiteY3" fmla="*/ 28280 h 188536"/>
                <a:gd name="connsiteX4" fmla="*/ 70701 w 136689"/>
                <a:gd name="connsiteY4" fmla="*/ 56560 h 188536"/>
                <a:gd name="connsiteX5" fmla="*/ 65988 w 136689"/>
                <a:gd name="connsiteY5" fmla="*/ 70701 h 188536"/>
                <a:gd name="connsiteX6" fmla="*/ 47134 w 136689"/>
                <a:gd name="connsiteY6" fmla="*/ 98981 h 188536"/>
                <a:gd name="connsiteX7" fmla="*/ 37708 w 136689"/>
                <a:gd name="connsiteY7" fmla="*/ 127261 h 188536"/>
                <a:gd name="connsiteX8" fmla="*/ 32994 w 136689"/>
                <a:gd name="connsiteY8" fmla="*/ 141402 h 188536"/>
                <a:gd name="connsiteX9" fmla="*/ 14141 w 136689"/>
                <a:gd name="connsiteY9" fmla="*/ 169682 h 188536"/>
                <a:gd name="connsiteX10" fmla="*/ 0 w 136689"/>
                <a:gd name="connsiteY10" fmla="*/ 188536 h 188536"/>
                <a:gd name="connsiteX0" fmla="*/ 136689 w 136689"/>
                <a:gd name="connsiteY0" fmla="*/ 0 h 188536"/>
                <a:gd name="connsiteX1" fmla="*/ 113122 w 136689"/>
                <a:gd name="connsiteY1" fmla="*/ 4713 h 188536"/>
                <a:gd name="connsiteX2" fmla="*/ 89555 w 136689"/>
                <a:gd name="connsiteY2" fmla="*/ 28280 h 188536"/>
                <a:gd name="connsiteX3" fmla="*/ 70701 w 136689"/>
                <a:gd name="connsiteY3" fmla="*/ 56560 h 188536"/>
                <a:gd name="connsiteX4" fmla="*/ 65988 w 136689"/>
                <a:gd name="connsiteY4" fmla="*/ 70701 h 188536"/>
                <a:gd name="connsiteX5" fmla="*/ 47134 w 136689"/>
                <a:gd name="connsiteY5" fmla="*/ 98981 h 188536"/>
                <a:gd name="connsiteX6" fmla="*/ 37708 w 136689"/>
                <a:gd name="connsiteY6" fmla="*/ 127261 h 188536"/>
                <a:gd name="connsiteX7" fmla="*/ 32994 w 136689"/>
                <a:gd name="connsiteY7" fmla="*/ 141402 h 188536"/>
                <a:gd name="connsiteX8" fmla="*/ 14141 w 136689"/>
                <a:gd name="connsiteY8" fmla="*/ 169682 h 188536"/>
                <a:gd name="connsiteX9" fmla="*/ 0 w 136689"/>
                <a:gd name="connsiteY9" fmla="*/ 188536 h 188536"/>
                <a:gd name="connsiteX0" fmla="*/ 136689 w 136689"/>
                <a:gd name="connsiteY0" fmla="*/ 0 h 188536"/>
                <a:gd name="connsiteX1" fmla="*/ 89555 w 136689"/>
                <a:gd name="connsiteY1" fmla="*/ 28280 h 188536"/>
                <a:gd name="connsiteX2" fmla="*/ 70701 w 136689"/>
                <a:gd name="connsiteY2" fmla="*/ 56560 h 188536"/>
                <a:gd name="connsiteX3" fmla="*/ 65988 w 136689"/>
                <a:gd name="connsiteY3" fmla="*/ 70701 h 188536"/>
                <a:gd name="connsiteX4" fmla="*/ 47134 w 136689"/>
                <a:gd name="connsiteY4" fmla="*/ 98981 h 188536"/>
                <a:gd name="connsiteX5" fmla="*/ 37708 w 136689"/>
                <a:gd name="connsiteY5" fmla="*/ 127261 h 188536"/>
                <a:gd name="connsiteX6" fmla="*/ 32994 w 136689"/>
                <a:gd name="connsiteY6" fmla="*/ 141402 h 188536"/>
                <a:gd name="connsiteX7" fmla="*/ 14141 w 136689"/>
                <a:gd name="connsiteY7" fmla="*/ 169682 h 188536"/>
                <a:gd name="connsiteX8" fmla="*/ 0 w 136689"/>
                <a:gd name="connsiteY8" fmla="*/ 188536 h 188536"/>
                <a:gd name="connsiteX0" fmla="*/ 136689 w 136689"/>
                <a:gd name="connsiteY0" fmla="*/ 0 h 188536"/>
                <a:gd name="connsiteX1" fmla="*/ 103695 w 136689"/>
                <a:gd name="connsiteY1" fmla="*/ 37707 h 188536"/>
                <a:gd name="connsiteX2" fmla="*/ 70701 w 136689"/>
                <a:gd name="connsiteY2" fmla="*/ 56560 h 188536"/>
                <a:gd name="connsiteX3" fmla="*/ 65988 w 136689"/>
                <a:gd name="connsiteY3" fmla="*/ 70701 h 188536"/>
                <a:gd name="connsiteX4" fmla="*/ 47134 w 136689"/>
                <a:gd name="connsiteY4" fmla="*/ 98981 h 188536"/>
                <a:gd name="connsiteX5" fmla="*/ 37708 w 136689"/>
                <a:gd name="connsiteY5" fmla="*/ 127261 h 188536"/>
                <a:gd name="connsiteX6" fmla="*/ 32994 w 136689"/>
                <a:gd name="connsiteY6" fmla="*/ 141402 h 188536"/>
                <a:gd name="connsiteX7" fmla="*/ 14141 w 136689"/>
                <a:gd name="connsiteY7" fmla="*/ 169682 h 188536"/>
                <a:gd name="connsiteX8" fmla="*/ 0 w 136689"/>
                <a:gd name="connsiteY8" fmla="*/ 188536 h 188536"/>
                <a:gd name="connsiteX0" fmla="*/ 136689 w 136689"/>
                <a:gd name="connsiteY0" fmla="*/ 0 h 188536"/>
                <a:gd name="connsiteX1" fmla="*/ 103695 w 136689"/>
                <a:gd name="connsiteY1" fmla="*/ 37707 h 188536"/>
                <a:gd name="connsiteX2" fmla="*/ 70701 w 136689"/>
                <a:gd name="connsiteY2" fmla="*/ 56560 h 188536"/>
                <a:gd name="connsiteX3" fmla="*/ 47134 w 136689"/>
                <a:gd name="connsiteY3" fmla="*/ 98981 h 188536"/>
                <a:gd name="connsiteX4" fmla="*/ 37708 w 136689"/>
                <a:gd name="connsiteY4" fmla="*/ 127261 h 188536"/>
                <a:gd name="connsiteX5" fmla="*/ 32994 w 136689"/>
                <a:gd name="connsiteY5" fmla="*/ 141402 h 188536"/>
                <a:gd name="connsiteX6" fmla="*/ 14141 w 136689"/>
                <a:gd name="connsiteY6" fmla="*/ 169682 h 188536"/>
                <a:gd name="connsiteX7" fmla="*/ 0 w 136689"/>
                <a:gd name="connsiteY7" fmla="*/ 188536 h 188536"/>
                <a:gd name="connsiteX0" fmla="*/ 136689 w 136689"/>
                <a:gd name="connsiteY0" fmla="*/ 0 h 188536"/>
                <a:gd name="connsiteX1" fmla="*/ 103695 w 136689"/>
                <a:gd name="connsiteY1" fmla="*/ 37707 h 188536"/>
                <a:gd name="connsiteX2" fmla="*/ 70701 w 136689"/>
                <a:gd name="connsiteY2" fmla="*/ 70701 h 188536"/>
                <a:gd name="connsiteX3" fmla="*/ 47134 w 136689"/>
                <a:gd name="connsiteY3" fmla="*/ 98981 h 188536"/>
                <a:gd name="connsiteX4" fmla="*/ 37708 w 136689"/>
                <a:gd name="connsiteY4" fmla="*/ 127261 h 188536"/>
                <a:gd name="connsiteX5" fmla="*/ 32994 w 136689"/>
                <a:gd name="connsiteY5" fmla="*/ 141402 h 188536"/>
                <a:gd name="connsiteX6" fmla="*/ 14141 w 136689"/>
                <a:gd name="connsiteY6" fmla="*/ 169682 h 188536"/>
                <a:gd name="connsiteX7" fmla="*/ 0 w 136689"/>
                <a:gd name="connsiteY7" fmla="*/ 188536 h 188536"/>
                <a:gd name="connsiteX0" fmla="*/ 136689 w 136689"/>
                <a:gd name="connsiteY0" fmla="*/ 0 h 188536"/>
                <a:gd name="connsiteX1" fmla="*/ 103695 w 136689"/>
                <a:gd name="connsiteY1" fmla="*/ 37707 h 188536"/>
                <a:gd name="connsiteX2" fmla="*/ 70701 w 136689"/>
                <a:gd name="connsiteY2" fmla="*/ 70701 h 188536"/>
                <a:gd name="connsiteX3" fmla="*/ 56561 w 136689"/>
                <a:gd name="connsiteY3" fmla="*/ 108407 h 188536"/>
                <a:gd name="connsiteX4" fmla="*/ 37708 w 136689"/>
                <a:gd name="connsiteY4" fmla="*/ 127261 h 188536"/>
                <a:gd name="connsiteX5" fmla="*/ 32994 w 136689"/>
                <a:gd name="connsiteY5" fmla="*/ 141402 h 188536"/>
                <a:gd name="connsiteX6" fmla="*/ 14141 w 136689"/>
                <a:gd name="connsiteY6" fmla="*/ 169682 h 188536"/>
                <a:gd name="connsiteX7" fmla="*/ 0 w 136689"/>
                <a:gd name="connsiteY7" fmla="*/ 188536 h 188536"/>
                <a:gd name="connsiteX0" fmla="*/ 136689 w 136689"/>
                <a:gd name="connsiteY0" fmla="*/ 0 h 188536"/>
                <a:gd name="connsiteX1" fmla="*/ 103695 w 136689"/>
                <a:gd name="connsiteY1" fmla="*/ 37707 h 188536"/>
                <a:gd name="connsiteX2" fmla="*/ 70701 w 136689"/>
                <a:gd name="connsiteY2" fmla="*/ 70701 h 188536"/>
                <a:gd name="connsiteX3" fmla="*/ 56561 w 136689"/>
                <a:gd name="connsiteY3" fmla="*/ 108407 h 188536"/>
                <a:gd name="connsiteX4" fmla="*/ 37708 w 136689"/>
                <a:gd name="connsiteY4" fmla="*/ 127261 h 188536"/>
                <a:gd name="connsiteX5" fmla="*/ 14141 w 136689"/>
                <a:gd name="connsiteY5" fmla="*/ 169682 h 188536"/>
                <a:gd name="connsiteX6" fmla="*/ 0 w 136689"/>
                <a:gd name="connsiteY6" fmla="*/ 188536 h 188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6689" h="188536">
                  <a:moveTo>
                    <a:pt x="136689" y="0"/>
                  </a:moveTo>
                  <a:cubicBezTo>
                    <a:pt x="126870" y="5892"/>
                    <a:pt x="114693" y="28280"/>
                    <a:pt x="103695" y="37707"/>
                  </a:cubicBezTo>
                  <a:cubicBezTo>
                    <a:pt x="97410" y="47134"/>
                    <a:pt x="78557" y="58918"/>
                    <a:pt x="70701" y="70701"/>
                  </a:cubicBezTo>
                  <a:cubicBezTo>
                    <a:pt x="62845" y="82484"/>
                    <a:pt x="62060" y="98980"/>
                    <a:pt x="56561" y="108407"/>
                  </a:cubicBezTo>
                  <a:cubicBezTo>
                    <a:pt x="51062" y="117834"/>
                    <a:pt x="44778" y="117049"/>
                    <a:pt x="37708" y="127261"/>
                  </a:cubicBezTo>
                  <a:cubicBezTo>
                    <a:pt x="30638" y="137473"/>
                    <a:pt x="20426" y="159470"/>
                    <a:pt x="14141" y="169682"/>
                  </a:cubicBezTo>
                  <a:cubicBezTo>
                    <a:pt x="7856" y="179895"/>
                    <a:pt x="13871" y="181600"/>
                    <a:pt x="0" y="188536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5" name="Forma livre 494"/>
            <p:cNvSpPr/>
            <p:nvPr/>
          </p:nvSpPr>
          <p:spPr>
            <a:xfrm>
              <a:off x="3101419" y="5797485"/>
              <a:ext cx="400639" cy="51847"/>
            </a:xfrm>
            <a:custGeom>
              <a:avLst/>
              <a:gdLst>
                <a:gd name="connsiteX0" fmla="*/ 0 w 400639"/>
                <a:gd name="connsiteY0" fmla="*/ 51847 h 51847"/>
                <a:gd name="connsiteX1" fmla="*/ 23567 w 400639"/>
                <a:gd name="connsiteY1" fmla="*/ 42420 h 51847"/>
                <a:gd name="connsiteX2" fmla="*/ 141402 w 400639"/>
                <a:gd name="connsiteY2" fmla="*/ 32993 h 51847"/>
                <a:gd name="connsiteX3" fmla="*/ 164969 w 400639"/>
                <a:gd name="connsiteY3" fmla="*/ 28280 h 51847"/>
                <a:gd name="connsiteX4" fmla="*/ 183822 w 400639"/>
                <a:gd name="connsiteY4" fmla="*/ 23567 h 51847"/>
                <a:gd name="connsiteX5" fmla="*/ 348791 w 400639"/>
                <a:gd name="connsiteY5" fmla="*/ 18853 h 51847"/>
                <a:gd name="connsiteX6" fmla="*/ 377072 w 400639"/>
                <a:gd name="connsiteY6" fmla="*/ 9426 h 51847"/>
                <a:gd name="connsiteX7" fmla="*/ 391212 w 400639"/>
                <a:gd name="connsiteY7" fmla="*/ 4713 h 51847"/>
                <a:gd name="connsiteX8" fmla="*/ 400639 w 400639"/>
                <a:gd name="connsiteY8" fmla="*/ 0 h 51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00639" h="51847">
                  <a:moveTo>
                    <a:pt x="0" y="51847"/>
                  </a:moveTo>
                  <a:cubicBezTo>
                    <a:pt x="7856" y="48705"/>
                    <a:pt x="15463" y="44851"/>
                    <a:pt x="23567" y="42420"/>
                  </a:cubicBezTo>
                  <a:cubicBezTo>
                    <a:pt x="56214" y="32626"/>
                    <a:pt x="124632" y="33832"/>
                    <a:pt x="141402" y="32993"/>
                  </a:cubicBezTo>
                  <a:cubicBezTo>
                    <a:pt x="149258" y="31422"/>
                    <a:pt x="157149" y="30018"/>
                    <a:pt x="164969" y="28280"/>
                  </a:cubicBezTo>
                  <a:cubicBezTo>
                    <a:pt x="171292" y="26875"/>
                    <a:pt x="177353" y="23899"/>
                    <a:pt x="183822" y="23567"/>
                  </a:cubicBezTo>
                  <a:cubicBezTo>
                    <a:pt x="238762" y="20749"/>
                    <a:pt x="293801" y="20424"/>
                    <a:pt x="348791" y="18853"/>
                  </a:cubicBezTo>
                  <a:lnTo>
                    <a:pt x="377072" y="9426"/>
                  </a:lnTo>
                  <a:cubicBezTo>
                    <a:pt x="381785" y="7855"/>
                    <a:pt x="386768" y="6935"/>
                    <a:pt x="391212" y="4713"/>
                  </a:cubicBezTo>
                  <a:lnTo>
                    <a:pt x="400639" y="0"/>
                  </a:ln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856" name="Forma livre 495"/>
            <p:cNvSpPr/>
            <p:nvPr/>
          </p:nvSpPr>
          <p:spPr>
            <a:xfrm>
              <a:off x="3695307" y="5769204"/>
              <a:ext cx="155542" cy="28281"/>
            </a:xfrm>
            <a:custGeom>
              <a:avLst/>
              <a:gdLst>
                <a:gd name="connsiteX0" fmla="*/ 0 w 155542"/>
                <a:gd name="connsiteY0" fmla="*/ 18854 h 28281"/>
                <a:gd name="connsiteX1" fmla="*/ 23567 w 155542"/>
                <a:gd name="connsiteY1" fmla="*/ 9427 h 28281"/>
                <a:gd name="connsiteX2" fmla="*/ 42421 w 155542"/>
                <a:gd name="connsiteY2" fmla="*/ 4714 h 28281"/>
                <a:gd name="connsiteX3" fmla="*/ 56561 w 155542"/>
                <a:gd name="connsiteY3" fmla="*/ 0 h 28281"/>
                <a:gd name="connsiteX4" fmla="*/ 127262 w 155542"/>
                <a:gd name="connsiteY4" fmla="*/ 9427 h 28281"/>
                <a:gd name="connsiteX5" fmla="*/ 155542 w 155542"/>
                <a:gd name="connsiteY5" fmla="*/ 28281 h 28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542" h="28281">
                  <a:moveTo>
                    <a:pt x="0" y="18854"/>
                  </a:moveTo>
                  <a:cubicBezTo>
                    <a:pt x="7856" y="15712"/>
                    <a:pt x="15540" y="12102"/>
                    <a:pt x="23567" y="9427"/>
                  </a:cubicBezTo>
                  <a:cubicBezTo>
                    <a:pt x="29713" y="7379"/>
                    <a:pt x="36192" y="6494"/>
                    <a:pt x="42421" y="4714"/>
                  </a:cubicBezTo>
                  <a:cubicBezTo>
                    <a:pt x="47198" y="3349"/>
                    <a:pt x="51848" y="1571"/>
                    <a:pt x="56561" y="0"/>
                  </a:cubicBezTo>
                  <a:cubicBezTo>
                    <a:pt x="60563" y="334"/>
                    <a:pt x="110276" y="-10"/>
                    <a:pt x="127262" y="9427"/>
                  </a:cubicBezTo>
                  <a:cubicBezTo>
                    <a:pt x="137166" y="14929"/>
                    <a:pt x="155542" y="28281"/>
                    <a:pt x="155542" y="28281"/>
                  </a:cubicBezTo>
                </a:path>
              </a:pathLst>
            </a:custGeom>
            <a:noFill/>
            <a:ln w="25400">
              <a:solidFill>
                <a:schemeClr val="bg1">
                  <a:lumMod val="50000"/>
                  <a:alpha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348039" y="243917"/>
            <a:ext cx="5463407" cy="6234671"/>
            <a:chOff x="3348038" y="243917"/>
            <a:chExt cx="5463407" cy="6234671"/>
          </a:xfrm>
        </p:grpSpPr>
        <p:sp>
          <p:nvSpPr>
            <p:cNvPr id="430" name="CaixaDeTexto 131"/>
            <p:cNvSpPr txBox="1">
              <a:spLocks noChangeArrowheads="1"/>
            </p:cNvSpPr>
            <p:nvPr/>
          </p:nvSpPr>
          <p:spPr bwMode="auto">
            <a:xfrm>
              <a:off x="3761189" y="243917"/>
              <a:ext cx="5050256" cy="73866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rtlCol="0" anchor="t" anchorCtr="0">
              <a:spAutoFit/>
            </a:bodyPr>
            <a:lstStyle>
              <a:defPPr>
                <a:defRPr lang="en-US"/>
              </a:defPPr>
              <a:lvl1pPr algn="ctr">
                <a:spcBef>
                  <a:spcPct val="0"/>
                </a:spcBef>
                <a:buNone/>
                <a:defRPr sz="2400" b="1">
                  <a:solidFill>
                    <a:schemeClr val="accent3">
                      <a:lumMod val="50000"/>
                    </a:schemeClr>
                  </a:solidFill>
                  <a:latin typeface="Arial" pitchFamily="34" charset="0"/>
                  <a:ea typeface="+mj-ea"/>
                  <a:cs typeface="Arial" pitchFamily="34" charset="0"/>
                </a:defRPr>
              </a:lvl1pPr>
            </a:lstStyle>
            <a:p>
              <a:pPr algn="r"/>
              <a:r>
                <a:rPr lang="pt-BR" dirty="0" smtClean="0">
                  <a:solidFill>
                    <a:schemeClr val="bg2">
                      <a:lumMod val="25000"/>
                    </a:schemeClr>
                  </a:solidFill>
                  <a:latin typeface="Calibri" pitchFamily="34" charset="0"/>
                  <a:ea typeface="ＭＳ Ｐゴシック" pitchFamily="34" charset="-128"/>
                  <a:cs typeface="+mn-cs"/>
                </a:rPr>
                <a:t>Malha Rodoviária</a:t>
              </a:r>
            </a:p>
            <a:p>
              <a:pPr algn="r"/>
              <a:r>
                <a:rPr lang="pt-BR" dirty="0" smtClean="0">
                  <a:solidFill>
                    <a:schemeClr val="bg2">
                      <a:lumMod val="25000"/>
                    </a:schemeClr>
                  </a:solidFill>
                  <a:latin typeface="Calibri" pitchFamily="34" charset="0"/>
                  <a:ea typeface="ＭＳ Ｐゴシック" pitchFamily="34" charset="-128"/>
                  <a:cs typeface="+mn-cs"/>
                </a:rPr>
                <a:t>Ampliação de Capacidade</a:t>
              </a:r>
              <a:endParaRPr lang="pt-BR" dirty="0">
                <a:solidFill>
                  <a:schemeClr val="bg2">
                    <a:lumMod val="25000"/>
                  </a:schemeClr>
                </a:solidFill>
                <a:latin typeface="Calibri" pitchFamily="34" charset="0"/>
                <a:ea typeface="ＭＳ Ｐゴシック" pitchFamily="34" charset="-128"/>
                <a:cs typeface="+mn-cs"/>
              </a:endParaRPr>
            </a:p>
          </p:txBody>
        </p:sp>
        <p:grpSp>
          <p:nvGrpSpPr>
            <p:cNvPr id="485" name="Grupo 7"/>
            <p:cNvGrpSpPr/>
            <p:nvPr/>
          </p:nvGrpSpPr>
          <p:grpSpPr>
            <a:xfrm>
              <a:off x="3348038" y="4421188"/>
              <a:ext cx="5433608" cy="2057400"/>
              <a:chOff x="3348038" y="4421188"/>
              <a:chExt cx="5433608" cy="2057400"/>
            </a:xfrm>
          </p:grpSpPr>
          <p:grpSp>
            <p:nvGrpSpPr>
              <p:cNvPr id="486" name="Grupo 330"/>
              <p:cNvGrpSpPr>
                <a:grpSpLocks/>
              </p:cNvGrpSpPr>
              <p:nvPr/>
            </p:nvGrpSpPr>
            <p:grpSpPr bwMode="auto">
              <a:xfrm>
                <a:off x="3448050" y="4719638"/>
                <a:ext cx="1847850" cy="1758950"/>
                <a:chOff x="3447789" y="4719181"/>
                <a:chExt cx="1847589" cy="1759907"/>
              </a:xfrm>
            </p:grpSpPr>
            <p:sp>
              <p:nvSpPr>
                <p:cNvPr id="512" name="Forma livre 725"/>
                <p:cNvSpPr/>
                <p:nvPr/>
              </p:nvSpPr>
              <p:spPr>
                <a:xfrm>
                  <a:off x="3516042" y="6115352"/>
                  <a:ext cx="192060" cy="231901"/>
                </a:xfrm>
                <a:custGeom>
                  <a:avLst/>
                  <a:gdLst>
                    <a:gd name="connsiteX0" fmla="*/ 0 w 191022"/>
                    <a:gd name="connsiteY0" fmla="*/ 0 h 231731"/>
                    <a:gd name="connsiteX1" fmla="*/ 9395 w 191022"/>
                    <a:gd name="connsiteY1" fmla="*/ 37578 h 231731"/>
                    <a:gd name="connsiteX2" fmla="*/ 18789 w 191022"/>
                    <a:gd name="connsiteY2" fmla="*/ 46972 h 231731"/>
                    <a:gd name="connsiteX3" fmla="*/ 28184 w 191022"/>
                    <a:gd name="connsiteY3" fmla="*/ 50104 h 231731"/>
                    <a:gd name="connsiteX4" fmla="*/ 34447 w 191022"/>
                    <a:gd name="connsiteY4" fmla="*/ 59499 h 231731"/>
                    <a:gd name="connsiteX5" fmla="*/ 37578 w 191022"/>
                    <a:gd name="connsiteY5" fmla="*/ 68893 h 231731"/>
                    <a:gd name="connsiteX6" fmla="*/ 46973 w 191022"/>
                    <a:gd name="connsiteY6" fmla="*/ 75156 h 231731"/>
                    <a:gd name="connsiteX7" fmla="*/ 65762 w 191022"/>
                    <a:gd name="connsiteY7" fmla="*/ 93945 h 231731"/>
                    <a:gd name="connsiteX8" fmla="*/ 84551 w 191022"/>
                    <a:gd name="connsiteY8" fmla="*/ 103340 h 231731"/>
                    <a:gd name="connsiteX9" fmla="*/ 93945 w 191022"/>
                    <a:gd name="connsiteY9" fmla="*/ 106471 h 231731"/>
                    <a:gd name="connsiteX10" fmla="*/ 100208 w 191022"/>
                    <a:gd name="connsiteY10" fmla="*/ 115866 h 231731"/>
                    <a:gd name="connsiteX11" fmla="*/ 109603 w 191022"/>
                    <a:gd name="connsiteY11" fmla="*/ 118997 h 231731"/>
                    <a:gd name="connsiteX12" fmla="*/ 115866 w 191022"/>
                    <a:gd name="connsiteY12" fmla="*/ 137786 h 231731"/>
                    <a:gd name="connsiteX13" fmla="*/ 122129 w 191022"/>
                    <a:gd name="connsiteY13" fmla="*/ 147181 h 231731"/>
                    <a:gd name="connsiteX14" fmla="*/ 125260 w 191022"/>
                    <a:gd name="connsiteY14" fmla="*/ 156575 h 231731"/>
                    <a:gd name="connsiteX15" fmla="*/ 144050 w 191022"/>
                    <a:gd name="connsiteY15" fmla="*/ 172233 h 231731"/>
                    <a:gd name="connsiteX16" fmla="*/ 150313 w 191022"/>
                    <a:gd name="connsiteY16" fmla="*/ 191022 h 231731"/>
                    <a:gd name="connsiteX17" fmla="*/ 153444 w 191022"/>
                    <a:gd name="connsiteY17" fmla="*/ 200416 h 231731"/>
                    <a:gd name="connsiteX18" fmla="*/ 172233 w 191022"/>
                    <a:gd name="connsiteY18" fmla="*/ 212942 h 231731"/>
                    <a:gd name="connsiteX19" fmla="*/ 175365 w 191022"/>
                    <a:gd name="connsiteY19" fmla="*/ 222337 h 231731"/>
                    <a:gd name="connsiteX20" fmla="*/ 187891 w 191022"/>
                    <a:gd name="connsiteY20" fmla="*/ 228600 h 231731"/>
                    <a:gd name="connsiteX21" fmla="*/ 191022 w 191022"/>
                    <a:gd name="connsiteY21" fmla="*/ 231731 h 2317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191022" h="231731">
                      <a:moveTo>
                        <a:pt x="0" y="0"/>
                      </a:moveTo>
                      <a:cubicBezTo>
                        <a:pt x="1035" y="6209"/>
                        <a:pt x="4433" y="32616"/>
                        <a:pt x="9395" y="37578"/>
                      </a:cubicBezTo>
                      <a:cubicBezTo>
                        <a:pt x="12526" y="40709"/>
                        <a:pt x="15104" y="44516"/>
                        <a:pt x="18789" y="46972"/>
                      </a:cubicBezTo>
                      <a:cubicBezTo>
                        <a:pt x="21536" y="48803"/>
                        <a:pt x="25052" y="49060"/>
                        <a:pt x="28184" y="50104"/>
                      </a:cubicBezTo>
                      <a:cubicBezTo>
                        <a:pt x="30272" y="53236"/>
                        <a:pt x="32764" y="56133"/>
                        <a:pt x="34447" y="59499"/>
                      </a:cubicBezTo>
                      <a:cubicBezTo>
                        <a:pt x="35923" y="62451"/>
                        <a:pt x="35516" y="66316"/>
                        <a:pt x="37578" y="68893"/>
                      </a:cubicBezTo>
                      <a:cubicBezTo>
                        <a:pt x="39929" y="71832"/>
                        <a:pt x="44160" y="72656"/>
                        <a:pt x="46973" y="75156"/>
                      </a:cubicBezTo>
                      <a:cubicBezTo>
                        <a:pt x="53593" y="81040"/>
                        <a:pt x="57359" y="91144"/>
                        <a:pt x="65762" y="93945"/>
                      </a:cubicBezTo>
                      <a:cubicBezTo>
                        <a:pt x="89380" y="101819"/>
                        <a:pt x="60262" y="91196"/>
                        <a:pt x="84551" y="103340"/>
                      </a:cubicBezTo>
                      <a:cubicBezTo>
                        <a:pt x="87503" y="104816"/>
                        <a:pt x="90814" y="105427"/>
                        <a:pt x="93945" y="106471"/>
                      </a:cubicBezTo>
                      <a:cubicBezTo>
                        <a:pt x="96033" y="109603"/>
                        <a:pt x="97269" y="113515"/>
                        <a:pt x="100208" y="115866"/>
                      </a:cubicBezTo>
                      <a:cubicBezTo>
                        <a:pt x="102786" y="117928"/>
                        <a:pt x="107684" y="116311"/>
                        <a:pt x="109603" y="118997"/>
                      </a:cubicBezTo>
                      <a:cubicBezTo>
                        <a:pt x="113440" y="124369"/>
                        <a:pt x="112204" y="132293"/>
                        <a:pt x="115866" y="137786"/>
                      </a:cubicBezTo>
                      <a:lnTo>
                        <a:pt x="122129" y="147181"/>
                      </a:lnTo>
                      <a:cubicBezTo>
                        <a:pt x="123173" y="150312"/>
                        <a:pt x="123429" y="153829"/>
                        <a:pt x="125260" y="156575"/>
                      </a:cubicBezTo>
                      <a:cubicBezTo>
                        <a:pt x="130083" y="163809"/>
                        <a:pt x="137117" y="167611"/>
                        <a:pt x="144050" y="172233"/>
                      </a:cubicBezTo>
                      <a:lnTo>
                        <a:pt x="150313" y="191022"/>
                      </a:lnTo>
                      <a:cubicBezTo>
                        <a:pt x="151357" y="194153"/>
                        <a:pt x="150698" y="198585"/>
                        <a:pt x="153444" y="200416"/>
                      </a:cubicBezTo>
                      <a:lnTo>
                        <a:pt x="172233" y="212942"/>
                      </a:lnTo>
                      <a:cubicBezTo>
                        <a:pt x="173277" y="216074"/>
                        <a:pt x="173031" y="220003"/>
                        <a:pt x="175365" y="222337"/>
                      </a:cubicBezTo>
                      <a:cubicBezTo>
                        <a:pt x="178666" y="225638"/>
                        <a:pt x="183888" y="226198"/>
                        <a:pt x="187891" y="228600"/>
                      </a:cubicBezTo>
                      <a:cubicBezTo>
                        <a:pt x="189157" y="229359"/>
                        <a:pt x="189978" y="230687"/>
                        <a:pt x="191022" y="231731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3" name="Forma livre 726"/>
                <p:cNvSpPr/>
                <p:nvPr/>
              </p:nvSpPr>
              <p:spPr>
                <a:xfrm>
                  <a:off x="3544613" y="6204301"/>
                  <a:ext cx="253964" cy="274787"/>
                </a:xfrm>
                <a:custGeom>
                  <a:avLst/>
                  <a:gdLst>
                    <a:gd name="connsiteX0" fmla="*/ 253652 w 253652"/>
                    <a:gd name="connsiteY0" fmla="*/ 0 h 275573"/>
                    <a:gd name="connsiteX1" fmla="*/ 237994 w 253652"/>
                    <a:gd name="connsiteY1" fmla="*/ 9395 h 275573"/>
                    <a:gd name="connsiteX2" fmla="*/ 219205 w 253652"/>
                    <a:gd name="connsiteY2" fmla="*/ 15658 h 275573"/>
                    <a:gd name="connsiteX3" fmla="*/ 212942 w 253652"/>
                    <a:gd name="connsiteY3" fmla="*/ 25052 h 275573"/>
                    <a:gd name="connsiteX4" fmla="*/ 219205 w 253652"/>
                    <a:gd name="connsiteY4" fmla="*/ 43841 h 275573"/>
                    <a:gd name="connsiteX5" fmla="*/ 212942 w 253652"/>
                    <a:gd name="connsiteY5" fmla="*/ 75156 h 275573"/>
                    <a:gd name="connsiteX6" fmla="*/ 206679 w 253652"/>
                    <a:gd name="connsiteY6" fmla="*/ 84551 h 275573"/>
                    <a:gd name="connsiteX7" fmla="*/ 197285 w 253652"/>
                    <a:gd name="connsiteY7" fmla="*/ 87682 h 275573"/>
                    <a:gd name="connsiteX8" fmla="*/ 184759 w 253652"/>
                    <a:gd name="connsiteY8" fmla="*/ 103340 h 275573"/>
                    <a:gd name="connsiteX9" fmla="*/ 181627 w 253652"/>
                    <a:gd name="connsiteY9" fmla="*/ 115866 h 275573"/>
                    <a:gd name="connsiteX10" fmla="*/ 172233 w 253652"/>
                    <a:gd name="connsiteY10" fmla="*/ 134655 h 275573"/>
                    <a:gd name="connsiteX11" fmla="*/ 159707 w 253652"/>
                    <a:gd name="connsiteY11" fmla="*/ 140918 h 275573"/>
                    <a:gd name="connsiteX12" fmla="*/ 147181 w 253652"/>
                    <a:gd name="connsiteY12" fmla="*/ 159707 h 275573"/>
                    <a:gd name="connsiteX13" fmla="*/ 128392 w 253652"/>
                    <a:gd name="connsiteY13" fmla="*/ 165970 h 275573"/>
                    <a:gd name="connsiteX14" fmla="*/ 122129 w 253652"/>
                    <a:gd name="connsiteY14" fmla="*/ 175364 h 275573"/>
                    <a:gd name="connsiteX15" fmla="*/ 103339 w 253652"/>
                    <a:gd name="connsiteY15" fmla="*/ 184759 h 275573"/>
                    <a:gd name="connsiteX16" fmla="*/ 97076 w 253652"/>
                    <a:gd name="connsiteY16" fmla="*/ 194153 h 275573"/>
                    <a:gd name="connsiteX17" fmla="*/ 84550 w 253652"/>
                    <a:gd name="connsiteY17" fmla="*/ 209811 h 275573"/>
                    <a:gd name="connsiteX18" fmla="*/ 78287 w 253652"/>
                    <a:gd name="connsiteY18" fmla="*/ 222337 h 275573"/>
                    <a:gd name="connsiteX19" fmla="*/ 59498 w 253652"/>
                    <a:gd name="connsiteY19" fmla="*/ 228600 h 275573"/>
                    <a:gd name="connsiteX20" fmla="*/ 40709 w 253652"/>
                    <a:gd name="connsiteY20" fmla="*/ 241126 h 275573"/>
                    <a:gd name="connsiteX21" fmla="*/ 31315 w 253652"/>
                    <a:gd name="connsiteY21" fmla="*/ 250521 h 275573"/>
                    <a:gd name="connsiteX22" fmla="*/ 0 w 253652"/>
                    <a:gd name="connsiteY22" fmla="*/ 275573 h 2755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53652" h="275573">
                      <a:moveTo>
                        <a:pt x="253652" y="0"/>
                      </a:moveTo>
                      <a:cubicBezTo>
                        <a:pt x="248433" y="3132"/>
                        <a:pt x="243535" y="6876"/>
                        <a:pt x="237994" y="9395"/>
                      </a:cubicBezTo>
                      <a:cubicBezTo>
                        <a:pt x="231984" y="12127"/>
                        <a:pt x="219205" y="15658"/>
                        <a:pt x="219205" y="15658"/>
                      </a:cubicBezTo>
                      <a:cubicBezTo>
                        <a:pt x="217117" y="18789"/>
                        <a:pt x="212942" y="21289"/>
                        <a:pt x="212942" y="25052"/>
                      </a:cubicBezTo>
                      <a:cubicBezTo>
                        <a:pt x="212942" y="31654"/>
                        <a:pt x="219205" y="43841"/>
                        <a:pt x="219205" y="43841"/>
                      </a:cubicBezTo>
                      <a:cubicBezTo>
                        <a:pt x="218050" y="51926"/>
                        <a:pt x="217316" y="66408"/>
                        <a:pt x="212942" y="75156"/>
                      </a:cubicBezTo>
                      <a:cubicBezTo>
                        <a:pt x="211259" y="78522"/>
                        <a:pt x="209618" y="82200"/>
                        <a:pt x="206679" y="84551"/>
                      </a:cubicBezTo>
                      <a:cubicBezTo>
                        <a:pt x="204102" y="86613"/>
                        <a:pt x="200416" y="86638"/>
                        <a:pt x="197285" y="87682"/>
                      </a:cubicBezTo>
                      <a:cubicBezTo>
                        <a:pt x="187046" y="118397"/>
                        <a:pt x="203646" y="75010"/>
                        <a:pt x="184759" y="103340"/>
                      </a:cubicBezTo>
                      <a:cubicBezTo>
                        <a:pt x="182372" y="106921"/>
                        <a:pt x="182809" y="111728"/>
                        <a:pt x="181627" y="115866"/>
                      </a:cubicBezTo>
                      <a:cubicBezTo>
                        <a:pt x="179890" y="121945"/>
                        <a:pt x="177380" y="130366"/>
                        <a:pt x="172233" y="134655"/>
                      </a:cubicBezTo>
                      <a:cubicBezTo>
                        <a:pt x="168647" y="137644"/>
                        <a:pt x="163882" y="138830"/>
                        <a:pt x="159707" y="140918"/>
                      </a:cubicBezTo>
                      <a:cubicBezTo>
                        <a:pt x="155532" y="147181"/>
                        <a:pt x="154322" y="157327"/>
                        <a:pt x="147181" y="159707"/>
                      </a:cubicBezTo>
                      <a:lnTo>
                        <a:pt x="128392" y="165970"/>
                      </a:lnTo>
                      <a:cubicBezTo>
                        <a:pt x="126304" y="169101"/>
                        <a:pt x="124790" y="172703"/>
                        <a:pt x="122129" y="175364"/>
                      </a:cubicBezTo>
                      <a:cubicBezTo>
                        <a:pt x="116059" y="181434"/>
                        <a:pt x="110980" y="182212"/>
                        <a:pt x="103339" y="184759"/>
                      </a:cubicBezTo>
                      <a:cubicBezTo>
                        <a:pt x="101251" y="187890"/>
                        <a:pt x="99427" y="191214"/>
                        <a:pt x="97076" y="194153"/>
                      </a:cubicBezTo>
                      <a:cubicBezTo>
                        <a:pt x="86792" y="207009"/>
                        <a:pt x="94185" y="192951"/>
                        <a:pt x="84550" y="209811"/>
                      </a:cubicBezTo>
                      <a:cubicBezTo>
                        <a:pt x="82234" y="213864"/>
                        <a:pt x="82022" y="219536"/>
                        <a:pt x="78287" y="222337"/>
                      </a:cubicBezTo>
                      <a:cubicBezTo>
                        <a:pt x="73006" y="226298"/>
                        <a:pt x="59498" y="228600"/>
                        <a:pt x="59498" y="228600"/>
                      </a:cubicBezTo>
                      <a:cubicBezTo>
                        <a:pt x="53235" y="232775"/>
                        <a:pt x="46031" y="235803"/>
                        <a:pt x="40709" y="241126"/>
                      </a:cubicBezTo>
                      <a:cubicBezTo>
                        <a:pt x="37578" y="244258"/>
                        <a:pt x="34743" y="247717"/>
                        <a:pt x="31315" y="250521"/>
                      </a:cubicBezTo>
                      <a:cubicBezTo>
                        <a:pt x="-6385" y="281367"/>
                        <a:pt x="16553" y="259020"/>
                        <a:pt x="0" y="275573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4" name="Forma livre 727"/>
                <p:cNvSpPr/>
                <p:nvPr/>
              </p:nvSpPr>
              <p:spPr>
                <a:xfrm>
                  <a:off x="3447789" y="6275777"/>
                  <a:ext cx="257139" cy="73065"/>
                </a:xfrm>
                <a:custGeom>
                  <a:avLst/>
                  <a:gdLst>
                    <a:gd name="connsiteX0" fmla="*/ 0 w 256784"/>
                    <a:gd name="connsiteY0" fmla="*/ 0 h 73843"/>
                    <a:gd name="connsiteX1" fmla="*/ 15658 w 256784"/>
                    <a:gd name="connsiteY1" fmla="*/ 12526 h 73843"/>
                    <a:gd name="connsiteX2" fmla="*/ 34447 w 256784"/>
                    <a:gd name="connsiteY2" fmla="*/ 18789 h 73843"/>
                    <a:gd name="connsiteX3" fmla="*/ 53236 w 256784"/>
                    <a:gd name="connsiteY3" fmla="*/ 28183 h 73843"/>
                    <a:gd name="connsiteX4" fmla="*/ 103340 w 256784"/>
                    <a:gd name="connsiteY4" fmla="*/ 43841 h 73843"/>
                    <a:gd name="connsiteX5" fmla="*/ 134655 w 256784"/>
                    <a:gd name="connsiteY5" fmla="*/ 53235 h 73843"/>
                    <a:gd name="connsiteX6" fmla="*/ 144049 w 256784"/>
                    <a:gd name="connsiteY6" fmla="*/ 56367 h 73843"/>
                    <a:gd name="connsiteX7" fmla="*/ 162838 w 256784"/>
                    <a:gd name="connsiteY7" fmla="*/ 59498 h 73843"/>
                    <a:gd name="connsiteX8" fmla="*/ 172233 w 256784"/>
                    <a:gd name="connsiteY8" fmla="*/ 65761 h 73843"/>
                    <a:gd name="connsiteX9" fmla="*/ 256784 w 256784"/>
                    <a:gd name="connsiteY9" fmla="*/ 72024 h 738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56784" h="73843">
                      <a:moveTo>
                        <a:pt x="0" y="0"/>
                      </a:moveTo>
                      <a:cubicBezTo>
                        <a:pt x="5219" y="4175"/>
                        <a:pt x="9790" y="9325"/>
                        <a:pt x="15658" y="12526"/>
                      </a:cubicBezTo>
                      <a:cubicBezTo>
                        <a:pt x="21454" y="15687"/>
                        <a:pt x="28954" y="15127"/>
                        <a:pt x="34447" y="18789"/>
                      </a:cubicBezTo>
                      <a:cubicBezTo>
                        <a:pt x="46588" y="26883"/>
                        <a:pt x="40271" y="23862"/>
                        <a:pt x="53236" y="28183"/>
                      </a:cubicBezTo>
                      <a:cubicBezTo>
                        <a:pt x="80754" y="46528"/>
                        <a:pt x="64535" y="39960"/>
                        <a:pt x="103340" y="43841"/>
                      </a:cubicBezTo>
                      <a:cubicBezTo>
                        <a:pt x="148022" y="58735"/>
                        <a:pt x="101506" y="43764"/>
                        <a:pt x="134655" y="53235"/>
                      </a:cubicBezTo>
                      <a:cubicBezTo>
                        <a:pt x="137829" y="54142"/>
                        <a:pt x="140827" y="55651"/>
                        <a:pt x="144049" y="56367"/>
                      </a:cubicBezTo>
                      <a:cubicBezTo>
                        <a:pt x="150247" y="57744"/>
                        <a:pt x="156575" y="58454"/>
                        <a:pt x="162838" y="59498"/>
                      </a:cubicBezTo>
                      <a:cubicBezTo>
                        <a:pt x="165970" y="61586"/>
                        <a:pt x="168794" y="64232"/>
                        <a:pt x="172233" y="65761"/>
                      </a:cubicBezTo>
                      <a:cubicBezTo>
                        <a:pt x="201922" y="78956"/>
                        <a:pt x="217278" y="72024"/>
                        <a:pt x="256784" y="72024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5" name="Forma livre 728"/>
                <p:cNvSpPr/>
                <p:nvPr/>
              </p:nvSpPr>
              <p:spPr>
                <a:xfrm>
                  <a:off x="3904924" y="6047053"/>
                  <a:ext cx="150792" cy="12707"/>
                </a:xfrm>
                <a:custGeom>
                  <a:avLst/>
                  <a:gdLst>
                    <a:gd name="connsiteX0" fmla="*/ 0 w 150312"/>
                    <a:gd name="connsiteY0" fmla="*/ 12893 h 12893"/>
                    <a:gd name="connsiteX1" fmla="*/ 50104 w 150312"/>
                    <a:gd name="connsiteY1" fmla="*/ 6630 h 12893"/>
                    <a:gd name="connsiteX2" fmla="*/ 78288 w 150312"/>
                    <a:gd name="connsiteY2" fmla="*/ 367 h 12893"/>
                    <a:gd name="connsiteX3" fmla="*/ 150312 w 150312"/>
                    <a:gd name="connsiteY3" fmla="*/ 367 h 1289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0312" h="12893">
                      <a:moveTo>
                        <a:pt x="0" y="12893"/>
                      </a:moveTo>
                      <a:cubicBezTo>
                        <a:pt x="15739" y="11319"/>
                        <a:pt x="34219" y="10160"/>
                        <a:pt x="50104" y="6630"/>
                      </a:cubicBezTo>
                      <a:cubicBezTo>
                        <a:pt x="66582" y="2968"/>
                        <a:pt x="54204" y="1197"/>
                        <a:pt x="78288" y="367"/>
                      </a:cubicBezTo>
                      <a:cubicBezTo>
                        <a:pt x="102282" y="-460"/>
                        <a:pt x="126304" y="367"/>
                        <a:pt x="150312" y="367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6" name="Forma livre 729"/>
                <p:cNvSpPr/>
                <p:nvPr/>
              </p:nvSpPr>
              <p:spPr>
                <a:xfrm>
                  <a:off x="4635071" y="4822424"/>
                  <a:ext cx="595229" cy="166779"/>
                </a:xfrm>
                <a:custGeom>
                  <a:avLst/>
                  <a:gdLst>
                    <a:gd name="connsiteX0" fmla="*/ 0 w 594986"/>
                    <a:gd name="connsiteY0" fmla="*/ 165969 h 165969"/>
                    <a:gd name="connsiteX1" fmla="*/ 15658 w 594986"/>
                    <a:gd name="connsiteY1" fmla="*/ 156575 h 165969"/>
                    <a:gd name="connsiteX2" fmla="*/ 81419 w 594986"/>
                    <a:gd name="connsiteY2" fmla="*/ 150312 h 165969"/>
                    <a:gd name="connsiteX3" fmla="*/ 103340 w 594986"/>
                    <a:gd name="connsiteY3" fmla="*/ 137786 h 165969"/>
                    <a:gd name="connsiteX4" fmla="*/ 122129 w 594986"/>
                    <a:gd name="connsiteY4" fmla="*/ 131523 h 165969"/>
                    <a:gd name="connsiteX5" fmla="*/ 131523 w 594986"/>
                    <a:gd name="connsiteY5" fmla="*/ 128391 h 165969"/>
                    <a:gd name="connsiteX6" fmla="*/ 150312 w 594986"/>
                    <a:gd name="connsiteY6" fmla="*/ 118997 h 165969"/>
                    <a:gd name="connsiteX7" fmla="*/ 159707 w 594986"/>
                    <a:gd name="connsiteY7" fmla="*/ 112734 h 165969"/>
                    <a:gd name="connsiteX8" fmla="*/ 178496 w 594986"/>
                    <a:gd name="connsiteY8" fmla="*/ 106471 h 165969"/>
                    <a:gd name="connsiteX9" fmla="*/ 197285 w 594986"/>
                    <a:gd name="connsiteY9" fmla="*/ 93945 h 165969"/>
                    <a:gd name="connsiteX10" fmla="*/ 206680 w 594986"/>
                    <a:gd name="connsiteY10" fmla="*/ 87682 h 165969"/>
                    <a:gd name="connsiteX11" fmla="*/ 225469 w 594986"/>
                    <a:gd name="connsiteY11" fmla="*/ 81419 h 165969"/>
                    <a:gd name="connsiteX12" fmla="*/ 234863 w 594986"/>
                    <a:gd name="connsiteY12" fmla="*/ 78287 h 165969"/>
                    <a:gd name="connsiteX13" fmla="*/ 253652 w 594986"/>
                    <a:gd name="connsiteY13" fmla="*/ 68893 h 165969"/>
                    <a:gd name="connsiteX14" fmla="*/ 272441 w 594986"/>
                    <a:gd name="connsiteY14" fmla="*/ 56367 h 165969"/>
                    <a:gd name="connsiteX15" fmla="*/ 291230 w 594986"/>
                    <a:gd name="connsiteY15" fmla="*/ 43841 h 165969"/>
                    <a:gd name="connsiteX16" fmla="*/ 306888 w 594986"/>
                    <a:gd name="connsiteY16" fmla="*/ 31315 h 165969"/>
                    <a:gd name="connsiteX17" fmla="*/ 316282 w 594986"/>
                    <a:gd name="connsiteY17" fmla="*/ 25052 h 165969"/>
                    <a:gd name="connsiteX18" fmla="*/ 325677 w 594986"/>
                    <a:gd name="connsiteY18" fmla="*/ 15657 h 165969"/>
                    <a:gd name="connsiteX19" fmla="*/ 344466 w 594986"/>
                    <a:gd name="connsiteY19" fmla="*/ 9394 h 165969"/>
                    <a:gd name="connsiteX20" fmla="*/ 372649 w 594986"/>
                    <a:gd name="connsiteY20" fmla="*/ 3131 h 165969"/>
                    <a:gd name="connsiteX21" fmla="*/ 382044 w 594986"/>
                    <a:gd name="connsiteY21" fmla="*/ 0 h 165969"/>
                    <a:gd name="connsiteX22" fmla="*/ 410228 w 594986"/>
                    <a:gd name="connsiteY22" fmla="*/ 3131 h 165969"/>
                    <a:gd name="connsiteX23" fmla="*/ 429017 w 594986"/>
                    <a:gd name="connsiteY23" fmla="*/ 15657 h 165969"/>
                    <a:gd name="connsiteX24" fmla="*/ 460332 w 594986"/>
                    <a:gd name="connsiteY24" fmla="*/ 18789 h 165969"/>
                    <a:gd name="connsiteX25" fmla="*/ 482252 w 594986"/>
                    <a:gd name="connsiteY25" fmla="*/ 28183 h 165969"/>
                    <a:gd name="connsiteX26" fmla="*/ 491647 w 594986"/>
                    <a:gd name="connsiteY26" fmla="*/ 31315 h 165969"/>
                    <a:gd name="connsiteX27" fmla="*/ 504173 w 594986"/>
                    <a:gd name="connsiteY27" fmla="*/ 37578 h 165969"/>
                    <a:gd name="connsiteX28" fmla="*/ 551145 w 594986"/>
                    <a:gd name="connsiteY28" fmla="*/ 43841 h 165969"/>
                    <a:gd name="connsiteX29" fmla="*/ 576197 w 594986"/>
                    <a:gd name="connsiteY29" fmla="*/ 59498 h 165969"/>
                    <a:gd name="connsiteX30" fmla="*/ 585592 w 594986"/>
                    <a:gd name="connsiteY30" fmla="*/ 62630 h 165969"/>
                    <a:gd name="connsiteX31" fmla="*/ 594986 w 594986"/>
                    <a:gd name="connsiteY31" fmla="*/ 72024 h 165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594986" h="165969">
                      <a:moveTo>
                        <a:pt x="0" y="165969"/>
                      </a:moveTo>
                      <a:cubicBezTo>
                        <a:pt x="5219" y="162838"/>
                        <a:pt x="10214" y="159297"/>
                        <a:pt x="15658" y="156575"/>
                      </a:cubicBezTo>
                      <a:cubicBezTo>
                        <a:pt x="32691" y="148058"/>
                        <a:pt x="79979" y="150392"/>
                        <a:pt x="81419" y="150312"/>
                      </a:cubicBezTo>
                      <a:cubicBezTo>
                        <a:pt x="110158" y="140731"/>
                        <a:pt x="65418" y="156746"/>
                        <a:pt x="103340" y="137786"/>
                      </a:cubicBezTo>
                      <a:cubicBezTo>
                        <a:pt x="109245" y="134834"/>
                        <a:pt x="115866" y="133611"/>
                        <a:pt x="122129" y="131523"/>
                      </a:cubicBezTo>
                      <a:cubicBezTo>
                        <a:pt x="125260" y="130479"/>
                        <a:pt x="128777" y="130222"/>
                        <a:pt x="131523" y="128391"/>
                      </a:cubicBezTo>
                      <a:cubicBezTo>
                        <a:pt x="143664" y="120297"/>
                        <a:pt x="137347" y="123318"/>
                        <a:pt x="150312" y="118997"/>
                      </a:cubicBezTo>
                      <a:cubicBezTo>
                        <a:pt x="153444" y="116909"/>
                        <a:pt x="156268" y="114263"/>
                        <a:pt x="159707" y="112734"/>
                      </a:cubicBezTo>
                      <a:cubicBezTo>
                        <a:pt x="165740" y="110053"/>
                        <a:pt x="178496" y="106471"/>
                        <a:pt x="178496" y="106471"/>
                      </a:cubicBezTo>
                      <a:cubicBezTo>
                        <a:pt x="196306" y="88661"/>
                        <a:pt x="179158" y="103008"/>
                        <a:pt x="197285" y="93945"/>
                      </a:cubicBezTo>
                      <a:cubicBezTo>
                        <a:pt x="200651" y="92262"/>
                        <a:pt x="203241" y="89211"/>
                        <a:pt x="206680" y="87682"/>
                      </a:cubicBezTo>
                      <a:cubicBezTo>
                        <a:pt x="212713" y="85001"/>
                        <a:pt x="219206" y="83507"/>
                        <a:pt x="225469" y="81419"/>
                      </a:cubicBezTo>
                      <a:cubicBezTo>
                        <a:pt x="228600" y="80375"/>
                        <a:pt x="232117" y="80118"/>
                        <a:pt x="234863" y="78287"/>
                      </a:cubicBezTo>
                      <a:cubicBezTo>
                        <a:pt x="247004" y="70193"/>
                        <a:pt x="240687" y="73214"/>
                        <a:pt x="253652" y="68893"/>
                      </a:cubicBezTo>
                      <a:cubicBezTo>
                        <a:pt x="274503" y="48042"/>
                        <a:pt x="252047" y="67697"/>
                        <a:pt x="272441" y="56367"/>
                      </a:cubicBezTo>
                      <a:cubicBezTo>
                        <a:pt x="279021" y="52712"/>
                        <a:pt x="291230" y="43841"/>
                        <a:pt x="291230" y="43841"/>
                      </a:cubicBezTo>
                      <a:cubicBezTo>
                        <a:pt x="301788" y="28003"/>
                        <a:pt x="291761" y="38878"/>
                        <a:pt x="306888" y="31315"/>
                      </a:cubicBezTo>
                      <a:cubicBezTo>
                        <a:pt x="310254" y="29632"/>
                        <a:pt x="313391" y="27461"/>
                        <a:pt x="316282" y="25052"/>
                      </a:cubicBezTo>
                      <a:cubicBezTo>
                        <a:pt x="319684" y="22217"/>
                        <a:pt x="321806" y="17808"/>
                        <a:pt x="325677" y="15657"/>
                      </a:cubicBezTo>
                      <a:cubicBezTo>
                        <a:pt x="331448" y="12451"/>
                        <a:pt x="338203" y="11482"/>
                        <a:pt x="344466" y="9394"/>
                      </a:cubicBezTo>
                      <a:cubicBezTo>
                        <a:pt x="365607" y="2347"/>
                        <a:pt x="339593" y="10477"/>
                        <a:pt x="372649" y="3131"/>
                      </a:cubicBezTo>
                      <a:cubicBezTo>
                        <a:pt x="375871" y="2415"/>
                        <a:pt x="378912" y="1044"/>
                        <a:pt x="382044" y="0"/>
                      </a:cubicBezTo>
                      <a:cubicBezTo>
                        <a:pt x="391439" y="1044"/>
                        <a:pt x="401261" y="142"/>
                        <a:pt x="410228" y="3131"/>
                      </a:cubicBezTo>
                      <a:cubicBezTo>
                        <a:pt x="417369" y="5511"/>
                        <a:pt x="421527" y="14908"/>
                        <a:pt x="429017" y="15657"/>
                      </a:cubicBezTo>
                      <a:lnTo>
                        <a:pt x="460332" y="18789"/>
                      </a:lnTo>
                      <a:cubicBezTo>
                        <a:pt x="482357" y="26130"/>
                        <a:pt x="455173" y="16577"/>
                        <a:pt x="482252" y="28183"/>
                      </a:cubicBezTo>
                      <a:cubicBezTo>
                        <a:pt x="485286" y="29483"/>
                        <a:pt x="488613" y="30015"/>
                        <a:pt x="491647" y="31315"/>
                      </a:cubicBezTo>
                      <a:cubicBezTo>
                        <a:pt x="495938" y="33154"/>
                        <a:pt x="499802" y="35939"/>
                        <a:pt x="504173" y="37578"/>
                      </a:cubicBezTo>
                      <a:cubicBezTo>
                        <a:pt x="517448" y="42556"/>
                        <a:pt x="540370" y="42861"/>
                        <a:pt x="551145" y="43841"/>
                      </a:cubicBezTo>
                      <a:cubicBezTo>
                        <a:pt x="561070" y="58728"/>
                        <a:pt x="553837" y="52045"/>
                        <a:pt x="576197" y="59498"/>
                      </a:cubicBezTo>
                      <a:lnTo>
                        <a:pt x="585592" y="62630"/>
                      </a:lnTo>
                      <a:cubicBezTo>
                        <a:pt x="592434" y="72892"/>
                        <a:pt x="588092" y="72024"/>
                        <a:pt x="594986" y="72024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7" name="Forma livre 730"/>
                <p:cNvSpPr/>
                <p:nvPr/>
              </p:nvSpPr>
              <p:spPr>
                <a:xfrm>
                  <a:off x="5182682" y="4719181"/>
                  <a:ext cx="47618" cy="160424"/>
                </a:xfrm>
                <a:custGeom>
                  <a:avLst/>
                  <a:gdLst>
                    <a:gd name="connsiteX0" fmla="*/ 0 w 46972"/>
                    <a:gd name="connsiteY0" fmla="*/ 0 h 159707"/>
                    <a:gd name="connsiteX1" fmla="*/ 15657 w 46972"/>
                    <a:gd name="connsiteY1" fmla="*/ 12526 h 159707"/>
                    <a:gd name="connsiteX2" fmla="*/ 31315 w 46972"/>
                    <a:gd name="connsiteY2" fmla="*/ 37578 h 159707"/>
                    <a:gd name="connsiteX3" fmla="*/ 43841 w 46972"/>
                    <a:gd name="connsiteY3" fmla="*/ 65761 h 159707"/>
                    <a:gd name="connsiteX4" fmla="*/ 46972 w 46972"/>
                    <a:gd name="connsiteY4" fmla="*/ 75156 h 159707"/>
                    <a:gd name="connsiteX5" fmla="*/ 43841 w 46972"/>
                    <a:gd name="connsiteY5" fmla="*/ 90814 h 159707"/>
                    <a:gd name="connsiteX6" fmla="*/ 25052 w 46972"/>
                    <a:gd name="connsiteY6" fmla="*/ 128392 h 159707"/>
                    <a:gd name="connsiteX7" fmla="*/ 15657 w 46972"/>
                    <a:gd name="connsiteY7" fmla="*/ 134655 h 159707"/>
                    <a:gd name="connsiteX8" fmla="*/ 9394 w 46972"/>
                    <a:gd name="connsiteY8" fmla="*/ 159707 h 159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6972" h="159707">
                      <a:moveTo>
                        <a:pt x="0" y="0"/>
                      </a:moveTo>
                      <a:cubicBezTo>
                        <a:pt x="5219" y="4175"/>
                        <a:pt x="11824" y="7050"/>
                        <a:pt x="15657" y="12526"/>
                      </a:cubicBezTo>
                      <a:cubicBezTo>
                        <a:pt x="38481" y="45132"/>
                        <a:pt x="7664" y="21812"/>
                        <a:pt x="31315" y="37578"/>
                      </a:cubicBezTo>
                      <a:cubicBezTo>
                        <a:pt x="41240" y="52464"/>
                        <a:pt x="36389" y="43403"/>
                        <a:pt x="43841" y="65761"/>
                      </a:cubicBezTo>
                      <a:lnTo>
                        <a:pt x="46972" y="75156"/>
                      </a:lnTo>
                      <a:cubicBezTo>
                        <a:pt x="45928" y="80375"/>
                        <a:pt x="45241" y="85679"/>
                        <a:pt x="43841" y="90814"/>
                      </a:cubicBezTo>
                      <a:cubicBezTo>
                        <a:pt x="41063" y="101002"/>
                        <a:pt x="34553" y="122058"/>
                        <a:pt x="25052" y="128392"/>
                      </a:cubicBezTo>
                      <a:lnTo>
                        <a:pt x="15657" y="134655"/>
                      </a:lnTo>
                      <a:cubicBezTo>
                        <a:pt x="12142" y="155746"/>
                        <a:pt x="15366" y="147765"/>
                        <a:pt x="9394" y="159707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8" name="Forma livre 731"/>
                <p:cNvSpPr/>
                <p:nvPr/>
              </p:nvSpPr>
              <p:spPr>
                <a:xfrm>
                  <a:off x="5179507" y="4731888"/>
                  <a:ext cx="115871" cy="147717"/>
                </a:xfrm>
                <a:custGeom>
                  <a:avLst/>
                  <a:gdLst>
                    <a:gd name="connsiteX0" fmla="*/ 115866 w 115866"/>
                    <a:gd name="connsiteY0" fmla="*/ 0 h 147181"/>
                    <a:gd name="connsiteX1" fmla="*/ 106472 w 115866"/>
                    <a:gd name="connsiteY1" fmla="*/ 34446 h 147181"/>
                    <a:gd name="connsiteX2" fmla="*/ 97077 w 115866"/>
                    <a:gd name="connsiteY2" fmla="*/ 53235 h 147181"/>
                    <a:gd name="connsiteX3" fmla="*/ 78288 w 115866"/>
                    <a:gd name="connsiteY3" fmla="*/ 56367 h 147181"/>
                    <a:gd name="connsiteX4" fmla="*/ 68893 w 115866"/>
                    <a:gd name="connsiteY4" fmla="*/ 62630 h 147181"/>
                    <a:gd name="connsiteX5" fmla="*/ 78288 w 115866"/>
                    <a:gd name="connsiteY5" fmla="*/ 87682 h 147181"/>
                    <a:gd name="connsiteX6" fmla="*/ 68893 w 115866"/>
                    <a:gd name="connsiteY6" fmla="*/ 109603 h 147181"/>
                    <a:gd name="connsiteX7" fmla="*/ 50104 w 115866"/>
                    <a:gd name="connsiteY7" fmla="*/ 122129 h 147181"/>
                    <a:gd name="connsiteX8" fmla="*/ 31315 w 115866"/>
                    <a:gd name="connsiteY8" fmla="*/ 134655 h 147181"/>
                    <a:gd name="connsiteX9" fmla="*/ 12526 w 115866"/>
                    <a:gd name="connsiteY9" fmla="*/ 144049 h 147181"/>
                    <a:gd name="connsiteX10" fmla="*/ 0 w 115866"/>
                    <a:gd name="connsiteY10" fmla="*/ 147181 h 1471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15866" h="147181">
                      <a:moveTo>
                        <a:pt x="115866" y="0"/>
                      </a:moveTo>
                      <a:cubicBezTo>
                        <a:pt x="110232" y="45080"/>
                        <a:pt x="118314" y="10763"/>
                        <a:pt x="106472" y="34446"/>
                      </a:cubicBezTo>
                      <a:cubicBezTo>
                        <a:pt x="104002" y="39386"/>
                        <a:pt x="103060" y="50244"/>
                        <a:pt x="97077" y="53235"/>
                      </a:cubicBezTo>
                      <a:cubicBezTo>
                        <a:pt x="91398" y="56075"/>
                        <a:pt x="84551" y="55323"/>
                        <a:pt x="78288" y="56367"/>
                      </a:cubicBezTo>
                      <a:cubicBezTo>
                        <a:pt x="75156" y="58455"/>
                        <a:pt x="69927" y="59011"/>
                        <a:pt x="68893" y="62630"/>
                      </a:cubicBezTo>
                      <a:cubicBezTo>
                        <a:pt x="66184" y="72111"/>
                        <a:pt x="73724" y="80836"/>
                        <a:pt x="78288" y="87682"/>
                      </a:cubicBezTo>
                      <a:cubicBezTo>
                        <a:pt x="76222" y="95945"/>
                        <a:pt x="75813" y="103548"/>
                        <a:pt x="68893" y="109603"/>
                      </a:cubicBezTo>
                      <a:cubicBezTo>
                        <a:pt x="63228" y="114560"/>
                        <a:pt x="56367" y="117954"/>
                        <a:pt x="50104" y="122129"/>
                      </a:cubicBezTo>
                      <a:lnTo>
                        <a:pt x="31315" y="134655"/>
                      </a:lnTo>
                      <a:cubicBezTo>
                        <a:pt x="21019" y="141519"/>
                        <a:pt x="23874" y="140807"/>
                        <a:pt x="12526" y="144049"/>
                      </a:cubicBezTo>
                      <a:cubicBezTo>
                        <a:pt x="8388" y="145231"/>
                        <a:pt x="0" y="147181"/>
                        <a:pt x="0" y="147181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</p:grpSp>
          <p:sp>
            <p:nvSpPr>
              <p:cNvPr id="487" name="TextBox 6"/>
              <p:cNvSpPr txBox="1">
                <a:spLocks noChangeArrowheads="1"/>
              </p:cNvSpPr>
              <p:nvPr/>
            </p:nvSpPr>
            <p:spPr bwMode="auto">
              <a:xfrm>
                <a:off x="6551999" y="5101868"/>
                <a:ext cx="2229647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pt-BR" sz="1100" dirty="0"/>
                  <a:t>Concessões </a:t>
                </a:r>
                <a:r>
                  <a:rPr lang="pt-BR" sz="1100" dirty="0" smtClean="0"/>
                  <a:t>1ª Etapa (1,5 mil km) + </a:t>
                </a:r>
                <a:r>
                  <a:rPr lang="pt-BR" sz="1100" dirty="0"/>
                  <a:t>Estaduais</a:t>
                </a:r>
                <a:endParaRPr lang="en-US" sz="1100" dirty="0"/>
              </a:p>
            </p:txBody>
          </p:sp>
          <p:cxnSp>
            <p:nvCxnSpPr>
              <p:cNvPr id="488" name="Conector reto 555"/>
              <p:cNvCxnSpPr/>
              <p:nvPr/>
            </p:nvCxnSpPr>
            <p:spPr>
              <a:xfrm>
                <a:off x="6123599" y="5198706"/>
                <a:ext cx="325438" cy="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89" name="Grupo 346"/>
              <p:cNvGrpSpPr>
                <a:grpSpLocks/>
              </p:cNvGrpSpPr>
              <p:nvPr/>
            </p:nvGrpSpPr>
            <p:grpSpPr bwMode="auto">
              <a:xfrm>
                <a:off x="3348038" y="4421188"/>
                <a:ext cx="1354137" cy="1989137"/>
                <a:chOff x="3347357" y="4421777"/>
                <a:chExt cx="1354377" cy="1988820"/>
              </a:xfrm>
            </p:grpSpPr>
            <p:sp>
              <p:nvSpPr>
                <p:cNvPr id="490" name="Forma livre 557"/>
                <p:cNvSpPr/>
                <p:nvPr/>
              </p:nvSpPr>
              <p:spPr>
                <a:xfrm>
                  <a:off x="4581063" y="4659864"/>
                  <a:ext cx="19053" cy="246023"/>
                </a:xfrm>
                <a:custGeom>
                  <a:avLst/>
                  <a:gdLst>
                    <a:gd name="connsiteX0" fmla="*/ 16615 w 18254"/>
                    <a:gd name="connsiteY0" fmla="*/ 0 h 244929"/>
                    <a:gd name="connsiteX1" fmla="*/ 13349 w 18254"/>
                    <a:gd name="connsiteY1" fmla="*/ 16329 h 244929"/>
                    <a:gd name="connsiteX2" fmla="*/ 16615 w 18254"/>
                    <a:gd name="connsiteY2" fmla="*/ 26126 h 244929"/>
                    <a:gd name="connsiteX3" fmla="*/ 6818 w 18254"/>
                    <a:gd name="connsiteY3" fmla="*/ 97972 h 244929"/>
                    <a:gd name="connsiteX4" fmla="*/ 10083 w 18254"/>
                    <a:gd name="connsiteY4" fmla="*/ 117566 h 244929"/>
                    <a:gd name="connsiteX5" fmla="*/ 13349 w 18254"/>
                    <a:gd name="connsiteY5" fmla="*/ 130629 h 244929"/>
                    <a:gd name="connsiteX6" fmla="*/ 16615 w 18254"/>
                    <a:gd name="connsiteY6" fmla="*/ 160020 h 244929"/>
                    <a:gd name="connsiteX7" fmla="*/ 13349 w 18254"/>
                    <a:gd name="connsiteY7" fmla="*/ 199209 h 244929"/>
                    <a:gd name="connsiteX8" fmla="*/ 3552 w 18254"/>
                    <a:gd name="connsiteY8" fmla="*/ 218803 h 244929"/>
                    <a:gd name="connsiteX9" fmla="*/ 286 w 18254"/>
                    <a:gd name="connsiteY9" fmla="*/ 244929 h 2449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8254" h="244929">
                      <a:moveTo>
                        <a:pt x="16615" y="0"/>
                      </a:moveTo>
                      <a:cubicBezTo>
                        <a:pt x="15526" y="5443"/>
                        <a:pt x="13349" y="10778"/>
                        <a:pt x="13349" y="16329"/>
                      </a:cubicBezTo>
                      <a:cubicBezTo>
                        <a:pt x="13349" y="19771"/>
                        <a:pt x="16615" y="22684"/>
                        <a:pt x="16615" y="26126"/>
                      </a:cubicBezTo>
                      <a:cubicBezTo>
                        <a:pt x="16615" y="86886"/>
                        <a:pt x="24179" y="71929"/>
                        <a:pt x="6818" y="97972"/>
                      </a:cubicBezTo>
                      <a:cubicBezTo>
                        <a:pt x="7906" y="104503"/>
                        <a:pt x="8785" y="111073"/>
                        <a:pt x="10083" y="117566"/>
                      </a:cubicBezTo>
                      <a:cubicBezTo>
                        <a:pt x="10963" y="121967"/>
                        <a:pt x="12666" y="126193"/>
                        <a:pt x="13349" y="130629"/>
                      </a:cubicBezTo>
                      <a:cubicBezTo>
                        <a:pt x="14848" y="140372"/>
                        <a:pt x="15526" y="150223"/>
                        <a:pt x="16615" y="160020"/>
                      </a:cubicBezTo>
                      <a:cubicBezTo>
                        <a:pt x="15526" y="173083"/>
                        <a:pt x="15082" y="186216"/>
                        <a:pt x="13349" y="199209"/>
                      </a:cubicBezTo>
                      <a:cubicBezTo>
                        <a:pt x="11857" y="210400"/>
                        <a:pt x="8555" y="208797"/>
                        <a:pt x="3552" y="218803"/>
                      </a:cubicBezTo>
                      <a:cubicBezTo>
                        <a:pt x="-1435" y="228778"/>
                        <a:pt x="286" y="233041"/>
                        <a:pt x="286" y="244929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1" name="Forma livre 558"/>
                <p:cNvSpPr/>
                <p:nvPr/>
              </p:nvSpPr>
              <p:spPr>
                <a:xfrm>
                  <a:off x="4419109" y="4724941"/>
                  <a:ext cx="238167" cy="295228"/>
                </a:xfrm>
                <a:custGeom>
                  <a:avLst/>
                  <a:gdLst>
                    <a:gd name="connsiteX0" fmla="*/ 238406 w 238406"/>
                    <a:gd name="connsiteY0" fmla="*/ 0 h 293914"/>
                    <a:gd name="connsiteX1" fmla="*/ 222077 w 238406"/>
                    <a:gd name="connsiteY1" fmla="*/ 22860 h 293914"/>
                    <a:gd name="connsiteX2" fmla="*/ 212280 w 238406"/>
                    <a:gd name="connsiteY2" fmla="*/ 29391 h 293914"/>
                    <a:gd name="connsiteX3" fmla="*/ 195951 w 238406"/>
                    <a:gd name="connsiteY3" fmla="*/ 39188 h 293914"/>
                    <a:gd name="connsiteX4" fmla="*/ 173091 w 238406"/>
                    <a:gd name="connsiteY4" fmla="*/ 58782 h 293914"/>
                    <a:gd name="connsiteX5" fmla="*/ 163294 w 238406"/>
                    <a:gd name="connsiteY5" fmla="*/ 75111 h 293914"/>
                    <a:gd name="connsiteX6" fmla="*/ 153497 w 238406"/>
                    <a:gd name="connsiteY6" fmla="*/ 94705 h 293914"/>
                    <a:gd name="connsiteX7" fmla="*/ 143700 w 238406"/>
                    <a:gd name="connsiteY7" fmla="*/ 97971 h 293914"/>
                    <a:gd name="connsiteX8" fmla="*/ 133903 w 238406"/>
                    <a:gd name="connsiteY8" fmla="*/ 104502 h 293914"/>
                    <a:gd name="connsiteX9" fmla="*/ 127371 w 238406"/>
                    <a:gd name="connsiteY9" fmla="*/ 111034 h 293914"/>
                    <a:gd name="connsiteX10" fmla="*/ 117574 w 238406"/>
                    <a:gd name="connsiteY10" fmla="*/ 114300 h 293914"/>
                    <a:gd name="connsiteX11" fmla="*/ 104511 w 238406"/>
                    <a:gd name="connsiteY11" fmla="*/ 130628 h 293914"/>
                    <a:gd name="connsiteX12" fmla="*/ 94714 w 238406"/>
                    <a:gd name="connsiteY12" fmla="*/ 133894 h 293914"/>
                    <a:gd name="connsiteX13" fmla="*/ 84917 w 238406"/>
                    <a:gd name="connsiteY13" fmla="*/ 140425 h 293914"/>
                    <a:gd name="connsiteX14" fmla="*/ 65323 w 238406"/>
                    <a:gd name="connsiteY14" fmla="*/ 137160 h 293914"/>
                    <a:gd name="connsiteX15" fmla="*/ 62057 w 238406"/>
                    <a:gd name="connsiteY15" fmla="*/ 179614 h 293914"/>
                    <a:gd name="connsiteX16" fmla="*/ 55526 w 238406"/>
                    <a:gd name="connsiteY16" fmla="*/ 189411 h 293914"/>
                    <a:gd name="connsiteX17" fmla="*/ 48994 w 238406"/>
                    <a:gd name="connsiteY17" fmla="*/ 212271 h 293914"/>
                    <a:gd name="connsiteX18" fmla="*/ 35931 w 238406"/>
                    <a:gd name="connsiteY18" fmla="*/ 228600 h 293914"/>
                    <a:gd name="connsiteX19" fmla="*/ 29400 w 238406"/>
                    <a:gd name="connsiteY19" fmla="*/ 238397 h 293914"/>
                    <a:gd name="connsiteX20" fmla="*/ 16337 w 238406"/>
                    <a:gd name="connsiteY20" fmla="*/ 254725 h 293914"/>
                    <a:gd name="connsiteX21" fmla="*/ 3274 w 238406"/>
                    <a:gd name="connsiteY21" fmla="*/ 280851 h 293914"/>
                    <a:gd name="connsiteX22" fmla="*/ 8 w 238406"/>
                    <a:gd name="connsiteY22" fmla="*/ 293914 h 2939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38406" h="293914">
                      <a:moveTo>
                        <a:pt x="238406" y="0"/>
                      </a:moveTo>
                      <a:cubicBezTo>
                        <a:pt x="232270" y="10225"/>
                        <a:pt x="230551" y="16081"/>
                        <a:pt x="222077" y="22860"/>
                      </a:cubicBezTo>
                      <a:cubicBezTo>
                        <a:pt x="219012" y="25312"/>
                        <a:pt x="215345" y="26939"/>
                        <a:pt x="212280" y="29391"/>
                      </a:cubicBezTo>
                      <a:cubicBezTo>
                        <a:pt x="199472" y="39637"/>
                        <a:pt x="212964" y="33516"/>
                        <a:pt x="195951" y="39188"/>
                      </a:cubicBezTo>
                      <a:cubicBezTo>
                        <a:pt x="180113" y="55026"/>
                        <a:pt x="188012" y="48835"/>
                        <a:pt x="173091" y="58782"/>
                      </a:cubicBezTo>
                      <a:cubicBezTo>
                        <a:pt x="163845" y="86530"/>
                        <a:pt x="176740" y="52704"/>
                        <a:pt x="163294" y="75111"/>
                      </a:cubicBezTo>
                      <a:cubicBezTo>
                        <a:pt x="157832" y="84212"/>
                        <a:pt x="163025" y="87082"/>
                        <a:pt x="153497" y="94705"/>
                      </a:cubicBezTo>
                      <a:cubicBezTo>
                        <a:pt x="150809" y="96855"/>
                        <a:pt x="146779" y="96432"/>
                        <a:pt x="143700" y="97971"/>
                      </a:cubicBezTo>
                      <a:cubicBezTo>
                        <a:pt x="140190" y="99726"/>
                        <a:pt x="136968" y="102050"/>
                        <a:pt x="133903" y="104502"/>
                      </a:cubicBezTo>
                      <a:cubicBezTo>
                        <a:pt x="131499" y="106426"/>
                        <a:pt x="130011" y="109450"/>
                        <a:pt x="127371" y="111034"/>
                      </a:cubicBezTo>
                      <a:cubicBezTo>
                        <a:pt x="124419" y="112805"/>
                        <a:pt x="120840" y="113211"/>
                        <a:pt x="117574" y="114300"/>
                      </a:cubicBezTo>
                      <a:cubicBezTo>
                        <a:pt x="114606" y="118752"/>
                        <a:pt x="109684" y="127525"/>
                        <a:pt x="104511" y="130628"/>
                      </a:cubicBezTo>
                      <a:cubicBezTo>
                        <a:pt x="101559" y="132399"/>
                        <a:pt x="97793" y="132355"/>
                        <a:pt x="94714" y="133894"/>
                      </a:cubicBezTo>
                      <a:cubicBezTo>
                        <a:pt x="91204" y="135649"/>
                        <a:pt x="88183" y="138248"/>
                        <a:pt x="84917" y="140425"/>
                      </a:cubicBezTo>
                      <a:cubicBezTo>
                        <a:pt x="78386" y="139337"/>
                        <a:pt x="68659" y="131441"/>
                        <a:pt x="65323" y="137160"/>
                      </a:cubicBezTo>
                      <a:cubicBezTo>
                        <a:pt x="58172" y="149420"/>
                        <a:pt x="64673" y="165664"/>
                        <a:pt x="62057" y="179614"/>
                      </a:cubicBezTo>
                      <a:cubicBezTo>
                        <a:pt x="61334" y="183472"/>
                        <a:pt x="57281" y="185901"/>
                        <a:pt x="55526" y="189411"/>
                      </a:cubicBezTo>
                      <a:cubicBezTo>
                        <a:pt x="49170" y="202123"/>
                        <a:pt x="55273" y="197619"/>
                        <a:pt x="48994" y="212271"/>
                      </a:cubicBezTo>
                      <a:cubicBezTo>
                        <a:pt x="44354" y="223097"/>
                        <a:pt x="42414" y="220496"/>
                        <a:pt x="35931" y="228600"/>
                      </a:cubicBezTo>
                      <a:cubicBezTo>
                        <a:pt x="33479" y="231665"/>
                        <a:pt x="31852" y="235332"/>
                        <a:pt x="29400" y="238397"/>
                      </a:cubicBezTo>
                      <a:cubicBezTo>
                        <a:pt x="22612" y="246881"/>
                        <a:pt x="21364" y="243414"/>
                        <a:pt x="16337" y="254725"/>
                      </a:cubicBezTo>
                      <a:cubicBezTo>
                        <a:pt x="4330" y="281743"/>
                        <a:pt x="16688" y="267439"/>
                        <a:pt x="3274" y="280851"/>
                      </a:cubicBezTo>
                      <a:cubicBezTo>
                        <a:pt x="-336" y="291681"/>
                        <a:pt x="8" y="287206"/>
                        <a:pt x="8" y="293914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2" name="Forma livre 559"/>
                <p:cNvSpPr/>
                <p:nvPr/>
              </p:nvSpPr>
              <p:spPr>
                <a:xfrm>
                  <a:off x="4441338" y="4421777"/>
                  <a:ext cx="255633" cy="657120"/>
                </a:xfrm>
                <a:custGeom>
                  <a:avLst/>
                  <a:gdLst>
                    <a:gd name="connsiteX0" fmla="*/ 32658 w 251460"/>
                    <a:gd name="connsiteY0" fmla="*/ 0 h 656409"/>
                    <a:gd name="connsiteX1" fmla="*/ 32658 w 251460"/>
                    <a:gd name="connsiteY1" fmla="*/ 29392 h 656409"/>
                    <a:gd name="connsiteX2" fmla="*/ 39189 w 251460"/>
                    <a:gd name="connsiteY2" fmla="*/ 48986 h 656409"/>
                    <a:gd name="connsiteX3" fmla="*/ 32658 w 251460"/>
                    <a:gd name="connsiteY3" fmla="*/ 84909 h 656409"/>
                    <a:gd name="connsiteX4" fmla="*/ 29392 w 251460"/>
                    <a:gd name="connsiteY4" fmla="*/ 94706 h 656409"/>
                    <a:gd name="connsiteX5" fmla="*/ 22860 w 251460"/>
                    <a:gd name="connsiteY5" fmla="*/ 182880 h 656409"/>
                    <a:gd name="connsiteX6" fmla="*/ 13063 w 251460"/>
                    <a:gd name="connsiteY6" fmla="*/ 235132 h 656409"/>
                    <a:gd name="connsiteX7" fmla="*/ 6532 w 251460"/>
                    <a:gd name="connsiteY7" fmla="*/ 297180 h 656409"/>
                    <a:gd name="connsiteX8" fmla="*/ 0 w 251460"/>
                    <a:gd name="connsiteY8" fmla="*/ 316774 h 656409"/>
                    <a:gd name="connsiteX9" fmla="*/ 9798 w 251460"/>
                    <a:gd name="connsiteY9" fmla="*/ 342900 h 656409"/>
                    <a:gd name="connsiteX10" fmla="*/ 13063 w 251460"/>
                    <a:gd name="connsiteY10" fmla="*/ 352697 h 656409"/>
                    <a:gd name="connsiteX11" fmla="*/ 29392 w 251460"/>
                    <a:gd name="connsiteY11" fmla="*/ 369026 h 656409"/>
                    <a:gd name="connsiteX12" fmla="*/ 45720 w 251460"/>
                    <a:gd name="connsiteY12" fmla="*/ 382089 h 656409"/>
                    <a:gd name="connsiteX13" fmla="*/ 52252 w 251460"/>
                    <a:gd name="connsiteY13" fmla="*/ 388620 h 656409"/>
                    <a:gd name="connsiteX14" fmla="*/ 65315 w 251460"/>
                    <a:gd name="connsiteY14" fmla="*/ 408214 h 656409"/>
                    <a:gd name="connsiteX15" fmla="*/ 84909 w 251460"/>
                    <a:gd name="connsiteY15" fmla="*/ 414746 h 656409"/>
                    <a:gd name="connsiteX16" fmla="*/ 91440 w 251460"/>
                    <a:gd name="connsiteY16" fmla="*/ 424543 h 656409"/>
                    <a:gd name="connsiteX17" fmla="*/ 97972 w 251460"/>
                    <a:gd name="connsiteY17" fmla="*/ 431074 h 656409"/>
                    <a:gd name="connsiteX18" fmla="*/ 101238 w 251460"/>
                    <a:gd name="connsiteY18" fmla="*/ 444137 h 656409"/>
                    <a:gd name="connsiteX19" fmla="*/ 117566 w 251460"/>
                    <a:gd name="connsiteY19" fmla="*/ 457200 h 656409"/>
                    <a:gd name="connsiteX20" fmla="*/ 124098 w 251460"/>
                    <a:gd name="connsiteY20" fmla="*/ 466997 h 656409"/>
                    <a:gd name="connsiteX21" fmla="*/ 140426 w 251460"/>
                    <a:gd name="connsiteY21" fmla="*/ 483326 h 656409"/>
                    <a:gd name="connsiteX22" fmla="*/ 156755 w 251460"/>
                    <a:gd name="connsiteY22" fmla="*/ 499654 h 656409"/>
                    <a:gd name="connsiteX23" fmla="*/ 163286 w 251460"/>
                    <a:gd name="connsiteY23" fmla="*/ 519249 h 656409"/>
                    <a:gd name="connsiteX24" fmla="*/ 166552 w 251460"/>
                    <a:gd name="connsiteY24" fmla="*/ 529046 h 656409"/>
                    <a:gd name="connsiteX25" fmla="*/ 173083 w 251460"/>
                    <a:gd name="connsiteY25" fmla="*/ 538843 h 656409"/>
                    <a:gd name="connsiteX26" fmla="*/ 179615 w 251460"/>
                    <a:gd name="connsiteY26" fmla="*/ 561703 h 656409"/>
                    <a:gd name="connsiteX27" fmla="*/ 189412 w 251460"/>
                    <a:gd name="connsiteY27" fmla="*/ 594360 h 656409"/>
                    <a:gd name="connsiteX28" fmla="*/ 199209 w 251460"/>
                    <a:gd name="connsiteY28" fmla="*/ 620486 h 656409"/>
                    <a:gd name="connsiteX29" fmla="*/ 209006 w 251460"/>
                    <a:gd name="connsiteY29" fmla="*/ 623752 h 656409"/>
                    <a:gd name="connsiteX30" fmla="*/ 215538 w 251460"/>
                    <a:gd name="connsiteY30" fmla="*/ 630283 h 656409"/>
                    <a:gd name="connsiteX31" fmla="*/ 225335 w 251460"/>
                    <a:gd name="connsiteY31" fmla="*/ 636814 h 656409"/>
                    <a:gd name="connsiteX32" fmla="*/ 238398 w 251460"/>
                    <a:gd name="connsiteY32" fmla="*/ 653143 h 656409"/>
                    <a:gd name="connsiteX33" fmla="*/ 251460 w 251460"/>
                    <a:gd name="connsiteY33" fmla="*/ 656409 h 656409"/>
                    <a:gd name="connsiteX0" fmla="*/ 32658 w 251460"/>
                    <a:gd name="connsiteY0" fmla="*/ 0 h 656409"/>
                    <a:gd name="connsiteX1" fmla="*/ 32658 w 251460"/>
                    <a:gd name="connsiteY1" fmla="*/ 29392 h 656409"/>
                    <a:gd name="connsiteX2" fmla="*/ 39189 w 251460"/>
                    <a:gd name="connsiteY2" fmla="*/ 48986 h 656409"/>
                    <a:gd name="connsiteX3" fmla="*/ 32658 w 251460"/>
                    <a:gd name="connsiteY3" fmla="*/ 84909 h 656409"/>
                    <a:gd name="connsiteX4" fmla="*/ 29392 w 251460"/>
                    <a:gd name="connsiteY4" fmla="*/ 94706 h 656409"/>
                    <a:gd name="connsiteX5" fmla="*/ 22860 w 251460"/>
                    <a:gd name="connsiteY5" fmla="*/ 182880 h 656409"/>
                    <a:gd name="connsiteX6" fmla="*/ 13063 w 251460"/>
                    <a:gd name="connsiteY6" fmla="*/ 235132 h 656409"/>
                    <a:gd name="connsiteX7" fmla="*/ 6532 w 251460"/>
                    <a:gd name="connsiteY7" fmla="*/ 297180 h 656409"/>
                    <a:gd name="connsiteX8" fmla="*/ 0 w 251460"/>
                    <a:gd name="connsiteY8" fmla="*/ 316774 h 656409"/>
                    <a:gd name="connsiteX9" fmla="*/ 9798 w 251460"/>
                    <a:gd name="connsiteY9" fmla="*/ 342900 h 656409"/>
                    <a:gd name="connsiteX10" fmla="*/ 13063 w 251460"/>
                    <a:gd name="connsiteY10" fmla="*/ 352697 h 656409"/>
                    <a:gd name="connsiteX11" fmla="*/ 29392 w 251460"/>
                    <a:gd name="connsiteY11" fmla="*/ 369026 h 656409"/>
                    <a:gd name="connsiteX12" fmla="*/ 45720 w 251460"/>
                    <a:gd name="connsiteY12" fmla="*/ 382089 h 656409"/>
                    <a:gd name="connsiteX13" fmla="*/ 52252 w 251460"/>
                    <a:gd name="connsiteY13" fmla="*/ 388620 h 656409"/>
                    <a:gd name="connsiteX14" fmla="*/ 65315 w 251460"/>
                    <a:gd name="connsiteY14" fmla="*/ 408214 h 656409"/>
                    <a:gd name="connsiteX15" fmla="*/ 84909 w 251460"/>
                    <a:gd name="connsiteY15" fmla="*/ 414746 h 656409"/>
                    <a:gd name="connsiteX16" fmla="*/ 91440 w 251460"/>
                    <a:gd name="connsiteY16" fmla="*/ 424543 h 656409"/>
                    <a:gd name="connsiteX17" fmla="*/ 97972 w 251460"/>
                    <a:gd name="connsiteY17" fmla="*/ 431074 h 656409"/>
                    <a:gd name="connsiteX18" fmla="*/ 101238 w 251460"/>
                    <a:gd name="connsiteY18" fmla="*/ 444137 h 656409"/>
                    <a:gd name="connsiteX19" fmla="*/ 117566 w 251460"/>
                    <a:gd name="connsiteY19" fmla="*/ 457200 h 656409"/>
                    <a:gd name="connsiteX20" fmla="*/ 124098 w 251460"/>
                    <a:gd name="connsiteY20" fmla="*/ 466997 h 656409"/>
                    <a:gd name="connsiteX21" fmla="*/ 140426 w 251460"/>
                    <a:gd name="connsiteY21" fmla="*/ 483326 h 656409"/>
                    <a:gd name="connsiteX22" fmla="*/ 156755 w 251460"/>
                    <a:gd name="connsiteY22" fmla="*/ 499654 h 656409"/>
                    <a:gd name="connsiteX23" fmla="*/ 163286 w 251460"/>
                    <a:gd name="connsiteY23" fmla="*/ 519249 h 656409"/>
                    <a:gd name="connsiteX24" fmla="*/ 166552 w 251460"/>
                    <a:gd name="connsiteY24" fmla="*/ 529046 h 656409"/>
                    <a:gd name="connsiteX25" fmla="*/ 173083 w 251460"/>
                    <a:gd name="connsiteY25" fmla="*/ 538843 h 656409"/>
                    <a:gd name="connsiteX26" fmla="*/ 179615 w 251460"/>
                    <a:gd name="connsiteY26" fmla="*/ 561703 h 656409"/>
                    <a:gd name="connsiteX27" fmla="*/ 202475 w 251460"/>
                    <a:gd name="connsiteY27" fmla="*/ 587828 h 656409"/>
                    <a:gd name="connsiteX28" fmla="*/ 199209 w 251460"/>
                    <a:gd name="connsiteY28" fmla="*/ 620486 h 656409"/>
                    <a:gd name="connsiteX29" fmla="*/ 209006 w 251460"/>
                    <a:gd name="connsiteY29" fmla="*/ 623752 h 656409"/>
                    <a:gd name="connsiteX30" fmla="*/ 215538 w 251460"/>
                    <a:gd name="connsiteY30" fmla="*/ 630283 h 656409"/>
                    <a:gd name="connsiteX31" fmla="*/ 225335 w 251460"/>
                    <a:gd name="connsiteY31" fmla="*/ 636814 h 656409"/>
                    <a:gd name="connsiteX32" fmla="*/ 238398 w 251460"/>
                    <a:gd name="connsiteY32" fmla="*/ 653143 h 656409"/>
                    <a:gd name="connsiteX33" fmla="*/ 251460 w 251460"/>
                    <a:gd name="connsiteY33" fmla="*/ 656409 h 656409"/>
                    <a:gd name="connsiteX0" fmla="*/ 32658 w 251460"/>
                    <a:gd name="connsiteY0" fmla="*/ 0 h 656409"/>
                    <a:gd name="connsiteX1" fmla="*/ 32658 w 251460"/>
                    <a:gd name="connsiteY1" fmla="*/ 29392 h 656409"/>
                    <a:gd name="connsiteX2" fmla="*/ 39189 w 251460"/>
                    <a:gd name="connsiteY2" fmla="*/ 48986 h 656409"/>
                    <a:gd name="connsiteX3" fmla="*/ 32658 w 251460"/>
                    <a:gd name="connsiteY3" fmla="*/ 84909 h 656409"/>
                    <a:gd name="connsiteX4" fmla="*/ 29392 w 251460"/>
                    <a:gd name="connsiteY4" fmla="*/ 94706 h 656409"/>
                    <a:gd name="connsiteX5" fmla="*/ 22860 w 251460"/>
                    <a:gd name="connsiteY5" fmla="*/ 182880 h 656409"/>
                    <a:gd name="connsiteX6" fmla="*/ 13063 w 251460"/>
                    <a:gd name="connsiteY6" fmla="*/ 235132 h 656409"/>
                    <a:gd name="connsiteX7" fmla="*/ 6532 w 251460"/>
                    <a:gd name="connsiteY7" fmla="*/ 297180 h 656409"/>
                    <a:gd name="connsiteX8" fmla="*/ 0 w 251460"/>
                    <a:gd name="connsiteY8" fmla="*/ 316774 h 656409"/>
                    <a:gd name="connsiteX9" fmla="*/ 9798 w 251460"/>
                    <a:gd name="connsiteY9" fmla="*/ 342900 h 656409"/>
                    <a:gd name="connsiteX10" fmla="*/ 13063 w 251460"/>
                    <a:gd name="connsiteY10" fmla="*/ 352697 h 656409"/>
                    <a:gd name="connsiteX11" fmla="*/ 29392 w 251460"/>
                    <a:gd name="connsiteY11" fmla="*/ 369026 h 656409"/>
                    <a:gd name="connsiteX12" fmla="*/ 45720 w 251460"/>
                    <a:gd name="connsiteY12" fmla="*/ 382089 h 656409"/>
                    <a:gd name="connsiteX13" fmla="*/ 52252 w 251460"/>
                    <a:gd name="connsiteY13" fmla="*/ 388620 h 656409"/>
                    <a:gd name="connsiteX14" fmla="*/ 65315 w 251460"/>
                    <a:gd name="connsiteY14" fmla="*/ 408214 h 656409"/>
                    <a:gd name="connsiteX15" fmla="*/ 84909 w 251460"/>
                    <a:gd name="connsiteY15" fmla="*/ 414746 h 656409"/>
                    <a:gd name="connsiteX16" fmla="*/ 91440 w 251460"/>
                    <a:gd name="connsiteY16" fmla="*/ 424543 h 656409"/>
                    <a:gd name="connsiteX17" fmla="*/ 97972 w 251460"/>
                    <a:gd name="connsiteY17" fmla="*/ 431074 h 656409"/>
                    <a:gd name="connsiteX18" fmla="*/ 101238 w 251460"/>
                    <a:gd name="connsiteY18" fmla="*/ 444137 h 656409"/>
                    <a:gd name="connsiteX19" fmla="*/ 117566 w 251460"/>
                    <a:gd name="connsiteY19" fmla="*/ 457200 h 656409"/>
                    <a:gd name="connsiteX20" fmla="*/ 124098 w 251460"/>
                    <a:gd name="connsiteY20" fmla="*/ 466997 h 656409"/>
                    <a:gd name="connsiteX21" fmla="*/ 140426 w 251460"/>
                    <a:gd name="connsiteY21" fmla="*/ 483326 h 656409"/>
                    <a:gd name="connsiteX22" fmla="*/ 156755 w 251460"/>
                    <a:gd name="connsiteY22" fmla="*/ 499654 h 656409"/>
                    <a:gd name="connsiteX23" fmla="*/ 163286 w 251460"/>
                    <a:gd name="connsiteY23" fmla="*/ 519249 h 656409"/>
                    <a:gd name="connsiteX24" fmla="*/ 166552 w 251460"/>
                    <a:gd name="connsiteY24" fmla="*/ 529046 h 656409"/>
                    <a:gd name="connsiteX25" fmla="*/ 173083 w 251460"/>
                    <a:gd name="connsiteY25" fmla="*/ 538843 h 656409"/>
                    <a:gd name="connsiteX26" fmla="*/ 179615 w 251460"/>
                    <a:gd name="connsiteY26" fmla="*/ 561703 h 656409"/>
                    <a:gd name="connsiteX27" fmla="*/ 202475 w 251460"/>
                    <a:gd name="connsiteY27" fmla="*/ 587828 h 656409"/>
                    <a:gd name="connsiteX28" fmla="*/ 199209 w 251460"/>
                    <a:gd name="connsiteY28" fmla="*/ 620486 h 656409"/>
                    <a:gd name="connsiteX29" fmla="*/ 228600 w 251460"/>
                    <a:gd name="connsiteY29" fmla="*/ 607423 h 656409"/>
                    <a:gd name="connsiteX30" fmla="*/ 215538 w 251460"/>
                    <a:gd name="connsiteY30" fmla="*/ 630283 h 656409"/>
                    <a:gd name="connsiteX31" fmla="*/ 225335 w 251460"/>
                    <a:gd name="connsiteY31" fmla="*/ 636814 h 656409"/>
                    <a:gd name="connsiteX32" fmla="*/ 238398 w 251460"/>
                    <a:gd name="connsiteY32" fmla="*/ 653143 h 656409"/>
                    <a:gd name="connsiteX33" fmla="*/ 251460 w 251460"/>
                    <a:gd name="connsiteY33" fmla="*/ 656409 h 656409"/>
                    <a:gd name="connsiteX0" fmla="*/ 32658 w 251460"/>
                    <a:gd name="connsiteY0" fmla="*/ 0 h 656409"/>
                    <a:gd name="connsiteX1" fmla="*/ 32658 w 251460"/>
                    <a:gd name="connsiteY1" fmla="*/ 29392 h 656409"/>
                    <a:gd name="connsiteX2" fmla="*/ 39189 w 251460"/>
                    <a:gd name="connsiteY2" fmla="*/ 48986 h 656409"/>
                    <a:gd name="connsiteX3" fmla="*/ 32658 w 251460"/>
                    <a:gd name="connsiteY3" fmla="*/ 84909 h 656409"/>
                    <a:gd name="connsiteX4" fmla="*/ 29392 w 251460"/>
                    <a:gd name="connsiteY4" fmla="*/ 94706 h 656409"/>
                    <a:gd name="connsiteX5" fmla="*/ 22860 w 251460"/>
                    <a:gd name="connsiteY5" fmla="*/ 182880 h 656409"/>
                    <a:gd name="connsiteX6" fmla="*/ 13063 w 251460"/>
                    <a:gd name="connsiteY6" fmla="*/ 235132 h 656409"/>
                    <a:gd name="connsiteX7" fmla="*/ 6532 w 251460"/>
                    <a:gd name="connsiteY7" fmla="*/ 297180 h 656409"/>
                    <a:gd name="connsiteX8" fmla="*/ 0 w 251460"/>
                    <a:gd name="connsiteY8" fmla="*/ 316774 h 656409"/>
                    <a:gd name="connsiteX9" fmla="*/ 9798 w 251460"/>
                    <a:gd name="connsiteY9" fmla="*/ 342900 h 656409"/>
                    <a:gd name="connsiteX10" fmla="*/ 13063 w 251460"/>
                    <a:gd name="connsiteY10" fmla="*/ 352697 h 656409"/>
                    <a:gd name="connsiteX11" fmla="*/ 29392 w 251460"/>
                    <a:gd name="connsiteY11" fmla="*/ 369026 h 656409"/>
                    <a:gd name="connsiteX12" fmla="*/ 45720 w 251460"/>
                    <a:gd name="connsiteY12" fmla="*/ 382089 h 656409"/>
                    <a:gd name="connsiteX13" fmla="*/ 52252 w 251460"/>
                    <a:gd name="connsiteY13" fmla="*/ 388620 h 656409"/>
                    <a:gd name="connsiteX14" fmla="*/ 65315 w 251460"/>
                    <a:gd name="connsiteY14" fmla="*/ 408214 h 656409"/>
                    <a:gd name="connsiteX15" fmla="*/ 84909 w 251460"/>
                    <a:gd name="connsiteY15" fmla="*/ 414746 h 656409"/>
                    <a:gd name="connsiteX16" fmla="*/ 91440 w 251460"/>
                    <a:gd name="connsiteY16" fmla="*/ 424543 h 656409"/>
                    <a:gd name="connsiteX17" fmla="*/ 97972 w 251460"/>
                    <a:gd name="connsiteY17" fmla="*/ 431074 h 656409"/>
                    <a:gd name="connsiteX18" fmla="*/ 101238 w 251460"/>
                    <a:gd name="connsiteY18" fmla="*/ 444137 h 656409"/>
                    <a:gd name="connsiteX19" fmla="*/ 117566 w 251460"/>
                    <a:gd name="connsiteY19" fmla="*/ 457200 h 656409"/>
                    <a:gd name="connsiteX20" fmla="*/ 124098 w 251460"/>
                    <a:gd name="connsiteY20" fmla="*/ 466997 h 656409"/>
                    <a:gd name="connsiteX21" fmla="*/ 140426 w 251460"/>
                    <a:gd name="connsiteY21" fmla="*/ 483326 h 656409"/>
                    <a:gd name="connsiteX22" fmla="*/ 156755 w 251460"/>
                    <a:gd name="connsiteY22" fmla="*/ 499654 h 656409"/>
                    <a:gd name="connsiteX23" fmla="*/ 163286 w 251460"/>
                    <a:gd name="connsiteY23" fmla="*/ 519249 h 656409"/>
                    <a:gd name="connsiteX24" fmla="*/ 166552 w 251460"/>
                    <a:gd name="connsiteY24" fmla="*/ 529046 h 656409"/>
                    <a:gd name="connsiteX25" fmla="*/ 173083 w 251460"/>
                    <a:gd name="connsiteY25" fmla="*/ 538843 h 656409"/>
                    <a:gd name="connsiteX26" fmla="*/ 179615 w 251460"/>
                    <a:gd name="connsiteY26" fmla="*/ 561703 h 656409"/>
                    <a:gd name="connsiteX27" fmla="*/ 202475 w 251460"/>
                    <a:gd name="connsiteY27" fmla="*/ 587828 h 656409"/>
                    <a:gd name="connsiteX28" fmla="*/ 199209 w 251460"/>
                    <a:gd name="connsiteY28" fmla="*/ 620486 h 656409"/>
                    <a:gd name="connsiteX29" fmla="*/ 228600 w 251460"/>
                    <a:gd name="connsiteY29" fmla="*/ 607423 h 656409"/>
                    <a:gd name="connsiteX30" fmla="*/ 215538 w 251460"/>
                    <a:gd name="connsiteY30" fmla="*/ 630283 h 656409"/>
                    <a:gd name="connsiteX31" fmla="*/ 244929 w 251460"/>
                    <a:gd name="connsiteY31" fmla="*/ 636814 h 656409"/>
                    <a:gd name="connsiteX32" fmla="*/ 238398 w 251460"/>
                    <a:gd name="connsiteY32" fmla="*/ 653143 h 656409"/>
                    <a:gd name="connsiteX33" fmla="*/ 251460 w 251460"/>
                    <a:gd name="connsiteY33" fmla="*/ 656409 h 656409"/>
                    <a:gd name="connsiteX0" fmla="*/ 32658 w 254900"/>
                    <a:gd name="connsiteY0" fmla="*/ 0 h 656409"/>
                    <a:gd name="connsiteX1" fmla="*/ 32658 w 254900"/>
                    <a:gd name="connsiteY1" fmla="*/ 29392 h 656409"/>
                    <a:gd name="connsiteX2" fmla="*/ 39189 w 254900"/>
                    <a:gd name="connsiteY2" fmla="*/ 48986 h 656409"/>
                    <a:gd name="connsiteX3" fmla="*/ 32658 w 254900"/>
                    <a:gd name="connsiteY3" fmla="*/ 84909 h 656409"/>
                    <a:gd name="connsiteX4" fmla="*/ 29392 w 254900"/>
                    <a:gd name="connsiteY4" fmla="*/ 94706 h 656409"/>
                    <a:gd name="connsiteX5" fmla="*/ 22860 w 254900"/>
                    <a:gd name="connsiteY5" fmla="*/ 182880 h 656409"/>
                    <a:gd name="connsiteX6" fmla="*/ 13063 w 254900"/>
                    <a:gd name="connsiteY6" fmla="*/ 235132 h 656409"/>
                    <a:gd name="connsiteX7" fmla="*/ 6532 w 254900"/>
                    <a:gd name="connsiteY7" fmla="*/ 297180 h 656409"/>
                    <a:gd name="connsiteX8" fmla="*/ 0 w 254900"/>
                    <a:gd name="connsiteY8" fmla="*/ 316774 h 656409"/>
                    <a:gd name="connsiteX9" fmla="*/ 9798 w 254900"/>
                    <a:gd name="connsiteY9" fmla="*/ 342900 h 656409"/>
                    <a:gd name="connsiteX10" fmla="*/ 13063 w 254900"/>
                    <a:gd name="connsiteY10" fmla="*/ 352697 h 656409"/>
                    <a:gd name="connsiteX11" fmla="*/ 29392 w 254900"/>
                    <a:gd name="connsiteY11" fmla="*/ 369026 h 656409"/>
                    <a:gd name="connsiteX12" fmla="*/ 45720 w 254900"/>
                    <a:gd name="connsiteY12" fmla="*/ 382089 h 656409"/>
                    <a:gd name="connsiteX13" fmla="*/ 52252 w 254900"/>
                    <a:gd name="connsiteY13" fmla="*/ 388620 h 656409"/>
                    <a:gd name="connsiteX14" fmla="*/ 65315 w 254900"/>
                    <a:gd name="connsiteY14" fmla="*/ 408214 h 656409"/>
                    <a:gd name="connsiteX15" fmla="*/ 84909 w 254900"/>
                    <a:gd name="connsiteY15" fmla="*/ 414746 h 656409"/>
                    <a:gd name="connsiteX16" fmla="*/ 91440 w 254900"/>
                    <a:gd name="connsiteY16" fmla="*/ 424543 h 656409"/>
                    <a:gd name="connsiteX17" fmla="*/ 97972 w 254900"/>
                    <a:gd name="connsiteY17" fmla="*/ 431074 h 656409"/>
                    <a:gd name="connsiteX18" fmla="*/ 101238 w 254900"/>
                    <a:gd name="connsiteY18" fmla="*/ 444137 h 656409"/>
                    <a:gd name="connsiteX19" fmla="*/ 117566 w 254900"/>
                    <a:gd name="connsiteY19" fmla="*/ 457200 h 656409"/>
                    <a:gd name="connsiteX20" fmla="*/ 124098 w 254900"/>
                    <a:gd name="connsiteY20" fmla="*/ 466997 h 656409"/>
                    <a:gd name="connsiteX21" fmla="*/ 140426 w 254900"/>
                    <a:gd name="connsiteY21" fmla="*/ 483326 h 656409"/>
                    <a:gd name="connsiteX22" fmla="*/ 156755 w 254900"/>
                    <a:gd name="connsiteY22" fmla="*/ 499654 h 656409"/>
                    <a:gd name="connsiteX23" fmla="*/ 163286 w 254900"/>
                    <a:gd name="connsiteY23" fmla="*/ 519249 h 656409"/>
                    <a:gd name="connsiteX24" fmla="*/ 166552 w 254900"/>
                    <a:gd name="connsiteY24" fmla="*/ 529046 h 656409"/>
                    <a:gd name="connsiteX25" fmla="*/ 173083 w 254900"/>
                    <a:gd name="connsiteY25" fmla="*/ 538843 h 656409"/>
                    <a:gd name="connsiteX26" fmla="*/ 179615 w 254900"/>
                    <a:gd name="connsiteY26" fmla="*/ 561703 h 656409"/>
                    <a:gd name="connsiteX27" fmla="*/ 202475 w 254900"/>
                    <a:gd name="connsiteY27" fmla="*/ 587828 h 656409"/>
                    <a:gd name="connsiteX28" fmla="*/ 199209 w 254900"/>
                    <a:gd name="connsiteY28" fmla="*/ 620486 h 656409"/>
                    <a:gd name="connsiteX29" fmla="*/ 228600 w 254900"/>
                    <a:gd name="connsiteY29" fmla="*/ 607423 h 656409"/>
                    <a:gd name="connsiteX30" fmla="*/ 215538 w 254900"/>
                    <a:gd name="connsiteY30" fmla="*/ 630283 h 656409"/>
                    <a:gd name="connsiteX31" fmla="*/ 244929 w 254900"/>
                    <a:gd name="connsiteY31" fmla="*/ 636814 h 656409"/>
                    <a:gd name="connsiteX32" fmla="*/ 254726 w 254900"/>
                    <a:gd name="connsiteY32" fmla="*/ 653143 h 656409"/>
                    <a:gd name="connsiteX33" fmla="*/ 251460 w 254900"/>
                    <a:gd name="connsiteY33" fmla="*/ 656409 h 656409"/>
                    <a:gd name="connsiteX0" fmla="*/ 32658 w 254900"/>
                    <a:gd name="connsiteY0" fmla="*/ 0 h 656409"/>
                    <a:gd name="connsiteX1" fmla="*/ 32658 w 254900"/>
                    <a:gd name="connsiteY1" fmla="*/ 29392 h 656409"/>
                    <a:gd name="connsiteX2" fmla="*/ 39189 w 254900"/>
                    <a:gd name="connsiteY2" fmla="*/ 48986 h 656409"/>
                    <a:gd name="connsiteX3" fmla="*/ 32658 w 254900"/>
                    <a:gd name="connsiteY3" fmla="*/ 84909 h 656409"/>
                    <a:gd name="connsiteX4" fmla="*/ 29392 w 254900"/>
                    <a:gd name="connsiteY4" fmla="*/ 94706 h 656409"/>
                    <a:gd name="connsiteX5" fmla="*/ 22860 w 254900"/>
                    <a:gd name="connsiteY5" fmla="*/ 182880 h 656409"/>
                    <a:gd name="connsiteX6" fmla="*/ 13063 w 254900"/>
                    <a:gd name="connsiteY6" fmla="*/ 235132 h 656409"/>
                    <a:gd name="connsiteX7" fmla="*/ 6532 w 254900"/>
                    <a:gd name="connsiteY7" fmla="*/ 297180 h 656409"/>
                    <a:gd name="connsiteX8" fmla="*/ 0 w 254900"/>
                    <a:gd name="connsiteY8" fmla="*/ 316774 h 656409"/>
                    <a:gd name="connsiteX9" fmla="*/ 9798 w 254900"/>
                    <a:gd name="connsiteY9" fmla="*/ 342900 h 656409"/>
                    <a:gd name="connsiteX10" fmla="*/ 13063 w 254900"/>
                    <a:gd name="connsiteY10" fmla="*/ 352697 h 656409"/>
                    <a:gd name="connsiteX11" fmla="*/ 29392 w 254900"/>
                    <a:gd name="connsiteY11" fmla="*/ 369026 h 656409"/>
                    <a:gd name="connsiteX12" fmla="*/ 45720 w 254900"/>
                    <a:gd name="connsiteY12" fmla="*/ 382089 h 656409"/>
                    <a:gd name="connsiteX13" fmla="*/ 52252 w 254900"/>
                    <a:gd name="connsiteY13" fmla="*/ 388620 h 656409"/>
                    <a:gd name="connsiteX14" fmla="*/ 65315 w 254900"/>
                    <a:gd name="connsiteY14" fmla="*/ 408214 h 656409"/>
                    <a:gd name="connsiteX15" fmla="*/ 84909 w 254900"/>
                    <a:gd name="connsiteY15" fmla="*/ 414746 h 656409"/>
                    <a:gd name="connsiteX16" fmla="*/ 91440 w 254900"/>
                    <a:gd name="connsiteY16" fmla="*/ 424543 h 656409"/>
                    <a:gd name="connsiteX17" fmla="*/ 97972 w 254900"/>
                    <a:gd name="connsiteY17" fmla="*/ 431074 h 656409"/>
                    <a:gd name="connsiteX18" fmla="*/ 101238 w 254900"/>
                    <a:gd name="connsiteY18" fmla="*/ 444137 h 656409"/>
                    <a:gd name="connsiteX19" fmla="*/ 117566 w 254900"/>
                    <a:gd name="connsiteY19" fmla="*/ 457200 h 656409"/>
                    <a:gd name="connsiteX20" fmla="*/ 124098 w 254900"/>
                    <a:gd name="connsiteY20" fmla="*/ 466997 h 656409"/>
                    <a:gd name="connsiteX21" fmla="*/ 140426 w 254900"/>
                    <a:gd name="connsiteY21" fmla="*/ 483326 h 656409"/>
                    <a:gd name="connsiteX22" fmla="*/ 156755 w 254900"/>
                    <a:gd name="connsiteY22" fmla="*/ 499654 h 656409"/>
                    <a:gd name="connsiteX23" fmla="*/ 163286 w 254900"/>
                    <a:gd name="connsiteY23" fmla="*/ 519249 h 656409"/>
                    <a:gd name="connsiteX24" fmla="*/ 166552 w 254900"/>
                    <a:gd name="connsiteY24" fmla="*/ 529046 h 656409"/>
                    <a:gd name="connsiteX25" fmla="*/ 173083 w 254900"/>
                    <a:gd name="connsiteY25" fmla="*/ 538843 h 656409"/>
                    <a:gd name="connsiteX26" fmla="*/ 179615 w 254900"/>
                    <a:gd name="connsiteY26" fmla="*/ 561703 h 656409"/>
                    <a:gd name="connsiteX27" fmla="*/ 202475 w 254900"/>
                    <a:gd name="connsiteY27" fmla="*/ 587828 h 656409"/>
                    <a:gd name="connsiteX28" fmla="*/ 199209 w 254900"/>
                    <a:gd name="connsiteY28" fmla="*/ 620486 h 656409"/>
                    <a:gd name="connsiteX29" fmla="*/ 228600 w 254900"/>
                    <a:gd name="connsiteY29" fmla="*/ 607423 h 656409"/>
                    <a:gd name="connsiteX30" fmla="*/ 238398 w 254900"/>
                    <a:gd name="connsiteY30" fmla="*/ 623752 h 656409"/>
                    <a:gd name="connsiteX31" fmla="*/ 244929 w 254900"/>
                    <a:gd name="connsiteY31" fmla="*/ 636814 h 656409"/>
                    <a:gd name="connsiteX32" fmla="*/ 254726 w 254900"/>
                    <a:gd name="connsiteY32" fmla="*/ 653143 h 656409"/>
                    <a:gd name="connsiteX33" fmla="*/ 251460 w 254900"/>
                    <a:gd name="connsiteY33" fmla="*/ 656409 h 656409"/>
                    <a:gd name="connsiteX0" fmla="*/ 32658 w 254900"/>
                    <a:gd name="connsiteY0" fmla="*/ 0 h 656409"/>
                    <a:gd name="connsiteX1" fmla="*/ 32658 w 254900"/>
                    <a:gd name="connsiteY1" fmla="*/ 29392 h 656409"/>
                    <a:gd name="connsiteX2" fmla="*/ 39189 w 254900"/>
                    <a:gd name="connsiteY2" fmla="*/ 48986 h 656409"/>
                    <a:gd name="connsiteX3" fmla="*/ 32658 w 254900"/>
                    <a:gd name="connsiteY3" fmla="*/ 84909 h 656409"/>
                    <a:gd name="connsiteX4" fmla="*/ 29392 w 254900"/>
                    <a:gd name="connsiteY4" fmla="*/ 94706 h 656409"/>
                    <a:gd name="connsiteX5" fmla="*/ 22860 w 254900"/>
                    <a:gd name="connsiteY5" fmla="*/ 182880 h 656409"/>
                    <a:gd name="connsiteX6" fmla="*/ 13063 w 254900"/>
                    <a:gd name="connsiteY6" fmla="*/ 235132 h 656409"/>
                    <a:gd name="connsiteX7" fmla="*/ 6532 w 254900"/>
                    <a:gd name="connsiteY7" fmla="*/ 297180 h 656409"/>
                    <a:gd name="connsiteX8" fmla="*/ 0 w 254900"/>
                    <a:gd name="connsiteY8" fmla="*/ 316774 h 656409"/>
                    <a:gd name="connsiteX9" fmla="*/ 9798 w 254900"/>
                    <a:gd name="connsiteY9" fmla="*/ 342900 h 656409"/>
                    <a:gd name="connsiteX10" fmla="*/ 13063 w 254900"/>
                    <a:gd name="connsiteY10" fmla="*/ 352697 h 656409"/>
                    <a:gd name="connsiteX11" fmla="*/ 29392 w 254900"/>
                    <a:gd name="connsiteY11" fmla="*/ 369026 h 656409"/>
                    <a:gd name="connsiteX12" fmla="*/ 45720 w 254900"/>
                    <a:gd name="connsiteY12" fmla="*/ 382089 h 656409"/>
                    <a:gd name="connsiteX13" fmla="*/ 52252 w 254900"/>
                    <a:gd name="connsiteY13" fmla="*/ 388620 h 656409"/>
                    <a:gd name="connsiteX14" fmla="*/ 65315 w 254900"/>
                    <a:gd name="connsiteY14" fmla="*/ 408214 h 656409"/>
                    <a:gd name="connsiteX15" fmla="*/ 84909 w 254900"/>
                    <a:gd name="connsiteY15" fmla="*/ 414746 h 656409"/>
                    <a:gd name="connsiteX16" fmla="*/ 91440 w 254900"/>
                    <a:gd name="connsiteY16" fmla="*/ 424543 h 656409"/>
                    <a:gd name="connsiteX17" fmla="*/ 97972 w 254900"/>
                    <a:gd name="connsiteY17" fmla="*/ 431074 h 656409"/>
                    <a:gd name="connsiteX18" fmla="*/ 101238 w 254900"/>
                    <a:gd name="connsiteY18" fmla="*/ 444137 h 656409"/>
                    <a:gd name="connsiteX19" fmla="*/ 117566 w 254900"/>
                    <a:gd name="connsiteY19" fmla="*/ 457200 h 656409"/>
                    <a:gd name="connsiteX20" fmla="*/ 124098 w 254900"/>
                    <a:gd name="connsiteY20" fmla="*/ 466997 h 656409"/>
                    <a:gd name="connsiteX21" fmla="*/ 140426 w 254900"/>
                    <a:gd name="connsiteY21" fmla="*/ 483326 h 656409"/>
                    <a:gd name="connsiteX22" fmla="*/ 156755 w 254900"/>
                    <a:gd name="connsiteY22" fmla="*/ 499654 h 656409"/>
                    <a:gd name="connsiteX23" fmla="*/ 163286 w 254900"/>
                    <a:gd name="connsiteY23" fmla="*/ 519249 h 656409"/>
                    <a:gd name="connsiteX24" fmla="*/ 166552 w 254900"/>
                    <a:gd name="connsiteY24" fmla="*/ 529046 h 656409"/>
                    <a:gd name="connsiteX25" fmla="*/ 173083 w 254900"/>
                    <a:gd name="connsiteY25" fmla="*/ 538843 h 656409"/>
                    <a:gd name="connsiteX26" fmla="*/ 179615 w 254900"/>
                    <a:gd name="connsiteY26" fmla="*/ 561703 h 656409"/>
                    <a:gd name="connsiteX27" fmla="*/ 202475 w 254900"/>
                    <a:gd name="connsiteY27" fmla="*/ 587828 h 656409"/>
                    <a:gd name="connsiteX28" fmla="*/ 209007 w 254900"/>
                    <a:gd name="connsiteY28" fmla="*/ 607424 h 656409"/>
                    <a:gd name="connsiteX29" fmla="*/ 228600 w 254900"/>
                    <a:gd name="connsiteY29" fmla="*/ 607423 h 656409"/>
                    <a:gd name="connsiteX30" fmla="*/ 238398 w 254900"/>
                    <a:gd name="connsiteY30" fmla="*/ 623752 h 656409"/>
                    <a:gd name="connsiteX31" fmla="*/ 244929 w 254900"/>
                    <a:gd name="connsiteY31" fmla="*/ 636814 h 656409"/>
                    <a:gd name="connsiteX32" fmla="*/ 254726 w 254900"/>
                    <a:gd name="connsiteY32" fmla="*/ 653143 h 656409"/>
                    <a:gd name="connsiteX33" fmla="*/ 251460 w 254900"/>
                    <a:gd name="connsiteY33" fmla="*/ 656409 h 656409"/>
                    <a:gd name="connsiteX0" fmla="*/ 32658 w 254900"/>
                    <a:gd name="connsiteY0" fmla="*/ 0 h 656409"/>
                    <a:gd name="connsiteX1" fmla="*/ 32658 w 254900"/>
                    <a:gd name="connsiteY1" fmla="*/ 29392 h 656409"/>
                    <a:gd name="connsiteX2" fmla="*/ 39189 w 254900"/>
                    <a:gd name="connsiteY2" fmla="*/ 48986 h 656409"/>
                    <a:gd name="connsiteX3" fmla="*/ 32658 w 254900"/>
                    <a:gd name="connsiteY3" fmla="*/ 84909 h 656409"/>
                    <a:gd name="connsiteX4" fmla="*/ 29392 w 254900"/>
                    <a:gd name="connsiteY4" fmla="*/ 94706 h 656409"/>
                    <a:gd name="connsiteX5" fmla="*/ 22860 w 254900"/>
                    <a:gd name="connsiteY5" fmla="*/ 182880 h 656409"/>
                    <a:gd name="connsiteX6" fmla="*/ 13063 w 254900"/>
                    <a:gd name="connsiteY6" fmla="*/ 235132 h 656409"/>
                    <a:gd name="connsiteX7" fmla="*/ 6532 w 254900"/>
                    <a:gd name="connsiteY7" fmla="*/ 297180 h 656409"/>
                    <a:gd name="connsiteX8" fmla="*/ 0 w 254900"/>
                    <a:gd name="connsiteY8" fmla="*/ 316774 h 656409"/>
                    <a:gd name="connsiteX9" fmla="*/ 9798 w 254900"/>
                    <a:gd name="connsiteY9" fmla="*/ 342900 h 656409"/>
                    <a:gd name="connsiteX10" fmla="*/ 13063 w 254900"/>
                    <a:gd name="connsiteY10" fmla="*/ 352697 h 656409"/>
                    <a:gd name="connsiteX11" fmla="*/ 29392 w 254900"/>
                    <a:gd name="connsiteY11" fmla="*/ 369026 h 656409"/>
                    <a:gd name="connsiteX12" fmla="*/ 45720 w 254900"/>
                    <a:gd name="connsiteY12" fmla="*/ 382089 h 656409"/>
                    <a:gd name="connsiteX13" fmla="*/ 52252 w 254900"/>
                    <a:gd name="connsiteY13" fmla="*/ 388620 h 656409"/>
                    <a:gd name="connsiteX14" fmla="*/ 65315 w 254900"/>
                    <a:gd name="connsiteY14" fmla="*/ 408214 h 656409"/>
                    <a:gd name="connsiteX15" fmla="*/ 84909 w 254900"/>
                    <a:gd name="connsiteY15" fmla="*/ 414746 h 656409"/>
                    <a:gd name="connsiteX16" fmla="*/ 91440 w 254900"/>
                    <a:gd name="connsiteY16" fmla="*/ 424543 h 656409"/>
                    <a:gd name="connsiteX17" fmla="*/ 97972 w 254900"/>
                    <a:gd name="connsiteY17" fmla="*/ 431074 h 656409"/>
                    <a:gd name="connsiteX18" fmla="*/ 101238 w 254900"/>
                    <a:gd name="connsiteY18" fmla="*/ 444137 h 656409"/>
                    <a:gd name="connsiteX19" fmla="*/ 117566 w 254900"/>
                    <a:gd name="connsiteY19" fmla="*/ 457200 h 656409"/>
                    <a:gd name="connsiteX20" fmla="*/ 124098 w 254900"/>
                    <a:gd name="connsiteY20" fmla="*/ 466997 h 656409"/>
                    <a:gd name="connsiteX21" fmla="*/ 140426 w 254900"/>
                    <a:gd name="connsiteY21" fmla="*/ 483326 h 656409"/>
                    <a:gd name="connsiteX22" fmla="*/ 156755 w 254900"/>
                    <a:gd name="connsiteY22" fmla="*/ 499654 h 656409"/>
                    <a:gd name="connsiteX23" fmla="*/ 163286 w 254900"/>
                    <a:gd name="connsiteY23" fmla="*/ 519249 h 656409"/>
                    <a:gd name="connsiteX24" fmla="*/ 166552 w 254900"/>
                    <a:gd name="connsiteY24" fmla="*/ 529046 h 656409"/>
                    <a:gd name="connsiteX25" fmla="*/ 173083 w 254900"/>
                    <a:gd name="connsiteY25" fmla="*/ 538843 h 656409"/>
                    <a:gd name="connsiteX26" fmla="*/ 179615 w 254900"/>
                    <a:gd name="connsiteY26" fmla="*/ 561703 h 656409"/>
                    <a:gd name="connsiteX27" fmla="*/ 202475 w 254900"/>
                    <a:gd name="connsiteY27" fmla="*/ 587828 h 656409"/>
                    <a:gd name="connsiteX28" fmla="*/ 215539 w 254900"/>
                    <a:gd name="connsiteY28" fmla="*/ 600892 h 656409"/>
                    <a:gd name="connsiteX29" fmla="*/ 228600 w 254900"/>
                    <a:gd name="connsiteY29" fmla="*/ 607423 h 656409"/>
                    <a:gd name="connsiteX30" fmla="*/ 238398 w 254900"/>
                    <a:gd name="connsiteY30" fmla="*/ 623752 h 656409"/>
                    <a:gd name="connsiteX31" fmla="*/ 244929 w 254900"/>
                    <a:gd name="connsiteY31" fmla="*/ 636814 h 656409"/>
                    <a:gd name="connsiteX32" fmla="*/ 254726 w 254900"/>
                    <a:gd name="connsiteY32" fmla="*/ 653143 h 656409"/>
                    <a:gd name="connsiteX33" fmla="*/ 251460 w 254900"/>
                    <a:gd name="connsiteY33" fmla="*/ 656409 h 6564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254900" h="656409">
                      <a:moveTo>
                        <a:pt x="32658" y="0"/>
                      </a:moveTo>
                      <a:cubicBezTo>
                        <a:pt x="28968" y="18450"/>
                        <a:pt x="27677" y="12788"/>
                        <a:pt x="32658" y="29392"/>
                      </a:cubicBezTo>
                      <a:cubicBezTo>
                        <a:pt x="34636" y="35986"/>
                        <a:pt x="39189" y="48986"/>
                        <a:pt x="39189" y="48986"/>
                      </a:cubicBezTo>
                      <a:cubicBezTo>
                        <a:pt x="37736" y="57704"/>
                        <a:pt x="34936" y="75794"/>
                        <a:pt x="32658" y="84909"/>
                      </a:cubicBezTo>
                      <a:cubicBezTo>
                        <a:pt x="31823" y="88249"/>
                        <a:pt x="30481" y="91440"/>
                        <a:pt x="29392" y="94706"/>
                      </a:cubicBezTo>
                      <a:cubicBezTo>
                        <a:pt x="23363" y="161025"/>
                        <a:pt x="28594" y="99737"/>
                        <a:pt x="22860" y="182880"/>
                      </a:cubicBezTo>
                      <a:cubicBezTo>
                        <a:pt x="19705" y="228631"/>
                        <a:pt x="27354" y="213695"/>
                        <a:pt x="13063" y="235132"/>
                      </a:cubicBezTo>
                      <a:cubicBezTo>
                        <a:pt x="2907" y="265606"/>
                        <a:pt x="16976" y="220600"/>
                        <a:pt x="6532" y="297180"/>
                      </a:cubicBezTo>
                      <a:cubicBezTo>
                        <a:pt x="5602" y="304002"/>
                        <a:pt x="0" y="316774"/>
                        <a:pt x="0" y="316774"/>
                      </a:cubicBezTo>
                      <a:cubicBezTo>
                        <a:pt x="6302" y="348283"/>
                        <a:pt x="-1416" y="320472"/>
                        <a:pt x="9798" y="342900"/>
                      </a:cubicBezTo>
                      <a:cubicBezTo>
                        <a:pt x="11337" y="345979"/>
                        <a:pt x="10998" y="349943"/>
                        <a:pt x="13063" y="352697"/>
                      </a:cubicBezTo>
                      <a:cubicBezTo>
                        <a:pt x="17681" y="358855"/>
                        <a:pt x="25122" y="362621"/>
                        <a:pt x="29392" y="369026"/>
                      </a:cubicBezTo>
                      <a:cubicBezTo>
                        <a:pt x="37832" y="381687"/>
                        <a:pt x="32200" y="377582"/>
                        <a:pt x="45720" y="382089"/>
                      </a:cubicBezTo>
                      <a:cubicBezTo>
                        <a:pt x="47897" y="384266"/>
                        <a:pt x="50405" y="386157"/>
                        <a:pt x="52252" y="388620"/>
                      </a:cubicBezTo>
                      <a:cubicBezTo>
                        <a:pt x="56962" y="394900"/>
                        <a:pt x="57868" y="405731"/>
                        <a:pt x="65315" y="408214"/>
                      </a:cubicBezTo>
                      <a:lnTo>
                        <a:pt x="84909" y="414746"/>
                      </a:lnTo>
                      <a:cubicBezTo>
                        <a:pt x="87086" y="418012"/>
                        <a:pt x="88988" y="421478"/>
                        <a:pt x="91440" y="424543"/>
                      </a:cubicBezTo>
                      <a:cubicBezTo>
                        <a:pt x="93363" y="426947"/>
                        <a:pt x="96595" y="428320"/>
                        <a:pt x="97972" y="431074"/>
                      </a:cubicBezTo>
                      <a:cubicBezTo>
                        <a:pt x="99979" y="435088"/>
                        <a:pt x="99231" y="440122"/>
                        <a:pt x="101238" y="444137"/>
                      </a:cubicBezTo>
                      <a:cubicBezTo>
                        <a:pt x="103566" y="448792"/>
                        <a:pt x="114103" y="454891"/>
                        <a:pt x="117566" y="457200"/>
                      </a:cubicBezTo>
                      <a:cubicBezTo>
                        <a:pt x="119743" y="460466"/>
                        <a:pt x="121513" y="464043"/>
                        <a:pt x="124098" y="466997"/>
                      </a:cubicBezTo>
                      <a:cubicBezTo>
                        <a:pt x="129167" y="472790"/>
                        <a:pt x="136156" y="476922"/>
                        <a:pt x="140426" y="483326"/>
                      </a:cubicBezTo>
                      <a:cubicBezTo>
                        <a:pt x="149135" y="496389"/>
                        <a:pt x="143692" y="490946"/>
                        <a:pt x="156755" y="499654"/>
                      </a:cubicBezTo>
                      <a:lnTo>
                        <a:pt x="163286" y="519249"/>
                      </a:lnTo>
                      <a:cubicBezTo>
                        <a:pt x="164375" y="522515"/>
                        <a:pt x="164643" y="526182"/>
                        <a:pt x="166552" y="529046"/>
                      </a:cubicBezTo>
                      <a:cubicBezTo>
                        <a:pt x="168729" y="532312"/>
                        <a:pt x="171328" y="535333"/>
                        <a:pt x="173083" y="538843"/>
                      </a:cubicBezTo>
                      <a:cubicBezTo>
                        <a:pt x="175693" y="544064"/>
                        <a:pt x="174716" y="553539"/>
                        <a:pt x="179615" y="561703"/>
                      </a:cubicBezTo>
                      <a:cubicBezTo>
                        <a:pt x="184514" y="569867"/>
                        <a:pt x="196488" y="581297"/>
                        <a:pt x="202475" y="587828"/>
                      </a:cubicBezTo>
                      <a:cubicBezTo>
                        <a:pt x="208462" y="594359"/>
                        <a:pt x="211185" y="597626"/>
                        <a:pt x="215539" y="600892"/>
                      </a:cubicBezTo>
                      <a:cubicBezTo>
                        <a:pt x="219893" y="604158"/>
                        <a:pt x="225334" y="606334"/>
                        <a:pt x="228600" y="607423"/>
                      </a:cubicBezTo>
                      <a:cubicBezTo>
                        <a:pt x="230777" y="609600"/>
                        <a:pt x="235677" y="618854"/>
                        <a:pt x="238398" y="623752"/>
                      </a:cubicBezTo>
                      <a:cubicBezTo>
                        <a:pt x="241119" y="628650"/>
                        <a:pt x="242208" y="631916"/>
                        <a:pt x="244929" y="636814"/>
                      </a:cubicBezTo>
                      <a:cubicBezTo>
                        <a:pt x="247650" y="641712"/>
                        <a:pt x="253638" y="649877"/>
                        <a:pt x="254726" y="653143"/>
                      </a:cubicBezTo>
                      <a:cubicBezTo>
                        <a:pt x="255814" y="656409"/>
                        <a:pt x="251460" y="656409"/>
                        <a:pt x="251460" y="656409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3" name="Forma livre 595"/>
                <p:cNvSpPr/>
                <p:nvPr/>
              </p:nvSpPr>
              <p:spPr>
                <a:xfrm>
                  <a:off x="4203171" y="4566216"/>
                  <a:ext cx="244518" cy="182534"/>
                </a:xfrm>
                <a:custGeom>
                  <a:avLst/>
                  <a:gdLst>
                    <a:gd name="connsiteX0" fmla="*/ 0 w 244929"/>
                    <a:gd name="connsiteY0" fmla="*/ 0 h 182880"/>
                    <a:gd name="connsiteX1" fmla="*/ 22860 w 244929"/>
                    <a:gd name="connsiteY1" fmla="*/ 22860 h 182880"/>
                    <a:gd name="connsiteX2" fmla="*/ 29392 w 244929"/>
                    <a:gd name="connsiteY2" fmla="*/ 29391 h 182880"/>
                    <a:gd name="connsiteX3" fmla="*/ 39189 w 244929"/>
                    <a:gd name="connsiteY3" fmla="*/ 35922 h 182880"/>
                    <a:gd name="connsiteX4" fmla="*/ 52252 w 244929"/>
                    <a:gd name="connsiteY4" fmla="*/ 48985 h 182880"/>
                    <a:gd name="connsiteX5" fmla="*/ 71846 w 244929"/>
                    <a:gd name="connsiteY5" fmla="*/ 58782 h 182880"/>
                    <a:gd name="connsiteX6" fmla="*/ 81643 w 244929"/>
                    <a:gd name="connsiteY6" fmla="*/ 62048 h 182880"/>
                    <a:gd name="connsiteX7" fmla="*/ 97972 w 244929"/>
                    <a:gd name="connsiteY7" fmla="*/ 75111 h 182880"/>
                    <a:gd name="connsiteX8" fmla="*/ 117566 w 244929"/>
                    <a:gd name="connsiteY8" fmla="*/ 84908 h 182880"/>
                    <a:gd name="connsiteX9" fmla="*/ 140426 w 244929"/>
                    <a:gd name="connsiteY9" fmla="*/ 101237 h 182880"/>
                    <a:gd name="connsiteX10" fmla="*/ 150223 w 244929"/>
                    <a:gd name="connsiteY10" fmla="*/ 111034 h 182880"/>
                    <a:gd name="connsiteX11" fmla="*/ 160020 w 244929"/>
                    <a:gd name="connsiteY11" fmla="*/ 114300 h 182880"/>
                    <a:gd name="connsiteX12" fmla="*/ 163286 w 244929"/>
                    <a:gd name="connsiteY12" fmla="*/ 124097 h 182880"/>
                    <a:gd name="connsiteX13" fmla="*/ 182880 w 244929"/>
                    <a:gd name="connsiteY13" fmla="*/ 133894 h 182880"/>
                    <a:gd name="connsiteX14" fmla="*/ 205740 w 244929"/>
                    <a:gd name="connsiteY14" fmla="*/ 160020 h 182880"/>
                    <a:gd name="connsiteX15" fmla="*/ 212272 w 244929"/>
                    <a:gd name="connsiteY15" fmla="*/ 166551 h 182880"/>
                    <a:gd name="connsiteX16" fmla="*/ 231866 w 244929"/>
                    <a:gd name="connsiteY16" fmla="*/ 176348 h 182880"/>
                    <a:gd name="connsiteX17" fmla="*/ 244929 w 244929"/>
                    <a:gd name="connsiteY17" fmla="*/ 182880 h 1828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44929" h="182880">
                      <a:moveTo>
                        <a:pt x="0" y="0"/>
                      </a:moveTo>
                      <a:lnTo>
                        <a:pt x="22860" y="22860"/>
                      </a:lnTo>
                      <a:cubicBezTo>
                        <a:pt x="25037" y="25037"/>
                        <a:pt x="26830" y="27683"/>
                        <a:pt x="29392" y="29391"/>
                      </a:cubicBezTo>
                      <a:cubicBezTo>
                        <a:pt x="32658" y="31568"/>
                        <a:pt x="36209" y="33368"/>
                        <a:pt x="39189" y="35922"/>
                      </a:cubicBezTo>
                      <a:cubicBezTo>
                        <a:pt x="43864" y="39930"/>
                        <a:pt x="46410" y="47038"/>
                        <a:pt x="52252" y="48985"/>
                      </a:cubicBezTo>
                      <a:cubicBezTo>
                        <a:pt x="76877" y="57194"/>
                        <a:pt x="46523" y="46121"/>
                        <a:pt x="71846" y="58782"/>
                      </a:cubicBezTo>
                      <a:cubicBezTo>
                        <a:pt x="74925" y="60321"/>
                        <a:pt x="78377" y="60959"/>
                        <a:pt x="81643" y="62048"/>
                      </a:cubicBezTo>
                      <a:cubicBezTo>
                        <a:pt x="87719" y="68124"/>
                        <a:pt x="89732" y="70991"/>
                        <a:pt x="97972" y="75111"/>
                      </a:cubicBezTo>
                      <a:cubicBezTo>
                        <a:pt x="111877" y="82064"/>
                        <a:pt x="104466" y="73679"/>
                        <a:pt x="117566" y="84908"/>
                      </a:cubicBezTo>
                      <a:cubicBezTo>
                        <a:pt x="137290" y="101814"/>
                        <a:pt x="122424" y="95236"/>
                        <a:pt x="140426" y="101237"/>
                      </a:cubicBezTo>
                      <a:cubicBezTo>
                        <a:pt x="143692" y="104503"/>
                        <a:pt x="146380" y="108472"/>
                        <a:pt x="150223" y="111034"/>
                      </a:cubicBezTo>
                      <a:cubicBezTo>
                        <a:pt x="153087" y="112944"/>
                        <a:pt x="157586" y="111866"/>
                        <a:pt x="160020" y="114300"/>
                      </a:cubicBezTo>
                      <a:cubicBezTo>
                        <a:pt x="162454" y="116734"/>
                        <a:pt x="161136" y="121409"/>
                        <a:pt x="163286" y="124097"/>
                      </a:cubicBezTo>
                      <a:cubicBezTo>
                        <a:pt x="167890" y="129851"/>
                        <a:pt x="176427" y="131743"/>
                        <a:pt x="182880" y="133894"/>
                      </a:cubicBezTo>
                      <a:cubicBezTo>
                        <a:pt x="193681" y="150094"/>
                        <a:pt x="186639" y="140919"/>
                        <a:pt x="205740" y="160020"/>
                      </a:cubicBezTo>
                      <a:cubicBezTo>
                        <a:pt x="207917" y="162197"/>
                        <a:pt x="209351" y="165577"/>
                        <a:pt x="212272" y="166551"/>
                      </a:cubicBezTo>
                      <a:cubicBezTo>
                        <a:pt x="236897" y="174760"/>
                        <a:pt x="206543" y="163687"/>
                        <a:pt x="231866" y="176348"/>
                      </a:cubicBezTo>
                      <a:cubicBezTo>
                        <a:pt x="246875" y="183853"/>
                        <a:pt x="237551" y="175502"/>
                        <a:pt x="244929" y="18288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4" name="Forma livre 604"/>
                <p:cNvSpPr/>
                <p:nvPr/>
              </p:nvSpPr>
              <p:spPr>
                <a:xfrm>
                  <a:off x="3830043" y="4551931"/>
                  <a:ext cx="778013" cy="412684"/>
                </a:xfrm>
                <a:custGeom>
                  <a:avLst/>
                  <a:gdLst>
                    <a:gd name="connsiteX0" fmla="*/ 0 w 777240"/>
                    <a:gd name="connsiteY0" fmla="*/ 0 h 411480"/>
                    <a:gd name="connsiteX1" fmla="*/ 16328 w 777240"/>
                    <a:gd name="connsiteY1" fmla="*/ 9797 h 411480"/>
                    <a:gd name="connsiteX2" fmla="*/ 32657 w 777240"/>
                    <a:gd name="connsiteY2" fmla="*/ 19594 h 411480"/>
                    <a:gd name="connsiteX3" fmla="*/ 39188 w 777240"/>
                    <a:gd name="connsiteY3" fmla="*/ 29391 h 411480"/>
                    <a:gd name="connsiteX4" fmla="*/ 48986 w 777240"/>
                    <a:gd name="connsiteY4" fmla="*/ 32657 h 411480"/>
                    <a:gd name="connsiteX5" fmla="*/ 58783 w 777240"/>
                    <a:gd name="connsiteY5" fmla="*/ 39188 h 411480"/>
                    <a:gd name="connsiteX6" fmla="*/ 81643 w 777240"/>
                    <a:gd name="connsiteY6" fmla="*/ 55517 h 411480"/>
                    <a:gd name="connsiteX7" fmla="*/ 91440 w 777240"/>
                    <a:gd name="connsiteY7" fmla="*/ 68580 h 411480"/>
                    <a:gd name="connsiteX8" fmla="*/ 111034 w 777240"/>
                    <a:gd name="connsiteY8" fmla="*/ 75111 h 411480"/>
                    <a:gd name="connsiteX9" fmla="*/ 215537 w 777240"/>
                    <a:gd name="connsiteY9" fmla="*/ 81643 h 411480"/>
                    <a:gd name="connsiteX10" fmla="*/ 231866 w 777240"/>
                    <a:gd name="connsiteY10" fmla="*/ 97971 h 411480"/>
                    <a:gd name="connsiteX11" fmla="*/ 238397 w 777240"/>
                    <a:gd name="connsiteY11" fmla="*/ 104503 h 411480"/>
                    <a:gd name="connsiteX12" fmla="*/ 257991 w 777240"/>
                    <a:gd name="connsiteY12" fmla="*/ 117565 h 411480"/>
                    <a:gd name="connsiteX13" fmla="*/ 267788 w 777240"/>
                    <a:gd name="connsiteY13" fmla="*/ 127363 h 411480"/>
                    <a:gd name="connsiteX14" fmla="*/ 287383 w 777240"/>
                    <a:gd name="connsiteY14" fmla="*/ 140425 h 411480"/>
                    <a:gd name="connsiteX15" fmla="*/ 293914 w 777240"/>
                    <a:gd name="connsiteY15" fmla="*/ 146957 h 411480"/>
                    <a:gd name="connsiteX16" fmla="*/ 313508 w 777240"/>
                    <a:gd name="connsiteY16" fmla="*/ 153488 h 411480"/>
                    <a:gd name="connsiteX17" fmla="*/ 329837 w 777240"/>
                    <a:gd name="connsiteY17" fmla="*/ 166551 h 411480"/>
                    <a:gd name="connsiteX18" fmla="*/ 339634 w 777240"/>
                    <a:gd name="connsiteY18" fmla="*/ 169817 h 411480"/>
                    <a:gd name="connsiteX19" fmla="*/ 352697 w 777240"/>
                    <a:gd name="connsiteY19" fmla="*/ 182880 h 411480"/>
                    <a:gd name="connsiteX20" fmla="*/ 359228 w 777240"/>
                    <a:gd name="connsiteY20" fmla="*/ 192677 h 411480"/>
                    <a:gd name="connsiteX21" fmla="*/ 372291 w 777240"/>
                    <a:gd name="connsiteY21" fmla="*/ 205740 h 411480"/>
                    <a:gd name="connsiteX22" fmla="*/ 385354 w 777240"/>
                    <a:gd name="connsiteY22" fmla="*/ 225334 h 411480"/>
                    <a:gd name="connsiteX23" fmla="*/ 408214 w 777240"/>
                    <a:gd name="connsiteY23" fmla="*/ 244928 h 411480"/>
                    <a:gd name="connsiteX24" fmla="*/ 414746 w 777240"/>
                    <a:gd name="connsiteY24" fmla="*/ 251460 h 411480"/>
                    <a:gd name="connsiteX25" fmla="*/ 424543 w 777240"/>
                    <a:gd name="connsiteY25" fmla="*/ 257991 h 411480"/>
                    <a:gd name="connsiteX26" fmla="*/ 437606 w 777240"/>
                    <a:gd name="connsiteY26" fmla="*/ 271054 h 411480"/>
                    <a:gd name="connsiteX27" fmla="*/ 447403 w 777240"/>
                    <a:gd name="connsiteY27" fmla="*/ 280851 h 411480"/>
                    <a:gd name="connsiteX28" fmla="*/ 460466 w 777240"/>
                    <a:gd name="connsiteY28" fmla="*/ 293914 h 411480"/>
                    <a:gd name="connsiteX29" fmla="*/ 470263 w 777240"/>
                    <a:gd name="connsiteY29" fmla="*/ 300445 h 411480"/>
                    <a:gd name="connsiteX30" fmla="*/ 502920 w 777240"/>
                    <a:gd name="connsiteY30" fmla="*/ 326571 h 411480"/>
                    <a:gd name="connsiteX31" fmla="*/ 512717 w 777240"/>
                    <a:gd name="connsiteY31" fmla="*/ 329837 h 411480"/>
                    <a:gd name="connsiteX32" fmla="*/ 522514 w 777240"/>
                    <a:gd name="connsiteY32" fmla="*/ 333103 h 411480"/>
                    <a:gd name="connsiteX33" fmla="*/ 538843 w 777240"/>
                    <a:gd name="connsiteY33" fmla="*/ 342900 h 411480"/>
                    <a:gd name="connsiteX34" fmla="*/ 548640 w 777240"/>
                    <a:gd name="connsiteY34" fmla="*/ 349431 h 411480"/>
                    <a:gd name="connsiteX35" fmla="*/ 558437 w 777240"/>
                    <a:gd name="connsiteY35" fmla="*/ 352697 h 411480"/>
                    <a:gd name="connsiteX36" fmla="*/ 587828 w 777240"/>
                    <a:gd name="connsiteY36" fmla="*/ 359228 h 411480"/>
                    <a:gd name="connsiteX37" fmla="*/ 597626 w 777240"/>
                    <a:gd name="connsiteY37" fmla="*/ 362494 h 411480"/>
                    <a:gd name="connsiteX38" fmla="*/ 633548 w 777240"/>
                    <a:gd name="connsiteY38" fmla="*/ 372291 h 411480"/>
                    <a:gd name="connsiteX39" fmla="*/ 656408 w 777240"/>
                    <a:gd name="connsiteY39" fmla="*/ 378823 h 411480"/>
                    <a:gd name="connsiteX40" fmla="*/ 672737 w 777240"/>
                    <a:gd name="connsiteY40" fmla="*/ 382088 h 411480"/>
                    <a:gd name="connsiteX41" fmla="*/ 692331 w 777240"/>
                    <a:gd name="connsiteY41" fmla="*/ 388620 h 411480"/>
                    <a:gd name="connsiteX42" fmla="*/ 698863 w 777240"/>
                    <a:gd name="connsiteY42" fmla="*/ 395151 h 411480"/>
                    <a:gd name="connsiteX43" fmla="*/ 708660 w 777240"/>
                    <a:gd name="connsiteY43" fmla="*/ 398417 h 411480"/>
                    <a:gd name="connsiteX44" fmla="*/ 721723 w 777240"/>
                    <a:gd name="connsiteY44" fmla="*/ 404948 h 411480"/>
                    <a:gd name="connsiteX45" fmla="*/ 741317 w 777240"/>
                    <a:gd name="connsiteY45" fmla="*/ 411480 h 411480"/>
                    <a:gd name="connsiteX46" fmla="*/ 751114 w 777240"/>
                    <a:gd name="connsiteY46" fmla="*/ 408214 h 411480"/>
                    <a:gd name="connsiteX47" fmla="*/ 760911 w 777240"/>
                    <a:gd name="connsiteY47" fmla="*/ 401683 h 411480"/>
                    <a:gd name="connsiteX48" fmla="*/ 777240 w 777240"/>
                    <a:gd name="connsiteY48" fmla="*/ 401683 h 411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777240" h="411480">
                      <a:moveTo>
                        <a:pt x="0" y="0"/>
                      </a:moveTo>
                      <a:cubicBezTo>
                        <a:pt x="5443" y="3266"/>
                        <a:pt x="11163" y="6108"/>
                        <a:pt x="16328" y="9797"/>
                      </a:cubicBezTo>
                      <a:cubicBezTo>
                        <a:pt x="32017" y="21003"/>
                        <a:pt x="12423" y="12849"/>
                        <a:pt x="32657" y="19594"/>
                      </a:cubicBezTo>
                      <a:cubicBezTo>
                        <a:pt x="34834" y="22860"/>
                        <a:pt x="36123" y="26939"/>
                        <a:pt x="39188" y="29391"/>
                      </a:cubicBezTo>
                      <a:cubicBezTo>
                        <a:pt x="41876" y="31542"/>
                        <a:pt x="45907" y="31117"/>
                        <a:pt x="48986" y="32657"/>
                      </a:cubicBezTo>
                      <a:cubicBezTo>
                        <a:pt x="52496" y="34412"/>
                        <a:pt x="55803" y="36634"/>
                        <a:pt x="58783" y="39188"/>
                      </a:cubicBezTo>
                      <a:cubicBezTo>
                        <a:pt x="78507" y="56094"/>
                        <a:pt x="63641" y="49516"/>
                        <a:pt x="81643" y="55517"/>
                      </a:cubicBezTo>
                      <a:cubicBezTo>
                        <a:pt x="84909" y="59871"/>
                        <a:pt x="86911" y="65561"/>
                        <a:pt x="91440" y="68580"/>
                      </a:cubicBezTo>
                      <a:cubicBezTo>
                        <a:pt x="97168" y="72399"/>
                        <a:pt x="104355" y="73441"/>
                        <a:pt x="111034" y="75111"/>
                      </a:cubicBezTo>
                      <a:cubicBezTo>
                        <a:pt x="153686" y="85775"/>
                        <a:pt x="119611" y="78217"/>
                        <a:pt x="215537" y="81643"/>
                      </a:cubicBezTo>
                      <a:lnTo>
                        <a:pt x="231866" y="97971"/>
                      </a:lnTo>
                      <a:cubicBezTo>
                        <a:pt x="234043" y="100148"/>
                        <a:pt x="235835" y="102795"/>
                        <a:pt x="238397" y="104503"/>
                      </a:cubicBezTo>
                      <a:cubicBezTo>
                        <a:pt x="244928" y="108857"/>
                        <a:pt x="252441" y="112014"/>
                        <a:pt x="257991" y="117565"/>
                      </a:cubicBezTo>
                      <a:cubicBezTo>
                        <a:pt x="261257" y="120831"/>
                        <a:pt x="264142" y="124527"/>
                        <a:pt x="267788" y="127363"/>
                      </a:cubicBezTo>
                      <a:cubicBezTo>
                        <a:pt x="273984" y="132182"/>
                        <a:pt x="281833" y="134874"/>
                        <a:pt x="287383" y="140425"/>
                      </a:cubicBezTo>
                      <a:cubicBezTo>
                        <a:pt x="289560" y="142602"/>
                        <a:pt x="291160" y="145580"/>
                        <a:pt x="293914" y="146957"/>
                      </a:cubicBezTo>
                      <a:cubicBezTo>
                        <a:pt x="300072" y="150036"/>
                        <a:pt x="313508" y="153488"/>
                        <a:pt x="313508" y="153488"/>
                      </a:cubicBezTo>
                      <a:cubicBezTo>
                        <a:pt x="319584" y="159564"/>
                        <a:pt x="321597" y="162431"/>
                        <a:pt x="329837" y="166551"/>
                      </a:cubicBezTo>
                      <a:cubicBezTo>
                        <a:pt x="332916" y="168090"/>
                        <a:pt x="336368" y="168728"/>
                        <a:pt x="339634" y="169817"/>
                      </a:cubicBezTo>
                      <a:cubicBezTo>
                        <a:pt x="343988" y="174171"/>
                        <a:pt x="349281" y="177756"/>
                        <a:pt x="352697" y="182880"/>
                      </a:cubicBezTo>
                      <a:cubicBezTo>
                        <a:pt x="354874" y="186146"/>
                        <a:pt x="356674" y="189697"/>
                        <a:pt x="359228" y="192677"/>
                      </a:cubicBezTo>
                      <a:cubicBezTo>
                        <a:pt x="363236" y="197352"/>
                        <a:pt x="368875" y="200616"/>
                        <a:pt x="372291" y="205740"/>
                      </a:cubicBezTo>
                      <a:cubicBezTo>
                        <a:pt x="376645" y="212271"/>
                        <a:pt x="379803" y="219783"/>
                        <a:pt x="385354" y="225334"/>
                      </a:cubicBezTo>
                      <a:cubicBezTo>
                        <a:pt x="416801" y="256781"/>
                        <a:pt x="383345" y="225033"/>
                        <a:pt x="408214" y="244928"/>
                      </a:cubicBezTo>
                      <a:cubicBezTo>
                        <a:pt x="410618" y="246852"/>
                        <a:pt x="412342" y="249536"/>
                        <a:pt x="414746" y="251460"/>
                      </a:cubicBezTo>
                      <a:cubicBezTo>
                        <a:pt x="417811" y="253912"/>
                        <a:pt x="421563" y="255437"/>
                        <a:pt x="424543" y="257991"/>
                      </a:cubicBezTo>
                      <a:cubicBezTo>
                        <a:pt x="429218" y="261999"/>
                        <a:pt x="433252" y="266700"/>
                        <a:pt x="437606" y="271054"/>
                      </a:cubicBezTo>
                      <a:lnTo>
                        <a:pt x="447403" y="280851"/>
                      </a:lnTo>
                      <a:lnTo>
                        <a:pt x="460466" y="293914"/>
                      </a:lnTo>
                      <a:lnTo>
                        <a:pt x="470263" y="300445"/>
                      </a:lnTo>
                      <a:cubicBezTo>
                        <a:pt x="487145" y="325769"/>
                        <a:pt x="475878" y="317557"/>
                        <a:pt x="502920" y="326571"/>
                      </a:cubicBezTo>
                      <a:lnTo>
                        <a:pt x="512717" y="329837"/>
                      </a:lnTo>
                      <a:lnTo>
                        <a:pt x="522514" y="333103"/>
                      </a:lnTo>
                      <a:cubicBezTo>
                        <a:pt x="535272" y="345860"/>
                        <a:pt x="521885" y="334421"/>
                        <a:pt x="538843" y="342900"/>
                      </a:cubicBezTo>
                      <a:cubicBezTo>
                        <a:pt x="542353" y="344655"/>
                        <a:pt x="545130" y="347676"/>
                        <a:pt x="548640" y="349431"/>
                      </a:cubicBezTo>
                      <a:cubicBezTo>
                        <a:pt x="551719" y="350970"/>
                        <a:pt x="555127" y="351751"/>
                        <a:pt x="558437" y="352697"/>
                      </a:cubicBezTo>
                      <a:cubicBezTo>
                        <a:pt x="581904" y="359402"/>
                        <a:pt x="560892" y="352494"/>
                        <a:pt x="587828" y="359228"/>
                      </a:cubicBezTo>
                      <a:cubicBezTo>
                        <a:pt x="591168" y="360063"/>
                        <a:pt x="594286" y="361659"/>
                        <a:pt x="597626" y="362494"/>
                      </a:cubicBezTo>
                      <a:cubicBezTo>
                        <a:pt x="634554" y="371727"/>
                        <a:pt x="591510" y="358279"/>
                        <a:pt x="633548" y="372291"/>
                      </a:cubicBezTo>
                      <a:cubicBezTo>
                        <a:pt x="644454" y="375926"/>
                        <a:pt x="644112" y="376091"/>
                        <a:pt x="656408" y="378823"/>
                      </a:cubicBezTo>
                      <a:cubicBezTo>
                        <a:pt x="661827" y="380027"/>
                        <a:pt x="667382" y="380628"/>
                        <a:pt x="672737" y="382088"/>
                      </a:cubicBezTo>
                      <a:cubicBezTo>
                        <a:pt x="679379" y="383899"/>
                        <a:pt x="692331" y="388620"/>
                        <a:pt x="692331" y="388620"/>
                      </a:cubicBezTo>
                      <a:cubicBezTo>
                        <a:pt x="694508" y="390797"/>
                        <a:pt x="696223" y="393567"/>
                        <a:pt x="698863" y="395151"/>
                      </a:cubicBezTo>
                      <a:cubicBezTo>
                        <a:pt x="701815" y="396922"/>
                        <a:pt x="705496" y="397061"/>
                        <a:pt x="708660" y="398417"/>
                      </a:cubicBezTo>
                      <a:cubicBezTo>
                        <a:pt x="713135" y="400335"/>
                        <a:pt x="717203" y="403140"/>
                        <a:pt x="721723" y="404948"/>
                      </a:cubicBezTo>
                      <a:cubicBezTo>
                        <a:pt x="728115" y="407505"/>
                        <a:pt x="741317" y="411480"/>
                        <a:pt x="741317" y="411480"/>
                      </a:cubicBezTo>
                      <a:cubicBezTo>
                        <a:pt x="744583" y="410391"/>
                        <a:pt x="748035" y="409753"/>
                        <a:pt x="751114" y="408214"/>
                      </a:cubicBezTo>
                      <a:cubicBezTo>
                        <a:pt x="754624" y="406459"/>
                        <a:pt x="757103" y="402635"/>
                        <a:pt x="760911" y="401683"/>
                      </a:cubicBezTo>
                      <a:cubicBezTo>
                        <a:pt x="766192" y="400363"/>
                        <a:pt x="771797" y="401683"/>
                        <a:pt x="777240" y="401683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5" name="Forma livre 606"/>
                <p:cNvSpPr/>
                <p:nvPr/>
              </p:nvSpPr>
              <p:spPr>
                <a:xfrm>
                  <a:off x="3745890" y="4709068"/>
                  <a:ext cx="385831" cy="196819"/>
                </a:xfrm>
                <a:custGeom>
                  <a:avLst/>
                  <a:gdLst>
                    <a:gd name="connsiteX0" fmla="*/ 0 w 385355"/>
                    <a:gd name="connsiteY0" fmla="*/ 0 h 195945"/>
                    <a:gd name="connsiteX1" fmla="*/ 16329 w 385355"/>
                    <a:gd name="connsiteY1" fmla="*/ 9797 h 195945"/>
                    <a:gd name="connsiteX2" fmla="*/ 26126 w 385355"/>
                    <a:gd name="connsiteY2" fmla="*/ 16329 h 195945"/>
                    <a:gd name="connsiteX3" fmla="*/ 45720 w 385355"/>
                    <a:gd name="connsiteY3" fmla="*/ 22860 h 195945"/>
                    <a:gd name="connsiteX4" fmla="*/ 62049 w 385355"/>
                    <a:gd name="connsiteY4" fmla="*/ 35923 h 195945"/>
                    <a:gd name="connsiteX5" fmla="*/ 71846 w 385355"/>
                    <a:gd name="connsiteY5" fmla="*/ 39189 h 195945"/>
                    <a:gd name="connsiteX6" fmla="*/ 91440 w 385355"/>
                    <a:gd name="connsiteY6" fmla="*/ 48986 h 195945"/>
                    <a:gd name="connsiteX7" fmla="*/ 94706 w 385355"/>
                    <a:gd name="connsiteY7" fmla="*/ 58783 h 195945"/>
                    <a:gd name="connsiteX8" fmla="*/ 104503 w 385355"/>
                    <a:gd name="connsiteY8" fmla="*/ 62049 h 195945"/>
                    <a:gd name="connsiteX9" fmla="*/ 124097 w 385355"/>
                    <a:gd name="connsiteY9" fmla="*/ 71846 h 195945"/>
                    <a:gd name="connsiteX10" fmla="*/ 140426 w 385355"/>
                    <a:gd name="connsiteY10" fmla="*/ 81643 h 195945"/>
                    <a:gd name="connsiteX11" fmla="*/ 150223 w 385355"/>
                    <a:gd name="connsiteY11" fmla="*/ 91440 h 195945"/>
                    <a:gd name="connsiteX12" fmla="*/ 153489 w 385355"/>
                    <a:gd name="connsiteY12" fmla="*/ 101237 h 195945"/>
                    <a:gd name="connsiteX13" fmla="*/ 182880 w 385355"/>
                    <a:gd name="connsiteY13" fmla="*/ 117566 h 195945"/>
                    <a:gd name="connsiteX14" fmla="*/ 192677 w 385355"/>
                    <a:gd name="connsiteY14" fmla="*/ 124097 h 195945"/>
                    <a:gd name="connsiteX15" fmla="*/ 215537 w 385355"/>
                    <a:gd name="connsiteY15" fmla="*/ 130629 h 195945"/>
                    <a:gd name="connsiteX16" fmla="*/ 235132 w 385355"/>
                    <a:gd name="connsiteY16" fmla="*/ 140426 h 195945"/>
                    <a:gd name="connsiteX17" fmla="*/ 244929 w 385355"/>
                    <a:gd name="connsiteY17" fmla="*/ 150223 h 195945"/>
                    <a:gd name="connsiteX18" fmla="*/ 264523 w 385355"/>
                    <a:gd name="connsiteY18" fmla="*/ 156754 h 195945"/>
                    <a:gd name="connsiteX19" fmla="*/ 274320 w 385355"/>
                    <a:gd name="connsiteY19" fmla="*/ 163286 h 195945"/>
                    <a:gd name="connsiteX20" fmla="*/ 284117 w 385355"/>
                    <a:gd name="connsiteY20" fmla="*/ 166551 h 195945"/>
                    <a:gd name="connsiteX21" fmla="*/ 293915 w 385355"/>
                    <a:gd name="connsiteY21" fmla="*/ 176349 h 195945"/>
                    <a:gd name="connsiteX22" fmla="*/ 303712 w 385355"/>
                    <a:gd name="connsiteY22" fmla="*/ 179614 h 195945"/>
                    <a:gd name="connsiteX23" fmla="*/ 346166 w 385355"/>
                    <a:gd name="connsiteY23" fmla="*/ 186146 h 195945"/>
                    <a:gd name="connsiteX24" fmla="*/ 362495 w 385355"/>
                    <a:gd name="connsiteY24" fmla="*/ 189411 h 195945"/>
                    <a:gd name="connsiteX25" fmla="*/ 385355 w 385355"/>
                    <a:gd name="connsiteY25" fmla="*/ 195943 h 195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385355" h="195945">
                      <a:moveTo>
                        <a:pt x="0" y="0"/>
                      </a:moveTo>
                      <a:cubicBezTo>
                        <a:pt x="5443" y="3266"/>
                        <a:pt x="10946" y="6433"/>
                        <a:pt x="16329" y="9797"/>
                      </a:cubicBezTo>
                      <a:cubicBezTo>
                        <a:pt x="19657" y="11877"/>
                        <a:pt x="22539" y="14735"/>
                        <a:pt x="26126" y="16329"/>
                      </a:cubicBezTo>
                      <a:cubicBezTo>
                        <a:pt x="32417" y="19125"/>
                        <a:pt x="45720" y="22860"/>
                        <a:pt x="45720" y="22860"/>
                      </a:cubicBezTo>
                      <a:cubicBezTo>
                        <a:pt x="51794" y="28933"/>
                        <a:pt x="53812" y="31804"/>
                        <a:pt x="62049" y="35923"/>
                      </a:cubicBezTo>
                      <a:cubicBezTo>
                        <a:pt x="65128" y="37463"/>
                        <a:pt x="68767" y="37650"/>
                        <a:pt x="71846" y="39189"/>
                      </a:cubicBezTo>
                      <a:cubicBezTo>
                        <a:pt x="97169" y="51850"/>
                        <a:pt x="66815" y="40777"/>
                        <a:pt x="91440" y="48986"/>
                      </a:cubicBezTo>
                      <a:cubicBezTo>
                        <a:pt x="92529" y="52252"/>
                        <a:pt x="92272" y="56349"/>
                        <a:pt x="94706" y="58783"/>
                      </a:cubicBezTo>
                      <a:cubicBezTo>
                        <a:pt x="97140" y="61217"/>
                        <a:pt x="101551" y="60278"/>
                        <a:pt x="104503" y="62049"/>
                      </a:cubicBezTo>
                      <a:cubicBezTo>
                        <a:pt x="125299" y="74526"/>
                        <a:pt x="91882" y="63791"/>
                        <a:pt x="124097" y="71846"/>
                      </a:cubicBezTo>
                      <a:cubicBezTo>
                        <a:pt x="144444" y="92190"/>
                        <a:pt x="114984" y="64681"/>
                        <a:pt x="140426" y="81643"/>
                      </a:cubicBezTo>
                      <a:cubicBezTo>
                        <a:pt x="144269" y="84205"/>
                        <a:pt x="146957" y="88174"/>
                        <a:pt x="150223" y="91440"/>
                      </a:cubicBezTo>
                      <a:cubicBezTo>
                        <a:pt x="151312" y="94706"/>
                        <a:pt x="151055" y="98803"/>
                        <a:pt x="153489" y="101237"/>
                      </a:cubicBezTo>
                      <a:cubicBezTo>
                        <a:pt x="174080" y="121828"/>
                        <a:pt x="166455" y="109353"/>
                        <a:pt x="182880" y="117566"/>
                      </a:cubicBezTo>
                      <a:cubicBezTo>
                        <a:pt x="186390" y="119321"/>
                        <a:pt x="189070" y="122551"/>
                        <a:pt x="192677" y="124097"/>
                      </a:cubicBezTo>
                      <a:cubicBezTo>
                        <a:pt x="207335" y="130379"/>
                        <a:pt x="202820" y="124271"/>
                        <a:pt x="215537" y="130629"/>
                      </a:cubicBezTo>
                      <a:cubicBezTo>
                        <a:pt x="240860" y="143290"/>
                        <a:pt x="210507" y="132217"/>
                        <a:pt x="235132" y="140426"/>
                      </a:cubicBezTo>
                      <a:cubicBezTo>
                        <a:pt x="238398" y="143692"/>
                        <a:pt x="240892" y="147980"/>
                        <a:pt x="244929" y="150223"/>
                      </a:cubicBezTo>
                      <a:cubicBezTo>
                        <a:pt x="250947" y="153566"/>
                        <a:pt x="264523" y="156754"/>
                        <a:pt x="264523" y="156754"/>
                      </a:cubicBezTo>
                      <a:cubicBezTo>
                        <a:pt x="267789" y="158931"/>
                        <a:pt x="270809" y="161531"/>
                        <a:pt x="274320" y="163286"/>
                      </a:cubicBezTo>
                      <a:cubicBezTo>
                        <a:pt x="277399" y="164825"/>
                        <a:pt x="281253" y="164642"/>
                        <a:pt x="284117" y="166551"/>
                      </a:cubicBezTo>
                      <a:cubicBezTo>
                        <a:pt x="287960" y="169113"/>
                        <a:pt x="290072" y="173787"/>
                        <a:pt x="293915" y="176349"/>
                      </a:cubicBezTo>
                      <a:cubicBezTo>
                        <a:pt x="296779" y="178258"/>
                        <a:pt x="300402" y="178668"/>
                        <a:pt x="303712" y="179614"/>
                      </a:cubicBezTo>
                      <a:cubicBezTo>
                        <a:pt x="324110" y="185442"/>
                        <a:pt x="317206" y="182009"/>
                        <a:pt x="346166" y="186146"/>
                      </a:cubicBezTo>
                      <a:cubicBezTo>
                        <a:pt x="351661" y="186931"/>
                        <a:pt x="357140" y="187951"/>
                        <a:pt x="362495" y="189411"/>
                      </a:cubicBezTo>
                      <a:cubicBezTo>
                        <a:pt x="387709" y="196287"/>
                        <a:pt x="374479" y="195943"/>
                        <a:pt x="385355" y="195943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6" name="Forma livre 607"/>
                <p:cNvSpPr/>
                <p:nvPr/>
              </p:nvSpPr>
              <p:spPr>
                <a:xfrm>
                  <a:off x="4193644" y="4872555"/>
                  <a:ext cx="446167" cy="133329"/>
                </a:xfrm>
                <a:custGeom>
                  <a:avLst/>
                  <a:gdLst>
                    <a:gd name="connsiteX0" fmla="*/ 0 w 447403"/>
                    <a:gd name="connsiteY0" fmla="*/ 0 h 133894"/>
                    <a:gd name="connsiteX1" fmla="*/ 16329 w 447403"/>
                    <a:gd name="connsiteY1" fmla="*/ 6531 h 133894"/>
                    <a:gd name="connsiteX2" fmla="*/ 32657 w 447403"/>
                    <a:gd name="connsiteY2" fmla="*/ 16328 h 133894"/>
                    <a:gd name="connsiteX3" fmla="*/ 39189 w 447403"/>
                    <a:gd name="connsiteY3" fmla="*/ 22860 h 133894"/>
                    <a:gd name="connsiteX4" fmla="*/ 48986 w 447403"/>
                    <a:gd name="connsiteY4" fmla="*/ 29391 h 133894"/>
                    <a:gd name="connsiteX5" fmla="*/ 55517 w 447403"/>
                    <a:gd name="connsiteY5" fmla="*/ 39188 h 133894"/>
                    <a:gd name="connsiteX6" fmla="*/ 75112 w 447403"/>
                    <a:gd name="connsiteY6" fmla="*/ 45720 h 133894"/>
                    <a:gd name="connsiteX7" fmla="*/ 84909 w 447403"/>
                    <a:gd name="connsiteY7" fmla="*/ 52251 h 133894"/>
                    <a:gd name="connsiteX8" fmla="*/ 140426 w 447403"/>
                    <a:gd name="connsiteY8" fmla="*/ 62048 h 133894"/>
                    <a:gd name="connsiteX9" fmla="*/ 160020 w 447403"/>
                    <a:gd name="connsiteY9" fmla="*/ 68580 h 133894"/>
                    <a:gd name="connsiteX10" fmla="*/ 176349 w 447403"/>
                    <a:gd name="connsiteY10" fmla="*/ 81643 h 133894"/>
                    <a:gd name="connsiteX11" fmla="*/ 238397 w 447403"/>
                    <a:gd name="connsiteY11" fmla="*/ 84908 h 133894"/>
                    <a:gd name="connsiteX12" fmla="*/ 261257 w 447403"/>
                    <a:gd name="connsiteY12" fmla="*/ 91440 h 133894"/>
                    <a:gd name="connsiteX13" fmla="*/ 274320 w 447403"/>
                    <a:gd name="connsiteY13" fmla="*/ 94705 h 133894"/>
                    <a:gd name="connsiteX14" fmla="*/ 293914 w 447403"/>
                    <a:gd name="connsiteY14" fmla="*/ 101237 h 133894"/>
                    <a:gd name="connsiteX15" fmla="*/ 339634 w 447403"/>
                    <a:gd name="connsiteY15" fmla="*/ 111034 h 133894"/>
                    <a:gd name="connsiteX16" fmla="*/ 372292 w 447403"/>
                    <a:gd name="connsiteY16" fmla="*/ 120831 h 133894"/>
                    <a:gd name="connsiteX17" fmla="*/ 411480 w 447403"/>
                    <a:gd name="connsiteY17" fmla="*/ 124097 h 133894"/>
                    <a:gd name="connsiteX18" fmla="*/ 431074 w 447403"/>
                    <a:gd name="connsiteY18" fmla="*/ 130628 h 133894"/>
                    <a:gd name="connsiteX19" fmla="*/ 440872 w 447403"/>
                    <a:gd name="connsiteY19" fmla="*/ 133894 h 133894"/>
                    <a:gd name="connsiteX20" fmla="*/ 447403 w 447403"/>
                    <a:gd name="connsiteY20" fmla="*/ 133894 h 1338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47403" h="133894">
                      <a:moveTo>
                        <a:pt x="0" y="0"/>
                      </a:moveTo>
                      <a:cubicBezTo>
                        <a:pt x="5443" y="2177"/>
                        <a:pt x="11239" y="3623"/>
                        <a:pt x="16329" y="6531"/>
                      </a:cubicBezTo>
                      <a:cubicBezTo>
                        <a:pt x="41431" y="20875"/>
                        <a:pt x="1898" y="6077"/>
                        <a:pt x="32657" y="16328"/>
                      </a:cubicBezTo>
                      <a:cubicBezTo>
                        <a:pt x="34834" y="18505"/>
                        <a:pt x="36785" y="20936"/>
                        <a:pt x="39189" y="22860"/>
                      </a:cubicBezTo>
                      <a:cubicBezTo>
                        <a:pt x="42254" y="25312"/>
                        <a:pt x="46211" y="26616"/>
                        <a:pt x="48986" y="29391"/>
                      </a:cubicBezTo>
                      <a:cubicBezTo>
                        <a:pt x="51761" y="32166"/>
                        <a:pt x="52189" y="37108"/>
                        <a:pt x="55517" y="39188"/>
                      </a:cubicBezTo>
                      <a:cubicBezTo>
                        <a:pt x="61355" y="42837"/>
                        <a:pt x="69383" y="41901"/>
                        <a:pt x="75112" y="45720"/>
                      </a:cubicBezTo>
                      <a:cubicBezTo>
                        <a:pt x="78378" y="47897"/>
                        <a:pt x="81323" y="50657"/>
                        <a:pt x="84909" y="52251"/>
                      </a:cubicBezTo>
                      <a:cubicBezTo>
                        <a:pt x="106169" y="61700"/>
                        <a:pt x="114657" y="59706"/>
                        <a:pt x="140426" y="62048"/>
                      </a:cubicBezTo>
                      <a:cubicBezTo>
                        <a:pt x="146957" y="64225"/>
                        <a:pt x="155151" y="63712"/>
                        <a:pt x="160020" y="68580"/>
                      </a:cubicBezTo>
                      <a:cubicBezTo>
                        <a:pt x="163373" y="71932"/>
                        <a:pt x="171581" y="80993"/>
                        <a:pt x="176349" y="81643"/>
                      </a:cubicBezTo>
                      <a:cubicBezTo>
                        <a:pt x="196870" y="84441"/>
                        <a:pt x="217714" y="83820"/>
                        <a:pt x="238397" y="84908"/>
                      </a:cubicBezTo>
                      <a:cubicBezTo>
                        <a:pt x="279287" y="95131"/>
                        <a:pt x="228421" y="82059"/>
                        <a:pt x="261257" y="91440"/>
                      </a:cubicBezTo>
                      <a:cubicBezTo>
                        <a:pt x="265573" y="92673"/>
                        <a:pt x="270021" y="93415"/>
                        <a:pt x="274320" y="94705"/>
                      </a:cubicBezTo>
                      <a:cubicBezTo>
                        <a:pt x="280914" y="96683"/>
                        <a:pt x="287123" y="100105"/>
                        <a:pt x="293914" y="101237"/>
                      </a:cubicBezTo>
                      <a:cubicBezTo>
                        <a:pt x="310358" y="103978"/>
                        <a:pt x="323359" y="105609"/>
                        <a:pt x="339634" y="111034"/>
                      </a:cubicBezTo>
                      <a:cubicBezTo>
                        <a:pt x="345312" y="112926"/>
                        <a:pt x="364398" y="119844"/>
                        <a:pt x="372292" y="120831"/>
                      </a:cubicBezTo>
                      <a:cubicBezTo>
                        <a:pt x="385299" y="122457"/>
                        <a:pt x="398417" y="123008"/>
                        <a:pt x="411480" y="124097"/>
                      </a:cubicBezTo>
                      <a:lnTo>
                        <a:pt x="431074" y="130628"/>
                      </a:lnTo>
                      <a:cubicBezTo>
                        <a:pt x="434340" y="131717"/>
                        <a:pt x="437429" y="133894"/>
                        <a:pt x="440872" y="133894"/>
                      </a:cubicBezTo>
                      <a:lnTo>
                        <a:pt x="447403" y="133894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7" name="Forma livre 610"/>
                <p:cNvSpPr/>
                <p:nvPr/>
              </p:nvSpPr>
              <p:spPr>
                <a:xfrm>
                  <a:off x="4593765" y="4970964"/>
                  <a:ext cx="107969" cy="80949"/>
                </a:xfrm>
                <a:custGeom>
                  <a:avLst/>
                  <a:gdLst>
                    <a:gd name="connsiteX0" fmla="*/ 49312 w 107200"/>
                    <a:gd name="connsiteY0" fmla="*/ 6532 h 81681"/>
                    <a:gd name="connsiteX1" fmla="*/ 32983 w 107200"/>
                    <a:gd name="connsiteY1" fmla="*/ 19594 h 81681"/>
                    <a:gd name="connsiteX2" fmla="*/ 23186 w 107200"/>
                    <a:gd name="connsiteY2" fmla="*/ 22860 h 81681"/>
                    <a:gd name="connsiteX3" fmla="*/ 6857 w 107200"/>
                    <a:gd name="connsiteY3" fmla="*/ 32657 h 81681"/>
                    <a:gd name="connsiteX4" fmla="*/ 326 w 107200"/>
                    <a:gd name="connsiteY4" fmla="*/ 42454 h 81681"/>
                    <a:gd name="connsiteX5" fmla="*/ 3592 w 107200"/>
                    <a:gd name="connsiteY5" fmla="*/ 68580 h 81681"/>
                    <a:gd name="connsiteX6" fmla="*/ 13389 w 107200"/>
                    <a:gd name="connsiteY6" fmla="*/ 71846 h 81681"/>
                    <a:gd name="connsiteX7" fmla="*/ 55843 w 107200"/>
                    <a:gd name="connsiteY7" fmla="*/ 78377 h 81681"/>
                    <a:gd name="connsiteX8" fmla="*/ 65640 w 107200"/>
                    <a:gd name="connsiteY8" fmla="*/ 81643 h 81681"/>
                    <a:gd name="connsiteX9" fmla="*/ 85235 w 107200"/>
                    <a:gd name="connsiteY9" fmla="*/ 75112 h 81681"/>
                    <a:gd name="connsiteX10" fmla="*/ 88500 w 107200"/>
                    <a:gd name="connsiteY10" fmla="*/ 62049 h 81681"/>
                    <a:gd name="connsiteX11" fmla="*/ 91766 w 107200"/>
                    <a:gd name="connsiteY11" fmla="*/ 13063 h 81681"/>
                    <a:gd name="connsiteX12" fmla="*/ 72172 w 107200"/>
                    <a:gd name="connsiteY12" fmla="*/ 6532 h 81681"/>
                    <a:gd name="connsiteX13" fmla="*/ 39515 w 107200"/>
                    <a:gd name="connsiteY13" fmla="*/ 0 h 81681"/>
                    <a:gd name="connsiteX14" fmla="*/ 49312 w 107200"/>
                    <a:gd name="connsiteY14" fmla="*/ 6532 h 816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07200" h="81681">
                      <a:moveTo>
                        <a:pt x="49312" y="6532"/>
                      </a:moveTo>
                      <a:cubicBezTo>
                        <a:pt x="48223" y="9798"/>
                        <a:pt x="38894" y="15900"/>
                        <a:pt x="32983" y="19594"/>
                      </a:cubicBezTo>
                      <a:cubicBezTo>
                        <a:pt x="30064" y="21418"/>
                        <a:pt x="26138" y="21089"/>
                        <a:pt x="23186" y="22860"/>
                      </a:cubicBezTo>
                      <a:cubicBezTo>
                        <a:pt x="779" y="36306"/>
                        <a:pt x="34605" y="23411"/>
                        <a:pt x="6857" y="32657"/>
                      </a:cubicBezTo>
                      <a:cubicBezTo>
                        <a:pt x="4680" y="35923"/>
                        <a:pt x="681" y="38545"/>
                        <a:pt x="326" y="42454"/>
                      </a:cubicBezTo>
                      <a:cubicBezTo>
                        <a:pt x="-468" y="51194"/>
                        <a:pt x="28" y="60560"/>
                        <a:pt x="3592" y="68580"/>
                      </a:cubicBezTo>
                      <a:cubicBezTo>
                        <a:pt x="4990" y="71726"/>
                        <a:pt x="10049" y="71011"/>
                        <a:pt x="13389" y="71846"/>
                      </a:cubicBezTo>
                      <a:cubicBezTo>
                        <a:pt x="28353" y="75587"/>
                        <a:pt x="39974" y="76394"/>
                        <a:pt x="55843" y="78377"/>
                      </a:cubicBezTo>
                      <a:cubicBezTo>
                        <a:pt x="59109" y="79466"/>
                        <a:pt x="62219" y="82023"/>
                        <a:pt x="65640" y="81643"/>
                      </a:cubicBezTo>
                      <a:cubicBezTo>
                        <a:pt x="72483" y="80883"/>
                        <a:pt x="85235" y="75112"/>
                        <a:pt x="85235" y="75112"/>
                      </a:cubicBezTo>
                      <a:cubicBezTo>
                        <a:pt x="86323" y="70758"/>
                        <a:pt x="86493" y="66063"/>
                        <a:pt x="88500" y="62049"/>
                      </a:cubicBezTo>
                      <a:cubicBezTo>
                        <a:pt x="99078" y="40893"/>
                        <a:pt x="122880" y="79736"/>
                        <a:pt x="91766" y="13063"/>
                      </a:cubicBezTo>
                      <a:cubicBezTo>
                        <a:pt x="88855" y="6824"/>
                        <a:pt x="78923" y="7882"/>
                        <a:pt x="72172" y="6532"/>
                      </a:cubicBezTo>
                      <a:lnTo>
                        <a:pt x="39515" y="0"/>
                      </a:lnTo>
                      <a:cubicBezTo>
                        <a:pt x="22118" y="3480"/>
                        <a:pt x="50401" y="3266"/>
                        <a:pt x="49312" y="6532"/>
                      </a:cubicBezTo>
                      <a:close/>
                    </a:path>
                  </a:pathLst>
                </a:custGeom>
                <a:noFill/>
                <a:ln w="2222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8" name="Forma livre 611"/>
                <p:cNvSpPr/>
                <p:nvPr/>
              </p:nvSpPr>
              <p:spPr>
                <a:xfrm>
                  <a:off x="3615692" y="4872555"/>
                  <a:ext cx="427114" cy="379352"/>
                </a:xfrm>
                <a:custGeom>
                  <a:avLst/>
                  <a:gdLst>
                    <a:gd name="connsiteX0" fmla="*/ 0 w 427808"/>
                    <a:gd name="connsiteY0" fmla="*/ 0 h 378823"/>
                    <a:gd name="connsiteX1" fmla="*/ 16328 w 427808"/>
                    <a:gd name="connsiteY1" fmla="*/ 9797 h 378823"/>
                    <a:gd name="connsiteX2" fmla="*/ 26125 w 427808"/>
                    <a:gd name="connsiteY2" fmla="*/ 16328 h 378823"/>
                    <a:gd name="connsiteX3" fmla="*/ 35923 w 427808"/>
                    <a:gd name="connsiteY3" fmla="*/ 19594 h 378823"/>
                    <a:gd name="connsiteX4" fmla="*/ 45720 w 427808"/>
                    <a:gd name="connsiteY4" fmla="*/ 29391 h 378823"/>
                    <a:gd name="connsiteX5" fmla="*/ 48985 w 427808"/>
                    <a:gd name="connsiteY5" fmla="*/ 39188 h 378823"/>
                    <a:gd name="connsiteX6" fmla="*/ 75111 w 427808"/>
                    <a:gd name="connsiteY6" fmla="*/ 58783 h 378823"/>
                    <a:gd name="connsiteX7" fmla="*/ 107768 w 427808"/>
                    <a:gd name="connsiteY7" fmla="*/ 68580 h 378823"/>
                    <a:gd name="connsiteX8" fmla="*/ 117565 w 427808"/>
                    <a:gd name="connsiteY8" fmla="*/ 75111 h 378823"/>
                    <a:gd name="connsiteX9" fmla="*/ 124097 w 427808"/>
                    <a:gd name="connsiteY9" fmla="*/ 81643 h 378823"/>
                    <a:gd name="connsiteX10" fmla="*/ 143691 w 427808"/>
                    <a:gd name="connsiteY10" fmla="*/ 88174 h 378823"/>
                    <a:gd name="connsiteX11" fmla="*/ 169817 w 427808"/>
                    <a:gd name="connsiteY11" fmla="*/ 111034 h 378823"/>
                    <a:gd name="connsiteX12" fmla="*/ 176348 w 427808"/>
                    <a:gd name="connsiteY12" fmla="*/ 120831 h 378823"/>
                    <a:gd name="connsiteX13" fmla="*/ 186145 w 427808"/>
                    <a:gd name="connsiteY13" fmla="*/ 124097 h 378823"/>
                    <a:gd name="connsiteX14" fmla="*/ 218803 w 427808"/>
                    <a:gd name="connsiteY14" fmla="*/ 137160 h 378823"/>
                    <a:gd name="connsiteX15" fmla="*/ 238397 w 427808"/>
                    <a:gd name="connsiteY15" fmla="*/ 143691 h 378823"/>
                    <a:gd name="connsiteX16" fmla="*/ 251460 w 427808"/>
                    <a:gd name="connsiteY16" fmla="*/ 150223 h 378823"/>
                    <a:gd name="connsiteX17" fmla="*/ 261257 w 427808"/>
                    <a:gd name="connsiteY17" fmla="*/ 156754 h 378823"/>
                    <a:gd name="connsiteX18" fmla="*/ 271054 w 427808"/>
                    <a:gd name="connsiteY18" fmla="*/ 160020 h 378823"/>
                    <a:gd name="connsiteX19" fmla="*/ 284117 w 427808"/>
                    <a:gd name="connsiteY19" fmla="*/ 176348 h 378823"/>
                    <a:gd name="connsiteX20" fmla="*/ 297180 w 427808"/>
                    <a:gd name="connsiteY20" fmla="*/ 192677 h 378823"/>
                    <a:gd name="connsiteX21" fmla="*/ 306977 w 427808"/>
                    <a:gd name="connsiteY21" fmla="*/ 199208 h 378823"/>
                    <a:gd name="connsiteX22" fmla="*/ 320040 w 427808"/>
                    <a:gd name="connsiteY22" fmla="*/ 215537 h 378823"/>
                    <a:gd name="connsiteX23" fmla="*/ 329837 w 427808"/>
                    <a:gd name="connsiteY23" fmla="*/ 238397 h 378823"/>
                    <a:gd name="connsiteX24" fmla="*/ 333103 w 427808"/>
                    <a:gd name="connsiteY24" fmla="*/ 248194 h 378823"/>
                    <a:gd name="connsiteX25" fmla="*/ 342900 w 427808"/>
                    <a:gd name="connsiteY25" fmla="*/ 254725 h 378823"/>
                    <a:gd name="connsiteX26" fmla="*/ 355963 w 427808"/>
                    <a:gd name="connsiteY26" fmla="*/ 277585 h 378823"/>
                    <a:gd name="connsiteX27" fmla="*/ 359228 w 427808"/>
                    <a:gd name="connsiteY27" fmla="*/ 287383 h 378823"/>
                    <a:gd name="connsiteX28" fmla="*/ 365760 w 427808"/>
                    <a:gd name="connsiteY28" fmla="*/ 293914 h 378823"/>
                    <a:gd name="connsiteX29" fmla="*/ 372291 w 427808"/>
                    <a:gd name="connsiteY29" fmla="*/ 303711 h 378823"/>
                    <a:gd name="connsiteX30" fmla="*/ 375557 w 427808"/>
                    <a:gd name="connsiteY30" fmla="*/ 313508 h 378823"/>
                    <a:gd name="connsiteX31" fmla="*/ 382088 w 427808"/>
                    <a:gd name="connsiteY31" fmla="*/ 323305 h 378823"/>
                    <a:gd name="connsiteX32" fmla="*/ 385354 w 427808"/>
                    <a:gd name="connsiteY32" fmla="*/ 333103 h 378823"/>
                    <a:gd name="connsiteX33" fmla="*/ 395151 w 427808"/>
                    <a:gd name="connsiteY33" fmla="*/ 336368 h 378823"/>
                    <a:gd name="connsiteX34" fmla="*/ 408214 w 427808"/>
                    <a:gd name="connsiteY34" fmla="*/ 352697 h 378823"/>
                    <a:gd name="connsiteX35" fmla="*/ 414745 w 427808"/>
                    <a:gd name="connsiteY35" fmla="*/ 362494 h 378823"/>
                    <a:gd name="connsiteX36" fmla="*/ 424543 w 427808"/>
                    <a:gd name="connsiteY36" fmla="*/ 369025 h 378823"/>
                    <a:gd name="connsiteX37" fmla="*/ 427808 w 427808"/>
                    <a:gd name="connsiteY37" fmla="*/ 378823 h 378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427808" h="378823">
                      <a:moveTo>
                        <a:pt x="0" y="0"/>
                      </a:moveTo>
                      <a:cubicBezTo>
                        <a:pt x="5443" y="3266"/>
                        <a:pt x="10946" y="6433"/>
                        <a:pt x="16328" y="9797"/>
                      </a:cubicBezTo>
                      <a:cubicBezTo>
                        <a:pt x="19656" y="11877"/>
                        <a:pt x="22615" y="14573"/>
                        <a:pt x="26125" y="16328"/>
                      </a:cubicBezTo>
                      <a:cubicBezTo>
                        <a:pt x="29204" y="17868"/>
                        <a:pt x="32657" y="18505"/>
                        <a:pt x="35923" y="19594"/>
                      </a:cubicBezTo>
                      <a:cubicBezTo>
                        <a:pt x="39189" y="22860"/>
                        <a:pt x="43158" y="25548"/>
                        <a:pt x="45720" y="29391"/>
                      </a:cubicBezTo>
                      <a:cubicBezTo>
                        <a:pt x="47629" y="32255"/>
                        <a:pt x="47214" y="36236"/>
                        <a:pt x="48985" y="39188"/>
                      </a:cubicBezTo>
                      <a:cubicBezTo>
                        <a:pt x="52825" y="45589"/>
                        <a:pt x="73967" y="58497"/>
                        <a:pt x="75111" y="58783"/>
                      </a:cubicBezTo>
                      <a:cubicBezTo>
                        <a:pt x="82417" y="60609"/>
                        <a:pt x="102993" y="65397"/>
                        <a:pt x="107768" y="68580"/>
                      </a:cubicBezTo>
                      <a:cubicBezTo>
                        <a:pt x="111034" y="70757"/>
                        <a:pt x="114500" y="72659"/>
                        <a:pt x="117565" y="75111"/>
                      </a:cubicBezTo>
                      <a:cubicBezTo>
                        <a:pt x="119969" y="77035"/>
                        <a:pt x="121343" y="80266"/>
                        <a:pt x="124097" y="81643"/>
                      </a:cubicBezTo>
                      <a:cubicBezTo>
                        <a:pt x="130255" y="84722"/>
                        <a:pt x="137963" y="84355"/>
                        <a:pt x="143691" y="88174"/>
                      </a:cubicBezTo>
                      <a:cubicBezTo>
                        <a:pt x="154048" y="95079"/>
                        <a:pt x="162176" y="99571"/>
                        <a:pt x="169817" y="111034"/>
                      </a:cubicBezTo>
                      <a:cubicBezTo>
                        <a:pt x="171994" y="114300"/>
                        <a:pt x="173283" y="118379"/>
                        <a:pt x="176348" y="120831"/>
                      </a:cubicBezTo>
                      <a:cubicBezTo>
                        <a:pt x="179036" y="122981"/>
                        <a:pt x="182879" y="123008"/>
                        <a:pt x="186145" y="124097"/>
                      </a:cubicBezTo>
                      <a:cubicBezTo>
                        <a:pt x="200273" y="138223"/>
                        <a:pt x="186052" y="126243"/>
                        <a:pt x="218803" y="137160"/>
                      </a:cubicBezTo>
                      <a:cubicBezTo>
                        <a:pt x="225334" y="139337"/>
                        <a:pt x="232239" y="140612"/>
                        <a:pt x="238397" y="143691"/>
                      </a:cubicBezTo>
                      <a:cubicBezTo>
                        <a:pt x="242751" y="145868"/>
                        <a:pt x="247233" y="147808"/>
                        <a:pt x="251460" y="150223"/>
                      </a:cubicBezTo>
                      <a:cubicBezTo>
                        <a:pt x="254868" y="152170"/>
                        <a:pt x="257747" y="154999"/>
                        <a:pt x="261257" y="156754"/>
                      </a:cubicBezTo>
                      <a:cubicBezTo>
                        <a:pt x="264336" y="158293"/>
                        <a:pt x="267788" y="158931"/>
                        <a:pt x="271054" y="160020"/>
                      </a:cubicBezTo>
                      <a:cubicBezTo>
                        <a:pt x="277413" y="179094"/>
                        <a:pt x="269345" y="161576"/>
                        <a:pt x="284117" y="176348"/>
                      </a:cubicBezTo>
                      <a:cubicBezTo>
                        <a:pt x="301092" y="193323"/>
                        <a:pt x="281019" y="179748"/>
                        <a:pt x="297180" y="192677"/>
                      </a:cubicBezTo>
                      <a:cubicBezTo>
                        <a:pt x="300245" y="195129"/>
                        <a:pt x="303912" y="196756"/>
                        <a:pt x="306977" y="199208"/>
                      </a:cubicBezTo>
                      <a:cubicBezTo>
                        <a:pt x="313622" y="204524"/>
                        <a:pt x="315192" y="208266"/>
                        <a:pt x="320040" y="215537"/>
                      </a:cubicBezTo>
                      <a:cubicBezTo>
                        <a:pt x="326834" y="242720"/>
                        <a:pt x="318561" y="215848"/>
                        <a:pt x="329837" y="238397"/>
                      </a:cubicBezTo>
                      <a:cubicBezTo>
                        <a:pt x="331377" y="241476"/>
                        <a:pt x="330953" y="245506"/>
                        <a:pt x="333103" y="248194"/>
                      </a:cubicBezTo>
                      <a:cubicBezTo>
                        <a:pt x="335555" y="251259"/>
                        <a:pt x="339634" y="252548"/>
                        <a:pt x="342900" y="254725"/>
                      </a:cubicBezTo>
                      <a:cubicBezTo>
                        <a:pt x="349455" y="264559"/>
                        <a:pt x="350995" y="265992"/>
                        <a:pt x="355963" y="277585"/>
                      </a:cubicBezTo>
                      <a:cubicBezTo>
                        <a:pt x="357319" y="280749"/>
                        <a:pt x="357457" y="284431"/>
                        <a:pt x="359228" y="287383"/>
                      </a:cubicBezTo>
                      <a:cubicBezTo>
                        <a:pt x="360812" y="290023"/>
                        <a:pt x="363837" y="291510"/>
                        <a:pt x="365760" y="293914"/>
                      </a:cubicBezTo>
                      <a:cubicBezTo>
                        <a:pt x="368212" y="296979"/>
                        <a:pt x="370536" y="300201"/>
                        <a:pt x="372291" y="303711"/>
                      </a:cubicBezTo>
                      <a:cubicBezTo>
                        <a:pt x="373830" y="306790"/>
                        <a:pt x="374018" y="310429"/>
                        <a:pt x="375557" y="313508"/>
                      </a:cubicBezTo>
                      <a:cubicBezTo>
                        <a:pt x="377312" y="317018"/>
                        <a:pt x="380333" y="319795"/>
                        <a:pt x="382088" y="323305"/>
                      </a:cubicBezTo>
                      <a:cubicBezTo>
                        <a:pt x="383628" y="326384"/>
                        <a:pt x="382920" y="330669"/>
                        <a:pt x="385354" y="333103"/>
                      </a:cubicBezTo>
                      <a:cubicBezTo>
                        <a:pt x="387788" y="335537"/>
                        <a:pt x="391885" y="335280"/>
                        <a:pt x="395151" y="336368"/>
                      </a:cubicBezTo>
                      <a:cubicBezTo>
                        <a:pt x="415265" y="366536"/>
                        <a:pt x="389593" y="329419"/>
                        <a:pt x="408214" y="352697"/>
                      </a:cubicBezTo>
                      <a:cubicBezTo>
                        <a:pt x="410666" y="355762"/>
                        <a:pt x="411970" y="359719"/>
                        <a:pt x="414745" y="362494"/>
                      </a:cubicBezTo>
                      <a:cubicBezTo>
                        <a:pt x="417521" y="365269"/>
                        <a:pt x="421277" y="366848"/>
                        <a:pt x="424543" y="369025"/>
                      </a:cubicBezTo>
                      <a:lnTo>
                        <a:pt x="427808" y="378823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99" name="Forma livre 626"/>
                <p:cNvSpPr/>
                <p:nvPr/>
              </p:nvSpPr>
              <p:spPr>
                <a:xfrm>
                  <a:off x="3347357" y="4790018"/>
                  <a:ext cx="1109859" cy="536489"/>
                </a:xfrm>
                <a:custGeom>
                  <a:avLst/>
                  <a:gdLst>
                    <a:gd name="connsiteX0" fmla="*/ 0 w 1110343"/>
                    <a:gd name="connsiteY0" fmla="*/ 536377 h 536377"/>
                    <a:gd name="connsiteX1" fmla="*/ 16329 w 1110343"/>
                    <a:gd name="connsiteY1" fmla="*/ 523314 h 536377"/>
                    <a:gd name="connsiteX2" fmla="*/ 26126 w 1110343"/>
                    <a:gd name="connsiteY2" fmla="*/ 516783 h 536377"/>
                    <a:gd name="connsiteX3" fmla="*/ 68580 w 1110343"/>
                    <a:gd name="connsiteY3" fmla="*/ 513517 h 536377"/>
                    <a:gd name="connsiteX4" fmla="*/ 84909 w 1110343"/>
                    <a:gd name="connsiteY4" fmla="*/ 503720 h 536377"/>
                    <a:gd name="connsiteX5" fmla="*/ 107769 w 1110343"/>
                    <a:gd name="connsiteY5" fmla="*/ 484126 h 536377"/>
                    <a:gd name="connsiteX6" fmla="*/ 140426 w 1110343"/>
                    <a:gd name="connsiteY6" fmla="*/ 474328 h 536377"/>
                    <a:gd name="connsiteX7" fmla="*/ 169817 w 1110343"/>
                    <a:gd name="connsiteY7" fmla="*/ 458000 h 536377"/>
                    <a:gd name="connsiteX8" fmla="*/ 186146 w 1110343"/>
                    <a:gd name="connsiteY8" fmla="*/ 448203 h 536377"/>
                    <a:gd name="connsiteX9" fmla="*/ 202474 w 1110343"/>
                    <a:gd name="connsiteY9" fmla="*/ 438406 h 536377"/>
                    <a:gd name="connsiteX10" fmla="*/ 212272 w 1110343"/>
                    <a:gd name="connsiteY10" fmla="*/ 418811 h 536377"/>
                    <a:gd name="connsiteX11" fmla="*/ 215537 w 1110343"/>
                    <a:gd name="connsiteY11" fmla="*/ 402483 h 536377"/>
                    <a:gd name="connsiteX12" fmla="*/ 231866 w 1110343"/>
                    <a:gd name="connsiteY12" fmla="*/ 389420 h 536377"/>
                    <a:gd name="connsiteX13" fmla="*/ 257992 w 1110343"/>
                    <a:gd name="connsiteY13" fmla="*/ 386154 h 536377"/>
                    <a:gd name="connsiteX14" fmla="*/ 280852 w 1110343"/>
                    <a:gd name="connsiteY14" fmla="*/ 366560 h 536377"/>
                    <a:gd name="connsiteX15" fmla="*/ 287383 w 1110343"/>
                    <a:gd name="connsiteY15" fmla="*/ 360028 h 536377"/>
                    <a:gd name="connsiteX16" fmla="*/ 297180 w 1110343"/>
                    <a:gd name="connsiteY16" fmla="*/ 356763 h 536377"/>
                    <a:gd name="connsiteX17" fmla="*/ 313509 w 1110343"/>
                    <a:gd name="connsiteY17" fmla="*/ 343700 h 536377"/>
                    <a:gd name="connsiteX18" fmla="*/ 333103 w 1110343"/>
                    <a:gd name="connsiteY18" fmla="*/ 320840 h 536377"/>
                    <a:gd name="connsiteX19" fmla="*/ 355963 w 1110343"/>
                    <a:gd name="connsiteY19" fmla="*/ 301246 h 536377"/>
                    <a:gd name="connsiteX20" fmla="*/ 365760 w 1110343"/>
                    <a:gd name="connsiteY20" fmla="*/ 297980 h 536377"/>
                    <a:gd name="connsiteX21" fmla="*/ 369026 w 1110343"/>
                    <a:gd name="connsiteY21" fmla="*/ 288183 h 536377"/>
                    <a:gd name="connsiteX22" fmla="*/ 382089 w 1110343"/>
                    <a:gd name="connsiteY22" fmla="*/ 284917 h 536377"/>
                    <a:gd name="connsiteX23" fmla="*/ 391886 w 1110343"/>
                    <a:gd name="connsiteY23" fmla="*/ 281651 h 536377"/>
                    <a:gd name="connsiteX24" fmla="*/ 404949 w 1110343"/>
                    <a:gd name="connsiteY24" fmla="*/ 278386 h 536377"/>
                    <a:gd name="connsiteX25" fmla="*/ 424543 w 1110343"/>
                    <a:gd name="connsiteY25" fmla="*/ 271854 h 536377"/>
                    <a:gd name="connsiteX26" fmla="*/ 440872 w 1110343"/>
                    <a:gd name="connsiteY26" fmla="*/ 258791 h 536377"/>
                    <a:gd name="connsiteX27" fmla="*/ 460466 w 1110343"/>
                    <a:gd name="connsiteY27" fmla="*/ 248994 h 536377"/>
                    <a:gd name="connsiteX28" fmla="*/ 470263 w 1110343"/>
                    <a:gd name="connsiteY28" fmla="*/ 239197 h 536377"/>
                    <a:gd name="connsiteX29" fmla="*/ 489857 w 1110343"/>
                    <a:gd name="connsiteY29" fmla="*/ 229400 h 536377"/>
                    <a:gd name="connsiteX30" fmla="*/ 512717 w 1110343"/>
                    <a:gd name="connsiteY30" fmla="*/ 219603 h 536377"/>
                    <a:gd name="connsiteX31" fmla="*/ 519249 w 1110343"/>
                    <a:gd name="connsiteY31" fmla="*/ 209806 h 536377"/>
                    <a:gd name="connsiteX32" fmla="*/ 538843 w 1110343"/>
                    <a:gd name="connsiteY32" fmla="*/ 177148 h 536377"/>
                    <a:gd name="connsiteX33" fmla="*/ 548640 w 1110343"/>
                    <a:gd name="connsiteY33" fmla="*/ 173883 h 536377"/>
                    <a:gd name="connsiteX34" fmla="*/ 594360 w 1110343"/>
                    <a:gd name="connsiteY34" fmla="*/ 167351 h 536377"/>
                    <a:gd name="connsiteX35" fmla="*/ 604157 w 1110343"/>
                    <a:gd name="connsiteY35" fmla="*/ 164086 h 536377"/>
                    <a:gd name="connsiteX36" fmla="*/ 630283 w 1110343"/>
                    <a:gd name="connsiteY36" fmla="*/ 157554 h 536377"/>
                    <a:gd name="connsiteX37" fmla="*/ 643346 w 1110343"/>
                    <a:gd name="connsiteY37" fmla="*/ 154288 h 536377"/>
                    <a:gd name="connsiteX38" fmla="*/ 656409 w 1110343"/>
                    <a:gd name="connsiteY38" fmla="*/ 151023 h 536377"/>
                    <a:gd name="connsiteX39" fmla="*/ 676003 w 1110343"/>
                    <a:gd name="connsiteY39" fmla="*/ 144491 h 536377"/>
                    <a:gd name="connsiteX40" fmla="*/ 728254 w 1110343"/>
                    <a:gd name="connsiteY40" fmla="*/ 137960 h 536377"/>
                    <a:gd name="connsiteX41" fmla="*/ 738052 w 1110343"/>
                    <a:gd name="connsiteY41" fmla="*/ 134694 h 536377"/>
                    <a:gd name="connsiteX42" fmla="*/ 764177 w 1110343"/>
                    <a:gd name="connsiteY42" fmla="*/ 128163 h 536377"/>
                    <a:gd name="connsiteX43" fmla="*/ 773974 w 1110343"/>
                    <a:gd name="connsiteY43" fmla="*/ 121631 h 536377"/>
                    <a:gd name="connsiteX44" fmla="*/ 796834 w 1110343"/>
                    <a:gd name="connsiteY44" fmla="*/ 108568 h 536377"/>
                    <a:gd name="connsiteX45" fmla="*/ 803366 w 1110343"/>
                    <a:gd name="connsiteY45" fmla="*/ 102037 h 536377"/>
                    <a:gd name="connsiteX46" fmla="*/ 829492 w 1110343"/>
                    <a:gd name="connsiteY46" fmla="*/ 98771 h 536377"/>
                    <a:gd name="connsiteX47" fmla="*/ 839289 w 1110343"/>
                    <a:gd name="connsiteY47" fmla="*/ 92240 h 536377"/>
                    <a:gd name="connsiteX48" fmla="*/ 845820 w 1110343"/>
                    <a:gd name="connsiteY48" fmla="*/ 85708 h 536377"/>
                    <a:gd name="connsiteX49" fmla="*/ 855617 w 1110343"/>
                    <a:gd name="connsiteY49" fmla="*/ 82443 h 536377"/>
                    <a:gd name="connsiteX50" fmla="*/ 871946 w 1110343"/>
                    <a:gd name="connsiteY50" fmla="*/ 72646 h 536377"/>
                    <a:gd name="connsiteX51" fmla="*/ 885009 w 1110343"/>
                    <a:gd name="connsiteY51" fmla="*/ 59583 h 536377"/>
                    <a:gd name="connsiteX52" fmla="*/ 904603 w 1110343"/>
                    <a:gd name="connsiteY52" fmla="*/ 46520 h 536377"/>
                    <a:gd name="connsiteX53" fmla="*/ 914400 w 1110343"/>
                    <a:gd name="connsiteY53" fmla="*/ 39988 h 536377"/>
                    <a:gd name="connsiteX54" fmla="*/ 930729 w 1110343"/>
                    <a:gd name="connsiteY54" fmla="*/ 26926 h 536377"/>
                    <a:gd name="connsiteX55" fmla="*/ 937260 w 1110343"/>
                    <a:gd name="connsiteY55" fmla="*/ 20394 h 536377"/>
                    <a:gd name="connsiteX56" fmla="*/ 953589 w 1110343"/>
                    <a:gd name="connsiteY56" fmla="*/ 17128 h 536377"/>
                    <a:gd name="connsiteX57" fmla="*/ 963386 w 1110343"/>
                    <a:gd name="connsiteY57" fmla="*/ 13863 h 536377"/>
                    <a:gd name="connsiteX58" fmla="*/ 992777 w 1110343"/>
                    <a:gd name="connsiteY58" fmla="*/ 10597 h 536377"/>
                    <a:gd name="connsiteX59" fmla="*/ 1031966 w 1110343"/>
                    <a:gd name="connsiteY59" fmla="*/ 4066 h 536377"/>
                    <a:gd name="connsiteX60" fmla="*/ 1110343 w 1110343"/>
                    <a:gd name="connsiteY60" fmla="*/ 800 h 536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1110343" h="536377">
                      <a:moveTo>
                        <a:pt x="0" y="536377"/>
                      </a:moveTo>
                      <a:cubicBezTo>
                        <a:pt x="5443" y="532023"/>
                        <a:pt x="10753" y="527496"/>
                        <a:pt x="16329" y="523314"/>
                      </a:cubicBezTo>
                      <a:cubicBezTo>
                        <a:pt x="19469" y="520959"/>
                        <a:pt x="22268" y="517506"/>
                        <a:pt x="26126" y="516783"/>
                      </a:cubicBezTo>
                      <a:cubicBezTo>
                        <a:pt x="40076" y="514167"/>
                        <a:pt x="54429" y="514606"/>
                        <a:pt x="68580" y="513517"/>
                      </a:cubicBezTo>
                      <a:cubicBezTo>
                        <a:pt x="92722" y="489379"/>
                        <a:pt x="55224" y="524924"/>
                        <a:pt x="84909" y="503720"/>
                      </a:cubicBezTo>
                      <a:cubicBezTo>
                        <a:pt x="97078" y="495028"/>
                        <a:pt x="95187" y="489518"/>
                        <a:pt x="107769" y="484126"/>
                      </a:cubicBezTo>
                      <a:cubicBezTo>
                        <a:pt x="120549" y="478649"/>
                        <a:pt x="127253" y="483110"/>
                        <a:pt x="140426" y="474328"/>
                      </a:cubicBezTo>
                      <a:cubicBezTo>
                        <a:pt x="162884" y="459357"/>
                        <a:pt x="152573" y="463748"/>
                        <a:pt x="169817" y="458000"/>
                      </a:cubicBezTo>
                      <a:cubicBezTo>
                        <a:pt x="186370" y="441447"/>
                        <a:pt x="164946" y="460923"/>
                        <a:pt x="186146" y="448203"/>
                      </a:cubicBezTo>
                      <a:cubicBezTo>
                        <a:pt x="208559" y="434755"/>
                        <a:pt x="174721" y="447655"/>
                        <a:pt x="202474" y="438406"/>
                      </a:cubicBezTo>
                      <a:cubicBezTo>
                        <a:pt x="208859" y="428829"/>
                        <a:pt x="209568" y="429626"/>
                        <a:pt x="212272" y="418811"/>
                      </a:cubicBezTo>
                      <a:cubicBezTo>
                        <a:pt x="213618" y="413426"/>
                        <a:pt x="213351" y="407585"/>
                        <a:pt x="215537" y="402483"/>
                      </a:cubicBezTo>
                      <a:cubicBezTo>
                        <a:pt x="216968" y="399143"/>
                        <a:pt x="229546" y="390053"/>
                        <a:pt x="231866" y="389420"/>
                      </a:cubicBezTo>
                      <a:cubicBezTo>
                        <a:pt x="240333" y="387111"/>
                        <a:pt x="249283" y="387243"/>
                        <a:pt x="257992" y="386154"/>
                      </a:cubicBezTo>
                      <a:cubicBezTo>
                        <a:pt x="272911" y="376208"/>
                        <a:pt x="265016" y="382397"/>
                        <a:pt x="280852" y="366560"/>
                      </a:cubicBezTo>
                      <a:cubicBezTo>
                        <a:pt x="283029" y="364383"/>
                        <a:pt x="284462" y="361001"/>
                        <a:pt x="287383" y="360028"/>
                      </a:cubicBezTo>
                      <a:lnTo>
                        <a:pt x="297180" y="356763"/>
                      </a:lnTo>
                      <a:cubicBezTo>
                        <a:pt x="313097" y="332889"/>
                        <a:pt x="293432" y="358041"/>
                        <a:pt x="313509" y="343700"/>
                      </a:cubicBezTo>
                      <a:cubicBezTo>
                        <a:pt x="330846" y="331316"/>
                        <a:pt x="322201" y="333559"/>
                        <a:pt x="333103" y="320840"/>
                      </a:cubicBezTo>
                      <a:cubicBezTo>
                        <a:pt x="339130" y="313808"/>
                        <a:pt x="347295" y="305580"/>
                        <a:pt x="355963" y="301246"/>
                      </a:cubicBezTo>
                      <a:cubicBezTo>
                        <a:pt x="359042" y="299707"/>
                        <a:pt x="362494" y="299069"/>
                        <a:pt x="365760" y="297980"/>
                      </a:cubicBezTo>
                      <a:cubicBezTo>
                        <a:pt x="366849" y="294714"/>
                        <a:pt x="366338" y="290333"/>
                        <a:pt x="369026" y="288183"/>
                      </a:cubicBezTo>
                      <a:cubicBezTo>
                        <a:pt x="372531" y="285379"/>
                        <a:pt x="377773" y="286150"/>
                        <a:pt x="382089" y="284917"/>
                      </a:cubicBezTo>
                      <a:cubicBezTo>
                        <a:pt x="385399" y="283971"/>
                        <a:pt x="388576" y="282597"/>
                        <a:pt x="391886" y="281651"/>
                      </a:cubicBezTo>
                      <a:cubicBezTo>
                        <a:pt x="396202" y="280418"/>
                        <a:pt x="400650" y="279676"/>
                        <a:pt x="404949" y="278386"/>
                      </a:cubicBezTo>
                      <a:cubicBezTo>
                        <a:pt x="411543" y="276408"/>
                        <a:pt x="424543" y="271854"/>
                        <a:pt x="424543" y="271854"/>
                      </a:cubicBezTo>
                      <a:cubicBezTo>
                        <a:pt x="429986" y="267500"/>
                        <a:pt x="434961" y="262485"/>
                        <a:pt x="440872" y="258791"/>
                      </a:cubicBezTo>
                      <a:cubicBezTo>
                        <a:pt x="464440" y="244062"/>
                        <a:pt x="436349" y="269092"/>
                        <a:pt x="460466" y="248994"/>
                      </a:cubicBezTo>
                      <a:cubicBezTo>
                        <a:pt x="464014" y="246037"/>
                        <a:pt x="466715" y="242154"/>
                        <a:pt x="470263" y="239197"/>
                      </a:cubicBezTo>
                      <a:cubicBezTo>
                        <a:pt x="481337" y="229969"/>
                        <a:pt x="477729" y="234598"/>
                        <a:pt x="489857" y="229400"/>
                      </a:cubicBezTo>
                      <a:cubicBezTo>
                        <a:pt x="518092" y="217298"/>
                        <a:pt x="489751" y="227257"/>
                        <a:pt x="512717" y="219603"/>
                      </a:cubicBezTo>
                      <a:cubicBezTo>
                        <a:pt x="514894" y="216337"/>
                        <a:pt x="517655" y="213393"/>
                        <a:pt x="519249" y="209806"/>
                      </a:cubicBezTo>
                      <a:cubicBezTo>
                        <a:pt x="524072" y="198954"/>
                        <a:pt x="524181" y="182034"/>
                        <a:pt x="538843" y="177148"/>
                      </a:cubicBezTo>
                      <a:cubicBezTo>
                        <a:pt x="542109" y="176060"/>
                        <a:pt x="545245" y="174449"/>
                        <a:pt x="548640" y="173883"/>
                      </a:cubicBezTo>
                      <a:cubicBezTo>
                        <a:pt x="579132" y="168801"/>
                        <a:pt x="570853" y="173228"/>
                        <a:pt x="594360" y="167351"/>
                      </a:cubicBezTo>
                      <a:cubicBezTo>
                        <a:pt x="597699" y="166516"/>
                        <a:pt x="600836" y="164992"/>
                        <a:pt x="604157" y="164086"/>
                      </a:cubicBezTo>
                      <a:cubicBezTo>
                        <a:pt x="612817" y="161724"/>
                        <a:pt x="621574" y="159731"/>
                        <a:pt x="630283" y="157554"/>
                      </a:cubicBezTo>
                      <a:lnTo>
                        <a:pt x="643346" y="154288"/>
                      </a:lnTo>
                      <a:cubicBezTo>
                        <a:pt x="647700" y="153200"/>
                        <a:pt x="652151" y="152442"/>
                        <a:pt x="656409" y="151023"/>
                      </a:cubicBezTo>
                      <a:cubicBezTo>
                        <a:pt x="662940" y="148846"/>
                        <a:pt x="669152" y="145176"/>
                        <a:pt x="676003" y="144491"/>
                      </a:cubicBezTo>
                      <a:cubicBezTo>
                        <a:pt x="692437" y="142848"/>
                        <a:pt x="711676" y="141644"/>
                        <a:pt x="728254" y="137960"/>
                      </a:cubicBezTo>
                      <a:cubicBezTo>
                        <a:pt x="731615" y="137213"/>
                        <a:pt x="734712" y="135529"/>
                        <a:pt x="738052" y="134694"/>
                      </a:cubicBezTo>
                      <a:lnTo>
                        <a:pt x="764177" y="128163"/>
                      </a:lnTo>
                      <a:cubicBezTo>
                        <a:pt x="767443" y="125986"/>
                        <a:pt x="770566" y="123578"/>
                        <a:pt x="773974" y="121631"/>
                      </a:cubicBezTo>
                      <a:cubicBezTo>
                        <a:pt x="785717" y="114921"/>
                        <a:pt x="786881" y="116530"/>
                        <a:pt x="796834" y="108568"/>
                      </a:cubicBezTo>
                      <a:cubicBezTo>
                        <a:pt x="799238" y="106645"/>
                        <a:pt x="800417" y="102922"/>
                        <a:pt x="803366" y="102037"/>
                      </a:cubicBezTo>
                      <a:cubicBezTo>
                        <a:pt x="811772" y="99515"/>
                        <a:pt x="820783" y="99860"/>
                        <a:pt x="829492" y="98771"/>
                      </a:cubicBezTo>
                      <a:cubicBezTo>
                        <a:pt x="832758" y="96594"/>
                        <a:pt x="836224" y="94692"/>
                        <a:pt x="839289" y="92240"/>
                      </a:cubicBezTo>
                      <a:cubicBezTo>
                        <a:pt x="841693" y="90317"/>
                        <a:pt x="843180" y="87292"/>
                        <a:pt x="845820" y="85708"/>
                      </a:cubicBezTo>
                      <a:cubicBezTo>
                        <a:pt x="848772" y="83937"/>
                        <a:pt x="852351" y="83531"/>
                        <a:pt x="855617" y="82443"/>
                      </a:cubicBezTo>
                      <a:cubicBezTo>
                        <a:pt x="879753" y="58307"/>
                        <a:pt x="842270" y="93843"/>
                        <a:pt x="871946" y="72646"/>
                      </a:cubicBezTo>
                      <a:cubicBezTo>
                        <a:pt x="876957" y="69067"/>
                        <a:pt x="879885" y="62999"/>
                        <a:pt x="885009" y="59583"/>
                      </a:cubicBezTo>
                      <a:lnTo>
                        <a:pt x="904603" y="46520"/>
                      </a:lnTo>
                      <a:cubicBezTo>
                        <a:pt x="907869" y="44343"/>
                        <a:pt x="911624" y="42763"/>
                        <a:pt x="914400" y="39988"/>
                      </a:cubicBezTo>
                      <a:cubicBezTo>
                        <a:pt x="930181" y="24210"/>
                        <a:pt x="910119" y="43415"/>
                        <a:pt x="930729" y="26926"/>
                      </a:cubicBezTo>
                      <a:cubicBezTo>
                        <a:pt x="933133" y="25003"/>
                        <a:pt x="934430" y="21607"/>
                        <a:pt x="937260" y="20394"/>
                      </a:cubicBezTo>
                      <a:cubicBezTo>
                        <a:pt x="942362" y="18207"/>
                        <a:pt x="948204" y="18474"/>
                        <a:pt x="953589" y="17128"/>
                      </a:cubicBezTo>
                      <a:cubicBezTo>
                        <a:pt x="956928" y="16293"/>
                        <a:pt x="959991" y="14429"/>
                        <a:pt x="963386" y="13863"/>
                      </a:cubicBezTo>
                      <a:cubicBezTo>
                        <a:pt x="973109" y="12243"/>
                        <a:pt x="982980" y="11686"/>
                        <a:pt x="992777" y="10597"/>
                      </a:cubicBezTo>
                      <a:cubicBezTo>
                        <a:pt x="1013200" y="3789"/>
                        <a:pt x="995505" y="8927"/>
                        <a:pt x="1031966" y="4066"/>
                      </a:cubicBezTo>
                      <a:cubicBezTo>
                        <a:pt x="1080627" y="-2422"/>
                        <a:pt x="1016119" y="800"/>
                        <a:pt x="1110343" y="80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0" name="Forma livre 628"/>
                <p:cNvSpPr/>
                <p:nvPr/>
              </p:nvSpPr>
              <p:spPr>
                <a:xfrm>
                  <a:off x="4082499" y="4931283"/>
                  <a:ext cx="9527" cy="52380"/>
                </a:xfrm>
                <a:custGeom>
                  <a:avLst/>
                  <a:gdLst>
                    <a:gd name="connsiteX0" fmla="*/ 0 w 9797"/>
                    <a:gd name="connsiteY0" fmla="*/ 52251 h 52251"/>
                    <a:gd name="connsiteX1" fmla="*/ 3266 w 9797"/>
                    <a:gd name="connsiteY1" fmla="*/ 35922 h 52251"/>
                    <a:gd name="connsiteX2" fmla="*/ 9797 w 9797"/>
                    <a:gd name="connsiteY2" fmla="*/ 16328 h 52251"/>
                    <a:gd name="connsiteX3" fmla="*/ 6531 w 9797"/>
                    <a:gd name="connsiteY3" fmla="*/ 0 h 522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97" h="52251">
                      <a:moveTo>
                        <a:pt x="0" y="52251"/>
                      </a:moveTo>
                      <a:cubicBezTo>
                        <a:pt x="1089" y="46808"/>
                        <a:pt x="1806" y="41277"/>
                        <a:pt x="3266" y="35922"/>
                      </a:cubicBezTo>
                      <a:cubicBezTo>
                        <a:pt x="5077" y="29280"/>
                        <a:pt x="9797" y="16328"/>
                        <a:pt x="9797" y="16328"/>
                      </a:cubicBezTo>
                      <a:cubicBezTo>
                        <a:pt x="5843" y="4466"/>
                        <a:pt x="6531" y="9973"/>
                        <a:pt x="6531" y="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1" name="Forma livre 629"/>
                <p:cNvSpPr/>
                <p:nvPr/>
              </p:nvSpPr>
              <p:spPr>
                <a:xfrm>
                  <a:off x="3536302" y="5237622"/>
                  <a:ext cx="601770" cy="85711"/>
                </a:xfrm>
                <a:custGeom>
                  <a:avLst/>
                  <a:gdLst>
                    <a:gd name="connsiteX0" fmla="*/ 0 w 600891"/>
                    <a:gd name="connsiteY0" fmla="*/ 0 h 84908"/>
                    <a:gd name="connsiteX1" fmla="*/ 16328 w 600891"/>
                    <a:gd name="connsiteY1" fmla="*/ 16328 h 84908"/>
                    <a:gd name="connsiteX2" fmla="*/ 39188 w 600891"/>
                    <a:gd name="connsiteY2" fmla="*/ 22860 h 84908"/>
                    <a:gd name="connsiteX3" fmla="*/ 101237 w 600891"/>
                    <a:gd name="connsiteY3" fmla="*/ 26125 h 84908"/>
                    <a:gd name="connsiteX4" fmla="*/ 124097 w 600891"/>
                    <a:gd name="connsiteY4" fmla="*/ 42454 h 84908"/>
                    <a:gd name="connsiteX5" fmla="*/ 143691 w 600891"/>
                    <a:gd name="connsiteY5" fmla="*/ 52251 h 84908"/>
                    <a:gd name="connsiteX6" fmla="*/ 169817 w 600891"/>
                    <a:gd name="connsiteY6" fmla="*/ 65314 h 84908"/>
                    <a:gd name="connsiteX7" fmla="*/ 189411 w 600891"/>
                    <a:gd name="connsiteY7" fmla="*/ 71845 h 84908"/>
                    <a:gd name="connsiteX8" fmla="*/ 218802 w 600891"/>
                    <a:gd name="connsiteY8" fmla="*/ 75111 h 84908"/>
                    <a:gd name="connsiteX9" fmla="*/ 254725 w 600891"/>
                    <a:gd name="connsiteY9" fmla="*/ 84908 h 84908"/>
                    <a:gd name="connsiteX10" fmla="*/ 264522 w 600891"/>
                    <a:gd name="connsiteY10" fmla="*/ 81643 h 84908"/>
                    <a:gd name="connsiteX11" fmla="*/ 271054 w 600891"/>
                    <a:gd name="connsiteY11" fmla="*/ 71845 h 84908"/>
                    <a:gd name="connsiteX12" fmla="*/ 303711 w 600891"/>
                    <a:gd name="connsiteY12" fmla="*/ 75111 h 84908"/>
                    <a:gd name="connsiteX13" fmla="*/ 333102 w 600891"/>
                    <a:gd name="connsiteY13" fmla="*/ 71845 h 84908"/>
                    <a:gd name="connsiteX14" fmla="*/ 342900 w 600891"/>
                    <a:gd name="connsiteY14" fmla="*/ 68580 h 84908"/>
                    <a:gd name="connsiteX15" fmla="*/ 359228 w 600891"/>
                    <a:gd name="connsiteY15" fmla="*/ 65314 h 84908"/>
                    <a:gd name="connsiteX16" fmla="*/ 362494 w 600891"/>
                    <a:gd name="connsiteY16" fmla="*/ 55517 h 84908"/>
                    <a:gd name="connsiteX17" fmla="*/ 382088 w 600891"/>
                    <a:gd name="connsiteY17" fmla="*/ 48985 h 84908"/>
                    <a:gd name="connsiteX18" fmla="*/ 391885 w 600891"/>
                    <a:gd name="connsiteY18" fmla="*/ 45720 h 84908"/>
                    <a:gd name="connsiteX19" fmla="*/ 414745 w 600891"/>
                    <a:gd name="connsiteY19" fmla="*/ 35923 h 84908"/>
                    <a:gd name="connsiteX20" fmla="*/ 493122 w 600891"/>
                    <a:gd name="connsiteY20" fmla="*/ 32657 h 84908"/>
                    <a:gd name="connsiteX21" fmla="*/ 512717 w 600891"/>
                    <a:gd name="connsiteY21" fmla="*/ 19594 h 84908"/>
                    <a:gd name="connsiteX22" fmla="*/ 522514 w 600891"/>
                    <a:gd name="connsiteY22" fmla="*/ 9797 h 84908"/>
                    <a:gd name="connsiteX23" fmla="*/ 535577 w 600891"/>
                    <a:gd name="connsiteY23" fmla="*/ 29391 h 84908"/>
                    <a:gd name="connsiteX24" fmla="*/ 538842 w 600891"/>
                    <a:gd name="connsiteY24" fmla="*/ 39188 h 84908"/>
                    <a:gd name="connsiteX25" fmla="*/ 548640 w 600891"/>
                    <a:gd name="connsiteY25" fmla="*/ 42454 h 84908"/>
                    <a:gd name="connsiteX26" fmla="*/ 571500 w 600891"/>
                    <a:gd name="connsiteY26" fmla="*/ 52251 h 84908"/>
                    <a:gd name="connsiteX27" fmla="*/ 578031 w 600891"/>
                    <a:gd name="connsiteY27" fmla="*/ 58783 h 84908"/>
                    <a:gd name="connsiteX28" fmla="*/ 597625 w 600891"/>
                    <a:gd name="connsiteY28" fmla="*/ 71845 h 84908"/>
                    <a:gd name="connsiteX29" fmla="*/ 600891 w 600891"/>
                    <a:gd name="connsiteY29" fmla="*/ 81643 h 849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600891" h="84908">
                      <a:moveTo>
                        <a:pt x="0" y="0"/>
                      </a:moveTo>
                      <a:cubicBezTo>
                        <a:pt x="5443" y="5443"/>
                        <a:pt x="10170" y="11710"/>
                        <a:pt x="16328" y="16328"/>
                      </a:cubicBezTo>
                      <a:cubicBezTo>
                        <a:pt x="18458" y="17925"/>
                        <a:pt x="38335" y="22786"/>
                        <a:pt x="39188" y="22860"/>
                      </a:cubicBezTo>
                      <a:cubicBezTo>
                        <a:pt x="59822" y="24654"/>
                        <a:pt x="80554" y="25037"/>
                        <a:pt x="101237" y="26125"/>
                      </a:cubicBezTo>
                      <a:cubicBezTo>
                        <a:pt x="125542" y="34227"/>
                        <a:pt x="93098" y="21789"/>
                        <a:pt x="124097" y="42454"/>
                      </a:cubicBezTo>
                      <a:cubicBezTo>
                        <a:pt x="136758" y="50894"/>
                        <a:pt x="130171" y="47744"/>
                        <a:pt x="143691" y="52251"/>
                      </a:cubicBezTo>
                      <a:cubicBezTo>
                        <a:pt x="155090" y="63652"/>
                        <a:pt x="147300" y="57809"/>
                        <a:pt x="169817" y="65314"/>
                      </a:cubicBezTo>
                      <a:cubicBezTo>
                        <a:pt x="169822" y="65316"/>
                        <a:pt x="189405" y="71844"/>
                        <a:pt x="189411" y="71845"/>
                      </a:cubicBezTo>
                      <a:lnTo>
                        <a:pt x="218802" y="75111"/>
                      </a:lnTo>
                      <a:cubicBezTo>
                        <a:pt x="248267" y="82478"/>
                        <a:pt x="236412" y="78805"/>
                        <a:pt x="254725" y="84908"/>
                      </a:cubicBezTo>
                      <a:cubicBezTo>
                        <a:pt x="257991" y="83820"/>
                        <a:pt x="261834" y="83793"/>
                        <a:pt x="264522" y="81643"/>
                      </a:cubicBezTo>
                      <a:cubicBezTo>
                        <a:pt x="267587" y="79191"/>
                        <a:pt x="267182" y="72490"/>
                        <a:pt x="271054" y="71845"/>
                      </a:cubicBezTo>
                      <a:cubicBezTo>
                        <a:pt x="281845" y="70046"/>
                        <a:pt x="292825" y="74022"/>
                        <a:pt x="303711" y="75111"/>
                      </a:cubicBezTo>
                      <a:cubicBezTo>
                        <a:pt x="313508" y="74022"/>
                        <a:pt x="323379" y="73465"/>
                        <a:pt x="333102" y="71845"/>
                      </a:cubicBezTo>
                      <a:cubicBezTo>
                        <a:pt x="336498" y="71279"/>
                        <a:pt x="339560" y="69415"/>
                        <a:pt x="342900" y="68580"/>
                      </a:cubicBezTo>
                      <a:cubicBezTo>
                        <a:pt x="348285" y="67234"/>
                        <a:pt x="353785" y="66403"/>
                        <a:pt x="359228" y="65314"/>
                      </a:cubicBezTo>
                      <a:cubicBezTo>
                        <a:pt x="360317" y="62048"/>
                        <a:pt x="359693" y="57518"/>
                        <a:pt x="362494" y="55517"/>
                      </a:cubicBezTo>
                      <a:cubicBezTo>
                        <a:pt x="368096" y="51515"/>
                        <a:pt x="375557" y="51162"/>
                        <a:pt x="382088" y="48985"/>
                      </a:cubicBezTo>
                      <a:cubicBezTo>
                        <a:pt x="385354" y="47896"/>
                        <a:pt x="388806" y="47260"/>
                        <a:pt x="391885" y="45720"/>
                      </a:cubicBezTo>
                      <a:cubicBezTo>
                        <a:pt x="395621" y="43852"/>
                        <a:pt x="409101" y="36341"/>
                        <a:pt x="414745" y="35923"/>
                      </a:cubicBezTo>
                      <a:cubicBezTo>
                        <a:pt x="440822" y="33991"/>
                        <a:pt x="466996" y="33746"/>
                        <a:pt x="493122" y="32657"/>
                      </a:cubicBezTo>
                      <a:cubicBezTo>
                        <a:pt x="510600" y="15179"/>
                        <a:pt x="485037" y="39365"/>
                        <a:pt x="512717" y="19594"/>
                      </a:cubicBezTo>
                      <a:cubicBezTo>
                        <a:pt x="516475" y="16910"/>
                        <a:pt x="519248" y="13063"/>
                        <a:pt x="522514" y="9797"/>
                      </a:cubicBezTo>
                      <a:cubicBezTo>
                        <a:pt x="530281" y="33095"/>
                        <a:pt x="519267" y="4925"/>
                        <a:pt x="535577" y="29391"/>
                      </a:cubicBezTo>
                      <a:cubicBezTo>
                        <a:pt x="537486" y="32255"/>
                        <a:pt x="536408" y="36754"/>
                        <a:pt x="538842" y="39188"/>
                      </a:cubicBezTo>
                      <a:cubicBezTo>
                        <a:pt x="541276" y="41622"/>
                        <a:pt x="545561" y="40914"/>
                        <a:pt x="548640" y="42454"/>
                      </a:cubicBezTo>
                      <a:cubicBezTo>
                        <a:pt x="571194" y="53730"/>
                        <a:pt x="544312" y="45453"/>
                        <a:pt x="571500" y="52251"/>
                      </a:cubicBezTo>
                      <a:cubicBezTo>
                        <a:pt x="573677" y="54428"/>
                        <a:pt x="575568" y="56936"/>
                        <a:pt x="578031" y="58783"/>
                      </a:cubicBezTo>
                      <a:cubicBezTo>
                        <a:pt x="584311" y="63493"/>
                        <a:pt x="597625" y="71845"/>
                        <a:pt x="597625" y="71845"/>
                      </a:cubicBezTo>
                      <a:lnTo>
                        <a:pt x="600891" y="81643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2" name="Forma livre 631"/>
                <p:cNvSpPr/>
                <p:nvPr/>
              </p:nvSpPr>
              <p:spPr>
                <a:xfrm>
                  <a:off x="3903080" y="5296350"/>
                  <a:ext cx="436639" cy="46031"/>
                </a:xfrm>
                <a:custGeom>
                  <a:avLst/>
                  <a:gdLst>
                    <a:gd name="connsiteX0" fmla="*/ 0 w 437605"/>
                    <a:gd name="connsiteY0" fmla="*/ 0 h 45720"/>
                    <a:gd name="connsiteX1" fmla="*/ 32657 w 437605"/>
                    <a:gd name="connsiteY1" fmla="*/ 3265 h 45720"/>
                    <a:gd name="connsiteX2" fmla="*/ 52251 w 437605"/>
                    <a:gd name="connsiteY2" fmla="*/ 16328 h 45720"/>
                    <a:gd name="connsiteX3" fmla="*/ 62048 w 437605"/>
                    <a:gd name="connsiteY3" fmla="*/ 19594 h 45720"/>
                    <a:gd name="connsiteX4" fmla="*/ 71845 w 437605"/>
                    <a:gd name="connsiteY4" fmla="*/ 26125 h 45720"/>
                    <a:gd name="connsiteX5" fmla="*/ 225334 w 437605"/>
                    <a:gd name="connsiteY5" fmla="*/ 22860 h 45720"/>
                    <a:gd name="connsiteX6" fmla="*/ 244928 w 437605"/>
                    <a:gd name="connsiteY6" fmla="*/ 16328 h 45720"/>
                    <a:gd name="connsiteX7" fmla="*/ 274320 w 437605"/>
                    <a:gd name="connsiteY7" fmla="*/ 19594 h 45720"/>
                    <a:gd name="connsiteX8" fmla="*/ 284117 w 437605"/>
                    <a:gd name="connsiteY8" fmla="*/ 22860 h 45720"/>
                    <a:gd name="connsiteX9" fmla="*/ 297180 w 437605"/>
                    <a:gd name="connsiteY9" fmla="*/ 39188 h 45720"/>
                    <a:gd name="connsiteX10" fmla="*/ 316774 w 437605"/>
                    <a:gd name="connsiteY10" fmla="*/ 45720 h 45720"/>
                    <a:gd name="connsiteX11" fmla="*/ 359228 w 437605"/>
                    <a:gd name="connsiteY11" fmla="*/ 42454 h 45720"/>
                    <a:gd name="connsiteX12" fmla="*/ 378822 w 437605"/>
                    <a:gd name="connsiteY12" fmla="*/ 35922 h 45720"/>
                    <a:gd name="connsiteX13" fmla="*/ 421277 w 437605"/>
                    <a:gd name="connsiteY13" fmla="*/ 35922 h 45720"/>
                    <a:gd name="connsiteX14" fmla="*/ 437605 w 437605"/>
                    <a:gd name="connsiteY14" fmla="*/ 26125 h 45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37605" h="45720">
                      <a:moveTo>
                        <a:pt x="0" y="0"/>
                      </a:moveTo>
                      <a:cubicBezTo>
                        <a:pt x="10886" y="1088"/>
                        <a:pt x="21844" y="1602"/>
                        <a:pt x="32657" y="3265"/>
                      </a:cubicBezTo>
                      <a:cubicBezTo>
                        <a:pt x="47797" y="5594"/>
                        <a:pt x="38729" y="7313"/>
                        <a:pt x="52251" y="16328"/>
                      </a:cubicBezTo>
                      <a:cubicBezTo>
                        <a:pt x="55115" y="18238"/>
                        <a:pt x="58969" y="18055"/>
                        <a:pt x="62048" y="19594"/>
                      </a:cubicBezTo>
                      <a:cubicBezTo>
                        <a:pt x="65558" y="21349"/>
                        <a:pt x="68579" y="23948"/>
                        <a:pt x="71845" y="26125"/>
                      </a:cubicBezTo>
                      <a:cubicBezTo>
                        <a:pt x="123008" y="25037"/>
                        <a:pt x="174241" y="25752"/>
                        <a:pt x="225334" y="22860"/>
                      </a:cubicBezTo>
                      <a:cubicBezTo>
                        <a:pt x="232208" y="22471"/>
                        <a:pt x="244928" y="16328"/>
                        <a:pt x="244928" y="16328"/>
                      </a:cubicBezTo>
                      <a:cubicBezTo>
                        <a:pt x="254725" y="17417"/>
                        <a:pt x="264597" y="17973"/>
                        <a:pt x="274320" y="19594"/>
                      </a:cubicBezTo>
                      <a:cubicBezTo>
                        <a:pt x="277716" y="20160"/>
                        <a:pt x="281429" y="20710"/>
                        <a:pt x="284117" y="22860"/>
                      </a:cubicBezTo>
                      <a:cubicBezTo>
                        <a:pt x="291813" y="29017"/>
                        <a:pt x="288298" y="34747"/>
                        <a:pt x="297180" y="39188"/>
                      </a:cubicBezTo>
                      <a:cubicBezTo>
                        <a:pt x="303338" y="42267"/>
                        <a:pt x="316774" y="45720"/>
                        <a:pt x="316774" y="45720"/>
                      </a:cubicBezTo>
                      <a:cubicBezTo>
                        <a:pt x="330925" y="44631"/>
                        <a:pt x="345209" y="44668"/>
                        <a:pt x="359228" y="42454"/>
                      </a:cubicBezTo>
                      <a:cubicBezTo>
                        <a:pt x="366028" y="41380"/>
                        <a:pt x="378822" y="35922"/>
                        <a:pt x="378822" y="35922"/>
                      </a:cubicBezTo>
                      <a:cubicBezTo>
                        <a:pt x="389274" y="37083"/>
                        <a:pt x="409305" y="42763"/>
                        <a:pt x="421277" y="35922"/>
                      </a:cubicBezTo>
                      <a:cubicBezTo>
                        <a:pt x="441115" y="24586"/>
                        <a:pt x="422448" y="26125"/>
                        <a:pt x="437605" y="26125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3" name="Forma livre 636"/>
                <p:cNvSpPr/>
                <p:nvPr/>
              </p:nvSpPr>
              <p:spPr>
                <a:xfrm>
                  <a:off x="3622043" y="5728081"/>
                  <a:ext cx="204824" cy="287292"/>
                </a:xfrm>
                <a:custGeom>
                  <a:avLst/>
                  <a:gdLst>
                    <a:gd name="connsiteX0" fmla="*/ 0 w 205766"/>
                    <a:gd name="connsiteY0" fmla="*/ 0 h 287383"/>
                    <a:gd name="connsiteX1" fmla="*/ 9797 w 205766"/>
                    <a:gd name="connsiteY1" fmla="*/ 16328 h 287383"/>
                    <a:gd name="connsiteX2" fmla="*/ 16329 w 205766"/>
                    <a:gd name="connsiteY2" fmla="*/ 42454 h 287383"/>
                    <a:gd name="connsiteX3" fmla="*/ 29392 w 205766"/>
                    <a:gd name="connsiteY3" fmla="*/ 58783 h 287383"/>
                    <a:gd name="connsiteX4" fmla="*/ 35923 w 205766"/>
                    <a:gd name="connsiteY4" fmla="*/ 68580 h 287383"/>
                    <a:gd name="connsiteX5" fmla="*/ 42454 w 205766"/>
                    <a:gd name="connsiteY5" fmla="*/ 107768 h 287383"/>
                    <a:gd name="connsiteX6" fmla="*/ 48986 w 205766"/>
                    <a:gd name="connsiteY6" fmla="*/ 117566 h 287383"/>
                    <a:gd name="connsiteX7" fmla="*/ 55517 w 205766"/>
                    <a:gd name="connsiteY7" fmla="*/ 130628 h 287383"/>
                    <a:gd name="connsiteX8" fmla="*/ 75112 w 205766"/>
                    <a:gd name="connsiteY8" fmla="*/ 137160 h 287383"/>
                    <a:gd name="connsiteX9" fmla="*/ 91440 w 205766"/>
                    <a:gd name="connsiteY9" fmla="*/ 150223 h 287383"/>
                    <a:gd name="connsiteX10" fmla="*/ 107769 w 205766"/>
                    <a:gd name="connsiteY10" fmla="*/ 179614 h 287383"/>
                    <a:gd name="connsiteX11" fmla="*/ 120832 w 205766"/>
                    <a:gd name="connsiteY11" fmla="*/ 195943 h 287383"/>
                    <a:gd name="connsiteX12" fmla="*/ 124097 w 205766"/>
                    <a:gd name="connsiteY12" fmla="*/ 205740 h 287383"/>
                    <a:gd name="connsiteX13" fmla="*/ 137160 w 205766"/>
                    <a:gd name="connsiteY13" fmla="*/ 218803 h 287383"/>
                    <a:gd name="connsiteX14" fmla="*/ 143692 w 205766"/>
                    <a:gd name="connsiteY14" fmla="*/ 228600 h 287383"/>
                    <a:gd name="connsiteX15" fmla="*/ 160020 w 205766"/>
                    <a:gd name="connsiteY15" fmla="*/ 251460 h 287383"/>
                    <a:gd name="connsiteX16" fmla="*/ 166552 w 205766"/>
                    <a:gd name="connsiteY16" fmla="*/ 257991 h 287383"/>
                    <a:gd name="connsiteX17" fmla="*/ 173083 w 205766"/>
                    <a:gd name="connsiteY17" fmla="*/ 264523 h 287383"/>
                    <a:gd name="connsiteX18" fmla="*/ 176349 w 205766"/>
                    <a:gd name="connsiteY18" fmla="*/ 274320 h 287383"/>
                    <a:gd name="connsiteX19" fmla="*/ 195943 w 205766"/>
                    <a:gd name="connsiteY19" fmla="*/ 280851 h 287383"/>
                    <a:gd name="connsiteX20" fmla="*/ 205740 w 205766"/>
                    <a:gd name="connsiteY20" fmla="*/ 287383 h 287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205766" h="287383">
                      <a:moveTo>
                        <a:pt x="0" y="0"/>
                      </a:moveTo>
                      <a:cubicBezTo>
                        <a:pt x="3266" y="5443"/>
                        <a:pt x="7440" y="10435"/>
                        <a:pt x="9797" y="16328"/>
                      </a:cubicBezTo>
                      <a:cubicBezTo>
                        <a:pt x="17253" y="34967"/>
                        <a:pt x="9128" y="28052"/>
                        <a:pt x="16329" y="42454"/>
                      </a:cubicBezTo>
                      <a:cubicBezTo>
                        <a:pt x="23031" y="55858"/>
                        <a:pt x="21291" y="48656"/>
                        <a:pt x="29392" y="58783"/>
                      </a:cubicBezTo>
                      <a:cubicBezTo>
                        <a:pt x="31844" y="61848"/>
                        <a:pt x="33746" y="65314"/>
                        <a:pt x="35923" y="68580"/>
                      </a:cubicBezTo>
                      <a:cubicBezTo>
                        <a:pt x="36957" y="77883"/>
                        <a:pt x="36985" y="96829"/>
                        <a:pt x="42454" y="107768"/>
                      </a:cubicBezTo>
                      <a:cubicBezTo>
                        <a:pt x="44209" y="111279"/>
                        <a:pt x="47039" y="114158"/>
                        <a:pt x="48986" y="117566"/>
                      </a:cubicBezTo>
                      <a:cubicBezTo>
                        <a:pt x="51401" y="121793"/>
                        <a:pt x="51623" y="127707"/>
                        <a:pt x="55517" y="130628"/>
                      </a:cubicBezTo>
                      <a:cubicBezTo>
                        <a:pt x="61025" y="134759"/>
                        <a:pt x="69383" y="133341"/>
                        <a:pt x="75112" y="137160"/>
                      </a:cubicBezTo>
                      <a:cubicBezTo>
                        <a:pt x="87471" y="145399"/>
                        <a:pt x="82134" y="140916"/>
                        <a:pt x="91440" y="150223"/>
                      </a:cubicBezTo>
                      <a:cubicBezTo>
                        <a:pt x="97189" y="167467"/>
                        <a:pt x="92796" y="157155"/>
                        <a:pt x="107769" y="179614"/>
                      </a:cubicBezTo>
                      <a:cubicBezTo>
                        <a:pt x="116009" y="191974"/>
                        <a:pt x="111524" y="186635"/>
                        <a:pt x="120832" y="195943"/>
                      </a:cubicBezTo>
                      <a:cubicBezTo>
                        <a:pt x="121920" y="199209"/>
                        <a:pt x="122096" y="202939"/>
                        <a:pt x="124097" y="205740"/>
                      </a:cubicBezTo>
                      <a:cubicBezTo>
                        <a:pt x="127676" y="210751"/>
                        <a:pt x="133744" y="213679"/>
                        <a:pt x="137160" y="218803"/>
                      </a:cubicBezTo>
                      <a:lnTo>
                        <a:pt x="143692" y="228600"/>
                      </a:lnTo>
                      <a:cubicBezTo>
                        <a:pt x="148904" y="244238"/>
                        <a:pt x="144523" y="235964"/>
                        <a:pt x="160020" y="251460"/>
                      </a:cubicBezTo>
                      <a:lnTo>
                        <a:pt x="166552" y="257991"/>
                      </a:lnTo>
                      <a:lnTo>
                        <a:pt x="173083" y="264523"/>
                      </a:lnTo>
                      <a:cubicBezTo>
                        <a:pt x="174172" y="267789"/>
                        <a:pt x="173548" y="272319"/>
                        <a:pt x="176349" y="274320"/>
                      </a:cubicBezTo>
                      <a:cubicBezTo>
                        <a:pt x="181951" y="278321"/>
                        <a:pt x="189412" y="278674"/>
                        <a:pt x="195943" y="280851"/>
                      </a:cubicBezTo>
                      <a:cubicBezTo>
                        <a:pt x="206773" y="284461"/>
                        <a:pt x="205740" y="280675"/>
                        <a:pt x="205740" y="287383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4" name="Forma livre 717"/>
                <p:cNvSpPr/>
                <p:nvPr/>
              </p:nvSpPr>
              <p:spPr>
                <a:xfrm>
                  <a:off x="3556944" y="6061403"/>
                  <a:ext cx="365190" cy="61903"/>
                </a:xfrm>
                <a:custGeom>
                  <a:avLst/>
                  <a:gdLst>
                    <a:gd name="connsiteX0" fmla="*/ 0 w 365760"/>
                    <a:gd name="connsiteY0" fmla="*/ 62048 h 62048"/>
                    <a:gd name="connsiteX1" fmla="*/ 16328 w 365760"/>
                    <a:gd name="connsiteY1" fmla="*/ 58783 h 62048"/>
                    <a:gd name="connsiteX2" fmla="*/ 35923 w 365760"/>
                    <a:gd name="connsiteY2" fmla="*/ 52251 h 62048"/>
                    <a:gd name="connsiteX3" fmla="*/ 68580 w 365760"/>
                    <a:gd name="connsiteY3" fmla="*/ 48985 h 62048"/>
                    <a:gd name="connsiteX4" fmla="*/ 97971 w 365760"/>
                    <a:gd name="connsiteY4" fmla="*/ 32657 h 62048"/>
                    <a:gd name="connsiteX5" fmla="*/ 182880 w 365760"/>
                    <a:gd name="connsiteY5" fmla="*/ 35923 h 62048"/>
                    <a:gd name="connsiteX6" fmla="*/ 225334 w 365760"/>
                    <a:gd name="connsiteY6" fmla="*/ 35923 h 62048"/>
                    <a:gd name="connsiteX7" fmla="*/ 244928 w 365760"/>
                    <a:gd name="connsiteY7" fmla="*/ 26125 h 62048"/>
                    <a:gd name="connsiteX8" fmla="*/ 254726 w 365760"/>
                    <a:gd name="connsiteY8" fmla="*/ 19594 h 62048"/>
                    <a:gd name="connsiteX9" fmla="*/ 300446 w 365760"/>
                    <a:gd name="connsiteY9" fmla="*/ 13063 h 62048"/>
                    <a:gd name="connsiteX10" fmla="*/ 355963 w 365760"/>
                    <a:gd name="connsiteY10" fmla="*/ 3265 h 62048"/>
                    <a:gd name="connsiteX11" fmla="*/ 365760 w 365760"/>
                    <a:gd name="connsiteY11" fmla="*/ 0 h 62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365760" h="62048">
                      <a:moveTo>
                        <a:pt x="0" y="62048"/>
                      </a:moveTo>
                      <a:cubicBezTo>
                        <a:pt x="5443" y="60960"/>
                        <a:pt x="10973" y="60243"/>
                        <a:pt x="16328" y="58783"/>
                      </a:cubicBezTo>
                      <a:cubicBezTo>
                        <a:pt x="22970" y="56971"/>
                        <a:pt x="29072" y="52936"/>
                        <a:pt x="35923" y="52251"/>
                      </a:cubicBezTo>
                      <a:lnTo>
                        <a:pt x="68580" y="48985"/>
                      </a:lnTo>
                      <a:cubicBezTo>
                        <a:pt x="91038" y="34014"/>
                        <a:pt x="80727" y="38405"/>
                        <a:pt x="97971" y="32657"/>
                      </a:cubicBezTo>
                      <a:cubicBezTo>
                        <a:pt x="126274" y="33746"/>
                        <a:pt x="154615" y="34100"/>
                        <a:pt x="182880" y="35923"/>
                      </a:cubicBezTo>
                      <a:cubicBezTo>
                        <a:pt x="225638" y="38681"/>
                        <a:pt x="165517" y="43398"/>
                        <a:pt x="225334" y="35923"/>
                      </a:cubicBezTo>
                      <a:cubicBezTo>
                        <a:pt x="253397" y="17212"/>
                        <a:pt x="217899" y="39639"/>
                        <a:pt x="244928" y="26125"/>
                      </a:cubicBezTo>
                      <a:cubicBezTo>
                        <a:pt x="248439" y="24370"/>
                        <a:pt x="250905" y="20493"/>
                        <a:pt x="254726" y="19594"/>
                      </a:cubicBezTo>
                      <a:cubicBezTo>
                        <a:pt x="269712" y="16068"/>
                        <a:pt x="300446" y="13063"/>
                        <a:pt x="300446" y="13063"/>
                      </a:cubicBezTo>
                      <a:cubicBezTo>
                        <a:pt x="331447" y="2728"/>
                        <a:pt x="313184" y="7154"/>
                        <a:pt x="355963" y="3265"/>
                      </a:cubicBezTo>
                      <a:lnTo>
                        <a:pt x="365760" y="0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5" name="Forma livre 718"/>
                <p:cNvSpPr/>
                <p:nvPr/>
              </p:nvSpPr>
              <p:spPr>
                <a:xfrm>
                  <a:off x="3903080" y="5777286"/>
                  <a:ext cx="84152" cy="176184"/>
                </a:xfrm>
                <a:custGeom>
                  <a:avLst/>
                  <a:gdLst>
                    <a:gd name="connsiteX0" fmla="*/ 0 w 84908"/>
                    <a:gd name="connsiteY0" fmla="*/ 176348 h 176348"/>
                    <a:gd name="connsiteX1" fmla="*/ 13062 w 84908"/>
                    <a:gd name="connsiteY1" fmla="*/ 160020 h 176348"/>
                    <a:gd name="connsiteX2" fmla="*/ 16328 w 84908"/>
                    <a:gd name="connsiteY2" fmla="*/ 143691 h 176348"/>
                    <a:gd name="connsiteX3" fmla="*/ 26125 w 84908"/>
                    <a:gd name="connsiteY3" fmla="*/ 137160 h 176348"/>
                    <a:gd name="connsiteX4" fmla="*/ 32657 w 84908"/>
                    <a:gd name="connsiteY4" fmla="*/ 130628 h 176348"/>
                    <a:gd name="connsiteX5" fmla="*/ 32657 w 84908"/>
                    <a:gd name="connsiteY5" fmla="*/ 68580 h 176348"/>
                    <a:gd name="connsiteX6" fmla="*/ 35922 w 84908"/>
                    <a:gd name="connsiteY6" fmla="*/ 58782 h 176348"/>
                    <a:gd name="connsiteX7" fmla="*/ 45720 w 84908"/>
                    <a:gd name="connsiteY7" fmla="*/ 52251 h 176348"/>
                    <a:gd name="connsiteX8" fmla="*/ 55517 w 84908"/>
                    <a:gd name="connsiteY8" fmla="*/ 32657 h 176348"/>
                    <a:gd name="connsiteX9" fmla="*/ 62048 w 84908"/>
                    <a:gd name="connsiteY9" fmla="*/ 19594 h 176348"/>
                    <a:gd name="connsiteX10" fmla="*/ 84908 w 84908"/>
                    <a:gd name="connsiteY10" fmla="*/ 0 h 176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84908" h="176348">
                      <a:moveTo>
                        <a:pt x="0" y="176348"/>
                      </a:moveTo>
                      <a:cubicBezTo>
                        <a:pt x="4354" y="170905"/>
                        <a:pt x="9945" y="166254"/>
                        <a:pt x="13062" y="160020"/>
                      </a:cubicBezTo>
                      <a:cubicBezTo>
                        <a:pt x="15544" y="155055"/>
                        <a:pt x="13574" y="148510"/>
                        <a:pt x="16328" y="143691"/>
                      </a:cubicBezTo>
                      <a:cubicBezTo>
                        <a:pt x="18275" y="140283"/>
                        <a:pt x="23060" y="139612"/>
                        <a:pt x="26125" y="137160"/>
                      </a:cubicBezTo>
                      <a:cubicBezTo>
                        <a:pt x="28529" y="135236"/>
                        <a:pt x="30480" y="132805"/>
                        <a:pt x="32657" y="130628"/>
                      </a:cubicBezTo>
                      <a:cubicBezTo>
                        <a:pt x="24229" y="105346"/>
                        <a:pt x="27367" y="118839"/>
                        <a:pt x="32657" y="68580"/>
                      </a:cubicBezTo>
                      <a:cubicBezTo>
                        <a:pt x="33017" y="65156"/>
                        <a:pt x="33771" y="61470"/>
                        <a:pt x="35922" y="58782"/>
                      </a:cubicBezTo>
                      <a:cubicBezTo>
                        <a:pt x="38374" y="55717"/>
                        <a:pt x="42454" y="54428"/>
                        <a:pt x="45720" y="52251"/>
                      </a:cubicBezTo>
                      <a:cubicBezTo>
                        <a:pt x="51707" y="34287"/>
                        <a:pt x="45387" y="50384"/>
                        <a:pt x="55517" y="32657"/>
                      </a:cubicBezTo>
                      <a:cubicBezTo>
                        <a:pt x="57932" y="28430"/>
                        <a:pt x="59059" y="23437"/>
                        <a:pt x="62048" y="19594"/>
                      </a:cubicBezTo>
                      <a:cubicBezTo>
                        <a:pt x="73535" y="4825"/>
                        <a:pt x="73567" y="5670"/>
                        <a:pt x="84908" y="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6" name="Forma livre 719"/>
                <p:cNvSpPr/>
                <p:nvPr/>
              </p:nvSpPr>
              <p:spPr>
                <a:xfrm>
                  <a:off x="3674440" y="5672528"/>
                  <a:ext cx="52396" cy="179358"/>
                </a:xfrm>
                <a:custGeom>
                  <a:avLst/>
                  <a:gdLst>
                    <a:gd name="connsiteX0" fmla="*/ 48985 w 52660"/>
                    <a:gd name="connsiteY0" fmla="*/ 0 h 179614"/>
                    <a:gd name="connsiteX1" fmla="*/ 48985 w 52660"/>
                    <a:gd name="connsiteY1" fmla="*/ 48985 h 179614"/>
                    <a:gd name="connsiteX2" fmla="*/ 45720 w 52660"/>
                    <a:gd name="connsiteY2" fmla="*/ 58783 h 179614"/>
                    <a:gd name="connsiteX3" fmla="*/ 32657 w 52660"/>
                    <a:gd name="connsiteY3" fmla="*/ 75111 h 179614"/>
                    <a:gd name="connsiteX4" fmla="*/ 22860 w 52660"/>
                    <a:gd name="connsiteY4" fmla="*/ 91440 h 179614"/>
                    <a:gd name="connsiteX5" fmla="*/ 32657 w 52660"/>
                    <a:gd name="connsiteY5" fmla="*/ 104503 h 179614"/>
                    <a:gd name="connsiteX6" fmla="*/ 26125 w 52660"/>
                    <a:gd name="connsiteY6" fmla="*/ 114300 h 179614"/>
                    <a:gd name="connsiteX7" fmla="*/ 6531 w 52660"/>
                    <a:gd name="connsiteY7" fmla="*/ 130628 h 179614"/>
                    <a:gd name="connsiteX8" fmla="*/ 0 w 52660"/>
                    <a:gd name="connsiteY8" fmla="*/ 137160 h 179614"/>
                    <a:gd name="connsiteX9" fmla="*/ 3265 w 52660"/>
                    <a:gd name="connsiteY9" fmla="*/ 179614 h 179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2660" h="179614">
                      <a:moveTo>
                        <a:pt x="48985" y="0"/>
                      </a:moveTo>
                      <a:cubicBezTo>
                        <a:pt x="53807" y="24109"/>
                        <a:pt x="53965" y="16613"/>
                        <a:pt x="48985" y="48985"/>
                      </a:cubicBezTo>
                      <a:cubicBezTo>
                        <a:pt x="48462" y="52388"/>
                        <a:pt x="47491" y="55831"/>
                        <a:pt x="45720" y="58783"/>
                      </a:cubicBezTo>
                      <a:cubicBezTo>
                        <a:pt x="27483" y="89179"/>
                        <a:pt x="52278" y="35869"/>
                        <a:pt x="32657" y="75111"/>
                      </a:cubicBezTo>
                      <a:cubicBezTo>
                        <a:pt x="24178" y="92069"/>
                        <a:pt x="35617" y="78682"/>
                        <a:pt x="22860" y="91440"/>
                      </a:cubicBezTo>
                      <a:cubicBezTo>
                        <a:pt x="13771" y="118704"/>
                        <a:pt x="21996" y="83179"/>
                        <a:pt x="32657" y="104503"/>
                      </a:cubicBezTo>
                      <a:cubicBezTo>
                        <a:pt x="34412" y="108014"/>
                        <a:pt x="28638" y="111285"/>
                        <a:pt x="26125" y="114300"/>
                      </a:cubicBezTo>
                      <a:cubicBezTo>
                        <a:pt x="14485" y="128268"/>
                        <a:pt x="19379" y="120349"/>
                        <a:pt x="6531" y="130628"/>
                      </a:cubicBezTo>
                      <a:cubicBezTo>
                        <a:pt x="4127" y="132551"/>
                        <a:pt x="2177" y="134983"/>
                        <a:pt x="0" y="137160"/>
                      </a:cubicBezTo>
                      <a:lnTo>
                        <a:pt x="3265" y="179614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7" name="Forma livre 720"/>
                <p:cNvSpPr/>
                <p:nvPr/>
              </p:nvSpPr>
              <p:spPr>
                <a:xfrm>
                  <a:off x="3853859" y="5774111"/>
                  <a:ext cx="104794" cy="46030"/>
                </a:xfrm>
                <a:custGeom>
                  <a:avLst/>
                  <a:gdLst>
                    <a:gd name="connsiteX0" fmla="*/ 0 w 104503"/>
                    <a:gd name="connsiteY0" fmla="*/ 0 h 45720"/>
                    <a:gd name="connsiteX1" fmla="*/ 22860 w 104503"/>
                    <a:gd name="connsiteY1" fmla="*/ 3266 h 45720"/>
                    <a:gd name="connsiteX2" fmla="*/ 42454 w 104503"/>
                    <a:gd name="connsiteY2" fmla="*/ 13063 h 45720"/>
                    <a:gd name="connsiteX3" fmla="*/ 75111 w 104503"/>
                    <a:gd name="connsiteY3" fmla="*/ 16328 h 45720"/>
                    <a:gd name="connsiteX4" fmla="*/ 84908 w 104503"/>
                    <a:gd name="connsiteY4" fmla="*/ 22860 h 45720"/>
                    <a:gd name="connsiteX5" fmla="*/ 97971 w 104503"/>
                    <a:gd name="connsiteY5" fmla="*/ 39188 h 45720"/>
                    <a:gd name="connsiteX6" fmla="*/ 104503 w 104503"/>
                    <a:gd name="connsiteY6" fmla="*/ 45720 h 457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503" h="45720">
                      <a:moveTo>
                        <a:pt x="0" y="0"/>
                      </a:moveTo>
                      <a:cubicBezTo>
                        <a:pt x="7620" y="1089"/>
                        <a:pt x="15487" y="1054"/>
                        <a:pt x="22860" y="3266"/>
                      </a:cubicBezTo>
                      <a:cubicBezTo>
                        <a:pt x="48347" y="10912"/>
                        <a:pt x="17685" y="9253"/>
                        <a:pt x="42454" y="13063"/>
                      </a:cubicBezTo>
                      <a:cubicBezTo>
                        <a:pt x="53267" y="14726"/>
                        <a:pt x="64225" y="15240"/>
                        <a:pt x="75111" y="16328"/>
                      </a:cubicBezTo>
                      <a:cubicBezTo>
                        <a:pt x="78377" y="18505"/>
                        <a:pt x="82731" y="19594"/>
                        <a:pt x="84908" y="22860"/>
                      </a:cubicBezTo>
                      <a:cubicBezTo>
                        <a:pt x="97795" y="42190"/>
                        <a:pt x="77178" y="32258"/>
                        <a:pt x="97971" y="39188"/>
                      </a:cubicBezTo>
                      <a:lnTo>
                        <a:pt x="104503" y="45720"/>
                      </a:ln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8" name="Forma livre 721"/>
                <p:cNvSpPr/>
                <p:nvPr/>
              </p:nvSpPr>
              <p:spPr>
                <a:xfrm>
                  <a:off x="3703020" y="6018547"/>
                  <a:ext cx="6351" cy="82537"/>
                </a:xfrm>
                <a:custGeom>
                  <a:avLst/>
                  <a:gdLst>
                    <a:gd name="connsiteX0" fmla="*/ 0 w 6543"/>
                    <a:gd name="connsiteY0" fmla="*/ 81643 h 81643"/>
                    <a:gd name="connsiteX1" fmla="*/ 6531 w 6543"/>
                    <a:gd name="connsiteY1" fmla="*/ 62049 h 81643"/>
                    <a:gd name="connsiteX2" fmla="*/ 0 w 6543"/>
                    <a:gd name="connsiteY2" fmla="*/ 39189 h 81643"/>
                    <a:gd name="connsiteX3" fmla="*/ 3266 w 6543"/>
                    <a:gd name="connsiteY3" fmla="*/ 0 h 816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543" h="81643">
                      <a:moveTo>
                        <a:pt x="0" y="81643"/>
                      </a:moveTo>
                      <a:cubicBezTo>
                        <a:pt x="2177" y="75112"/>
                        <a:pt x="5846" y="68899"/>
                        <a:pt x="6531" y="62049"/>
                      </a:cubicBezTo>
                      <a:cubicBezTo>
                        <a:pt x="6847" y="58892"/>
                        <a:pt x="1299" y="43085"/>
                        <a:pt x="0" y="39189"/>
                      </a:cubicBezTo>
                      <a:cubicBezTo>
                        <a:pt x="3806" y="8742"/>
                        <a:pt x="3266" y="21839"/>
                        <a:pt x="3266" y="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09" name="Forma livre 722"/>
                <p:cNvSpPr/>
                <p:nvPr/>
              </p:nvSpPr>
              <p:spPr>
                <a:xfrm>
                  <a:off x="3804638" y="6077275"/>
                  <a:ext cx="58747" cy="126980"/>
                </a:xfrm>
                <a:custGeom>
                  <a:avLst/>
                  <a:gdLst>
                    <a:gd name="connsiteX0" fmla="*/ 0 w 58783"/>
                    <a:gd name="connsiteY0" fmla="*/ 127363 h 127363"/>
                    <a:gd name="connsiteX1" fmla="*/ 16329 w 58783"/>
                    <a:gd name="connsiteY1" fmla="*/ 124097 h 127363"/>
                    <a:gd name="connsiteX2" fmla="*/ 42454 w 58783"/>
                    <a:gd name="connsiteY2" fmla="*/ 104503 h 127363"/>
                    <a:gd name="connsiteX3" fmla="*/ 48986 w 58783"/>
                    <a:gd name="connsiteY3" fmla="*/ 91440 h 127363"/>
                    <a:gd name="connsiteX4" fmla="*/ 52252 w 58783"/>
                    <a:gd name="connsiteY4" fmla="*/ 75112 h 127363"/>
                    <a:gd name="connsiteX5" fmla="*/ 55517 w 58783"/>
                    <a:gd name="connsiteY5" fmla="*/ 65315 h 127363"/>
                    <a:gd name="connsiteX6" fmla="*/ 58783 w 58783"/>
                    <a:gd name="connsiteY6" fmla="*/ 35923 h 127363"/>
                    <a:gd name="connsiteX7" fmla="*/ 55517 w 58783"/>
                    <a:gd name="connsiteY7" fmla="*/ 0 h 12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58783" h="127363">
                      <a:moveTo>
                        <a:pt x="0" y="127363"/>
                      </a:moveTo>
                      <a:cubicBezTo>
                        <a:pt x="5443" y="126274"/>
                        <a:pt x="11276" y="126394"/>
                        <a:pt x="16329" y="124097"/>
                      </a:cubicBezTo>
                      <a:cubicBezTo>
                        <a:pt x="19264" y="122763"/>
                        <a:pt x="37912" y="111316"/>
                        <a:pt x="42454" y="104503"/>
                      </a:cubicBezTo>
                      <a:cubicBezTo>
                        <a:pt x="45154" y="100452"/>
                        <a:pt x="46809" y="95794"/>
                        <a:pt x="48986" y="91440"/>
                      </a:cubicBezTo>
                      <a:cubicBezTo>
                        <a:pt x="50075" y="85997"/>
                        <a:pt x="50906" y="80497"/>
                        <a:pt x="52252" y="75112"/>
                      </a:cubicBezTo>
                      <a:cubicBezTo>
                        <a:pt x="53087" y="71773"/>
                        <a:pt x="54951" y="68710"/>
                        <a:pt x="55517" y="65315"/>
                      </a:cubicBezTo>
                      <a:cubicBezTo>
                        <a:pt x="57137" y="55591"/>
                        <a:pt x="57694" y="45720"/>
                        <a:pt x="58783" y="35923"/>
                      </a:cubicBezTo>
                      <a:cubicBezTo>
                        <a:pt x="54901" y="8752"/>
                        <a:pt x="55517" y="20760"/>
                        <a:pt x="55517" y="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0" name="Forma livre 723"/>
                <p:cNvSpPr/>
                <p:nvPr/>
              </p:nvSpPr>
              <p:spPr>
                <a:xfrm>
                  <a:off x="3703020" y="6348695"/>
                  <a:ext cx="52396" cy="61902"/>
                </a:xfrm>
                <a:custGeom>
                  <a:avLst/>
                  <a:gdLst>
                    <a:gd name="connsiteX0" fmla="*/ 0 w 52251"/>
                    <a:gd name="connsiteY0" fmla="*/ 0 h 62048"/>
                    <a:gd name="connsiteX1" fmla="*/ 13063 w 52251"/>
                    <a:gd name="connsiteY1" fmla="*/ 16328 h 62048"/>
                    <a:gd name="connsiteX2" fmla="*/ 22860 w 52251"/>
                    <a:gd name="connsiteY2" fmla="*/ 55517 h 62048"/>
                    <a:gd name="connsiteX3" fmla="*/ 32657 w 52251"/>
                    <a:gd name="connsiteY3" fmla="*/ 62048 h 62048"/>
                    <a:gd name="connsiteX4" fmla="*/ 52251 w 52251"/>
                    <a:gd name="connsiteY4" fmla="*/ 55517 h 62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2251" h="62048">
                      <a:moveTo>
                        <a:pt x="0" y="0"/>
                      </a:moveTo>
                      <a:cubicBezTo>
                        <a:pt x="4354" y="5443"/>
                        <a:pt x="10719" y="9764"/>
                        <a:pt x="13063" y="16328"/>
                      </a:cubicBezTo>
                      <a:cubicBezTo>
                        <a:pt x="21131" y="38919"/>
                        <a:pt x="9122" y="41779"/>
                        <a:pt x="22860" y="55517"/>
                      </a:cubicBezTo>
                      <a:cubicBezTo>
                        <a:pt x="25635" y="58292"/>
                        <a:pt x="29391" y="59871"/>
                        <a:pt x="32657" y="62048"/>
                      </a:cubicBezTo>
                      <a:cubicBezTo>
                        <a:pt x="50495" y="58480"/>
                        <a:pt x="45061" y="62707"/>
                        <a:pt x="52251" y="55517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11" name="Forma livre 724"/>
                <p:cNvSpPr/>
                <p:nvPr/>
              </p:nvSpPr>
              <p:spPr>
                <a:xfrm>
                  <a:off x="3514074" y="5774111"/>
                  <a:ext cx="182595" cy="28570"/>
                </a:xfrm>
                <a:custGeom>
                  <a:avLst/>
                  <a:gdLst>
                    <a:gd name="connsiteX0" fmla="*/ 0 w 182880"/>
                    <a:gd name="connsiteY0" fmla="*/ 9797 h 29391"/>
                    <a:gd name="connsiteX1" fmla="*/ 42454 w 182880"/>
                    <a:gd name="connsiteY1" fmla="*/ 13063 h 29391"/>
                    <a:gd name="connsiteX2" fmla="*/ 62048 w 182880"/>
                    <a:gd name="connsiteY2" fmla="*/ 19594 h 29391"/>
                    <a:gd name="connsiteX3" fmla="*/ 78377 w 182880"/>
                    <a:gd name="connsiteY3" fmla="*/ 29391 h 29391"/>
                    <a:gd name="connsiteX4" fmla="*/ 114300 w 182880"/>
                    <a:gd name="connsiteY4" fmla="*/ 19594 h 29391"/>
                    <a:gd name="connsiteX5" fmla="*/ 124097 w 182880"/>
                    <a:gd name="connsiteY5" fmla="*/ 16328 h 29391"/>
                    <a:gd name="connsiteX6" fmla="*/ 166551 w 182880"/>
                    <a:gd name="connsiteY6" fmla="*/ 9797 h 29391"/>
                    <a:gd name="connsiteX7" fmla="*/ 182880 w 182880"/>
                    <a:gd name="connsiteY7" fmla="*/ 0 h 29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82880" h="29391">
                      <a:moveTo>
                        <a:pt x="0" y="9797"/>
                      </a:moveTo>
                      <a:cubicBezTo>
                        <a:pt x="14151" y="10886"/>
                        <a:pt x="28435" y="10849"/>
                        <a:pt x="42454" y="13063"/>
                      </a:cubicBezTo>
                      <a:cubicBezTo>
                        <a:pt x="49254" y="14137"/>
                        <a:pt x="62048" y="19594"/>
                        <a:pt x="62048" y="19594"/>
                      </a:cubicBezTo>
                      <a:cubicBezTo>
                        <a:pt x="67222" y="24768"/>
                        <a:pt x="69897" y="29391"/>
                        <a:pt x="78377" y="29391"/>
                      </a:cubicBezTo>
                      <a:cubicBezTo>
                        <a:pt x="87612" y="29391"/>
                        <a:pt x="106613" y="22157"/>
                        <a:pt x="114300" y="19594"/>
                      </a:cubicBezTo>
                      <a:cubicBezTo>
                        <a:pt x="117566" y="18505"/>
                        <a:pt x="120701" y="16894"/>
                        <a:pt x="124097" y="16328"/>
                      </a:cubicBezTo>
                      <a:cubicBezTo>
                        <a:pt x="151284" y="11798"/>
                        <a:pt x="137136" y="13999"/>
                        <a:pt x="166551" y="9797"/>
                      </a:cubicBezTo>
                      <a:cubicBezTo>
                        <a:pt x="178374" y="1916"/>
                        <a:pt x="172838" y="5021"/>
                        <a:pt x="182880" y="0"/>
                      </a:cubicBezTo>
                    </a:path>
                  </a:pathLst>
                </a:custGeom>
                <a:ln w="2222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</p:grpSp>
        </p:grpSp>
      </p:grpSp>
      <p:grpSp>
        <p:nvGrpSpPr>
          <p:cNvPr id="431" name="Group 430"/>
          <p:cNvGrpSpPr/>
          <p:nvPr/>
        </p:nvGrpSpPr>
        <p:grpSpPr>
          <a:xfrm>
            <a:off x="354150" y="693806"/>
            <a:ext cx="8889290" cy="5268845"/>
            <a:chOff x="354149" y="693805"/>
            <a:chExt cx="8889290" cy="5268845"/>
          </a:xfrm>
        </p:grpSpPr>
        <p:grpSp>
          <p:nvGrpSpPr>
            <p:cNvPr id="432" name="Grupo 9"/>
            <p:cNvGrpSpPr/>
            <p:nvPr/>
          </p:nvGrpSpPr>
          <p:grpSpPr>
            <a:xfrm>
              <a:off x="354149" y="693805"/>
              <a:ext cx="8426902" cy="5268845"/>
              <a:chOff x="354149" y="693805"/>
              <a:chExt cx="8426902" cy="5268845"/>
            </a:xfrm>
          </p:grpSpPr>
          <p:sp>
            <p:nvSpPr>
              <p:cNvPr id="444" name="TextBox 6"/>
              <p:cNvSpPr txBox="1">
                <a:spLocks noChangeArrowheads="1"/>
              </p:cNvSpPr>
              <p:nvPr/>
            </p:nvSpPr>
            <p:spPr bwMode="auto">
              <a:xfrm>
                <a:off x="6551999" y="5740766"/>
                <a:ext cx="2229052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pt-BR" sz="1100" dirty="0"/>
                  <a:t>PAC </a:t>
                </a:r>
                <a:r>
                  <a:rPr lang="en-US" sz="1100" dirty="0"/>
                  <a:t>–</a:t>
                </a:r>
                <a:r>
                  <a:rPr lang="pt-BR" sz="1100" dirty="0"/>
                  <a:t> Duplicação e </a:t>
                </a:r>
                <a:r>
                  <a:rPr lang="pt-BR" sz="1100" dirty="0" smtClean="0"/>
                  <a:t>Pavimentação</a:t>
                </a:r>
                <a:endParaRPr lang="en-US" sz="1100" dirty="0"/>
              </a:p>
            </p:txBody>
          </p:sp>
          <p:cxnSp>
            <p:nvCxnSpPr>
              <p:cNvPr id="445" name="Conector reto 735"/>
              <p:cNvCxnSpPr/>
              <p:nvPr/>
            </p:nvCxnSpPr>
            <p:spPr>
              <a:xfrm>
                <a:off x="6123599" y="5840342"/>
                <a:ext cx="325438" cy="0"/>
              </a:xfrm>
              <a:prstGeom prst="line">
                <a:avLst/>
              </a:prstGeom>
              <a:ln w="28575" cmpd="sng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46" name="Grupo 4"/>
              <p:cNvGrpSpPr/>
              <p:nvPr/>
            </p:nvGrpSpPr>
            <p:grpSpPr>
              <a:xfrm>
                <a:off x="354149" y="693805"/>
                <a:ext cx="6225721" cy="5268845"/>
                <a:chOff x="354149" y="693805"/>
                <a:chExt cx="6225721" cy="5268845"/>
              </a:xfrm>
            </p:grpSpPr>
            <p:sp>
              <p:nvSpPr>
                <p:cNvPr id="447" name="Forma livre 737"/>
                <p:cNvSpPr/>
                <p:nvPr/>
              </p:nvSpPr>
              <p:spPr>
                <a:xfrm>
                  <a:off x="3810000" y="3882390"/>
                  <a:ext cx="396709" cy="205740"/>
                </a:xfrm>
                <a:custGeom>
                  <a:avLst/>
                  <a:gdLst>
                    <a:gd name="connsiteX0" fmla="*/ 0 w 396709"/>
                    <a:gd name="connsiteY0" fmla="*/ 205740 h 205740"/>
                    <a:gd name="connsiteX1" fmla="*/ 19050 w 396709"/>
                    <a:gd name="connsiteY1" fmla="*/ 201930 h 205740"/>
                    <a:gd name="connsiteX2" fmla="*/ 30480 w 396709"/>
                    <a:gd name="connsiteY2" fmla="*/ 194310 h 205740"/>
                    <a:gd name="connsiteX3" fmla="*/ 83820 w 396709"/>
                    <a:gd name="connsiteY3" fmla="*/ 190500 h 205740"/>
                    <a:gd name="connsiteX4" fmla="*/ 110490 w 396709"/>
                    <a:gd name="connsiteY4" fmla="*/ 186690 h 205740"/>
                    <a:gd name="connsiteX5" fmla="*/ 140970 w 396709"/>
                    <a:gd name="connsiteY5" fmla="*/ 179070 h 205740"/>
                    <a:gd name="connsiteX6" fmla="*/ 160020 w 396709"/>
                    <a:gd name="connsiteY6" fmla="*/ 160020 h 205740"/>
                    <a:gd name="connsiteX7" fmla="*/ 171450 w 396709"/>
                    <a:gd name="connsiteY7" fmla="*/ 152400 h 205740"/>
                    <a:gd name="connsiteX8" fmla="*/ 182880 w 396709"/>
                    <a:gd name="connsiteY8" fmla="*/ 140970 h 205740"/>
                    <a:gd name="connsiteX9" fmla="*/ 205740 w 396709"/>
                    <a:gd name="connsiteY9" fmla="*/ 129540 h 205740"/>
                    <a:gd name="connsiteX10" fmla="*/ 220980 w 396709"/>
                    <a:gd name="connsiteY10" fmla="*/ 118110 h 205740"/>
                    <a:gd name="connsiteX11" fmla="*/ 228600 w 396709"/>
                    <a:gd name="connsiteY11" fmla="*/ 106680 h 205740"/>
                    <a:gd name="connsiteX12" fmla="*/ 240030 w 396709"/>
                    <a:gd name="connsiteY12" fmla="*/ 102870 h 205740"/>
                    <a:gd name="connsiteX13" fmla="*/ 251460 w 396709"/>
                    <a:gd name="connsiteY13" fmla="*/ 95250 h 205740"/>
                    <a:gd name="connsiteX14" fmla="*/ 262890 w 396709"/>
                    <a:gd name="connsiteY14" fmla="*/ 91440 h 205740"/>
                    <a:gd name="connsiteX15" fmla="*/ 285750 w 396709"/>
                    <a:gd name="connsiteY15" fmla="*/ 72390 h 205740"/>
                    <a:gd name="connsiteX16" fmla="*/ 297180 w 396709"/>
                    <a:gd name="connsiteY16" fmla="*/ 68580 h 205740"/>
                    <a:gd name="connsiteX17" fmla="*/ 320040 w 396709"/>
                    <a:gd name="connsiteY17" fmla="*/ 53340 h 205740"/>
                    <a:gd name="connsiteX18" fmla="*/ 350520 w 396709"/>
                    <a:gd name="connsiteY18" fmla="*/ 26670 h 205740"/>
                    <a:gd name="connsiteX19" fmla="*/ 361950 w 396709"/>
                    <a:gd name="connsiteY19" fmla="*/ 19050 h 205740"/>
                    <a:gd name="connsiteX20" fmla="*/ 373380 w 396709"/>
                    <a:gd name="connsiteY20" fmla="*/ 15240 h 205740"/>
                    <a:gd name="connsiteX21" fmla="*/ 384810 w 396709"/>
                    <a:gd name="connsiteY21" fmla="*/ 7620 h 205740"/>
                    <a:gd name="connsiteX22" fmla="*/ 396240 w 396709"/>
                    <a:gd name="connsiteY22" fmla="*/ 3810 h 205740"/>
                    <a:gd name="connsiteX23" fmla="*/ 396240 w 396709"/>
                    <a:gd name="connsiteY23" fmla="*/ 0 h 2057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396709" h="205740">
                      <a:moveTo>
                        <a:pt x="0" y="205740"/>
                      </a:moveTo>
                      <a:cubicBezTo>
                        <a:pt x="6350" y="204470"/>
                        <a:pt x="12987" y="204204"/>
                        <a:pt x="19050" y="201930"/>
                      </a:cubicBezTo>
                      <a:cubicBezTo>
                        <a:pt x="23337" y="200322"/>
                        <a:pt x="25971" y="195106"/>
                        <a:pt x="30480" y="194310"/>
                      </a:cubicBezTo>
                      <a:cubicBezTo>
                        <a:pt x="48034" y="191212"/>
                        <a:pt x="66075" y="192190"/>
                        <a:pt x="83820" y="190500"/>
                      </a:cubicBezTo>
                      <a:cubicBezTo>
                        <a:pt x="92760" y="189649"/>
                        <a:pt x="101684" y="188451"/>
                        <a:pt x="110490" y="186690"/>
                      </a:cubicBezTo>
                      <a:cubicBezTo>
                        <a:pt x="120759" y="184636"/>
                        <a:pt x="140970" y="179070"/>
                        <a:pt x="140970" y="179070"/>
                      </a:cubicBezTo>
                      <a:cubicBezTo>
                        <a:pt x="171450" y="158750"/>
                        <a:pt x="134620" y="185420"/>
                        <a:pt x="160020" y="160020"/>
                      </a:cubicBezTo>
                      <a:cubicBezTo>
                        <a:pt x="163258" y="156782"/>
                        <a:pt x="167932" y="155331"/>
                        <a:pt x="171450" y="152400"/>
                      </a:cubicBezTo>
                      <a:cubicBezTo>
                        <a:pt x="175589" y="148951"/>
                        <a:pt x="178741" y="144419"/>
                        <a:pt x="182880" y="140970"/>
                      </a:cubicBezTo>
                      <a:cubicBezTo>
                        <a:pt x="192728" y="132764"/>
                        <a:pt x="194284" y="133359"/>
                        <a:pt x="205740" y="129540"/>
                      </a:cubicBezTo>
                      <a:cubicBezTo>
                        <a:pt x="210820" y="125730"/>
                        <a:pt x="216490" y="122600"/>
                        <a:pt x="220980" y="118110"/>
                      </a:cubicBezTo>
                      <a:cubicBezTo>
                        <a:pt x="224218" y="114872"/>
                        <a:pt x="225024" y="109541"/>
                        <a:pt x="228600" y="106680"/>
                      </a:cubicBezTo>
                      <a:cubicBezTo>
                        <a:pt x="231736" y="104171"/>
                        <a:pt x="236438" y="104666"/>
                        <a:pt x="240030" y="102870"/>
                      </a:cubicBezTo>
                      <a:cubicBezTo>
                        <a:pt x="244126" y="100822"/>
                        <a:pt x="247364" y="97298"/>
                        <a:pt x="251460" y="95250"/>
                      </a:cubicBezTo>
                      <a:cubicBezTo>
                        <a:pt x="255052" y="93454"/>
                        <a:pt x="259298" y="93236"/>
                        <a:pt x="262890" y="91440"/>
                      </a:cubicBezTo>
                      <a:cubicBezTo>
                        <a:pt x="287821" y="78975"/>
                        <a:pt x="260471" y="89242"/>
                        <a:pt x="285750" y="72390"/>
                      </a:cubicBezTo>
                      <a:cubicBezTo>
                        <a:pt x="289092" y="70162"/>
                        <a:pt x="293669" y="70530"/>
                        <a:pt x="297180" y="68580"/>
                      </a:cubicBezTo>
                      <a:cubicBezTo>
                        <a:pt x="305186" y="64132"/>
                        <a:pt x="320040" y="53340"/>
                        <a:pt x="320040" y="53340"/>
                      </a:cubicBezTo>
                      <a:cubicBezTo>
                        <a:pt x="332740" y="34290"/>
                        <a:pt x="323850" y="44450"/>
                        <a:pt x="350520" y="26670"/>
                      </a:cubicBezTo>
                      <a:cubicBezTo>
                        <a:pt x="354330" y="24130"/>
                        <a:pt x="357606" y="20498"/>
                        <a:pt x="361950" y="19050"/>
                      </a:cubicBezTo>
                      <a:cubicBezTo>
                        <a:pt x="365760" y="17780"/>
                        <a:pt x="369788" y="17036"/>
                        <a:pt x="373380" y="15240"/>
                      </a:cubicBezTo>
                      <a:cubicBezTo>
                        <a:pt x="377476" y="13192"/>
                        <a:pt x="380714" y="9668"/>
                        <a:pt x="384810" y="7620"/>
                      </a:cubicBezTo>
                      <a:cubicBezTo>
                        <a:pt x="388402" y="5824"/>
                        <a:pt x="392898" y="6038"/>
                        <a:pt x="396240" y="3810"/>
                      </a:cubicBezTo>
                      <a:cubicBezTo>
                        <a:pt x="397297" y="3106"/>
                        <a:pt x="396240" y="1270"/>
                        <a:pt x="396240" y="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48" name="Forma livre 738"/>
                <p:cNvSpPr/>
                <p:nvPr/>
              </p:nvSpPr>
              <p:spPr>
                <a:xfrm>
                  <a:off x="3406140" y="5139690"/>
                  <a:ext cx="110490" cy="102870"/>
                </a:xfrm>
                <a:custGeom>
                  <a:avLst/>
                  <a:gdLst>
                    <a:gd name="connsiteX0" fmla="*/ 0 w 110490"/>
                    <a:gd name="connsiteY0" fmla="*/ 0 h 102870"/>
                    <a:gd name="connsiteX1" fmla="*/ 3810 w 110490"/>
                    <a:gd name="connsiteY1" fmla="*/ 19050 h 102870"/>
                    <a:gd name="connsiteX2" fmla="*/ 26670 w 110490"/>
                    <a:gd name="connsiteY2" fmla="*/ 34290 h 102870"/>
                    <a:gd name="connsiteX3" fmla="*/ 49530 w 110490"/>
                    <a:gd name="connsiteY3" fmla="*/ 49530 h 102870"/>
                    <a:gd name="connsiteX4" fmla="*/ 83820 w 110490"/>
                    <a:gd name="connsiteY4" fmla="*/ 64770 h 102870"/>
                    <a:gd name="connsiteX5" fmla="*/ 95250 w 110490"/>
                    <a:gd name="connsiteY5" fmla="*/ 76200 h 102870"/>
                    <a:gd name="connsiteX6" fmla="*/ 110490 w 110490"/>
                    <a:gd name="connsiteY6" fmla="*/ 102870 h 1028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0490" h="102870">
                      <a:moveTo>
                        <a:pt x="0" y="0"/>
                      </a:moveTo>
                      <a:cubicBezTo>
                        <a:pt x="1270" y="6350"/>
                        <a:pt x="914" y="13258"/>
                        <a:pt x="3810" y="19050"/>
                      </a:cubicBezTo>
                      <a:cubicBezTo>
                        <a:pt x="11615" y="34660"/>
                        <a:pt x="14947" y="27777"/>
                        <a:pt x="26670" y="34290"/>
                      </a:cubicBezTo>
                      <a:cubicBezTo>
                        <a:pt x="34676" y="38738"/>
                        <a:pt x="40842" y="46634"/>
                        <a:pt x="49530" y="49530"/>
                      </a:cubicBezTo>
                      <a:cubicBezTo>
                        <a:pt x="66143" y="55068"/>
                        <a:pt x="71745" y="54707"/>
                        <a:pt x="83820" y="64770"/>
                      </a:cubicBezTo>
                      <a:cubicBezTo>
                        <a:pt x="87959" y="68219"/>
                        <a:pt x="91440" y="72390"/>
                        <a:pt x="95250" y="76200"/>
                      </a:cubicBezTo>
                      <a:cubicBezTo>
                        <a:pt x="103768" y="101754"/>
                        <a:pt x="95686" y="95468"/>
                        <a:pt x="110490" y="10287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49" name="Forma livre 739"/>
                <p:cNvSpPr/>
                <p:nvPr/>
              </p:nvSpPr>
              <p:spPr>
                <a:xfrm>
                  <a:off x="3836670" y="5436870"/>
                  <a:ext cx="95250" cy="83820"/>
                </a:xfrm>
                <a:custGeom>
                  <a:avLst/>
                  <a:gdLst>
                    <a:gd name="connsiteX0" fmla="*/ 0 w 95250"/>
                    <a:gd name="connsiteY0" fmla="*/ 83820 h 83820"/>
                    <a:gd name="connsiteX1" fmla="*/ 19050 w 95250"/>
                    <a:gd name="connsiteY1" fmla="*/ 68580 h 83820"/>
                    <a:gd name="connsiteX2" fmla="*/ 30480 w 95250"/>
                    <a:gd name="connsiteY2" fmla="*/ 64770 h 83820"/>
                    <a:gd name="connsiteX3" fmla="*/ 38100 w 95250"/>
                    <a:gd name="connsiteY3" fmla="*/ 41910 h 83820"/>
                    <a:gd name="connsiteX4" fmla="*/ 41910 w 95250"/>
                    <a:gd name="connsiteY4" fmla="*/ 26670 h 83820"/>
                    <a:gd name="connsiteX5" fmla="*/ 53340 w 95250"/>
                    <a:gd name="connsiteY5" fmla="*/ 22860 h 83820"/>
                    <a:gd name="connsiteX6" fmla="*/ 64770 w 95250"/>
                    <a:gd name="connsiteY6" fmla="*/ 15240 h 83820"/>
                    <a:gd name="connsiteX7" fmla="*/ 76200 w 95250"/>
                    <a:gd name="connsiteY7" fmla="*/ 11430 h 83820"/>
                    <a:gd name="connsiteX8" fmla="*/ 87630 w 95250"/>
                    <a:gd name="connsiteY8" fmla="*/ 3810 h 83820"/>
                    <a:gd name="connsiteX9" fmla="*/ 95250 w 95250"/>
                    <a:gd name="connsiteY9" fmla="*/ 0 h 83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5250" h="83820">
                      <a:moveTo>
                        <a:pt x="0" y="83820"/>
                      </a:moveTo>
                      <a:cubicBezTo>
                        <a:pt x="6350" y="78740"/>
                        <a:pt x="12154" y="72890"/>
                        <a:pt x="19050" y="68580"/>
                      </a:cubicBezTo>
                      <a:cubicBezTo>
                        <a:pt x="22456" y="66451"/>
                        <a:pt x="28146" y="68038"/>
                        <a:pt x="30480" y="64770"/>
                      </a:cubicBezTo>
                      <a:cubicBezTo>
                        <a:pt x="35149" y="58234"/>
                        <a:pt x="36152" y="49702"/>
                        <a:pt x="38100" y="41910"/>
                      </a:cubicBezTo>
                      <a:cubicBezTo>
                        <a:pt x="39370" y="36830"/>
                        <a:pt x="38639" y="30759"/>
                        <a:pt x="41910" y="26670"/>
                      </a:cubicBezTo>
                      <a:cubicBezTo>
                        <a:pt x="44419" y="23534"/>
                        <a:pt x="49748" y="24656"/>
                        <a:pt x="53340" y="22860"/>
                      </a:cubicBezTo>
                      <a:cubicBezTo>
                        <a:pt x="57436" y="20812"/>
                        <a:pt x="60674" y="17288"/>
                        <a:pt x="64770" y="15240"/>
                      </a:cubicBezTo>
                      <a:cubicBezTo>
                        <a:pt x="68362" y="13444"/>
                        <a:pt x="72608" y="13226"/>
                        <a:pt x="76200" y="11430"/>
                      </a:cubicBezTo>
                      <a:cubicBezTo>
                        <a:pt x="80296" y="9382"/>
                        <a:pt x="83703" y="6166"/>
                        <a:pt x="87630" y="3810"/>
                      </a:cubicBezTo>
                      <a:cubicBezTo>
                        <a:pt x="90065" y="2349"/>
                        <a:pt x="92710" y="1270"/>
                        <a:pt x="95250" y="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50" name="Forma livre 740"/>
                <p:cNvSpPr/>
                <p:nvPr/>
              </p:nvSpPr>
              <p:spPr>
                <a:xfrm>
                  <a:off x="3493770" y="5459700"/>
                  <a:ext cx="19050" cy="72420"/>
                </a:xfrm>
                <a:custGeom>
                  <a:avLst/>
                  <a:gdLst>
                    <a:gd name="connsiteX0" fmla="*/ 19050 w 19050"/>
                    <a:gd name="connsiteY0" fmla="*/ 72420 h 72420"/>
                    <a:gd name="connsiteX1" fmla="*/ 7620 w 19050"/>
                    <a:gd name="connsiteY1" fmla="*/ 11460 h 72420"/>
                    <a:gd name="connsiteX2" fmla="*/ 0 w 19050"/>
                    <a:gd name="connsiteY2" fmla="*/ 30 h 724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9050" h="72420">
                      <a:moveTo>
                        <a:pt x="19050" y="72420"/>
                      </a:moveTo>
                      <a:cubicBezTo>
                        <a:pt x="4493" y="28750"/>
                        <a:pt x="16838" y="71380"/>
                        <a:pt x="7620" y="11460"/>
                      </a:cubicBezTo>
                      <a:cubicBezTo>
                        <a:pt x="5676" y="-1175"/>
                        <a:pt x="7109" y="30"/>
                        <a:pt x="0" y="3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51" name="Forma livre 741"/>
                <p:cNvSpPr/>
                <p:nvPr/>
              </p:nvSpPr>
              <p:spPr>
                <a:xfrm>
                  <a:off x="5078730" y="4229100"/>
                  <a:ext cx="327660" cy="186690"/>
                </a:xfrm>
                <a:custGeom>
                  <a:avLst/>
                  <a:gdLst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56210 w 327660"/>
                    <a:gd name="connsiteY6" fmla="*/ 140970 h 186690"/>
                    <a:gd name="connsiteX7" fmla="*/ 190500 w 327660"/>
                    <a:gd name="connsiteY7" fmla="*/ 125730 h 186690"/>
                    <a:gd name="connsiteX8" fmla="*/ 201930 w 327660"/>
                    <a:gd name="connsiteY8" fmla="*/ 118110 h 186690"/>
                    <a:gd name="connsiteX9" fmla="*/ 213360 w 327660"/>
                    <a:gd name="connsiteY9" fmla="*/ 114300 h 186690"/>
                    <a:gd name="connsiteX10" fmla="*/ 236220 w 327660"/>
                    <a:gd name="connsiteY10" fmla="*/ 99060 h 186690"/>
                    <a:gd name="connsiteX11" fmla="*/ 247650 w 327660"/>
                    <a:gd name="connsiteY11" fmla="*/ 91440 h 186690"/>
                    <a:gd name="connsiteX12" fmla="*/ 255270 w 327660"/>
                    <a:gd name="connsiteY12" fmla="*/ 80010 h 186690"/>
                    <a:gd name="connsiteX13" fmla="*/ 266700 w 327660"/>
                    <a:gd name="connsiteY13" fmla="*/ 76200 h 186690"/>
                    <a:gd name="connsiteX14" fmla="*/ 278130 w 327660"/>
                    <a:gd name="connsiteY14" fmla="*/ 68580 h 186690"/>
                    <a:gd name="connsiteX15" fmla="*/ 281940 w 327660"/>
                    <a:gd name="connsiteY15" fmla="*/ 57150 h 186690"/>
                    <a:gd name="connsiteX16" fmla="*/ 304800 w 327660"/>
                    <a:gd name="connsiteY16" fmla="*/ 34290 h 186690"/>
                    <a:gd name="connsiteX17" fmla="*/ 316230 w 327660"/>
                    <a:gd name="connsiteY17" fmla="*/ 11430 h 186690"/>
                    <a:gd name="connsiteX18" fmla="*/ 327660 w 327660"/>
                    <a:gd name="connsiteY18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90500 w 327660"/>
                    <a:gd name="connsiteY6" fmla="*/ 125730 h 186690"/>
                    <a:gd name="connsiteX7" fmla="*/ 201930 w 327660"/>
                    <a:gd name="connsiteY7" fmla="*/ 118110 h 186690"/>
                    <a:gd name="connsiteX8" fmla="*/ 213360 w 327660"/>
                    <a:gd name="connsiteY8" fmla="*/ 114300 h 186690"/>
                    <a:gd name="connsiteX9" fmla="*/ 236220 w 327660"/>
                    <a:gd name="connsiteY9" fmla="*/ 99060 h 186690"/>
                    <a:gd name="connsiteX10" fmla="*/ 247650 w 327660"/>
                    <a:gd name="connsiteY10" fmla="*/ 91440 h 186690"/>
                    <a:gd name="connsiteX11" fmla="*/ 255270 w 327660"/>
                    <a:gd name="connsiteY11" fmla="*/ 80010 h 186690"/>
                    <a:gd name="connsiteX12" fmla="*/ 266700 w 327660"/>
                    <a:gd name="connsiteY12" fmla="*/ 76200 h 186690"/>
                    <a:gd name="connsiteX13" fmla="*/ 278130 w 327660"/>
                    <a:gd name="connsiteY13" fmla="*/ 68580 h 186690"/>
                    <a:gd name="connsiteX14" fmla="*/ 281940 w 327660"/>
                    <a:gd name="connsiteY14" fmla="*/ 57150 h 186690"/>
                    <a:gd name="connsiteX15" fmla="*/ 304800 w 327660"/>
                    <a:gd name="connsiteY15" fmla="*/ 34290 h 186690"/>
                    <a:gd name="connsiteX16" fmla="*/ 316230 w 327660"/>
                    <a:gd name="connsiteY16" fmla="*/ 11430 h 186690"/>
                    <a:gd name="connsiteX17" fmla="*/ 327660 w 327660"/>
                    <a:gd name="connsiteY17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201930 w 327660"/>
                    <a:gd name="connsiteY6" fmla="*/ 118110 h 186690"/>
                    <a:gd name="connsiteX7" fmla="*/ 213360 w 327660"/>
                    <a:gd name="connsiteY7" fmla="*/ 114300 h 186690"/>
                    <a:gd name="connsiteX8" fmla="*/ 236220 w 327660"/>
                    <a:gd name="connsiteY8" fmla="*/ 99060 h 186690"/>
                    <a:gd name="connsiteX9" fmla="*/ 247650 w 327660"/>
                    <a:gd name="connsiteY9" fmla="*/ 91440 h 186690"/>
                    <a:gd name="connsiteX10" fmla="*/ 255270 w 327660"/>
                    <a:gd name="connsiteY10" fmla="*/ 80010 h 186690"/>
                    <a:gd name="connsiteX11" fmla="*/ 266700 w 327660"/>
                    <a:gd name="connsiteY11" fmla="*/ 76200 h 186690"/>
                    <a:gd name="connsiteX12" fmla="*/ 278130 w 327660"/>
                    <a:gd name="connsiteY12" fmla="*/ 68580 h 186690"/>
                    <a:gd name="connsiteX13" fmla="*/ 281940 w 327660"/>
                    <a:gd name="connsiteY13" fmla="*/ 57150 h 186690"/>
                    <a:gd name="connsiteX14" fmla="*/ 304800 w 327660"/>
                    <a:gd name="connsiteY14" fmla="*/ 34290 h 186690"/>
                    <a:gd name="connsiteX15" fmla="*/ 316230 w 327660"/>
                    <a:gd name="connsiteY15" fmla="*/ 11430 h 186690"/>
                    <a:gd name="connsiteX16" fmla="*/ 327660 w 327660"/>
                    <a:gd name="connsiteY16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79070 w 327660"/>
                    <a:gd name="connsiteY6" fmla="*/ 144780 h 186690"/>
                    <a:gd name="connsiteX7" fmla="*/ 213360 w 327660"/>
                    <a:gd name="connsiteY7" fmla="*/ 114300 h 186690"/>
                    <a:gd name="connsiteX8" fmla="*/ 236220 w 327660"/>
                    <a:gd name="connsiteY8" fmla="*/ 99060 h 186690"/>
                    <a:gd name="connsiteX9" fmla="*/ 247650 w 327660"/>
                    <a:gd name="connsiteY9" fmla="*/ 91440 h 186690"/>
                    <a:gd name="connsiteX10" fmla="*/ 255270 w 327660"/>
                    <a:gd name="connsiteY10" fmla="*/ 80010 h 186690"/>
                    <a:gd name="connsiteX11" fmla="*/ 266700 w 327660"/>
                    <a:gd name="connsiteY11" fmla="*/ 76200 h 186690"/>
                    <a:gd name="connsiteX12" fmla="*/ 278130 w 327660"/>
                    <a:gd name="connsiteY12" fmla="*/ 68580 h 186690"/>
                    <a:gd name="connsiteX13" fmla="*/ 281940 w 327660"/>
                    <a:gd name="connsiteY13" fmla="*/ 57150 h 186690"/>
                    <a:gd name="connsiteX14" fmla="*/ 304800 w 327660"/>
                    <a:gd name="connsiteY14" fmla="*/ 34290 h 186690"/>
                    <a:gd name="connsiteX15" fmla="*/ 316230 w 327660"/>
                    <a:gd name="connsiteY15" fmla="*/ 11430 h 186690"/>
                    <a:gd name="connsiteX16" fmla="*/ 327660 w 327660"/>
                    <a:gd name="connsiteY16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79070 w 327660"/>
                    <a:gd name="connsiteY6" fmla="*/ 144780 h 186690"/>
                    <a:gd name="connsiteX7" fmla="*/ 236220 w 327660"/>
                    <a:gd name="connsiteY7" fmla="*/ 99060 h 186690"/>
                    <a:gd name="connsiteX8" fmla="*/ 247650 w 327660"/>
                    <a:gd name="connsiteY8" fmla="*/ 91440 h 186690"/>
                    <a:gd name="connsiteX9" fmla="*/ 255270 w 327660"/>
                    <a:gd name="connsiteY9" fmla="*/ 80010 h 186690"/>
                    <a:gd name="connsiteX10" fmla="*/ 266700 w 327660"/>
                    <a:gd name="connsiteY10" fmla="*/ 76200 h 186690"/>
                    <a:gd name="connsiteX11" fmla="*/ 278130 w 327660"/>
                    <a:gd name="connsiteY11" fmla="*/ 68580 h 186690"/>
                    <a:gd name="connsiteX12" fmla="*/ 281940 w 327660"/>
                    <a:gd name="connsiteY12" fmla="*/ 57150 h 186690"/>
                    <a:gd name="connsiteX13" fmla="*/ 304800 w 327660"/>
                    <a:gd name="connsiteY13" fmla="*/ 34290 h 186690"/>
                    <a:gd name="connsiteX14" fmla="*/ 316230 w 327660"/>
                    <a:gd name="connsiteY14" fmla="*/ 11430 h 186690"/>
                    <a:gd name="connsiteX15" fmla="*/ 327660 w 327660"/>
                    <a:gd name="connsiteY15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79070 w 327660"/>
                    <a:gd name="connsiteY6" fmla="*/ 144780 h 186690"/>
                    <a:gd name="connsiteX7" fmla="*/ 247650 w 327660"/>
                    <a:gd name="connsiteY7" fmla="*/ 91440 h 186690"/>
                    <a:gd name="connsiteX8" fmla="*/ 255270 w 327660"/>
                    <a:gd name="connsiteY8" fmla="*/ 80010 h 186690"/>
                    <a:gd name="connsiteX9" fmla="*/ 266700 w 327660"/>
                    <a:gd name="connsiteY9" fmla="*/ 76200 h 186690"/>
                    <a:gd name="connsiteX10" fmla="*/ 278130 w 327660"/>
                    <a:gd name="connsiteY10" fmla="*/ 68580 h 186690"/>
                    <a:gd name="connsiteX11" fmla="*/ 281940 w 327660"/>
                    <a:gd name="connsiteY11" fmla="*/ 57150 h 186690"/>
                    <a:gd name="connsiteX12" fmla="*/ 304800 w 327660"/>
                    <a:gd name="connsiteY12" fmla="*/ 34290 h 186690"/>
                    <a:gd name="connsiteX13" fmla="*/ 316230 w 327660"/>
                    <a:gd name="connsiteY13" fmla="*/ 11430 h 186690"/>
                    <a:gd name="connsiteX14" fmla="*/ 327660 w 327660"/>
                    <a:gd name="connsiteY14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79070 w 327660"/>
                    <a:gd name="connsiteY6" fmla="*/ 144780 h 186690"/>
                    <a:gd name="connsiteX7" fmla="*/ 213360 w 327660"/>
                    <a:gd name="connsiteY7" fmla="*/ 121920 h 186690"/>
                    <a:gd name="connsiteX8" fmla="*/ 255270 w 327660"/>
                    <a:gd name="connsiteY8" fmla="*/ 80010 h 186690"/>
                    <a:gd name="connsiteX9" fmla="*/ 266700 w 327660"/>
                    <a:gd name="connsiteY9" fmla="*/ 76200 h 186690"/>
                    <a:gd name="connsiteX10" fmla="*/ 278130 w 327660"/>
                    <a:gd name="connsiteY10" fmla="*/ 68580 h 186690"/>
                    <a:gd name="connsiteX11" fmla="*/ 281940 w 327660"/>
                    <a:gd name="connsiteY11" fmla="*/ 57150 h 186690"/>
                    <a:gd name="connsiteX12" fmla="*/ 304800 w 327660"/>
                    <a:gd name="connsiteY12" fmla="*/ 34290 h 186690"/>
                    <a:gd name="connsiteX13" fmla="*/ 316230 w 327660"/>
                    <a:gd name="connsiteY13" fmla="*/ 11430 h 186690"/>
                    <a:gd name="connsiteX14" fmla="*/ 327660 w 327660"/>
                    <a:gd name="connsiteY14" fmla="*/ 0 h 186690"/>
                    <a:gd name="connsiteX0" fmla="*/ 0 w 327660"/>
                    <a:gd name="connsiteY0" fmla="*/ 186690 h 186690"/>
                    <a:gd name="connsiteX1" fmla="*/ 15240 w 327660"/>
                    <a:gd name="connsiteY1" fmla="*/ 167640 h 186690"/>
                    <a:gd name="connsiteX2" fmla="*/ 26670 w 327660"/>
                    <a:gd name="connsiteY2" fmla="*/ 163830 h 186690"/>
                    <a:gd name="connsiteX3" fmla="*/ 64770 w 327660"/>
                    <a:gd name="connsiteY3" fmla="*/ 160020 h 186690"/>
                    <a:gd name="connsiteX4" fmla="*/ 110490 w 327660"/>
                    <a:gd name="connsiteY4" fmla="*/ 163830 h 186690"/>
                    <a:gd name="connsiteX5" fmla="*/ 140970 w 327660"/>
                    <a:gd name="connsiteY5" fmla="*/ 167640 h 186690"/>
                    <a:gd name="connsiteX6" fmla="*/ 179070 w 327660"/>
                    <a:gd name="connsiteY6" fmla="*/ 144780 h 186690"/>
                    <a:gd name="connsiteX7" fmla="*/ 213360 w 327660"/>
                    <a:gd name="connsiteY7" fmla="*/ 121920 h 186690"/>
                    <a:gd name="connsiteX8" fmla="*/ 247650 w 327660"/>
                    <a:gd name="connsiteY8" fmla="*/ 91440 h 186690"/>
                    <a:gd name="connsiteX9" fmla="*/ 266700 w 327660"/>
                    <a:gd name="connsiteY9" fmla="*/ 76200 h 186690"/>
                    <a:gd name="connsiteX10" fmla="*/ 278130 w 327660"/>
                    <a:gd name="connsiteY10" fmla="*/ 68580 h 186690"/>
                    <a:gd name="connsiteX11" fmla="*/ 281940 w 327660"/>
                    <a:gd name="connsiteY11" fmla="*/ 57150 h 186690"/>
                    <a:gd name="connsiteX12" fmla="*/ 304800 w 327660"/>
                    <a:gd name="connsiteY12" fmla="*/ 34290 h 186690"/>
                    <a:gd name="connsiteX13" fmla="*/ 316230 w 327660"/>
                    <a:gd name="connsiteY13" fmla="*/ 11430 h 186690"/>
                    <a:gd name="connsiteX14" fmla="*/ 327660 w 327660"/>
                    <a:gd name="connsiteY14" fmla="*/ 0 h 186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27660" h="186690">
                      <a:moveTo>
                        <a:pt x="0" y="186690"/>
                      </a:moveTo>
                      <a:cubicBezTo>
                        <a:pt x="5080" y="180340"/>
                        <a:pt x="9066" y="172932"/>
                        <a:pt x="15240" y="167640"/>
                      </a:cubicBezTo>
                      <a:cubicBezTo>
                        <a:pt x="18289" y="165026"/>
                        <a:pt x="22701" y="164441"/>
                        <a:pt x="26670" y="163830"/>
                      </a:cubicBezTo>
                      <a:cubicBezTo>
                        <a:pt x="39285" y="161889"/>
                        <a:pt x="52070" y="161290"/>
                        <a:pt x="64770" y="160020"/>
                      </a:cubicBezTo>
                      <a:cubicBezTo>
                        <a:pt x="80010" y="161290"/>
                        <a:pt x="95494" y="160831"/>
                        <a:pt x="110490" y="163830"/>
                      </a:cubicBezTo>
                      <a:cubicBezTo>
                        <a:pt x="146929" y="171118"/>
                        <a:pt x="89681" y="177898"/>
                        <a:pt x="140970" y="167640"/>
                      </a:cubicBezTo>
                      <a:cubicBezTo>
                        <a:pt x="156210" y="160020"/>
                        <a:pt x="167005" y="152400"/>
                        <a:pt x="179070" y="144780"/>
                      </a:cubicBezTo>
                      <a:cubicBezTo>
                        <a:pt x="191135" y="137160"/>
                        <a:pt x="201930" y="130810"/>
                        <a:pt x="213360" y="121920"/>
                      </a:cubicBezTo>
                      <a:cubicBezTo>
                        <a:pt x="224790" y="113030"/>
                        <a:pt x="238760" y="99060"/>
                        <a:pt x="247650" y="91440"/>
                      </a:cubicBezTo>
                      <a:cubicBezTo>
                        <a:pt x="256540" y="83820"/>
                        <a:pt x="261620" y="80010"/>
                        <a:pt x="266700" y="76200"/>
                      </a:cubicBezTo>
                      <a:cubicBezTo>
                        <a:pt x="271780" y="72390"/>
                        <a:pt x="274320" y="71120"/>
                        <a:pt x="278130" y="68580"/>
                      </a:cubicBezTo>
                      <a:cubicBezTo>
                        <a:pt x="279400" y="64770"/>
                        <a:pt x="279474" y="60320"/>
                        <a:pt x="281940" y="57150"/>
                      </a:cubicBezTo>
                      <a:cubicBezTo>
                        <a:pt x="288556" y="48644"/>
                        <a:pt x="304800" y="34290"/>
                        <a:pt x="304800" y="34290"/>
                      </a:cubicBezTo>
                      <a:cubicBezTo>
                        <a:pt x="308619" y="22834"/>
                        <a:pt x="308024" y="21278"/>
                        <a:pt x="316230" y="11430"/>
                      </a:cubicBezTo>
                      <a:cubicBezTo>
                        <a:pt x="319679" y="7291"/>
                        <a:pt x="327660" y="0"/>
                        <a:pt x="327660" y="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52" name="Forma livre 742"/>
                <p:cNvSpPr/>
                <p:nvPr/>
              </p:nvSpPr>
              <p:spPr>
                <a:xfrm>
                  <a:off x="4895850" y="4978625"/>
                  <a:ext cx="49530" cy="20095"/>
                </a:xfrm>
                <a:custGeom>
                  <a:avLst/>
                  <a:gdLst>
                    <a:gd name="connsiteX0" fmla="*/ 0 w 49530"/>
                    <a:gd name="connsiteY0" fmla="*/ 20095 h 20095"/>
                    <a:gd name="connsiteX1" fmla="*/ 11430 w 49530"/>
                    <a:gd name="connsiteY1" fmla="*/ 1045 h 20095"/>
                    <a:gd name="connsiteX2" fmla="*/ 49530 w 49530"/>
                    <a:gd name="connsiteY2" fmla="*/ 4855 h 20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530" h="20095">
                      <a:moveTo>
                        <a:pt x="0" y="20095"/>
                      </a:moveTo>
                      <a:cubicBezTo>
                        <a:pt x="3810" y="13745"/>
                        <a:pt x="4352" y="3223"/>
                        <a:pt x="11430" y="1045"/>
                      </a:cubicBezTo>
                      <a:cubicBezTo>
                        <a:pt x="23629" y="-2709"/>
                        <a:pt x="49530" y="4855"/>
                        <a:pt x="49530" y="4855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53" name="Forma livre 743"/>
                <p:cNvSpPr/>
                <p:nvPr/>
              </p:nvSpPr>
              <p:spPr>
                <a:xfrm>
                  <a:off x="4118596" y="5695950"/>
                  <a:ext cx="194412" cy="266700"/>
                </a:xfrm>
                <a:custGeom>
                  <a:avLst/>
                  <a:gdLst>
                    <a:gd name="connsiteX0" fmla="*/ 186704 w 194412"/>
                    <a:gd name="connsiteY0" fmla="*/ 0 h 266700"/>
                    <a:gd name="connsiteX1" fmla="*/ 194324 w 194412"/>
                    <a:gd name="connsiteY1" fmla="*/ 19050 h 266700"/>
                    <a:gd name="connsiteX2" fmla="*/ 190514 w 194412"/>
                    <a:gd name="connsiteY2" fmla="*/ 38100 h 266700"/>
                    <a:gd name="connsiteX3" fmla="*/ 179084 w 194412"/>
                    <a:gd name="connsiteY3" fmla="*/ 64770 h 266700"/>
                    <a:gd name="connsiteX4" fmla="*/ 179084 w 194412"/>
                    <a:gd name="connsiteY4" fmla="*/ 99060 h 266700"/>
                    <a:gd name="connsiteX5" fmla="*/ 171464 w 194412"/>
                    <a:gd name="connsiteY5" fmla="*/ 110490 h 266700"/>
                    <a:gd name="connsiteX6" fmla="*/ 137174 w 194412"/>
                    <a:gd name="connsiteY6" fmla="*/ 114300 h 266700"/>
                    <a:gd name="connsiteX7" fmla="*/ 121934 w 194412"/>
                    <a:gd name="connsiteY7" fmla="*/ 137160 h 266700"/>
                    <a:gd name="connsiteX8" fmla="*/ 118124 w 194412"/>
                    <a:gd name="connsiteY8" fmla="*/ 152400 h 266700"/>
                    <a:gd name="connsiteX9" fmla="*/ 83834 w 194412"/>
                    <a:gd name="connsiteY9" fmla="*/ 167640 h 266700"/>
                    <a:gd name="connsiteX10" fmla="*/ 60974 w 194412"/>
                    <a:gd name="connsiteY10" fmla="*/ 179070 h 266700"/>
                    <a:gd name="connsiteX11" fmla="*/ 49544 w 194412"/>
                    <a:gd name="connsiteY11" fmla="*/ 186690 h 266700"/>
                    <a:gd name="connsiteX12" fmla="*/ 41924 w 194412"/>
                    <a:gd name="connsiteY12" fmla="*/ 198120 h 266700"/>
                    <a:gd name="connsiteX13" fmla="*/ 30494 w 194412"/>
                    <a:gd name="connsiteY13" fmla="*/ 201930 h 266700"/>
                    <a:gd name="connsiteX14" fmla="*/ 26684 w 194412"/>
                    <a:gd name="connsiteY14" fmla="*/ 217170 h 266700"/>
                    <a:gd name="connsiteX15" fmla="*/ 22874 w 194412"/>
                    <a:gd name="connsiteY15" fmla="*/ 228600 h 266700"/>
                    <a:gd name="connsiteX16" fmla="*/ 7634 w 194412"/>
                    <a:gd name="connsiteY16" fmla="*/ 251460 h 266700"/>
                    <a:gd name="connsiteX17" fmla="*/ 14 w 194412"/>
                    <a:gd name="connsiteY17" fmla="*/ 266700 h 266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94412" h="266700">
                      <a:moveTo>
                        <a:pt x="186704" y="0"/>
                      </a:moveTo>
                      <a:cubicBezTo>
                        <a:pt x="189244" y="6350"/>
                        <a:pt x="193643" y="12245"/>
                        <a:pt x="194324" y="19050"/>
                      </a:cubicBezTo>
                      <a:cubicBezTo>
                        <a:pt x="194968" y="25494"/>
                        <a:pt x="191919" y="31778"/>
                        <a:pt x="190514" y="38100"/>
                      </a:cubicBezTo>
                      <a:cubicBezTo>
                        <a:pt x="186414" y="56552"/>
                        <a:pt x="188891" y="50059"/>
                        <a:pt x="179084" y="64770"/>
                      </a:cubicBezTo>
                      <a:cubicBezTo>
                        <a:pt x="184175" y="80043"/>
                        <a:pt x="185789" y="78944"/>
                        <a:pt x="179084" y="99060"/>
                      </a:cubicBezTo>
                      <a:cubicBezTo>
                        <a:pt x="177636" y="103404"/>
                        <a:pt x="175767" y="108925"/>
                        <a:pt x="171464" y="110490"/>
                      </a:cubicBezTo>
                      <a:cubicBezTo>
                        <a:pt x="160656" y="114420"/>
                        <a:pt x="148604" y="113030"/>
                        <a:pt x="137174" y="114300"/>
                      </a:cubicBezTo>
                      <a:cubicBezTo>
                        <a:pt x="125278" y="149987"/>
                        <a:pt x="144766" y="97205"/>
                        <a:pt x="121934" y="137160"/>
                      </a:cubicBezTo>
                      <a:cubicBezTo>
                        <a:pt x="119336" y="141706"/>
                        <a:pt x="121029" y="148043"/>
                        <a:pt x="118124" y="152400"/>
                      </a:cubicBezTo>
                      <a:cubicBezTo>
                        <a:pt x="111921" y="161705"/>
                        <a:pt x="90147" y="163431"/>
                        <a:pt x="83834" y="167640"/>
                      </a:cubicBezTo>
                      <a:cubicBezTo>
                        <a:pt x="51077" y="189478"/>
                        <a:pt x="92522" y="163296"/>
                        <a:pt x="60974" y="179070"/>
                      </a:cubicBezTo>
                      <a:cubicBezTo>
                        <a:pt x="56878" y="181118"/>
                        <a:pt x="53354" y="184150"/>
                        <a:pt x="49544" y="186690"/>
                      </a:cubicBezTo>
                      <a:cubicBezTo>
                        <a:pt x="47004" y="190500"/>
                        <a:pt x="45500" y="195259"/>
                        <a:pt x="41924" y="198120"/>
                      </a:cubicBezTo>
                      <a:cubicBezTo>
                        <a:pt x="38788" y="200629"/>
                        <a:pt x="33003" y="198794"/>
                        <a:pt x="30494" y="201930"/>
                      </a:cubicBezTo>
                      <a:cubicBezTo>
                        <a:pt x="27223" y="206019"/>
                        <a:pt x="28123" y="212135"/>
                        <a:pt x="26684" y="217170"/>
                      </a:cubicBezTo>
                      <a:cubicBezTo>
                        <a:pt x="25581" y="221032"/>
                        <a:pt x="24824" y="225089"/>
                        <a:pt x="22874" y="228600"/>
                      </a:cubicBezTo>
                      <a:cubicBezTo>
                        <a:pt x="18426" y="236606"/>
                        <a:pt x="12714" y="243840"/>
                        <a:pt x="7634" y="251460"/>
                      </a:cubicBezTo>
                      <a:cubicBezTo>
                        <a:pt x="-690" y="263947"/>
                        <a:pt x="14" y="258311"/>
                        <a:pt x="14" y="26670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54" name="Forma livre 744"/>
                <p:cNvSpPr/>
                <p:nvPr/>
              </p:nvSpPr>
              <p:spPr>
                <a:xfrm>
                  <a:off x="3387070" y="5101412"/>
                  <a:ext cx="22914" cy="30816"/>
                </a:xfrm>
                <a:custGeom>
                  <a:avLst/>
                  <a:gdLst>
                    <a:gd name="connsiteX0" fmla="*/ 20 w 22914"/>
                    <a:gd name="connsiteY0" fmla="*/ 178 h 30816"/>
                    <a:gd name="connsiteX1" fmla="*/ 19070 w 22914"/>
                    <a:gd name="connsiteY1" fmla="*/ 19228 h 30816"/>
                    <a:gd name="connsiteX2" fmla="*/ 22880 w 22914"/>
                    <a:gd name="connsiteY2" fmla="*/ 30658 h 30816"/>
                    <a:gd name="connsiteX3" fmla="*/ 20 w 22914"/>
                    <a:gd name="connsiteY3" fmla="*/ 178 h 30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2914" h="30816">
                      <a:moveTo>
                        <a:pt x="20" y="178"/>
                      </a:moveTo>
                      <a:cubicBezTo>
                        <a:pt x="-615" y="-1727"/>
                        <a:pt x="13682" y="12044"/>
                        <a:pt x="19070" y="19228"/>
                      </a:cubicBezTo>
                      <a:cubicBezTo>
                        <a:pt x="21480" y="22441"/>
                        <a:pt x="21388" y="26929"/>
                        <a:pt x="22880" y="30658"/>
                      </a:cubicBezTo>
                      <a:cubicBezTo>
                        <a:pt x="23935" y="33295"/>
                        <a:pt x="655" y="2083"/>
                        <a:pt x="20" y="178"/>
                      </a:cubicBezTo>
                      <a:close/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4" name="Forma livre 745"/>
                <p:cNvSpPr/>
                <p:nvPr/>
              </p:nvSpPr>
              <p:spPr>
                <a:xfrm>
                  <a:off x="5311140" y="3912860"/>
                  <a:ext cx="41910" cy="57160"/>
                </a:xfrm>
                <a:custGeom>
                  <a:avLst/>
                  <a:gdLst>
                    <a:gd name="connsiteX0" fmla="*/ 0 w 41910"/>
                    <a:gd name="connsiteY0" fmla="*/ 57160 h 57160"/>
                    <a:gd name="connsiteX1" fmla="*/ 3810 w 41910"/>
                    <a:gd name="connsiteY1" fmla="*/ 38110 h 57160"/>
                    <a:gd name="connsiteX2" fmla="*/ 15240 w 41910"/>
                    <a:gd name="connsiteY2" fmla="*/ 26680 h 57160"/>
                    <a:gd name="connsiteX3" fmla="*/ 22860 w 41910"/>
                    <a:gd name="connsiteY3" fmla="*/ 15250 h 57160"/>
                    <a:gd name="connsiteX4" fmla="*/ 26670 w 41910"/>
                    <a:gd name="connsiteY4" fmla="*/ 3820 h 57160"/>
                    <a:gd name="connsiteX5" fmla="*/ 41910 w 41910"/>
                    <a:gd name="connsiteY5" fmla="*/ 10 h 57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1910" h="57160">
                      <a:moveTo>
                        <a:pt x="0" y="57160"/>
                      </a:moveTo>
                      <a:cubicBezTo>
                        <a:pt x="1270" y="50810"/>
                        <a:pt x="914" y="43902"/>
                        <a:pt x="3810" y="38110"/>
                      </a:cubicBezTo>
                      <a:cubicBezTo>
                        <a:pt x="6220" y="33291"/>
                        <a:pt x="11791" y="30819"/>
                        <a:pt x="15240" y="26680"/>
                      </a:cubicBezTo>
                      <a:cubicBezTo>
                        <a:pt x="18171" y="23162"/>
                        <a:pt x="20812" y="19346"/>
                        <a:pt x="22860" y="15250"/>
                      </a:cubicBezTo>
                      <a:cubicBezTo>
                        <a:pt x="24656" y="11658"/>
                        <a:pt x="23830" y="6660"/>
                        <a:pt x="26670" y="3820"/>
                      </a:cubicBezTo>
                      <a:cubicBezTo>
                        <a:pt x="30882" y="-392"/>
                        <a:pt x="36748" y="10"/>
                        <a:pt x="41910" y="1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5" name="Forma livre 746"/>
                <p:cNvSpPr/>
                <p:nvPr/>
              </p:nvSpPr>
              <p:spPr>
                <a:xfrm>
                  <a:off x="5627370" y="3783194"/>
                  <a:ext cx="106680" cy="26806"/>
                </a:xfrm>
                <a:custGeom>
                  <a:avLst/>
                  <a:gdLst>
                    <a:gd name="connsiteX0" fmla="*/ 0 w 106680"/>
                    <a:gd name="connsiteY0" fmla="*/ 26806 h 26806"/>
                    <a:gd name="connsiteX1" fmla="*/ 19050 w 106680"/>
                    <a:gd name="connsiteY1" fmla="*/ 19186 h 26806"/>
                    <a:gd name="connsiteX2" fmla="*/ 30480 w 106680"/>
                    <a:gd name="connsiteY2" fmla="*/ 15376 h 26806"/>
                    <a:gd name="connsiteX3" fmla="*/ 80010 w 106680"/>
                    <a:gd name="connsiteY3" fmla="*/ 11566 h 26806"/>
                    <a:gd name="connsiteX4" fmla="*/ 102870 w 106680"/>
                    <a:gd name="connsiteY4" fmla="*/ 136 h 26806"/>
                    <a:gd name="connsiteX5" fmla="*/ 106680 w 106680"/>
                    <a:gd name="connsiteY5" fmla="*/ 136 h 26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6680" h="26806">
                      <a:moveTo>
                        <a:pt x="0" y="26806"/>
                      </a:moveTo>
                      <a:cubicBezTo>
                        <a:pt x="6350" y="24266"/>
                        <a:pt x="12646" y="21587"/>
                        <a:pt x="19050" y="19186"/>
                      </a:cubicBezTo>
                      <a:cubicBezTo>
                        <a:pt x="22810" y="17776"/>
                        <a:pt x="26495" y="15874"/>
                        <a:pt x="30480" y="15376"/>
                      </a:cubicBezTo>
                      <a:cubicBezTo>
                        <a:pt x="46911" y="13322"/>
                        <a:pt x="63500" y="12836"/>
                        <a:pt x="80010" y="11566"/>
                      </a:cubicBezTo>
                      <a:cubicBezTo>
                        <a:pt x="91185" y="4116"/>
                        <a:pt x="90251" y="3291"/>
                        <a:pt x="102870" y="136"/>
                      </a:cubicBezTo>
                      <a:cubicBezTo>
                        <a:pt x="104102" y="-172"/>
                        <a:pt x="105410" y="136"/>
                        <a:pt x="106680" y="136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6" name="Forma livre 747"/>
                <p:cNvSpPr/>
                <p:nvPr/>
              </p:nvSpPr>
              <p:spPr>
                <a:xfrm>
                  <a:off x="4327806" y="3112770"/>
                  <a:ext cx="347064" cy="114300"/>
                </a:xfrm>
                <a:custGeom>
                  <a:avLst/>
                  <a:gdLst>
                    <a:gd name="connsiteX0" fmla="*/ 354 w 347064"/>
                    <a:gd name="connsiteY0" fmla="*/ 0 h 114300"/>
                    <a:gd name="connsiteX1" fmla="*/ 4164 w 347064"/>
                    <a:gd name="connsiteY1" fmla="*/ 19050 h 114300"/>
                    <a:gd name="connsiteX2" fmla="*/ 354 w 347064"/>
                    <a:gd name="connsiteY2" fmla="*/ 30480 h 114300"/>
                    <a:gd name="connsiteX3" fmla="*/ 11784 w 347064"/>
                    <a:gd name="connsiteY3" fmla="*/ 34290 h 114300"/>
                    <a:gd name="connsiteX4" fmla="*/ 23214 w 347064"/>
                    <a:gd name="connsiteY4" fmla="*/ 30480 h 114300"/>
                    <a:gd name="connsiteX5" fmla="*/ 53694 w 347064"/>
                    <a:gd name="connsiteY5" fmla="*/ 38100 h 114300"/>
                    <a:gd name="connsiteX6" fmla="*/ 65124 w 347064"/>
                    <a:gd name="connsiteY6" fmla="*/ 45720 h 114300"/>
                    <a:gd name="connsiteX7" fmla="*/ 84174 w 347064"/>
                    <a:gd name="connsiteY7" fmla="*/ 68580 h 114300"/>
                    <a:gd name="connsiteX8" fmla="*/ 103224 w 347064"/>
                    <a:gd name="connsiteY8" fmla="*/ 91440 h 114300"/>
                    <a:gd name="connsiteX9" fmla="*/ 114654 w 347064"/>
                    <a:gd name="connsiteY9" fmla="*/ 95250 h 114300"/>
                    <a:gd name="connsiteX10" fmla="*/ 122274 w 347064"/>
                    <a:gd name="connsiteY10" fmla="*/ 106680 h 114300"/>
                    <a:gd name="connsiteX11" fmla="*/ 145134 w 347064"/>
                    <a:gd name="connsiteY11" fmla="*/ 114300 h 114300"/>
                    <a:gd name="connsiteX12" fmla="*/ 167994 w 347064"/>
                    <a:gd name="connsiteY12" fmla="*/ 110490 h 114300"/>
                    <a:gd name="connsiteX13" fmla="*/ 175614 w 347064"/>
                    <a:gd name="connsiteY13" fmla="*/ 99060 h 114300"/>
                    <a:gd name="connsiteX14" fmla="*/ 187044 w 347064"/>
                    <a:gd name="connsiteY14" fmla="*/ 95250 h 114300"/>
                    <a:gd name="connsiteX15" fmla="*/ 221334 w 347064"/>
                    <a:gd name="connsiteY15" fmla="*/ 80010 h 114300"/>
                    <a:gd name="connsiteX16" fmla="*/ 331824 w 347064"/>
                    <a:gd name="connsiteY16" fmla="*/ 72390 h 114300"/>
                    <a:gd name="connsiteX17" fmla="*/ 347064 w 347064"/>
                    <a:gd name="connsiteY17" fmla="*/ 68580 h 1143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47064" h="114300">
                      <a:moveTo>
                        <a:pt x="354" y="0"/>
                      </a:moveTo>
                      <a:cubicBezTo>
                        <a:pt x="1624" y="6350"/>
                        <a:pt x="4164" y="12574"/>
                        <a:pt x="4164" y="19050"/>
                      </a:cubicBezTo>
                      <a:cubicBezTo>
                        <a:pt x="4164" y="23066"/>
                        <a:pt x="-1442" y="26888"/>
                        <a:pt x="354" y="30480"/>
                      </a:cubicBezTo>
                      <a:cubicBezTo>
                        <a:pt x="2150" y="34072"/>
                        <a:pt x="7974" y="33020"/>
                        <a:pt x="11784" y="34290"/>
                      </a:cubicBezTo>
                      <a:cubicBezTo>
                        <a:pt x="15594" y="33020"/>
                        <a:pt x="19198" y="30480"/>
                        <a:pt x="23214" y="30480"/>
                      </a:cubicBezTo>
                      <a:cubicBezTo>
                        <a:pt x="27561" y="30480"/>
                        <a:pt x="47681" y="35094"/>
                        <a:pt x="53694" y="38100"/>
                      </a:cubicBezTo>
                      <a:cubicBezTo>
                        <a:pt x="57790" y="40148"/>
                        <a:pt x="61314" y="43180"/>
                        <a:pt x="65124" y="45720"/>
                      </a:cubicBezTo>
                      <a:cubicBezTo>
                        <a:pt x="84043" y="74099"/>
                        <a:pt x="59728" y="39244"/>
                        <a:pt x="84174" y="68580"/>
                      </a:cubicBezTo>
                      <a:cubicBezTo>
                        <a:pt x="92959" y="79123"/>
                        <a:pt x="90702" y="83092"/>
                        <a:pt x="103224" y="91440"/>
                      </a:cubicBezTo>
                      <a:cubicBezTo>
                        <a:pt x="106566" y="93668"/>
                        <a:pt x="110844" y="93980"/>
                        <a:pt x="114654" y="95250"/>
                      </a:cubicBezTo>
                      <a:cubicBezTo>
                        <a:pt x="117194" y="99060"/>
                        <a:pt x="118391" y="104253"/>
                        <a:pt x="122274" y="106680"/>
                      </a:cubicBezTo>
                      <a:cubicBezTo>
                        <a:pt x="129085" y="110937"/>
                        <a:pt x="145134" y="114300"/>
                        <a:pt x="145134" y="114300"/>
                      </a:cubicBezTo>
                      <a:cubicBezTo>
                        <a:pt x="152754" y="113030"/>
                        <a:pt x="161084" y="113945"/>
                        <a:pt x="167994" y="110490"/>
                      </a:cubicBezTo>
                      <a:cubicBezTo>
                        <a:pt x="172090" y="108442"/>
                        <a:pt x="172038" y="101921"/>
                        <a:pt x="175614" y="99060"/>
                      </a:cubicBezTo>
                      <a:cubicBezTo>
                        <a:pt x="178750" y="96551"/>
                        <a:pt x="183452" y="97046"/>
                        <a:pt x="187044" y="95250"/>
                      </a:cubicBezTo>
                      <a:cubicBezTo>
                        <a:pt x="208327" y="84608"/>
                        <a:pt x="188569" y="86563"/>
                        <a:pt x="221334" y="80010"/>
                      </a:cubicBezTo>
                      <a:cubicBezTo>
                        <a:pt x="270298" y="70217"/>
                        <a:pt x="233914" y="76470"/>
                        <a:pt x="331824" y="72390"/>
                      </a:cubicBezTo>
                      <a:cubicBezTo>
                        <a:pt x="344459" y="68178"/>
                        <a:pt x="339238" y="68580"/>
                        <a:pt x="347064" y="6858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7" name="Forma livre 748"/>
                <p:cNvSpPr/>
                <p:nvPr/>
              </p:nvSpPr>
              <p:spPr>
                <a:xfrm>
                  <a:off x="3790950" y="3280410"/>
                  <a:ext cx="293370" cy="103741"/>
                </a:xfrm>
                <a:custGeom>
                  <a:avLst/>
                  <a:gdLst>
                    <a:gd name="connsiteX0" fmla="*/ 0 w 293370"/>
                    <a:gd name="connsiteY0" fmla="*/ 0 h 103741"/>
                    <a:gd name="connsiteX1" fmla="*/ 34290 w 293370"/>
                    <a:gd name="connsiteY1" fmla="*/ 11430 h 103741"/>
                    <a:gd name="connsiteX2" fmla="*/ 45720 w 293370"/>
                    <a:gd name="connsiteY2" fmla="*/ 15240 h 103741"/>
                    <a:gd name="connsiteX3" fmla="*/ 64770 w 293370"/>
                    <a:gd name="connsiteY3" fmla="*/ 19050 h 103741"/>
                    <a:gd name="connsiteX4" fmla="*/ 87630 w 293370"/>
                    <a:gd name="connsiteY4" fmla="*/ 26670 h 103741"/>
                    <a:gd name="connsiteX5" fmla="*/ 129540 w 293370"/>
                    <a:gd name="connsiteY5" fmla="*/ 34290 h 103741"/>
                    <a:gd name="connsiteX6" fmla="*/ 167640 w 293370"/>
                    <a:gd name="connsiteY6" fmla="*/ 38100 h 103741"/>
                    <a:gd name="connsiteX7" fmla="*/ 182880 w 293370"/>
                    <a:gd name="connsiteY7" fmla="*/ 41910 h 103741"/>
                    <a:gd name="connsiteX8" fmla="*/ 205740 w 293370"/>
                    <a:gd name="connsiteY8" fmla="*/ 49530 h 103741"/>
                    <a:gd name="connsiteX9" fmla="*/ 255270 w 293370"/>
                    <a:gd name="connsiteY9" fmla="*/ 45720 h 103741"/>
                    <a:gd name="connsiteX10" fmla="*/ 270510 w 293370"/>
                    <a:gd name="connsiteY10" fmla="*/ 49530 h 103741"/>
                    <a:gd name="connsiteX11" fmla="*/ 281940 w 293370"/>
                    <a:gd name="connsiteY11" fmla="*/ 102870 h 103741"/>
                    <a:gd name="connsiteX12" fmla="*/ 293370 w 293370"/>
                    <a:gd name="connsiteY12" fmla="*/ 102870 h 1037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93370" h="103741">
                      <a:moveTo>
                        <a:pt x="0" y="0"/>
                      </a:moveTo>
                      <a:cubicBezTo>
                        <a:pt x="32840" y="13136"/>
                        <a:pt x="5579" y="3227"/>
                        <a:pt x="34290" y="11430"/>
                      </a:cubicBezTo>
                      <a:cubicBezTo>
                        <a:pt x="38152" y="12533"/>
                        <a:pt x="41824" y="14266"/>
                        <a:pt x="45720" y="15240"/>
                      </a:cubicBezTo>
                      <a:cubicBezTo>
                        <a:pt x="52002" y="16811"/>
                        <a:pt x="58522" y="17346"/>
                        <a:pt x="64770" y="19050"/>
                      </a:cubicBezTo>
                      <a:cubicBezTo>
                        <a:pt x="72519" y="21163"/>
                        <a:pt x="79754" y="25095"/>
                        <a:pt x="87630" y="26670"/>
                      </a:cubicBezTo>
                      <a:cubicBezTo>
                        <a:pt x="100634" y="29271"/>
                        <a:pt x="116541" y="32665"/>
                        <a:pt x="129540" y="34290"/>
                      </a:cubicBezTo>
                      <a:cubicBezTo>
                        <a:pt x="142205" y="35873"/>
                        <a:pt x="154940" y="36830"/>
                        <a:pt x="167640" y="38100"/>
                      </a:cubicBezTo>
                      <a:cubicBezTo>
                        <a:pt x="172720" y="39370"/>
                        <a:pt x="177864" y="40405"/>
                        <a:pt x="182880" y="41910"/>
                      </a:cubicBezTo>
                      <a:cubicBezTo>
                        <a:pt x="190573" y="44218"/>
                        <a:pt x="205740" y="49530"/>
                        <a:pt x="205740" y="49530"/>
                      </a:cubicBezTo>
                      <a:cubicBezTo>
                        <a:pt x="222250" y="48260"/>
                        <a:pt x="238711" y="45720"/>
                        <a:pt x="255270" y="45720"/>
                      </a:cubicBezTo>
                      <a:cubicBezTo>
                        <a:pt x="260506" y="45720"/>
                        <a:pt x="268496" y="44696"/>
                        <a:pt x="270510" y="49530"/>
                      </a:cubicBezTo>
                      <a:cubicBezTo>
                        <a:pt x="271328" y="51494"/>
                        <a:pt x="267651" y="94296"/>
                        <a:pt x="281940" y="102870"/>
                      </a:cubicBezTo>
                      <a:cubicBezTo>
                        <a:pt x="285207" y="104830"/>
                        <a:pt x="289560" y="102870"/>
                        <a:pt x="293370" y="10287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8" name="Forma livre 749"/>
                <p:cNvSpPr/>
                <p:nvPr/>
              </p:nvSpPr>
              <p:spPr>
                <a:xfrm>
                  <a:off x="4869057" y="2914650"/>
                  <a:ext cx="68703" cy="186690"/>
                </a:xfrm>
                <a:custGeom>
                  <a:avLst/>
                  <a:gdLst>
                    <a:gd name="connsiteX0" fmla="*/ 3933 w 68703"/>
                    <a:gd name="connsiteY0" fmla="*/ 0 h 186690"/>
                    <a:gd name="connsiteX1" fmla="*/ 123 w 68703"/>
                    <a:gd name="connsiteY1" fmla="*/ 19050 h 186690"/>
                    <a:gd name="connsiteX2" fmla="*/ 19173 w 68703"/>
                    <a:gd name="connsiteY2" fmla="*/ 41910 h 186690"/>
                    <a:gd name="connsiteX3" fmla="*/ 34413 w 68703"/>
                    <a:gd name="connsiteY3" fmla="*/ 64770 h 186690"/>
                    <a:gd name="connsiteX4" fmla="*/ 42033 w 68703"/>
                    <a:gd name="connsiteY4" fmla="*/ 76200 h 186690"/>
                    <a:gd name="connsiteX5" fmla="*/ 57273 w 68703"/>
                    <a:gd name="connsiteY5" fmla="*/ 99060 h 186690"/>
                    <a:gd name="connsiteX6" fmla="*/ 64893 w 68703"/>
                    <a:gd name="connsiteY6" fmla="*/ 110490 h 186690"/>
                    <a:gd name="connsiteX7" fmla="*/ 68703 w 68703"/>
                    <a:gd name="connsiteY7" fmla="*/ 121920 h 186690"/>
                    <a:gd name="connsiteX8" fmla="*/ 64893 w 68703"/>
                    <a:gd name="connsiteY8" fmla="*/ 137160 h 186690"/>
                    <a:gd name="connsiteX9" fmla="*/ 61083 w 68703"/>
                    <a:gd name="connsiteY9" fmla="*/ 148590 h 186690"/>
                    <a:gd name="connsiteX10" fmla="*/ 61083 w 68703"/>
                    <a:gd name="connsiteY10" fmla="*/ 186690 h 186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8703" h="186690">
                      <a:moveTo>
                        <a:pt x="3933" y="0"/>
                      </a:moveTo>
                      <a:cubicBezTo>
                        <a:pt x="2663" y="6350"/>
                        <a:pt x="-680" y="12624"/>
                        <a:pt x="123" y="19050"/>
                      </a:cubicBezTo>
                      <a:cubicBezTo>
                        <a:pt x="992" y="26002"/>
                        <a:pt x="15966" y="37787"/>
                        <a:pt x="19173" y="41910"/>
                      </a:cubicBezTo>
                      <a:cubicBezTo>
                        <a:pt x="24796" y="49139"/>
                        <a:pt x="29333" y="57150"/>
                        <a:pt x="34413" y="64770"/>
                      </a:cubicBezTo>
                      <a:lnTo>
                        <a:pt x="42033" y="76200"/>
                      </a:lnTo>
                      <a:lnTo>
                        <a:pt x="57273" y="99060"/>
                      </a:lnTo>
                      <a:cubicBezTo>
                        <a:pt x="59813" y="102870"/>
                        <a:pt x="63445" y="106146"/>
                        <a:pt x="64893" y="110490"/>
                      </a:cubicBezTo>
                      <a:lnTo>
                        <a:pt x="68703" y="121920"/>
                      </a:lnTo>
                      <a:cubicBezTo>
                        <a:pt x="67433" y="127000"/>
                        <a:pt x="66332" y="132125"/>
                        <a:pt x="64893" y="137160"/>
                      </a:cubicBezTo>
                      <a:cubicBezTo>
                        <a:pt x="63790" y="141022"/>
                        <a:pt x="61391" y="144586"/>
                        <a:pt x="61083" y="148590"/>
                      </a:cubicBezTo>
                      <a:cubicBezTo>
                        <a:pt x="60109" y="161253"/>
                        <a:pt x="61083" y="173990"/>
                        <a:pt x="61083" y="18669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9" name="Forma livre 750"/>
                <p:cNvSpPr/>
                <p:nvPr/>
              </p:nvSpPr>
              <p:spPr>
                <a:xfrm>
                  <a:off x="4910618" y="3154680"/>
                  <a:ext cx="175732" cy="464820"/>
                </a:xfrm>
                <a:custGeom>
                  <a:avLst/>
                  <a:gdLst>
                    <a:gd name="connsiteX0" fmla="*/ 4282 w 175732"/>
                    <a:gd name="connsiteY0" fmla="*/ 0 h 464820"/>
                    <a:gd name="connsiteX1" fmla="*/ 4282 w 175732"/>
                    <a:gd name="connsiteY1" fmla="*/ 49530 h 464820"/>
                    <a:gd name="connsiteX2" fmla="*/ 11902 w 175732"/>
                    <a:gd name="connsiteY2" fmla="*/ 60960 h 464820"/>
                    <a:gd name="connsiteX3" fmla="*/ 23332 w 175732"/>
                    <a:gd name="connsiteY3" fmla="*/ 83820 h 464820"/>
                    <a:gd name="connsiteX4" fmla="*/ 34762 w 175732"/>
                    <a:gd name="connsiteY4" fmla="*/ 125730 h 464820"/>
                    <a:gd name="connsiteX5" fmla="*/ 42382 w 175732"/>
                    <a:gd name="connsiteY5" fmla="*/ 137160 h 464820"/>
                    <a:gd name="connsiteX6" fmla="*/ 50002 w 175732"/>
                    <a:gd name="connsiteY6" fmla="*/ 160020 h 464820"/>
                    <a:gd name="connsiteX7" fmla="*/ 65242 w 175732"/>
                    <a:gd name="connsiteY7" fmla="*/ 182880 h 464820"/>
                    <a:gd name="connsiteX8" fmla="*/ 72862 w 175732"/>
                    <a:gd name="connsiteY8" fmla="*/ 194310 h 464820"/>
                    <a:gd name="connsiteX9" fmla="*/ 80482 w 175732"/>
                    <a:gd name="connsiteY9" fmla="*/ 217170 h 464820"/>
                    <a:gd name="connsiteX10" fmla="*/ 84292 w 175732"/>
                    <a:gd name="connsiteY10" fmla="*/ 228600 h 464820"/>
                    <a:gd name="connsiteX11" fmla="*/ 88102 w 175732"/>
                    <a:gd name="connsiteY11" fmla="*/ 243840 h 464820"/>
                    <a:gd name="connsiteX12" fmla="*/ 76672 w 175732"/>
                    <a:gd name="connsiteY12" fmla="*/ 281940 h 464820"/>
                    <a:gd name="connsiteX13" fmla="*/ 65242 w 175732"/>
                    <a:gd name="connsiteY13" fmla="*/ 289560 h 464820"/>
                    <a:gd name="connsiteX14" fmla="*/ 72862 w 175732"/>
                    <a:gd name="connsiteY14" fmla="*/ 320040 h 464820"/>
                    <a:gd name="connsiteX15" fmla="*/ 80482 w 175732"/>
                    <a:gd name="connsiteY15" fmla="*/ 331470 h 464820"/>
                    <a:gd name="connsiteX16" fmla="*/ 91912 w 175732"/>
                    <a:gd name="connsiteY16" fmla="*/ 335280 h 464820"/>
                    <a:gd name="connsiteX17" fmla="*/ 130012 w 175732"/>
                    <a:gd name="connsiteY17" fmla="*/ 369570 h 464820"/>
                    <a:gd name="connsiteX18" fmla="*/ 141442 w 175732"/>
                    <a:gd name="connsiteY18" fmla="*/ 381000 h 464820"/>
                    <a:gd name="connsiteX19" fmla="*/ 152872 w 175732"/>
                    <a:gd name="connsiteY19" fmla="*/ 388620 h 464820"/>
                    <a:gd name="connsiteX20" fmla="*/ 175732 w 175732"/>
                    <a:gd name="connsiteY20" fmla="*/ 411480 h 464820"/>
                    <a:gd name="connsiteX21" fmla="*/ 160492 w 175732"/>
                    <a:gd name="connsiteY21" fmla="*/ 430530 h 464820"/>
                    <a:gd name="connsiteX22" fmla="*/ 156682 w 175732"/>
                    <a:gd name="connsiteY22" fmla="*/ 464820 h 4648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175732" h="464820">
                      <a:moveTo>
                        <a:pt x="4282" y="0"/>
                      </a:moveTo>
                      <a:cubicBezTo>
                        <a:pt x="-77" y="21796"/>
                        <a:pt x="-2638" y="24157"/>
                        <a:pt x="4282" y="49530"/>
                      </a:cubicBezTo>
                      <a:cubicBezTo>
                        <a:pt x="5487" y="53948"/>
                        <a:pt x="9854" y="56864"/>
                        <a:pt x="11902" y="60960"/>
                      </a:cubicBezTo>
                      <a:cubicBezTo>
                        <a:pt x="27676" y="92508"/>
                        <a:pt x="1494" y="51063"/>
                        <a:pt x="23332" y="83820"/>
                      </a:cubicBezTo>
                      <a:cubicBezTo>
                        <a:pt x="25377" y="94044"/>
                        <a:pt x="29238" y="117443"/>
                        <a:pt x="34762" y="125730"/>
                      </a:cubicBezTo>
                      <a:cubicBezTo>
                        <a:pt x="37302" y="129540"/>
                        <a:pt x="40522" y="132976"/>
                        <a:pt x="42382" y="137160"/>
                      </a:cubicBezTo>
                      <a:cubicBezTo>
                        <a:pt x="45644" y="144500"/>
                        <a:pt x="45547" y="153337"/>
                        <a:pt x="50002" y="160020"/>
                      </a:cubicBezTo>
                      <a:lnTo>
                        <a:pt x="65242" y="182880"/>
                      </a:lnTo>
                      <a:cubicBezTo>
                        <a:pt x="67782" y="186690"/>
                        <a:pt x="71414" y="189966"/>
                        <a:pt x="72862" y="194310"/>
                      </a:cubicBezTo>
                      <a:lnTo>
                        <a:pt x="80482" y="217170"/>
                      </a:lnTo>
                      <a:cubicBezTo>
                        <a:pt x="81752" y="220980"/>
                        <a:pt x="83318" y="224704"/>
                        <a:pt x="84292" y="228600"/>
                      </a:cubicBezTo>
                      <a:lnTo>
                        <a:pt x="88102" y="243840"/>
                      </a:lnTo>
                      <a:cubicBezTo>
                        <a:pt x="85704" y="260627"/>
                        <a:pt x="88223" y="270389"/>
                        <a:pt x="76672" y="281940"/>
                      </a:cubicBezTo>
                      <a:cubicBezTo>
                        <a:pt x="73434" y="285178"/>
                        <a:pt x="69052" y="287020"/>
                        <a:pt x="65242" y="289560"/>
                      </a:cubicBezTo>
                      <a:cubicBezTo>
                        <a:pt x="66691" y="296806"/>
                        <a:pt x="68957" y="312230"/>
                        <a:pt x="72862" y="320040"/>
                      </a:cubicBezTo>
                      <a:cubicBezTo>
                        <a:pt x="74910" y="324136"/>
                        <a:pt x="76906" y="328609"/>
                        <a:pt x="80482" y="331470"/>
                      </a:cubicBezTo>
                      <a:cubicBezTo>
                        <a:pt x="83618" y="333979"/>
                        <a:pt x="88102" y="334010"/>
                        <a:pt x="91912" y="335280"/>
                      </a:cubicBezTo>
                      <a:cubicBezTo>
                        <a:pt x="115773" y="353176"/>
                        <a:pt x="102662" y="342220"/>
                        <a:pt x="130012" y="369570"/>
                      </a:cubicBezTo>
                      <a:cubicBezTo>
                        <a:pt x="133822" y="373380"/>
                        <a:pt x="136959" y="378011"/>
                        <a:pt x="141442" y="381000"/>
                      </a:cubicBezTo>
                      <a:cubicBezTo>
                        <a:pt x="145252" y="383540"/>
                        <a:pt x="149450" y="385578"/>
                        <a:pt x="152872" y="388620"/>
                      </a:cubicBezTo>
                      <a:cubicBezTo>
                        <a:pt x="160926" y="395779"/>
                        <a:pt x="175732" y="411480"/>
                        <a:pt x="175732" y="411480"/>
                      </a:cubicBezTo>
                      <a:cubicBezTo>
                        <a:pt x="166155" y="440210"/>
                        <a:pt x="180187" y="405911"/>
                        <a:pt x="160492" y="430530"/>
                      </a:cubicBezTo>
                      <a:cubicBezTo>
                        <a:pt x="154272" y="438305"/>
                        <a:pt x="156682" y="458596"/>
                        <a:pt x="156682" y="46482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0" name="Forma livre 751"/>
                <p:cNvSpPr/>
                <p:nvPr/>
              </p:nvSpPr>
              <p:spPr>
                <a:xfrm>
                  <a:off x="3150870" y="2747010"/>
                  <a:ext cx="760518" cy="617220"/>
                </a:xfrm>
                <a:custGeom>
                  <a:avLst/>
                  <a:gdLst>
                    <a:gd name="connsiteX0" fmla="*/ 758190 w 760518"/>
                    <a:gd name="connsiteY0" fmla="*/ 0 h 617220"/>
                    <a:gd name="connsiteX1" fmla="*/ 754380 w 760518"/>
                    <a:gd name="connsiteY1" fmla="*/ 19050 h 617220"/>
                    <a:gd name="connsiteX2" fmla="*/ 754380 w 760518"/>
                    <a:gd name="connsiteY2" fmla="*/ 68580 h 617220"/>
                    <a:gd name="connsiteX3" fmla="*/ 742950 w 760518"/>
                    <a:gd name="connsiteY3" fmla="*/ 76200 h 617220"/>
                    <a:gd name="connsiteX4" fmla="*/ 723900 w 760518"/>
                    <a:gd name="connsiteY4" fmla="*/ 102870 h 617220"/>
                    <a:gd name="connsiteX5" fmla="*/ 701040 w 760518"/>
                    <a:gd name="connsiteY5" fmla="*/ 106680 h 617220"/>
                    <a:gd name="connsiteX6" fmla="*/ 685800 w 760518"/>
                    <a:gd name="connsiteY6" fmla="*/ 140970 h 617220"/>
                    <a:gd name="connsiteX7" fmla="*/ 678180 w 760518"/>
                    <a:gd name="connsiteY7" fmla="*/ 156210 h 617220"/>
                    <a:gd name="connsiteX8" fmla="*/ 674370 w 760518"/>
                    <a:gd name="connsiteY8" fmla="*/ 167640 h 617220"/>
                    <a:gd name="connsiteX9" fmla="*/ 662940 w 760518"/>
                    <a:gd name="connsiteY9" fmla="*/ 190500 h 617220"/>
                    <a:gd name="connsiteX10" fmla="*/ 655320 w 760518"/>
                    <a:gd name="connsiteY10" fmla="*/ 224790 h 617220"/>
                    <a:gd name="connsiteX11" fmla="*/ 659130 w 760518"/>
                    <a:gd name="connsiteY11" fmla="*/ 243840 h 617220"/>
                    <a:gd name="connsiteX12" fmla="*/ 666750 w 760518"/>
                    <a:gd name="connsiteY12" fmla="*/ 255270 h 617220"/>
                    <a:gd name="connsiteX13" fmla="*/ 659130 w 760518"/>
                    <a:gd name="connsiteY13" fmla="*/ 289560 h 617220"/>
                    <a:gd name="connsiteX14" fmla="*/ 647700 w 760518"/>
                    <a:gd name="connsiteY14" fmla="*/ 297180 h 617220"/>
                    <a:gd name="connsiteX15" fmla="*/ 651510 w 760518"/>
                    <a:gd name="connsiteY15" fmla="*/ 308610 h 617220"/>
                    <a:gd name="connsiteX16" fmla="*/ 666750 w 760518"/>
                    <a:gd name="connsiteY16" fmla="*/ 331470 h 617220"/>
                    <a:gd name="connsiteX17" fmla="*/ 662940 w 760518"/>
                    <a:gd name="connsiteY17" fmla="*/ 358140 h 617220"/>
                    <a:gd name="connsiteX18" fmla="*/ 655320 w 760518"/>
                    <a:gd name="connsiteY18" fmla="*/ 381000 h 617220"/>
                    <a:gd name="connsiteX19" fmla="*/ 651510 w 760518"/>
                    <a:gd name="connsiteY19" fmla="*/ 411480 h 617220"/>
                    <a:gd name="connsiteX20" fmla="*/ 647700 w 760518"/>
                    <a:gd name="connsiteY20" fmla="*/ 438150 h 617220"/>
                    <a:gd name="connsiteX21" fmla="*/ 643890 w 760518"/>
                    <a:gd name="connsiteY21" fmla="*/ 476250 h 617220"/>
                    <a:gd name="connsiteX22" fmla="*/ 636270 w 760518"/>
                    <a:gd name="connsiteY22" fmla="*/ 499110 h 617220"/>
                    <a:gd name="connsiteX23" fmla="*/ 624840 w 760518"/>
                    <a:gd name="connsiteY23" fmla="*/ 495300 h 617220"/>
                    <a:gd name="connsiteX24" fmla="*/ 601980 w 760518"/>
                    <a:gd name="connsiteY24" fmla="*/ 480060 h 617220"/>
                    <a:gd name="connsiteX25" fmla="*/ 579120 w 760518"/>
                    <a:gd name="connsiteY25" fmla="*/ 476250 h 617220"/>
                    <a:gd name="connsiteX26" fmla="*/ 571500 w 760518"/>
                    <a:gd name="connsiteY26" fmla="*/ 491490 h 617220"/>
                    <a:gd name="connsiteX27" fmla="*/ 567690 w 760518"/>
                    <a:gd name="connsiteY27" fmla="*/ 533400 h 617220"/>
                    <a:gd name="connsiteX28" fmla="*/ 510540 w 760518"/>
                    <a:gd name="connsiteY28" fmla="*/ 544830 h 617220"/>
                    <a:gd name="connsiteX29" fmla="*/ 468630 w 760518"/>
                    <a:gd name="connsiteY29" fmla="*/ 556260 h 617220"/>
                    <a:gd name="connsiteX30" fmla="*/ 457200 w 760518"/>
                    <a:gd name="connsiteY30" fmla="*/ 560070 h 617220"/>
                    <a:gd name="connsiteX31" fmla="*/ 430530 w 760518"/>
                    <a:gd name="connsiteY31" fmla="*/ 571500 h 617220"/>
                    <a:gd name="connsiteX32" fmla="*/ 407670 w 760518"/>
                    <a:gd name="connsiteY32" fmla="*/ 586740 h 617220"/>
                    <a:gd name="connsiteX33" fmla="*/ 300990 w 760518"/>
                    <a:gd name="connsiteY33" fmla="*/ 586740 h 617220"/>
                    <a:gd name="connsiteX34" fmla="*/ 289560 w 760518"/>
                    <a:gd name="connsiteY34" fmla="*/ 590550 h 617220"/>
                    <a:gd name="connsiteX35" fmla="*/ 266700 w 760518"/>
                    <a:gd name="connsiteY35" fmla="*/ 609600 h 617220"/>
                    <a:gd name="connsiteX36" fmla="*/ 255270 w 760518"/>
                    <a:gd name="connsiteY36" fmla="*/ 617220 h 617220"/>
                    <a:gd name="connsiteX37" fmla="*/ 186690 w 760518"/>
                    <a:gd name="connsiteY37" fmla="*/ 613410 h 617220"/>
                    <a:gd name="connsiteX38" fmla="*/ 163830 w 760518"/>
                    <a:gd name="connsiteY38" fmla="*/ 598170 h 617220"/>
                    <a:gd name="connsiteX39" fmla="*/ 133350 w 760518"/>
                    <a:gd name="connsiteY39" fmla="*/ 594360 h 617220"/>
                    <a:gd name="connsiteX40" fmla="*/ 121920 w 760518"/>
                    <a:gd name="connsiteY40" fmla="*/ 560070 h 617220"/>
                    <a:gd name="connsiteX41" fmla="*/ 118110 w 760518"/>
                    <a:gd name="connsiteY41" fmla="*/ 548640 h 617220"/>
                    <a:gd name="connsiteX42" fmla="*/ 106680 w 760518"/>
                    <a:gd name="connsiteY42" fmla="*/ 537210 h 617220"/>
                    <a:gd name="connsiteX43" fmla="*/ 83820 w 760518"/>
                    <a:gd name="connsiteY43" fmla="*/ 529590 h 617220"/>
                    <a:gd name="connsiteX44" fmla="*/ 53340 w 760518"/>
                    <a:gd name="connsiteY44" fmla="*/ 521970 h 617220"/>
                    <a:gd name="connsiteX45" fmla="*/ 38100 w 760518"/>
                    <a:gd name="connsiteY45" fmla="*/ 502920 h 617220"/>
                    <a:gd name="connsiteX46" fmla="*/ 26670 w 760518"/>
                    <a:gd name="connsiteY46" fmla="*/ 491490 h 617220"/>
                    <a:gd name="connsiteX47" fmla="*/ 11430 w 760518"/>
                    <a:gd name="connsiteY47" fmla="*/ 468630 h 617220"/>
                    <a:gd name="connsiteX48" fmla="*/ 0 w 760518"/>
                    <a:gd name="connsiteY48" fmla="*/ 461010 h 617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760518" h="617220">
                      <a:moveTo>
                        <a:pt x="758190" y="0"/>
                      </a:moveTo>
                      <a:cubicBezTo>
                        <a:pt x="756920" y="6350"/>
                        <a:pt x="754380" y="12574"/>
                        <a:pt x="754380" y="19050"/>
                      </a:cubicBezTo>
                      <a:cubicBezTo>
                        <a:pt x="754380" y="46638"/>
                        <a:pt x="768192" y="34049"/>
                        <a:pt x="754380" y="68580"/>
                      </a:cubicBezTo>
                      <a:cubicBezTo>
                        <a:pt x="752679" y="72832"/>
                        <a:pt x="746760" y="73660"/>
                        <a:pt x="742950" y="76200"/>
                      </a:cubicBezTo>
                      <a:cubicBezTo>
                        <a:pt x="735584" y="98298"/>
                        <a:pt x="742188" y="98806"/>
                        <a:pt x="723900" y="102870"/>
                      </a:cubicBezTo>
                      <a:cubicBezTo>
                        <a:pt x="716359" y="104546"/>
                        <a:pt x="708660" y="105410"/>
                        <a:pt x="701040" y="106680"/>
                      </a:cubicBezTo>
                      <a:cubicBezTo>
                        <a:pt x="678625" y="140302"/>
                        <a:pt x="713004" y="86562"/>
                        <a:pt x="685800" y="140970"/>
                      </a:cubicBezTo>
                      <a:cubicBezTo>
                        <a:pt x="683260" y="146050"/>
                        <a:pt x="680417" y="150990"/>
                        <a:pt x="678180" y="156210"/>
                      </a:cubicBezTo>
                      <a:cubicBezTo>
                        <a:pt x="676598" y="159901"/>
                        <a:pt x="676166" y="164048"/>
                        <a:pt x="674370" y="167640"/>
                      </a:cubicBezTo>
                      <a:cubicBezTo>
                        <a:pt x="666150" y="184080"/>
                        <a:pt x="666771" y="173262"/>
                        <a:pt x="662940" y="190500"/>
                      </a:cubicBezTo>
                      <a:cubicBezTo>
                        <a:pt x="654000" y="230732"/>
                        <a:pt x="663897" y="199059"/>
                        <a:pt x="655320" y="224790"/>
                      </a:cubicBezTo>
                      <a:cubicBezTo>
                        <a:pt x="656590" y="231140"/>
                        <a:pt x="656856" y="237777"/>
                        <a:pt x="659130" y="243840"/>
                      </a:cubicBezTo>
                      <a:cubicBezTo>
                        <a:pt x="660738" y="248127"/>
                        <a:pt x="666244" y="250719"/>
                        <a:pt x="666750" y="255270"/>
                      </a:cubicBezTo>
                      <a:cubicBezTo>
                        <a:pt x="666768" y="255433"/>
                        <a:pt x="663050" y="284661"/>
                        <a:pt x="659130" y="289560"/>
                      </a:cubicBezTo>
                      <a:cubicBezTo>
                        <a:pt x="656269" y="293136"/>
                        <a:pt x="651510" y="294640"/>
                        <a:pt x="647700" y="297180"/>
                      </a:cubicBezTo>
                      <a:cubicBezTo>
                        <a:pt x="648970" y="300990"/>
                        <a:pt x="649282" y="305268"/>
                        <a:pt x="651510" y="308610"/>
                      </a:cubicBezTo>
                      <a:cubicBezTo>
                        <a:pt x="670536" y="337150"/>
                        <a:pt x="657691" y="304292"/>
                        <a:pt x="666750" y="331470"/>
                      </a:cubicBezTo>
                      <a:cubicBezTo>
                        <a:pt x="665480" y="340360"/>
                        <a:pt x="664959" y="349390"/>
                        <a:pt x="662940" y="358140"/>
                      </a:cubicBezTo>
                      <a:cubicBezTo>
                        <a:pt x="661134" y="365966"/>
                        <a:pt x="655320" y="381000"/>
                        <a:pt x="655320" y="381000"/>
                      </a:cubicBezTo>
                      <a:cubicBezTo>
                        <a:pt x="654050" y="391160"/>
                        <a:pt x="652863" y="401331"/>
                        <a:pt x="651510" y="411480"/>
                      </a:cubicBezTo>
                      <a:cubicBezTo>
                        <a:pt x="650323" y="420381"/>
                        <a:pt x="648749" y="429231"/>
                        <a:pt x="647700" y="438150"/>
                      </a:cubicBezTo>
                      <a:cubicBezTo>
                        <a:pt x="646209" y="450826"/>
                        <a:pt x="646242" y="463705"/>
                        <a:pt x="643890" y="476250"/>
                      </a:cubicBezTo>
                      <a:cubicBezTo>
                        <a:pt x="642410" y="484145"/>
                        <a:pt x="636270" y="499110"/>
                        <a:pt x="636270" y="499110"/>
                      </a:cubicBezTo>
                      <a:cubicBezTo>
                        <a:pt x="632460" y="497840"/>
                        <a:pt x="628351" y="497250"/>
                        <a:pt x="624840" y="495300"/>
                      </a:cubicBezTo>
                      <a:cubicBezTo>
                        <a:pt x="616834" y="490852"/>
                        <a:pt x="611013" y="481566"/>
                        <a:pt x="601980" y="480060"/>
                      </a:cubicBezTo>
                      <a:lnTo>
                        <a:pt x="579120" y="476250"/>
                      </a:lnTo>
                      <a:cubicBezTo>
                        <a:pt x="576580" y="481330"/>
                        <a:pt x="572614" y="485921"/>
                        <a:pt x="571500" y="491490"/>
                      </a:cubicBezTo>
                      <a:cubicBezTo>
                        <a:pt x="568749" y="505245"/>
                        <a:pt x="574340" y="521049"/>
                        <a:pt x="567690" y="533400"/>
                      </a:cubicBezTo>
                      <a:cubicBezTo>
                        <a:pt x="563391" y="541384"/>
                        <a:pt x="510617" y="544819"/>
                        <a:pt x="510540" y="544830"/>
                      </a:cubicBezTo>
                      <a:cubicBezTo>
                        <a:pt x="491692" y="547523"/>
                        <a:pt x="487614" y="549932"/>
                        <a:pt x="468630" y="556260"/>
                      </a:cubicBezTo>
                      <a:lnTo>
                        <a:pt x="457200" y="560070"/>
                      </a:lnTo>
                      <a:cubicBezTo>
                        <a:pt x="447872" y="563179"/>
                        <a:pt x="438769" y="565615"/>
                        <a:pt x="430530" y="571500"/>
                      </a:cubicBezTo>
                      <a:cubicBezTo>
                        <a:pt x="405558" y="589337"/>
                        <a:pt x="432189" y="578567"/>
                        <a:pt x="407670" y="586740"/>
                      </a:cubicBezTo>
                      <a:cubicBezTo>
                        <a:pt x="356003" y="581573"/>
                        <a:pt x="365784" y="580569"/>
                        <a:pt x="300990" y="586740"/>
                      </a:cubicBezTo>
                      <a:cubicBezTo>
                        <a:pt x="296992" y="587121"/>
                        <a:pt x="293152" y="588754"/>
                        <a:pt x="289560" y="590550"/>
                      </a:cubicBezTo>
                      <a:cubicBezTo>
                        <a:pt x="275371" y="597645"/>
                        <a:pt x="279339" y="599067"/>
                        <a:pt x="266700" y="609600"/>
                      </a:cubicBezTo>
                      <a:cubicBezTo>
                        <a:pt x="263182" y="612531"/>
                        <a:pt x="259080" y="614680"/>
                        <a:pt x="255270" y="617220"/>
                      </a:cubicBezTo>
                      <a:cubicBezTo>
                        <a:pt x="232410" y="615950"/>
                        <a:pt x="209104" y="618080"/>
                        <a:pt x="186690" y="613410"/>
                      </a:cubicBezTo>
                      <a:cubicBezTo>
                        <a:pt x="177724" y="611542"/>
                        <a:pt x="172917" y="599306"/>
                        <a:pt x="163830" y="598170"/>
                      </a:cubicBezTo>
                      <a:lnTo>
                        <a:pt x="133350" y="594360"/>
                      </a:lnTo>
                      <a:lnTo>
                        <a:pt x="121920" y="560070"/>
                      </a:lnTo>
                      <a:cubicBezTo>
                        <a:pt x="120650" y="556260"/>
                        <a:pt x="120950" y="551480"/>
                        <a:pt x="118110" y="548640"/>
                      </a:cubicBezTo>
                      <a:cubicBezTo>
                        <a:pt x="114300" y="544830"/>
                        <a:pt x="111390" y="539827"/>
                        <a:pt x="106680" y="537210"/>
                      </a:cubicBezTo>
                      <a:cubicBezTo>
                        <a:pt x="99659" y="533309"/>
                        <a:pt x="91440" y="532130"/>
                        <a:pt x="83820" y="529590"/>
                      </a:cubicBezTo>
                      <a:cubicBezTo>
                        <a:pt x="66247" y="523732"/>
                        <a:pt x="76328" y="526568"/>
                        <a:pt x="53340" y="521970"/>
                      </a:cubicBezTo>
                      <a:cubicBezTo>
                        <a:pt x="27777" y="504928"/>
                        <a:pt x="52822" y="525004"/>
                        <a:pt x="38100" y="502920"/>
                      </a:cubicBezTo>
                      <a:cubicBezTo>
                        <a:pt x="35111" y="498437"/>
                        <a:pt x="29978" y="495743"/>
                        <a:pt x="26670" y="491490"/>
                      </a:cubicBezTo>
                      <a:cubicBezTo>
                        <a:pt x="21047" y="484261"/>
                        <a:pt x="19050" y="473710"/>
                        <a:pt x="11430" y="468630"/>
                      </a:cubicBezTo>
                      <a:lnTo>
                        <a:pt x="0" y="461010"/>
                      </a:ln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1" name="Forma livre 752"/>
                <p:cNvSpPr/>
                <p:nvPr/>
              </p:nvSpPr>
              <p:spPr>
                <a:xfrm>
                  <a:off x="3078480" y="1657350"/>
                  <a:ext cx="1120140" cy="1066800"/>
                </a:xfrm>
                <a:custGeom>
                  <a:avLst/>
                  <a:gdLst>
                    <a:gd name="connsiteX0" fmla="*/ 194310 w 1120140"/>
                    <a:gd name="connsiteY0" fmla="*/ 1066800 h 1066800"/>
                    <a:gd name="connsiteX1" fmla="*/ 186690 w 1120140"/>
                    <a:gd name="connsiteY1" fmla="*/ 1047750 h 1066800"/>
                    <a:gd name="connsiteX2" fmla="*/ 179070 w 1120140"/>
                    <a:gd name="connsiteY2" fmla="*/ 1036320 h 1066800"/>
                    <a:gd name="connsiteX3" fmla="*/ 167640 w 1120140"/>
                    <a:gd name="connsiteY3" fmla="*/ 994410 h 1066800"/>
                    <a:gd name="connsiteX4" fmla="*/ 160020 w 1120140"/>
                    <a:gd name="connsiteY4" fmla="*/ 982980 h 1066800"/>
                    <a:gd name="connsiteX5" fmla="*/ 163830 w 1120140"/>
                    <a:gd name="connsiteY5" fmla="*/ 948690 h 1066800"/>
                    <a:gd name="connsiteX6" fmla="*/ 171450 w 1120140"/>
                    <a:gd name="connsiteY6" fmla="*/ 937260 h 1066800"/>
                    <a:gd name="connsiteX7" fmla="*/ 156210 w 1120140"/>
                    <a:gd name="connsiteY7" fmla="*/ 887730 h 1066800"/>
                    <a:gd name="connsiteX8" fmla="*/ 148590 w 1120140"/>
                    <a:gd name="connsiteY8" fmla="*/ 864870 h 1066800"/>
                    <a:gd name="connsiteX9" fmla="*/ 152400 w 1120140"/>
                    <a:gd name="connsiteY9" fmla="*/ 803910 h 1066800"/>
                    <a:gd name="connsiteX10" fmla="*/ 156210 w 1120140"/>
                    <a:gd name="connsiteY10" fmla="*/ 792480 h 1066800"/>
                    <a:gd name="connsiteX11" fmla="*/ 160020 w 1120140"/>
                    <a:gd name="connsiteY11" fmla="*/ 777240 h 1066800"/>
                    <a:gd name="connsiteX12" fmla="*/ 167640 w 1120140"/>
                    <a:gd name="connsiteY12" fmla="*/ 739140 h 1066800"/>
                    <a:gd name="connsiteX13" fmla="*/ 163830 w 1120140"/>
                    <a:gd name="connsiteY13" fmla="*/ 716280 h 1066800"/>
                    <a:gd name="connsiteX14" fmla="*/ 160020 w 1120140"/>
                    <a:gd name="connsiteY14" fmla="*/ 704850 h 1066800"/>
                    <a:gd name="connsiteX15" fmla="*/ 137160 w 1120140"/>
                    <a:gd name="connsiteY15" fmla="*/ 689610 h 1066800"/>
                    <a:gd name="connsiteX16" fmla="*/ 125730 w 1120140"/>
                    <a:gd name="connsiteY16" fmla="*/ 681990 h 1066800"/>
                    <a:gd name="connsiteX17" fmla="*/ 121920 w 1120140"/>
                    <a:gd name="connsiteY17" fmla="*/ 670560 h 1066800"/>
                    <a:gd name="connsiteX18" fmla="*/ 118110 w 1120140"/>
                    <a:gd name="connsiteY18" fmla="*/ 651510 h 1066800"/>
                    <a:gd name="connsiteX19" fmla="*/ 114300 w 1120140"/>
                    <a:gd name="connsiteY19" fmla="*/ 636270 h 1066800"/>
                    <a:gd name="connsiteX20" fmla="*/ 110490 w 1120140"/>
                    <a:gd name="connsiteY20" fmla="*/ 594360 h 1066800"/>
                    <a:gd name="connsiteX21" fmla="*/ 95250 w 1120140"/>
                    <a:gd name="connsiteY21" fmla="*/ 533400 h 1066800"/>
                    <a:gd name="connsiteX22" fmla="*/ 87630 w 1120140"/>
                    <a:gd name="connsiteY22" fmla="*/ 510540 h 1066800"/>
                    <a:gd name="connsiteX23" fmla="*/ 83820 w 1120140"/>
                    <a:gd name="connsiteY23" fmla="*/ 499110 h 1066800"/>
                    <a:gd name="connsiteX24" fmla="*/ 76200 w 1120140"/>
                    <a:gd name="connsiteY24" fmla="*/ 487680 h 1066800"/>
                    <a:gd name="connsiteX25" fmla="*/ 68580 w 1120140"/>
                    <a:gd name="connsiteY25" fmla="*/ 461010 h 1066800"/>
                    <a:gd name="connsiteX26" fmla="*/ 60960 w 1120140"/>
                    <a:gd name="connsiteY26" fmla="*/ 438150 h 1066800"/>
                    <a:gd name="connsiteX27" fmla="*/ 53340 w 1120140"/>
                    <a:gd name="connsiteY27" fmla="*/ 415290 h 1066800"/>
                    <a:gd name="connsiteX28" fmla="*/ 49530 w 1120140"/>
                    <a:gd name="connsiteY28" fmla="*/ 403860 h 1066800"/>
                    <a:gd name="connsiteX29" fmla="*/ 41910 w 1120140"/>
                    <a:gd name="connsiteY29" fmla="*/ 392430 h 1066800"/>
                    <a:gd name="connsiteX30" fmla="*/ 38100 w 1120140"/>
                    <a:gd name="connsiteY30" fmla="*/ 381000 h 1066800"/>
                    <a:gd name="connsiteX31" fmla="*/ 30480 w 1120140"/>
                    <a:gd name="connsiteY31" fmla="*/ 350520 h 1066800"/>
                    <a:gd name="connsiteX32" fmla="*/ 26670 w 1120140"/>
                    <a:gd name="connsiteY32" fmla="*/ 339090 h 1066800"/>
                    <a:gd name="connsiteX33" fmla="*/ 11430 w 1120140"/>
                    <a:gd name="connsiteY33" fmla="*/ 316230 h 1066800"/>
                    <a:gd name="connsiteX34" fmla="*/ 3810 w 1120140"/>
                    <a:gd name="connsiteY34" fmla="*/ 304800 h 1066800"/>
                    <a:gd name="connsiteX35" fmla="*/ 0 w 1120140"/>
                    <a:gd name="connsiteY35" fmla="*/ 293370 h 1066800"/>
                    <a:gd name="connsiteX36" fmla="*/ 3810 w 1120140"/>
                    <a:gd name="connsiteY36" fmla="*/ 259080 h 1066800"/>
                    <a:gd name="connsiteX37" fmla="*/ 11430 w 1120140"/>
                    <a:gd name="connsiteY37" fmla="*/ 247650 h 1066800"/>
                    <a:gd name="connsiteX38" fmla="*/ 34290 w 1120140"/>
                    <a:gd name="connsiteY38" fmla="*/ 224790 h 1066800"/>
                    <a:gd name="connsiteX39" fmla="*/ 45720 w 1120140"/>
                    <a:gd name="connsiteY39" fmla="*/ 213360 h 1066800"/>
                    <a:gd name="connsiteX40" fmla="*/ 57150 w 1120140"/>
                    <a:gd name="connsiteY40" fmla="*/ 201930 h 1066800"/>
                    <a:gd name="connsiteX41" fmla="*/ 76200 w 1120140"/>
                    <a:gd name="connsiteY41" fmla="*/ 179070 h 1066800"/>
                    <a:gd name="connsiteX42" fmla="*/ 87630 w 1120140"/>
                    <a:gd name="connsiteY42" fmla="*/ 175260 h 1066800"/>
                    <a:gd name="connsiteX43" fmla="*/ 121920 w 1120140"/>
                    <a:gd name="connsiteY43" fmla="*/ 160020 h 1066800"/>
                    <a:gd name="connsiteX44" fmla="*/ 186690 w 1120140"/>
                    <a:gd name="connsiteY44" fmla="*/ 156210 h 1066800"/>
                    <a:gd name="connsiteX45" fmla="*/ 198120 w 1120140"/>
                    <a:gd name="connsiteY45" fmla="*/ 152400 h 1066800"/>
                    <a:gd name="connsiteX46" fmla="*/ 232410 w 1120140"/>
                    <a:gd name="connsiteY46" fmla="*/ 144780 h 1066800"/>
                    <a:gd name="connsiteX47" fmla="*/ 243840 w 1120140"/>
                    <a:gd name="connsiteY47" fmla="*/ 133350 h 1066800"/>
                    <a:gd name="connsiteX48" fmla="*/ 255270 w 1120140"/>
                    <a:gd name="connsiteY48" fmla="*/ 129540 h 1066800"/>
                    <a:gd name="connsiteX49" fmla="*/ 320040 w 1120140"/>
                    <a:gd name="connsiteY49" fmla="*/ 125730 h 1066800"/>
                    <a:gd name="connsiteX50" fmla="*/ 335280 w 1120140"/>
                    <a:gd name="connsiteY50" fmla="*/ 121920 h 1066800"/>
                    <a:gd name="connsiteX51" fmla="*/ 358140 w 1120140"/>
                    <a:gd name="connsiteY51" fmla="*/ 106680 h 1066800"/>
                    <a:gd name="connsiteX52" fmla="*/ 369570 w 1120140"/>
                    <a:gd name="connsiteY52" fmla="*/ 99060 h 1066800"/>
                    <a:gd name="connsiteX53" fmla="*/ 407670 w 1120140"/>
                    <a:gd name="connsiteY53" fmla="*/ 91440 h 1066800"/>
                    <a:gd name="connsiteX54" fmla="*/ 422910 w 1120140"/>
                    <a:gd name="connsiteY54" fmla="*/ 87630 h 1066800"/>
                    <a:gd name="connsiteX55" fmla="*/ 449580 w 1120140"/>
                    <a:gd name="connsiteY55" fmla="*/ 68580 h 1066800"/>
                    <a:gd name="connsiteX56" fmla="*/ 472440 w 1120140"/>
                    <a:gd name="connsiteY56" fmla="*/ 57150 h 1066800"/>
                    <a:gd name="connsiteX57" fmla="*/ 537210 w 1120140"/>
                    <a:gd name="connsiteY57" fmla="*/ 53340 h 1066800"/>
                    <a:gd name="connsiteX58" fmla="*/ 548640 w 1120140"/>
                    <a:gd name="connsiteY58" fmla="*/ 30480 h 1066800"/>
                    <a:gd name="connsiteX59" fmla="*/ 563880 w 1120140"/>
                    <a:gd name="connsiteY59" fmla="*/ 26670 h 1066800"/>
                    <a:gd name="connsiteX60" fmla="*/ 628650 w 1120140"/>
                    <a:gd name="connsiteY60" fmla="*/ 15240 h 1066800"/>
                    <a:gd name="connsiteX61" fmla="*/ 659130 w 1120140"/>
                    <a:gd name="connsiteY61" fmla="*/ 7620 h 1066800"/>
                    <a:gd name="connsiteX62" fmla="*/ 681990 w 1120140"/>
                    <a:gd name="connsiteY62" fmla="*/ 0 h 1066800"/>
                    <a:gd name="connsiteX63" fmla="*/ 739140 w 1120140"/>
                    <a:gd name="connsiteY63" fmla="*/ 3810 h 1066800"/>
                    <a:gd name="connsiteX64" fmla="*/ 762000 w 1120140"/>
                    <a:gd name="connsiteY64" fmla="*/ 19050 h 1066800"/>
                    <a:gd name="connsiteX65" fmla="*/ 769620 w 1120140"/>
                    <a:gd name="connsiteY65" fmla="*/ 30480 h 1066800"/>
                    <a:gd name="connsiteX66" fmla="*/ 781050 w 1120140"/>
                    <a:gd name="connsiteY66" fmla="*/ 38100 h 1066800"/>
                    <a:gd name="connsiteX67" fmla="*/ 807720 w 1120140"/>
                    <a:gd name="connsiteY67" fmla="*/ 45720 h 1066800"/>
                    <a:gd name="connsiteX68" fmla="*/ 819150 w 1120140"/>
                    <a:gd name="connsiteY68" fmla="*/ 53340 h 1066800"/>
                    <a:gd name="connsiteX69" fmla="*/ 834390 w 1120140"/>
                    <a:gd name="connsiteY69" fmla="*/ 57150 h 1066800"/>
                    <a:gd name="connsiteX70" fmla="*/ 868680 w 1120140"/>
                    <a:gd name="connsiteY70" fmla="*/ 72390 h 1066800"/>
                    <a:gd name="connsiteX71" fmla="*/ 876300 w 1120140"/>
                    <a:gd name="connsiteY71" fmla="*/ 83820 h 1066800"/>
                    <a:gd name="connsiteX72" fmla="*/ 887730 w 1120140"/>
                    <a:gd name="connsiteY72" fmla="*/ 91440 h 1066800"/>
                    <a:gd name="connsiteX73" fmla="*/ 902970 w 1120140"/>
                    <a:gd name="connsiteY73" fmla="*/ 114300 h 1066800"/>
                    <a:gd name="connsiteX74" fmla="*/ 910590 w 1120140"/>
                    <a:gd name="connsiteY74" fmla="*/ 125730 h 1066800"/>
                    <a:gd name="connsiteX75" fmla="*/ 918210 w 1120140"/>
                    <a:gd name="connsiteY75" fmla="*/ 137160 h 1066800"/>
                    <a:gd name="connsiteX76" fmla="*/ 941070 w 1120140"/>
                    <a:gd name="connsiteY76" fmla="*/ 144780 h 1066800"/>
                    <a:gd name="connsiteX77" fmla="*/ 952500 w 1120140"/>
                    <a:gd name="connsiteY77" fmla="*/ 152400 h 1066800"/>
                    <a:gd name="connsiteX78" fmla="*/ 986790 w 1120140"/>
                    <a:gd name="connsiteY78" fmla="*/ 167640 h 1066800"/>
                    <a:gd name="connsiteX79" fmla="*/ 1002030 w 1120140"/>
                    <a:gd name="connsiteY79" fmla="*/ 190500 h 1066800"/>
                    <a:gd name="connsiteX80" fmla="*/ 1009650 w 1120140"/>
                    <a:gd name="connsiteY80" fmla="*/ 201930 h 1066800"/>
                    <a:gd name="connsiteX81" fmla="*/ 1021080 w 1120140"/>
                    <a:gd name="connsiteY81" fmla="*/ 217170 h 1066800"/>
                    <a:gd name="connsiteX82" fmla="*/ 1036320 w 1120140"/>
                    <a:gd name="connsiteY82" fmla="*/ 240030 h 1066800"/>
                    <a:gd name="connsiteX83" fmla="*/ 1043940 w 1120140"/>
                    <a:gd name="connsiteY83" fmla="*/ 251460 h 1066800"/>
                    <a:gd name="connsiteX84" fmla="*/ 1055370 w 1120140"/>
                    <a:gd name="connsiteY84" fmla="*/ 259080 h 1066800"/>
                    <a:gd name="connsiteX85" fmla="*/ 1070610 w 1120140"/>
                    <a:gd name="connsiteY85" fmla="*/ 278130 h 1066800"/>
                    <a:gd name="connsiteX86" fmla="*/ 1078230 w 1120140"/>
                    <a:gd name="connsiteY86" fmla="*/ 289560 h 1066800"/>
                    <a:gd name="connsiteX87" fmla="*/ 1101090 w 1120140"/>
                    <a:gd name="connsiteY87" fmla="*/ 308610 h 1066800"/>
                    <a:gd name="connsiteX88" fmla="*/ 1112520 w 1120140"/>
                    <a:gd name="connsiteY88" fmla="*/ 331470 h 1066800"/>
                    <a:gd name="connsiteX89" fmla="*/ 1116330 w 1120140"/>
                    <a:gd name="connsiteY89" fmla="*/ 350520 h 1066800"/>
                    <a:gd name="connsiteX90" fmla="*/ 1120140 w 1120140"/>
                    <a:gd name="connsiteY90" fmla="*/ 350520 h 1066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</a:cxnLst>
                  <a:rect l="l" t="t" r="r" b="b"/>
                  <a:pathLst>
                    <a:path w="1120140" h="1066800">
                      <a:moveTo>
                        <a:pt x="194310" y="1066800"/>
                      </a:moveTo>
                      <a:cubicBezTo>
                        <a:pt x="191770" y="1060450"/>
                        <a:pt x="189749" y="1053867"/>
                        <a:pt x="186690" y="1047750"/>
                      </a:cubicBezTo>
                      <a:cubicBezTo>
                        <a:pt x="184642" y="1043654"/>
                        <a:pt x="181118" y="1040416"/>
                        <a:pt x="179070" y="1036320"/>
                      </a:cubicBezTo>
                      <a:cubicBezTo>
                        <a:pt x="174183" y="1026546"/>
                        <a:pt x="170406" y="998560"/>
                        <a:pt x="167640" y="994410"/>
                      </a:cubicBezTo>
                      <a:lnTo>
                        <a:pt x="160020" y="982980"/>
                      </a:lnTo>
                      <a:cubicBezTo>
                        <a:pt x="161290" y="971550"/>
                        <a:pt x="161041" y="959847"/>
                        <a:pt x="163830" y="948690"/>
                      </a:cubicBezTo>
                      <a:cubicBezTo>
                        <a:pt x="164941" y="944248"/>
                        <a:pt x="171099" y="941826"/>
                        <a:pt x="171450" y="937260"/>
                      </a:cubicBezTo>
                      <a:cubicBezTo>
                        <a:pt x="174244" y="900939"/>
                        <a:pt x="173651" y="905171"/>
                        <a:pt x="156210" y="887730"/>
                      </a:cubicBezTo>
                      <a:cubicBezTo>
                        <a:pt x="153670" y="880110"/>
                        <a:pt x="148089" y="872887"/>
                        <a:pt x="148590" y="864870"/>
                      </a:cubicBezTo>
                      <a:cubicBezTo>
                        <a:pt x="149860" y="844550"/>
                        <a:pt x="150269" y="824158"/>
                        <a:pt x="152400" y="803910"/>
                      </a:cubicBezTo>
                      <a:cubicBezTo>
                        <a:pt x="152820" y="799916"/>
                        <a:pt x="155107" y="796342"/>
                        <a:pt x="156210" y="792480"/>
                      </a:cubicBezTo>
                      <a:cubicBezTo>
                        <a:pt x="157649" y="787445"/>
                        <a:pt x="158993" y="782375"/>
                        <a:pt x="160020" y="777240"/>
                      </a:cubicBezTo>
                      <a:cubicBezTo>
                        <a:pt x="169362" y="730532"/>
                        <a:pt x="158790" y="774539"/>
                        <a:pt x="167640" y="739140"/>
                      </a:cubicBezTo>
                      <a:cubicBezTo>
                        <a:pt x="166370" y="731520"/>
                        <a:pt x="165506" y="723821"/>
                        <a:pt x="163830" y="716280"/>
                      </a:cubicBezTo>
                      <a:cubicBezTo>
                        <a:pt x="162959" y="712360"/>
                        <a:pt x="162860" y="707690"/>
                        <a:pt x="160020" y="704850"/>
                      </a:cubicBezTo>
                      <a:cubicBezTo>
                        <a:pt x="153544" y="698374"/>
                        <a:pt x="144780" y="694690"/>
                        <a:pt x="137160" y="689610"/>
                      </a:cubicBezTo>
                      <a:lnTo>
                        <a:pt x="125730" y="681990"/>
                      </a:lnTo>
                      <a:cubicBezTo>
                        <a:pt x="124460" y="678180"/>
                        <a:pt x="122894" y="674456"/>
                        <a:pt x="121920" y="670560"/>
                      </a:cubicBezTo>
                      <a:cubicBezTo>
                        <a:pt x="120349" y="664278"/>
                        <a:pt x="119515" y="657832"/>
                        <a:pt x="118110" y="651510"/>
                      </a:cubicBezTo>
                      <a:cubicBezTo>
                        <a:pt x="116974" y="646398"/>
                        <a:pt x="115570" y="641350"/>
                        <a:pt x="114300" y="636270"/>
                      </a:cubicBezTo>
                      <a:cubicBezTo>
                        <a:pt x="113030" y="622300"/>
                        <a:pt x="112474" y="608247"/>
                        <a:pt x="110490" y="594360"/>
                      </a:cubicBezTo>
                      <a:cubicBezTo>
                        <a:pt x="105892" y="562177"/>
                        <a:pt x="104114" y="559993"/>
                        <a:pt x="95250" y="533400"/>
                      </a:cubicBezTo>
                      <a:lnTo>
                        <a:pt x="87630" y="510540"/>
                      </a:lnTo>
                      <a:cubicBezTo>
                        <a:pt x="86360" y="506730"/>
                        <a:pt x="86048" y="502452"/>
                        <a:pt x="83820" y="499110"/>
                      </a:cubicBezTo>
                      <a:cubicBezTo>
                        <a:pt x="81280" y="495300"/>
                        <a:pt x="78248" y="491776"/>
                        <a:pt x="76200" y="487680"/>
                      </a:cubicBezTo>
                      <a:cubicBezTo>
                        <a:pt x="72999" y="481278"/>
                        <a:pt x="70411" y="467114"/>
                        <a:pt x="68580" y="461010"/>
                      </a:cubicBezTo>
                      <a:cubicBezTo>
                        <a:pt x="66272" y="453317"/>
                        <a:pt x="63500" y="445770"/>
                        <a:pt x="60960" y="438150"/>
                      </a:cubicBezTo>
                      <a:lnTo>
                        <a:pt x="53340" y="415290"/>
                      </a:lnTo>
                      <a:cubicBezTo>
                        <a:pt x="52070" y="411480"/>
                        <a:pt x="51758" y="407202"/>
                        <a:pt x="49530" y="403860"/>
                      </a:cubicBezTo>
                      <a:cubicBezTo>
                        <a:pt x="46990" y="400050"/>
                        <a:pt x="43958" y="396526"/>
                        <a:pt x="41910" y="392430"/>
                      </a:cubicBezTo>
                      <a:cubicBezTo>
                        <a:pt x="40114" y="388838"/>
                        <a:pt x="39157" y="384875"/>
                        <a:pt x="38100" y="381000"/>
                      </a:cubicBezTo>
                      <a:cubicBezTo>
                        <a:pt x="35344" y="370896"/>
                        <a:pt x="33792" y="360455"/>
                        <a:pt x="30480" y="350520"/>
                      </a:cubicBezTo>
                      <a:cubicBezTo>
                        <a:pt x="29210" y="346710"/>
                        <a:pt x="28620" y="342601"/>
                        <a:pt x="26670" y="339090"/>
                      </a:cubicBezTo>
                      <a:cubicBezTo>
                        <a:pt x="22222" y="331084"/>
                        <a:pt x="16510" y="323850"/>
                        <a:pt x="11430" y="316230"/>
                      </a:cubicBezTo>
                      <a:cubicBezTo>
                        <a:pt x="8890" y="312420"/>
                        <a:pt x="5258" y="309144"/>
                        <a:pt x="3810" y="304800"/>
                      </a:cubicBezTo>
                      <a:lnTo>
                        <a:pt x="0" y="293370"/>
                      </a:lnTo>
                      <a:cubicBezTo>
                        <a:pt x="1270" y="281940"/>
                        <a:pt x="1021" y="270237"/>
                        <a:pt x="3810" y="259080"/>
                      </a:cubicBezTo>
                      <a:cubicBezTo>
                        <a:pt x="4921" y="254638"/>
                        <a:pt x="8388" y="251072"/>
                        <a:pt x="11430" y="247650"/>
                      </a:cubicBezTo>
                      <a:cubicBezTo>
                        <a:pt x="18589" y="239596"/>
                        <a:pt x="26670" y="232410"/>
                        <a:pt x="34290" y="224790"/>
                      </a:cubicBezTo>
                      <a:lnTo>
                        <a:pt x="45720" y="213360"/>
                      </a:lnTo>
                      <a:cubicBezTo>
                        <a:pt x="49530" y="209550"/>
                        <a:pt x="54161" y="206413"/>
                        <a:pt x="57150" y="201930"/>
                      </a:cubicBezTo>
                      <a:cubicBezTo>
                        <a:pt x="62773" y="193496"/>
                        <a:pt x="67399" y="184937"/>
                        <a:pt x="76200" y="179070"/>
                      </a:cubicBezTo>
                      <a:cubicBezTo>
                        <a:pt x="79542" y="176842"/>
                        <a:pt x="84038" y="177056"/>
                        <a:pt x="87630" y="175260"/>
                      </a:cubicBezTo>
                      <a:cubicBezTo>
                        <a:pt x="102936" y="167607"/>
                        <a:pt x="99640" y="161331"/>
                        <a:pt x="121920" y="160020"/>
                      </a:cubicBezTo>
                      <a:lnTo>
                        <a:pt x="186690" y="156210"/>
                      </a:lnTo>
                      <a:cubicBezTo>
                        <a:pt x="190500" y="154940"/>
                        <a:pt x="194258" y="153503"/>
                        <a:pt x="198120" y="152400"/>
                      </a:cubicBezTo>
                      <a:cubicBezTo>
                        <a:pt x="210675" y="148813"/>
                        <a:pt x="219316" y="147399"/>
                        <a:pt x="232410" y="144780"/>
                      </a:cubicBezTo>
                      <a:cubicBezTo>
                        <a:pt x="236220" y="140970"/>
                        <a:pt x="239357" y="136339"/>
                        <a:pt x="243840" y="133350"/>
                      </a:cubicBezTo>
                      <a:cubicBezTo>
                        <a:pt x="247182" y="131122"/>
                        <a:pt x="251274" y="129940"/>
                        <a:pt x="255270" y="129540"/>
                      </a:cubicBezTo>
                      <a:cubicBezTo>
                        <a:pt x="276790" y="127388"/>
                        <a:pt x="298450" y="127000"/>
                        <a:pt x="320040" y="125730"/>
                      </a:cubicBezTo>
                      <a:cubicBezTo>
                        <a:pt x="325120" y="124460"/>
                        <a:pt x="330596" y="124262"/>
                        <a:pt x="335280" y="121920"/>
                      </a:cubicBezTo>
                      <a:cubicBezTo>
                        <a:pt x="343471" y="117824"/>
                        <a:pt x="350520" y="111760"/>
                        <a:pt x="358140" y="106680"/>
                      </a:cubicBezTo>
                      <a:cubicBezTo>
                        <a:pt x="361950" y="104140"/>
                        <a:pt x="365226" y="100508"/>
                        <a:pt x="369570" y="99060"/>
                      </a:cubicBezTo>
                      <a:cubicBezTo>
                        <a:pt x="393044" y="91235"/>
                        <a:pt x="369144" y="98445"/>
                        <a:pt x="407670" y="91440"/>
                      </a:cubicBezTo>
                      <a:cubicBezTo>
                        <a:pt x="412822" y="90503"/>
                        <a:pt x="417830" y="88900"/>
                        <a:pt x="422910" y="87630"/>
                      </a:cubicBezTo>
                      <a:cubicBezTo>
                        <a:pt x="441528" y="69012"/>
                        <a:pt x="426177" y="81953"/>
                        <a:pt x="449580" y="68580"/>
                      </a:cubicBezTo>
                      <a:cubicBezTo>
                        <a:pt x="458434" y="63521"/>
                        <a:pt x="461856" y="58208"/>
                        <a:pt x="472440" y="57150"/>
                      </a:cubicBezTo>
                      <a:cubicBezTo>
                        <a:pt x="493960" y="54998"/>
                        <a:pt x="515620" y="54610"/>
                        <a:pt x="537210" y="53340"/>
                      </a:cubicBezTo>
                      <a:cubicBezTo>
                        <a:pt x="539383" y="46820"/>
                        <a:pt x="542309" y="34700"/>
                        <a:pt x="548640" y="30480"/>
                      </a:cubicBezTo>
                      <a:cubicBezTo>
                        <a:pt x="552997" y="27575"/>
                        <a:pt x="558760" y="27767"/>
                        <a:pt x="563880" y="26670"/>
                      </a:cubicBezTo>
                      <a:cubicBezTo>
                        <a:pt x="601405" y="18629"/>
                        <a:pt x="595663" y="19952"/>
                        <a:pt x="628650" y="15240"/>
                      </a:cubicBezTo>
                      <a:cubicBezTo>
                        <a:pt x="663331" y="3680"/>
                        <a:pt x="608556" y="21413"/>
                        <a:pt x="659130" y="7620"/>
                      </a:cubicBezTo>
                      <a:cubicBezTo>
                        <a:pt x="666879" y="5507"/>
                        <a:pt x="681990" y="0"/>
                        <a:pt x="681990" y="0"/>
                      </a:cubicBezTo>
                      <a:cubicBezTo>
                        <a:pt x="701040" y="1270"/>
                        <a:pt x="720567" y="-612"/>
                        <a:pt x="739140" y="3810"/>
                      </a:cubicBezTo>
                      <a:cubicBezTo>
                        <a:pt x="748049" y="5931"/>
                        <a:pt x="762000" y="19050"/>
                        <a:pt x="762000" y="19050"/>
                      </a:cubicBezTo>
                      <a:cubicBezTo>
                        <a:pt x="764540" y="22860"/>
                        <a:pt x="766382" y="27242"/>
                        <a:pt x="769620" y="30480"/>
                      </a:cubicBezTo>
                      <a:cubicBezTo>
                        <a:pt x="772858" y="33718"/>
                        <a:pt x="776841" y="36296"/>
                        <a:pt x="781050" y="38100"/>
                      </a:cubicBezTo>
                      <a:cubicBezTo>
                        <a:pt x="798140" y="45424"/>
                        <a:pt x="792892" y="38306"/>
                        <a:pt x="807720" y="45720"/>
                      </a:cubicBezTo>
                      <a:cubicBezTo>
                        <a:pt x="811816" y="47768"/>
                        <a:pt x="814941" y="51536"/>
                        <a:pt x="819150" y="53340"/>
                      </a:cubicBezTo>
                      <a:cubicBezTo>
                        <a:pt x="823963" y="55403"/>
                        <a:pt x="829374" y="55645"/>
                        <a:pt x="834390" y="57150"/>
                      </a:cubicBezTo>
                      <a:cubicBezTo>
                        <a:pt x="859121" y="64569"/>
                        <a:pt x="851977" y="61254"/>
                        <a:pt x="868680" y="72390"/>
                      </a:cubicBezTo>
                      <a:cubicBezTo>
                        <a:pt x="871220" y="76200"/>
                        <a:pt x="873062" y="80582"/>
                        <a:pt x="876300" y="83820"/>
                      </a:cubicBezTo>
                      <a:cubicBezTo>
                        <a:pt x="879538" y="87058"/>
                        <a:pt x="884715" y="87994"/>
                        <a:pt x="887730" y="91440"/>
                      </a:cubicBezTo>
                      <a:cubicBezTo>
                        <a:pt x="893761" y="98332"/>
                        <a:pt x="897890" y="106680"/>
                        <a:pt x="902970" y="114300"/>
                      </a:cubicBezTo>
                      <a:lnTo>
                        <a:pt x="910590" y="125730"/>
                      </a:lnTo>
                      <a:cubicBezTo>
                        <a:pt x="913130" y="129540"/>
                        <a:pt x="913866" y="135712"/>
                        <a:pt x="918210" y="137160"/>
                      </a:cubicBezTo>
                      <a:cubicBezTo>
                        <a:pt x="925830" y="139700"/>
                        <a:pt x="934387" y="140325"/>
                        <a:pt x="941070" y="144780"/>
                      </a:cubicBezTo>
                      <a:cubicBezTo>
                        <a:pt x="944880" y="147320"/>
                        <a:pt x="948316" y="150540"/>
                        <a:pt x="952500" y="152400"/>
                      </a:cubicBezTo>
                      <a:cubicBezTo>
                        <a:pt x="993306" y="170536"/>
                        <a:pt x="960922" y="150395"/>
                        <a:pt x="986790" y="167640"/>
                      </a:cubicBezTo>
                      <a:lnTo>
                        <a:pt x="1002030" y="190500"/>
                      </a:lnTo>
                      <a:cubicBezTo>
                        <a:pt x="1004570" y="194310"/>
                        <a:pt x="1006903" y="198267"/>
                        <a:pt x="1009650" y="201930"/>
                      </a:cubicBezTo>
                      <a:cubicBezTo>
                        <a:pt x="1013460" y="207010"/>
                        <a:pt x="1017439" y="211968"/>
                        <a:pt x="1021080" y="217170"/>
                      </a:cubicBezTo>
                      <a:cubicBezTo>
                        <a:pt x="1026332" y="224673"/>
                        <a:pt x="1031240" y="232410"/>
                        <a:pt x="1036320" y="240030"/>
                      </a:cubicBezTo>
                      <a:cubicBezTo>
                        <a:pt x="1038860" y="243840"/>
                        <a:pt x="1040130" y="248920"/>
                        <a:pt x="1043940" y="251460"/>
                      </a:cubicBezTo>
                      <a:lnTo>
                        <a:pt x="1055370" y="259080"/>
                      </a:lnTo>
                      <a:cubicBezTo>
                        <a:pt x="1062787" y="281332"/>
                        <a:pt x="1053376" y="260896"/>
                        <a:pt x="1070610" y="278130"/>
                      </a:cubicBezTo>
                      <a:cubicBezTo>
                        <a:pt x="1073848" y="281368"/>
                        <a:pt x="1074992" y="286322"/>
                        <a:pt x="1078230" y="289560"/>
                      </a:cubicBezTo>
                      <a:cubicBezTo>
                        <a:pt x="1108200" y="319530"/>
                        <a:pt x="1069882" y="271160"/>
                        <a:pt x="1101090" y="308610"/>
                      </a:cubicBezTo>
                      <a:cubicBezTo>
                        <a:pt x="1107742" y="316592"/>
                        <a:pt x="1110065" y="321651"/>
                        <a:pt x="1112520" y="331470"/>
                      </a:cubicBezTo>
                      <a:cubicBezTo>
                        <a:pt x="1114091" y="337752"/>
                        <a:pt x="1113925" y="344507"/>
                        <a:pt x="1116330" y="350520"/>
                      </a:cubicBezTo>
                      <a:cubicBezTo>
                        <a:pt x="1116802" y="351699"/>
                        <a:pt x="1118870" y="350520"/>
                        <a:pt x="1120140" y="35052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2" name="Forma livre 753"/>
                <p:cNvSpPr/>
                <p:nvPr/>
              </p:nvSpPr>
              <p:spPr>
                <a:xfrm>
                  <a:off x="4068640" y="2007870"/>
                  <a:ext cx="175700" cy="458608"/>
                </a:xfrm>
                <a:custGeom>
                  <a:avLst/>
                  <a:gdLst>
                    <a:gd name="connsiteX0" fmla="*/ 129980 w 175700"/>
                    <a:gd name="connsiteY0" fmla="*/ 0 h 458608"/>
                    <a:gd name="connsiteX1" fmla="*/ 149030 w 175700"/>
                    <a:gd name="connsiteY1" fmla="*/ 15240 h 458608"/>
                    <a:gd name="connsiteX2" fmla="*/ 168080 w 175700"/>
                    <a:gd name="connsiteY2" fmla="*/ 19050 h 458608"/>
                    <a:gd name="connsiteX3" fmla="*/ 175700 w 175700"/>
                    <a:gd name="connsiteY3" fmla="*/ 41910 h 458608"/>
                    <a:gd name="connsiteX4" fmla="*/ 168080 w 175700"/>
                    <a:gd name="connsiteY4" fmla="*/ 68580 h 458608"/>
                    <a:gd name="connsiteX5" fmla="*/ 164270 w 175700"/>
                    <a:gd name="connsiteY5" fmla="*/ 80010 h 458608"/>
                    <a:gd name="connsiteX6" fmla="*/ 152840 w 175700"/>
                    <a:gd name="connsiteY6" fmla="*/ 91440 h 458608"/>
                    <a:gd name="connsiteX7" fmla="*/ 149030 w 175700"/>
                    <a:gd name="connsiteY7" fmla="*/ 102870 h 458608"/>
                    <a:gd name="connsiteX8" fmla="*/ 145220 w 175700"/>
                    <a:gd name="connsiteY8" fmla="*/ 125730 h 458608"/>
                    <a:gd name="connsiteX9" fmla="*/ 133790 w 175700"/>
                    <a:gd name="connsiteY9" fmla="*/ 137160 h 458608"/>
                    <a:gd name="connsiteX10" fmla="*/ 133790 w 175700"/>
                    <a:gd name="connsiteY10" fmla="*/ 163830 h 458608"/>
                    <a:gd name="connsiteX11" fmla="*/ 126170 w 175700"/>
                    <a:gd name="connsiteY11" fmla="*/ 190500 h 458608"/>
                    <a:gd name="connsiteX12" fmla="*/ 114740 w 175700"/>
                    <a:gd name="connsiteY12" fmla="*/ 228600 h 458608"/>
                    <a:gd name="connsiteX13" fmla="*/ 103310 w 175700"/>
                    <a:gd name="connsiteY13" fmla="*/ 236220 h 458608"/>
                    <a:gd name="connsiteX14" fmla="*/ 88070 w 175700"/>
                    <a:gd name="connsiteY14" fmla="*/ 255270 h 458608"/>
                    <a:gd name="connsiteX15" fmla="*/ 57590 w 175700"/>
                    <a:gd name="connsiteY15" fmla="*/ 281940 h 458608"/>
                    <a:gd name="connsiteX16" fmla="*/ 34730 w 175700"/>
                    <a:gd name="connsiteY16" fmla="*/ 289560 h 458608"/>
                    <a:gd name="connsiteX17" fmla="*/ 27110 w 175700"/>
                    <a:gd name="connsiteY17" fmla="*/ 300990 h 458608"/>
                    <a:gd name="connsiteX18" fmla="*/ 23300 w 175700"/>
                    <a:gd name="connsiteY18" fmla="*/ 323850 h 458608"/>
                    <a:gd name="connsiteX19" fmla="*/ 11870 w 175700"/>
                    <a:gd name="connsiteY19" fmla="*/ 335280 h 458608"/>
                    <a:gd name="connsiteX20" fmla="*/ 8060 w 175700"/>
                    <a:gd name="connsiteY20" fmla="*/ 346710 h 458608"/>
                    <a:gd name="connsiteX21" fmla="*/ 15680 w 175700"/>
                    <a:gd name="connsiteY21" fmla="*/ 373380 h 458608"/>
                    <a:gd name="connsiteX22" fmla="*/ 11870 w 175700"/>
                    <a:gd name="connsiteY22" fmla="*/ 434340 h 458608"/>
                    <a:gd name="connsiteX23" fmla="*/ 440 w 175700"/>
                    <a:gd name="connsiteY23" fmla="*/ 457200 h 458608"/>
                    <a:gd name="connsiteX24" fmla="*/ 11870 w 175700"/>
                    <a:gd name="connsiteY24" fmla="*/ 457200 h 4586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175700" h="458608">
                      <a:moveTo>
                        <a:pt x="129980" y="0"/>
                      </a:moveTo>
                      <a:cubicBezTo>
                        <a:pt x="136330" y="5080"/>
                        <a:pt x="141757" y="11603"/>
                        <a:pt x="149030" y="15240"/>
                      </a:cubicBezTo>
                      <a:cubicBezTo>
                        <a:pt x="154822" y="18136"/>
                        <a:pt x="163501" y="14471"/>
                        <a:pt x="168080" y="19050"/>
                      </a:cubicBezTo>
                      <a:cubicBezTo>
                        <a:pt x="173760" y="24730"/>
                        <a:pt x="175700" y="41910"/>
                        <a:pt x="175700" y="41910"/>
                      </a:cubicBezTo>
                      <a:cubicBezTo>
                        <a:pt x="166565" y="69315"/>
                        <a:pt x="177648" y="35092"/>
                        <a:pt x="168080" y="68580"/>
                      </a:cubicBezTo>
                      <a:cubicBezTo>
                        <a:pt x="166977" y="72442"/>
                        <a:pt x="166498" y="76668"/>
                        <a:pt x="164270" y="80010"/>
                      </a:cubicBezTo>
                      <a:cubicBezTo>
                        <a:pt x="161281" y="84493"/>
                        <a:pt x="156650" y="87630"/>
                        <a:pt x="152840" y="91440"/>
                      </a:cubicBezTo>
                      <a:cubicBezTo>
                        <a:pt x="151570" y="95250"/>
                        <a:pt x="149901" y="98950"/>
                        <a:pt x="149030" y="102870"/>
                      </a:cubicBezTo>
                      <a:cubicBezTo>
                        <a:pt x="147354" y="110411"/>
                        <a:pt x="148357" y="118671"/>
                        <a:pt x="145220" y="125730"/>
                      </a:cubicBezTo>
                      <a:cubicBezTo>
                        <a:pt x="143032" y="130654"/>
                        <a:pt x="137600" y="133350"/>
                        <a:pt x="133790" y="137160"/>
                      </a:cubicBezTo>
                      <a:cubicBezTo>
                        <a:pt x="121879" y="184803"/>
                        <a:pt x="133790" y="125569"/>
                        <a:pt x="133790" y="163830"/>
                      </a:cubicBezTo>
                      <a:cubicBezTo>
                        <a:pt x="133790" y="168614"/>
                        <a:pt x="127967" y="185110"/>
                        <a:pt x="126170" y="190500"/>
                      </a:cubicBezTo>
                      <a:cubicBezTo>
                        <a:pt x="123772" y="207287"/>
                        <a:pt x="126291" y="217049"/>
                        <a:pt x="114740" y="228600"/>
                      </a:cubicBezTo>
                      <a:cubicBezTo>
                        <a:pt x="111502" y="231838"/>
                        <a:pt x="107120" y="233680"/>
                        <a:pt x="103310" y="236220"/>
                      </a:cubicBezTo>
                      <a:cubicBezTo>
                        <a:pt x="95893" y="258472"/>
                        <a:pt x="105304" y="238036"/>
                        <a:pt x="88070" y="255270"/>
                      </a:cubicBezTo>
                      <a:cubicBezTo>
                        <a:pt x="72513" y="270827"/>
                        <a:pt x="89975" y="271145"/>
                        <a:pt x="57590" y="281940"/>
                      </a:cubicBezTo>
                      <a:lnTo>
                        <a:pt x="34730" y="289560"/>
                      </a:lnTo>
                      <a:cubicBezTo>
                        <a:pt x="32190" y="293370"/>
                        <a:pt x="28558" y="296646"/>
                        <a:pt x="27110" y="300990"/>
                      </a:cubicBezTo>
                      <a:cubicBezTo>
                        <a:pt x="24667" y="308319"/>
                        <a:pt x="26437" y="316791"/>
                        <a:pt x="23300" y="323850"/>
                      </a:cubicBezTo>
                      <a:cubicBezTo>
                        <a:pt x="21112" y="328774"/>
                        <a:pt x="15680" y="331470"/>
                        <a:pt x="11870" y="335280"/>
                      </a:cubicBezTo>
                      <a:cubicBezTo>
                        <a:pt x="10600" y="339090"/>
                        <a:pt x="8060" y="342694"/>
                        <a:pt x="8060" y="346710"/>
                      </a:cubicBezTo>
                      <a:cubicBezTo>
                        <a:pt x="8060" y="351494"/>
                        <a:pt x="13883" y="367990"/>
                        <a:pt x="15680" y="373380"/>
                      </a:cubicBezTo>
                      <a:cubicBezTo>
                        <a:pt x="14410" y="393700"/>
                        <a:pt x="15045" y="414229"/>
                        <a:pt x="11870" y="434340"/>
                      </a:cubicBezTo>
                      <a:cubicBezTo>
                        <a:pt x="11543" y="436414"/>
                        <a:pt x="-2652" y="452562"/>
                        <a:pt x="440" y="457200"/>
                      </a:cubicBezTo>
                      <a:cubicBezTo>
                        <a:pt x="2553" y="460370"/>
                        <a:pt x="8060" y="457200"/>
                        <a:pt x="11870" y="45720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3" name="Forma livre 754"/>
                <p:cNvSpPr/>
                <p:nvPr/>
              </p:nvSpPr>
              <p:spPr>
                <a:xfrm>
                  <a:off x="4983021" y="1569720"/>
                  <a:ext cx="57609" cy="160020"/>
                </a:xfrm>
                <a:custGeom>
                  <a:avLst/>
                  <a:gdLst>
                    <a:gd name="connsiteX0" fmla="*/ 57609 w 57609"/>
                    <a:gd name="connsiteY0" fmla="*/ 0 h 160020"/>
                    <a:gd name="connsiteX1" fmla="*/ 30939 w 57609"/>
                    <a:gd name="connsiteY1" fmla="*/ 26670 h 160020"/>
                    <a:gd name="connsiteX2" fmla="*/ 27129 w 57609"/>
                    <a:gd name="connsiteY2" fmla="*/ 38100 h 160020"/>
                    <a:gd name="connsiteX3" fmla="*/ 30939 w 57609"/>
                    <a:gd name="connsiteY3" fmla="*/ 53340 h 160020"/>
                    <a:gd name="connsiteX4" fmla="*/ 42369 w 57609"/>
                    <a:gd name="connsiteY4" fmla="*/ 60960 h 160020"/>
                    <a:gd name="connsiteX5" fmla="*/ 38559 w 57609"/>
                    <a:gd name="connsiteY5" fmla="*/ 83820 h 160020"/>
                    <a:gd name="connsiteX6" fmla="*/ 11889 w 57609"/>
                    <a:gd name="connsiteY6" fmla="*/ 114300 h 160020"/>
                    <a:gd name="connsiteX7" fmla="*/ 4269 w 57609"/>
                    <a:gd name="connsiteY7" fmla="*/ 125730 h 160020"/>
                    <a:gd name="connsiteX8" fmla="*/ 459 w 57609"/>
                    <a:gd name="connsiteY8" fmla="*/ 160020 h 160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7609" h="160020">
                      <a:moveTo>
                        <a:pt x="57609" y="0"/>
                      </a:moveTo>
                      <a:cubicBezTo>
                        <a:pt x="43960" y="10919"/>
                        <a:pt x="38015" y="12517"/>
                        <a:pt x="30939" y="26670"/>
                      </a:cubicBezTo>
                      <a:cubicBezTo>
                        <a:pt x="29143" y="30262"/>
                        <a:pt x="28399" y="34290"/>
                        <a:pt x="27129" y="38100"/>
                      </a:cubicBezTo>
                      <a:cubicBezTo>
                        <a:pt x="28399" y="43180"/>
                        <a:pt x="28034" y="48983"/>
                        <a:pt x="30939" y="53340"/>
                      </a:cubicBezTo>
                      <a:cubicBezTo>
                        <a:pt x="33479" y="57150"/>
                        <a:pt x="41258" y="56518"/>
                        <a:pt x="42369" y="60960"/>
                      </a:cubicBezTo>
                      <a:cubicBezTo>
                        <a:pt x="44243" y="68454"/>
                        <a:pt x="41530" y="76689"/>
                        <a:pt x="38559" y="83820"/>
                      </a:cubicBezTo>
                      <a:cubicBezTo>
                        <a:pt x="30011" y="104335"/>
                        <a:pt x="26323" y="104677"/>
                        <a:pt x="11889" y="114300"/>
                      </a:cubicBezTo>
                      <a:cubicBezTo>
                        <a:pt x="9349" y="118110"/>
                        <a:pt x="6317" y="121634"/>
                        <a:pt x="4269" y="125730"/>
                      </a:cubicBezTo>
                      <a:cubicBezTo>
                        <a:pt x="-1951" y="138169"/>
                        <a:pt x="459" y="144945"/>
                        <a:pt x="459" y="16002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4" name="Forma livre 755"/>
                <p:cNvSpPr/>
                <p:nvPr/>
              </p:nvSpPr>
              <p:spPr>
                <a:xfrm>
                  <a:off x="5928360" y="1754972"/>
                  <a:ext cx="106694" cy="142408"/>
                </a:xfrm>
                <a:custGeom>
                  <a:avLst/>
                  <a:gdLst>
                    <a:gd name="connsiteX0" fmla="*/ 0 w 106694"/>
                    <a:gd name="connsiteY0" fmla="*/ 1438 h 142408"/>
                    <a:gd name="connsiteX1" fmla="*/ 45720 w 106694"/>
                    <a:gd name="connsiteY1" fmla="*/ 5248 h 142408"/>
                    <a:gd name="connsiteX2" fmla="*/ 49530 w 106694"/>
                    <a:gd name="connsiteY2" fmla="*/ 43348 h 142408"/>
                    <a:gd name="connsiteX3" fmla="*/ 57150 w 106694"/>
                    <a:gd name="connsiteY3" fmla="*/ 66208 h 142408"/>
                    <a:gd name="connsiteX4" fmla="*/ 60960 w 106694"/>
                    <a:gd name="connsiteY4" fmla="*/ 92878 h 142408"/>
                    <a:gd name="connsiteX5" fmla="*/ 64770 w 106694"/>
                    <a:gd name="connsiteY5" fmla="*/ 104308 h 142408"/>
                    <a:gd name="connsiteX6" fmla="*/ 76200 w 106694"/>
                    <a:gd name="connsiteY6" fmla="*/ 111928 h 142408"/>
                    <a:gd name="connsiteX7" fmla="*/ 87630 w 106694"/>
                    <a:gd name="connsiteY7" fmla="*/ 115738 h 142408"/>
                    <a:gd name="connsiteX8" fmla="*/ 95250 w 106694"/>
                    <a:gd name="connsiteY8" fmla="*/ 127168 h 142408"/>
                    <a:gd name="connsiteX9" fmla="*/ 106680 w 106694"/>
                    <a:gd name="connsiteY9" fmla="*/ 142408 h 1424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06694" h="142408">
                      <a:moveTo>
                        <a:pt x="0" y="1438"/>
                      </a:moveTo>
                      <a:cubicBezTo>
                        <a:pt x="15240" y="2708"/>
                        <a:pt x="34046" y="-4630"/>
                        <a:pt x="45720" y="5248"/>
                      </a:cubicBezTo>
                      <a:cubicBezTo>
                        <a:pt x="55463" y="13492"/>
                        <a:pt x="47178" y="30803"/>
                        <a:pt x="49530" y="43348"/>
                      </a:cubicBezTo>
                      <a:cubicBezTo>
                        <a:pt x="51010" y="51243"/>
                        <a:pt x="57150" y="66208"/>
                        <a:pt x="57150" y="66208"/>
                      </a:cubicBezTo>
                      <a:cubicBezTo>
                        <a:pt x="58420" y="75098"/>
                        <a:pt x="59199" y="84072"/>
                        <a:pt x="60960" y="92878"/>
                      </a:cubicBezTo>
                      <a:cubicBezTo>
                        <a:pt x="61748" y="96816"/>
                        <a:pt x="62261" y="101172"/>
                        <a:pt x="64770" y="104308"/>
                      </a:cubicBezTo>
                      <a:cubicBezTo>
                        <a:pt x="67631" y="107884"/>
                        <a:pt x="72104" y="109880"/>
                        <a:pt x="76200" y="111928"/>
                      </a:cubicBezTo>
                      <a:cubicBezTo>
                        <a:pt x="79792" y="113724"/>
                        <a:pt x="83820" y="114468"/>
                        <a:pt x="87630" y="115738"/>
                      </a:cubicBezTo>
                      <a:cubicBezTo>
                        <a:pt x="90170" y="119548"/>
                        <a:pt x="92319" y="123650"/>
                        <a:pt x="95250" y="127168"/>
                      </a:cubicBezTo>
                      <a:cubicBezTo>
                        <a:pt x="107578" y="141962"/>
                        <a:pt x="106680" y="132629"/>
                        <a:pt x="106680" y="142408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5" name="Forma livre 756"/>
                <p:cNvSpPr/>
                <p:nvPr/>
              </p:nvSpPr>
              <p:spPr>
                <a:xfrm>
                  <a:off x="5924550" y="2087880"/>
                  <a:ext cx="655320" cy="1093470"/>
                </a:xfrm>
                <a:custGeom>
                  <a:avLst/>
                  <a:gdLst>
                    <a:gd name="connsiteX0" fmla="*/ 594360 w 655320"/>
                    <a:gd name="connsiteY0" fmla="*/ 0 h 1093470"/>
                    <a:gd name="connsiteX1" fmla="*/ 590550 w 655320"/>
                    <a:gd name="connsiteY1" fmla="*/ 26670 h 1093470"/>
                    <a:gd name="connsiteX2" fmla="*/ 590550 w 655320"/>
                    <a:gd name="connsiteY2" fmla="*/ 49530 h 1093470"/>
                    <a:gd name="connsiteX3" fmla="*/ 601980 w 655320"/>
                    <a:gd name="connsiteY3" fmla="*/ 57150 h 1093470"/>
                    <a:gd name="connsiteX4" fmla="*/ 605790 w 655320"/>
                    <a:gd name="connsiteY4" fmla="*/ 72390 h 1093470"/>
                    <a:gd name="connsiteX5" fmla="*/ 609600 w 655320"/>
                    <a:gd name="connsiteY5" fmla="*/ 106680 h 1093470"/>
                    <a:gd name="connsiteX6" fmla="*/ 613410 w 655320"/>
                    <a:gd name="connsiteY6" fmla="*/ 118110 h 1093470"/>
                    <a:gd name="connsiteX7" fmla="*/ 624840 w 655320"/>
                    <a:gd name="connsiteY7" fmla="*/ 129540 h 1093470"/>
                    <a:gd name="connsiteX8" fmla="*/ 632460 w 655320"/>
                    <a:gd name="connsiteY8" fmla="*/ 182880 h 1093470"/>
                    <a:gd name="connsiteX9" fmla="*/ 636270 w 655320"/>
                    <a:gd name="connsiteY9" fmla="*/ 194310 h 1093470"/>
                    <a:gd name="connsiteX10" fmla="*/ 655320 w 655320"/>
                    <a:gd name="connsiteY10" fmla="*/ 228600 h 1093470"/>
                    <a:gd name="connsiteX11" fmla="*/ 651510 w 655320"/>
                    <a:gd name="connsiteY11" fmla="*/ 262890 h 1093470"/>
                    <a:gd name="connsiteX12" fmla="*/ 643890 w 655320"/>
                    <a:gd name="connsiteY12" fmla="*/ 285750 h 1093470"/>
                    <a:gd name="connsiteX13" fmla="*/ 647700 w 655320"/>
                    <a:gd name="connsiteY13" fmla="*/ 320040 h 1093470"/>
                    <a:gd name="connsiteX14" fmla="*/ 651510 w 655320"/>
                    <a:gd name="connsiteY14" fmla="*/ 331470 h 1093470"/>
                    <a:gd name="connsiteX15" fmla="*/ 640080 w 655320"/>
                    <a:gd name="connsiteY15" fmla="*/ 392430 h 1093470"/>
                    <a:gd name="connsiteX16" fmla="*/ 624840 w 655320"/>
                    <a:gd name="connsiteY16" fmla="*/ 415290 h 1093470"/>
                    <a:gd name="connsiteX17" fmla="*/ 613410 w 655320"/>
                    <a:gd name="connsiteY17" fmla="*/ 430530 h 1093470"/>
                    <a:gd name="connsiteX18" fmla="*/ 579120 w 655320"/>
                    <a:gd name="connsiteY18" fmla="*/ 449580 h 1093470"/>
                    <a:gd name="connsiteX19" fmla="*/ 567690 w 655320"/>
                    <a:gd name="connsiteY19" fmla="*/ 464820 h 1093470"/>
                    <a:gd name="connsiteX20" fmla="*/ 560070 w 655320"/>
                    <a:gd name="connsiteY20" fmla="*/ 476250 h 1093470"/>
                    <a:gd name="connsiteX21" fmla="*/ 544830 w 655320"/>
                    <a:gd name="connsiteY21" fmla="*/ 480060 h 1093470"/>
                    <a:gd name="connsiteX22" fmla="*/ 529590 w 655320"/>
                    <a:gd name="connsiteY22" fmla="*/ 518160 h 1093470"/>
                    <a:gd name="connsiteX23" fmla="*/ 521970 w 655320"/>
                    <a:gd name="connsiteY23" fmla="*/ 541020 h 1093470"/>
                    <a:gd name="connsiteX24" fmla="*/ 514350 w 655320"/>
                    <a:gd name="connsiteY24" fmla="*/ 563880 h 1093470"/>
                    <a:gd name="connsiteX25" fmla="*/ 510540 w 655320"/>
                    <a:gd name="connsiteY25" fmla="*/ 575310 h 1093470"/>
                    <a:gd name="connsiteX26" fmla="*/ 506730 w 655320"/>
                    <a:gd name="connsiteY26" fmla="*/ 586740 h 1093470"/>
                    <a:gd name="connsiteX27" fmla="*/ 487680 w 655320"/>
                    <a:gd name="connsiteY27" fmla="*/ 613410 h 1093470"/>
                    <a:gd name="connsiteX28" fmla="*/ 480060 w 655320"/>
                    <a:gd name="connsiteY28" fmla="*/ 624840 h 1093470"/>
                    <a:gd name="connsiteX29" fmla="*/ 476250 w 655320"/>
                    <a:gd name="connsiteY29" fmla="*/ 636270 h 1093470"/>
                    <a:gd name="connsiteX30" fmla="*/ 461010 w 655320"/>
                    <a:gd name="connsiteY30" fmla="*/ 659130 h 1093470"/>
                    <a:gd name="connsiteX31" fmla="*/ 453390 w 655320"/>
                    <a:gd name="connsiteY31" fmla="*/ 670560 h 1093470"/>
                    <a:gd name="connsiteX32" fmla="*/ 430530 w 655320"/>
                    <a:gd name="connsiteY32" fmla="*/ 681990 h 1093470"/>
                    <a:gd name="connsiteX33" fmla="*/ 384810 w 655320"/>
                    <a:gd name="connsiteY33" fmla="*/ 689610 h 1093470"/>
                    <a:gd name="connsiteX34" fmla="*/ 373380 w 655320"/>
                    <a:gd name="connsiteY34" fmla="*/ 693420 h 1093470"/>
                    <a:gd name="connsiteX35" fmla="*/ 350520 w 655320"/>
                    <a:gd name="connsiteY35" fmla="*/ 712470 h 1093470"/>
                    <a:gd name="connsiteX36" fmla="*/ 339090 w 655320"/>
                    <a:gd name="connsiteY36" fmla="*/ 720090 h 1093470"/>
                    <a:gd name="connsiteX37" fmla="*/ 331470 w 655320"/>
                    <a:gd name="connsiteY37" fmla="*/ 742950 h 1093470"/>
                    <a:gd name="connsiteX38" fmla="*/ 323850 w 655320"/>
                    <a:gd name="connsiteY38" fmla="*/ 769620 h 1093470"/>
                    <a:gd name="connsiteX39" fmla="*/ 316230 w 655320"/>
                    <a:gd name="connsiteY39" fmla="*/ 781050 h 1093470"/>
                    <a:gd name="connsiteX40" fmla="*/ 308610 w 655320"/>
                    <a:gd name="connsiteY40" fmla="*/ 811530 h 1093470"/>
                    <a:gd name="connsiteX41" fmla="*/ 300990 w 655320"/>
                    <a:gd name="connsiteY41" fmla="*/ 822960 h 1093470"/>
                    <a:gd name="connsiteX42" fmla="*/ 278130 w 655320"/>
                    <a:gd name="connsiteY42" fmla="*/ 838200 h 1093470"/>
                    <a:gd name="connsiteX43" fmla="*/ 270510 w 655320"/>
                    <a:gd name="connsiteY43" fmla="*/ 861060 h 1093470"/>
                    <a:gd name="connsiteX44" fmla="*/ 259080 w 655320"/>
                    <a:gd name="connsiteY44" fmla="*/ 868680 h 1093470"/>
                    <a:gd name="connsiteX45" fmla="*/ 236220 w 655320"/>
                    <a:gd name="connsiteY45" fmla="*/ 880110 h 1093470"/>
                    <a:gd name="connsiteX46" fmla="*/ 220980 w 655320"/>
                    <a:gd name="connsiteY46" fmla="*/ 914400 h 1093470"/>
                    <a:gd name="connsiteX47" fmla="*/ 209550 w 655320"/>
                    <a:gd name="connsiteY47" fmla="*/ 922020 h 1093470"/>
                    <a:gd name="connsiteX48" fmla="*/ 201930 w 655320"/>
                    <a:gd name="connsiteY48" fmla="*/ 933450 h 1093470"/>
                    <a:gd name="connsiteX49" fmla="*/ 190500 w 655320"/>
                    <a:gd name="connsiteY49" fmla="*/ 937260 h 1093470"/>
                    <a:gd name="connsiteX50" fmla="*/ 186690 w 655320"/>
                    <a:gd name="connsiteY50" fmla="*/ 948690 h 1093470"/>
                    <a:gd name="connsiteX51" fmla="*/ 175260 w 655320"/>
                    <a:gd name="connsiteY51" fmla="*/ 956310 h 1093470"/>
                    <a:gd name="connsiteX52" fmla="*/ 171450 w 655320"/>
                    <a:gd name="connsiteY52" fmla="*/ 967740 h 1093470"/>
                    <a:gd name="connsiteX53" fmla="*/ 144780 w 655320"/>
                    <a:gd name="connsiteY53" fmla="*/ 1002030 h 1093470"/>
                    <a:gd name="connsiteX54" fmla="*/ 121920 w 655320"/>
                    <a:gd name="connsiteY54" fmla="*/ 1017270 h 1093470"/>
                    <a:gd name="connsiteX55" fmla="*/ 110490 w 655320"/>
                    <a:gd name="connsiteY55" fmla="*/ 1024890 h 1093470"/>
                    <a:gd name="connsiteX56" fmla="*/ 95250 w 655320"/>
                    <a:gd name="connsiteY56" fmla="*/ 1028700 h 1093470"/>
                    <a:gd name="connsiteX57" fmla="*/ 68580 w 655320"/>
                    <a:gd name="connsiteY57" fmla="*/ 1055370 h 1093470"/>
                    <a:gd name="connsiteX58" fmla="*/ 45720 w 655320"/>
                    <a:gd name="connsiteY58" fmla="*/ 1066800 h 1093470"/>
                    <a:gd name="connsiteX59" fmla="*/ 34290 w 655320"/>
                    <a:gd name="connsiteY59" fmla="*/ 1070610 h 1093470"/>
                    <a:gd name="connsiteX60" fmla="*/ 11430 w 655320"/>
                    <a:gd name="connsiteY60" fmla="*/ 1082040 h 1093470"/>
                    <a:gd name="connsiteX61" fmla="*/ 0 w 655320"/>
                    <a:gd name="connsiteY61" fmla="*/ 1093470 h 10934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</a:cxnLst>
                  <a:rect l="l" t="t" r="r" b="b"/>
                  <a:pathLst>
                    <a:path w="655320" h="1093470">
                      <a:moveTo>
                        <a:pt x="594360" y="0"/>
                      </a:moveTo>
                      <a:cubicBezTo>
                        <a:pt x="593090" y="8890"/>
                        <a:pt x="592311" y="17864"/>
                        <a:pt x="590550" y="26670"/>
                      </a:cubicBezTo>
                      <a:cubicBezTo>
                        <a:pt x="588518" y="36830"/>
                        <a:pt x="582422" y="39370"/>
                        <a:pt x="590550" y="49530"/>
                      </a:cubicBezTo>
                      <a:cubicBezTo>
                        <a:pt x="593411" y="53106"/>
                        <a:pt x="598170" y="54610"/>
                        <a:pt x="601980" y="57150"/>
                      </a:cubicBezTo>
                      <a:cubicBezTo>
                        <a:pt x="603250" y="62230"/>
                        <a:pt x="604994" y="67215"/>
                        <a:pt x="605790" y="72390"/>
                      </a:cubicBezTo>
                      <a:cubicBezTo>
                        <a:pt x="607539" y="83757"/>
                        <a:pt x="607709" y="95336"/>
                        <a:pt x="609600" y="106680"/>
                      </a:cubicBezTo>
                      <a:cubicBezTo>
                        <a:pt x="610260" y="110641"/>
                        <a:pt x="611182" y="114768"/>
                        <a:pt x="613410" y="118110"/>
                      </a:cubicBezTo>
                      <a:cubicBezTo>
                        <a:pt x="616399" y="122593"/>
                        <a:pt x="621030" y="125730"/>
                        <a:pt x="624840" y="129540"/>
                      </a:cubicBezTo>
                      <a:cubicBezTo>
                        <a:pt x="627876" y="159903"/>
                        <a:pt x="626086" y="160570"/>
                        <a:pt x="632460" y="182880"/>
                      </a:cubicBezTo>
                      <a:cubicBezTo>
                        <a:pt x="633563" y="186742"/>
                        <a:pt x="634320" y="190799"/>
                        <a:pt x="636270" y="194310"/>
                      </a:cubicBezTo>
                      <a:cubicBezTo>
                        <a:pt x="658105" y="233612"/>
                        <a:pt x="646699" y="202737"/>
                        <a:pt x="655320" y="228600"/>
                      </a:cubicBezTo>
                      <a:cubicBezTo>
                        <a:pt x="654050" y="240030"/>
                        <a:pt x="653765" y="251613"/>
                        <a:pt x="651510" y="262890"/>
                      </a:cubicBezTo>
                      <a:cubicBezTo>
                        <a:pt x="649935" y="270766"/>
                        <a:pt x="643890" y="285750"/>
                        <a:pt x="643890" y="285750"/>
                      </a:cubicBezTo>
                      <a:cubicBezTo>
                        <a:pt x="645160" y="297180"/>
                        <a:pt x="645809" y="308696"/>
                        <a:pt x="647700" y="320040"/>
                      </a:cubicBezTo>
                      <a:cubicBezTo>
                        <a:pt x="648360" y="324001"/>
                        <a:pt x="651510" y="327454"/>
                        <a:pt x="651510" y="331470"/>
                      </a:cubicBezTo>
                      <a:cubicBezTo>
                        <a:pt x="651510" y="342866"/>
                        <a:pt x="648835" y="379297"/>
                        <a:pt x="640080" y="392430"/>
                      </a:cubicBezTo>
                      <a:cubicBezTo>
                        <a:pt x="635000" y="400050"/>
                        <a:pt x="630335" y="407964"/>
                        <a:pt x="624840" y="415290"/>
                      </a:cubicBezTo>
                      <a:cubicBezTo>
                        <a:pt x="621030" y="420370"/>
                        <a:pt x="618288" y="426465"/>
                        <a:pt x="613410" y="430530"/>
                      </a:cubicBezTo>
                      <a:cubicBezTo>
                        <a:pt x="588494" y="451293"/>
                        <a:pt x="616263" y="400057"/>
                        <a:pt x="579120" y="449580"/>
                      </a:cubicBezTo>
                      <a:cubicBezTo>
                        <a:pt x="575310" y="454660"/>
                        <a:pt x="571381" y="459653"/>
                        <a:pt x="567690" y="464820"/>
                      </a:cubicBezTo>
                      <a:cubicBezTo>
                        <a:pt x="565028" y="468546"/>
                        <a:pt x="563880" y="473710"/>
                        <a:pt x="560070" y="476250"/>
                      </a:cubicBezTo>
                      <a:cubicBezTo>
                        <a:pt x="555713" y="479155"/>
                        <a:pt x="549910" y="478790"/>
                        <a:pt x="544830" y="480060"/>
                      </a:cubicBezTo>
                      <a:cubicBezTo>
                        <a:pt x="524855" y="500035"/>
                        <a:pt x="537820" y="482498"/>
                        <a:pt x="529590" y="518160"/>
                      </a:cubicBezTo>
                      <a:cubicBezTo>
                        <a:pt x="527784" y="525986"/>
                        <a:pt x="524510" y="533400"/>
                        <a:pt x="521970" y="541020"/>
                      </a:cubicBezTo>
                      <a:lnTo>
                        <a:pt x="514350" y="563880"/>
                      </a:lnTo>
                      <a:lnTo>
                        <a:pt x="510540" y="575310"/>
                      </a:lnTo>
                      <a:cubicBezTo>
                        <a:pt x="509270" y="579120"/>
                        <a:pt x="508958" y="583398"/>
                        <a:pt x="506730" y="586740"/>
                      </a:cubicBezTo>
                      <a:cubicBezTo>
                        <a:pt x="488772" y="613677"/>
                        <a:pt x="511309" y="580329"/>
                        <a:pt x="487680" y="613410"/>
                      </a:cubicBezTo>
                      <a:cubicBezTo>
                        <a:pt x="485018" y="617136"/>
                        <a:pt x="482108" y="620744"/>
                        <a:pt x="480060" y="624840"/>
                      </a:cubicBezTo>
                      <a:cubicBezTo>
                        <a:pt x="478264" y="628432"/>
                        <a:pt x="478200" y="632759"/>
                        <a:pt x="476250" y="636270"/>
                      </a:cubicBezTo>
                      <a:cubicBezTo>
                        <a:pt x="471802" y="644276"/>
                        <a:pt x="466090" y="651510"/>
                        <a:pt x="461010" y="659130"/>
                      </a:cubicBezTo>
                      <a:cubicBezTo>
                        <a:pt x="458470" y="662940"/>
                        <a:pt x="457200" y="668020"/>
                        <a:pt x="453390" y="670560"/>
                      </a:cubicBezTo>
                      <a:cubicBezTo>
                        <a:pt x="443757" y="676982"/>
                        <a:pt x="441797" y="679737"/>
                        <a:pt x="430530" y="681990"/>
                      </a:cubicBezTo>
                      <a:cubicBezTo>
                        <a:pt x="415380" y="685020"/>
                        <a:pt x="399467" y="684724"/>
                        <a:pt x="384810" y="689610"/>
                      </a:cubicBezTo>
                      <a:cubicBezTo>
                        <a:pt x="381000" y="690880"/>
                        <a:pt x="376972" y="691624"/>
                        <a:pt x="373380" y="693420"/>
                      </a:cubicBezTo>
                      <a:cubicBezTo>
                        <a:pt x="359191" y="700515"/>
                        <a:pt x="363159" y="701937"/>
                        <a:pt x="350520" y="712470"/>
                      </a:cubicBezTo>
                      <a:cubicBezTo>
                        <a:pt x="347002" y="715401"/>
                        <a:pt x="342900" y="717550"/>
                        <a:pt x="339090" y="720090"/>
                      </a:cubicBezTo>
                      <a:cubicBezTo>
                        <a:pt x="336550" y="727710"/>
                        <a:pt x="333418" y="735158"/>
                        <a:pt x="331470" y="742950"/>
                      </a:cubicBezTo>
                      <a:cubicBezTo>
                        <a:pt x="330249" y="747833"/>
                        <a:pt x="326583" y="764154"/>
                        <a:pt x="323850" y="769620"/>
                      </a:cubicBezTo>
                      <a:cubicBezTo>
                        <a:pt x="321802" y="773716"/>
                        <a:pt x="318278" y="776954"/>
                        <a:pt x="316230" y="781050"/>
                      </a:cubicBezTo>
                      <a:cubicBezTo>
                        <a:pt x="309179" y="795151"/>
                        <a:pt x="315131" y="794140"/>
                        <a:pt x="308610" y="811530"/>
                      </a:cubicBezTo>
                      <a:cubicBezTo>
                        <a:pt x="307002" y="815817"/>
                        <a:pt x="304436" y="819945"/>
                        <a:pt x="300990" y="822960"/>
                      </a:cubicBezTo>
                      <a:cubicBezTo>
                        <a:pt x="294098" y="828991"/>
                        <a:pt x="278130" y="838200"/>
                        <a:pt x="278130" y="838200"/>
                      </a:cubicBezTo>
                      <a:cubicBezTo>
                        <a:pt x="275590" y="845820"/>
                        <a:pt x="277193" y="856605"/>
                        <a:pt x="270510" y="861060"/>
                      </a:cubicBezTo>
                      <a:cubicBezTo>
                        <a:pt x="266700" y="863600"/>
                        <a:pt x="263176" y="866632"/>
                        <a:pt x="259080" y="868680"/>
                      </a:cubicBezTo>
                      <a:cubicBezTo>
                        <a:pt x="227532" y="884454"/>
                        <a:pt x="268977" y="858272"/>
                        <a:pt x="236220" y="880110"/>
                      </a:cubicBezTo>
                      <a:cubicBezTo>
                        <a:pt x="232447" y="891428"/>
                        <a:pt x="230037" y="905343"/>
                        <a:pt x="220980" y="914400"/>
                      </a:cubicBezTo>
                      <a:cubicBezTo>
                        <a:pt x="217742" y="917638"/>
                        <a:pt x="213360" y="919480"/>
                        <a:pt x="209550" y="922020"/>
                      </a:cubicBezTo>
                      <a:cubicBezTo>
                        <a:pt x="207010" y="925830"/>
                        <a:pt x="205506" y="930589"/>
                        <a:pt x="201930" y="933450"/>
                      </a:cubicBezTo>
                      <a:cubicBezTo>
                        <a:pt x="198794" y="935959"/>
                        <a:pt x="193340" y="934420"/>
                        <a:pt x="190500" y="937260"/>
                      </a:cubicBezTo>
                      <a:cubicBezTo>
                        <a:pt x="187660" y="940100"/>
                        <a:pt x="189199" y="945554"/>
                        <a:pt x="186690" y="948690"/>
                      </a:cubicBezTo>
                      <a:cubicBezTo>
                        <a:pt x="183829" y="952266"/>
                        <a:pt x="179070" y="953770"/>
                        <a:pt x="175260" y="956310"/>
                      </a:cubicBezTo>
                      <a:cubicBezTo>
                        <a:pt x="173990" y="960120"/>
                        <a:pt x="173400" y="964229"/>
                        <a:pt x="171450" y="967740"/>
                      </a:cubicBezTo>
                      <a:cubicBezTo>
                        <a:pt x="165187" y="979013"/>
                        <a:pt x="155646" y="993579"/>
                        <a:pt x="144780" y="1002030"/>
                      </a:cubicBezTo>
                      <a:cubicBezTo>
                        <a:pt x="137551" y="1007653"/>
                        <a:pt x="129540" y="1012190"/>
                        <a:pt x="121920" y="1017270"/>
                      </a:cubicBezTo>
                      <a:cubicBezTo>
                        <a:pt x="118110" y="1019810"/>
                        <a:pt x="114932" y="1023779"/>
                        <a:pt x="110490" y="1024890"/>
                      </a:cubicBezTo>
                      <a:lnTo>
                        <a:pt x="95250" y="1028700"/>
                      </a:lnTo>
                      <a:cubicBezTo>
                        <a:pt x="86360" y="1037590"/>
                        <a:pt x="80507" y="1051394"/>
                        <a:pt x="68580" y="1055370"/>
                      </a:cubicBezTo>
                      <a:cubicBezTo>
                        <a:pt x="39850" y="1064947"/>
                        <a:pt x="75263" y="1052028"/>
                        <a:pt x="45720" y="1066800"/>
                      </a:cubicBezTo>
                      <a:cubicBezTo>
                        <a:pt x="42128" y="1068596"/>
                        <a:pt x="37882" y="1068814"/>
                        <a:pt x="34290" y="1070610"/>
                      </a:cubicBezTo>
                      <a:cubicBezTo>
                        <a:pt x="4747" y="1085382"/>
                        <a:pt x="40160" y="1072463"/>
                        <a:pt x="11430" y="1082040"/>
                      </a:cubicBezTo>
                      <a:lnTo>
                        <a:pt x="0" y="1093470"/>
                      </a:ln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6" name="Forma livre 757"/>
                <p:cNvSpPr/>
                <p:nvPr/>
              </p:nvSpPr>
              <p:spPr>
                <a:xfrm>
                  <a:off x="5859780" y="2564130"/>
                  <a:ext cx="72390" cy="579120"/>
                </a:xfrm>
                <a:custGeom>
                  <a:avLst/>
                  <a:gdLst>
                    <a:gd name="connsiteX0" fmla="*/ 7986 w 80376"/>
                    <a:gd name="connsiteY0" fmla="*/ 0 h 579120"/>
                    <a:gd name="connsiteX1" fmla="*/ 4176 w 80376"/>
                    <a:gd name="connsiteY1" fmla="*/ 41910 h 579120"/>
                    <a:gd name="connsiteX2" fmla="*/ 15606 w 80376"/>
                    <a:gd name="connsiteY2" fmla="*/ 49530 h 579120"/>
                    <a:gd name="connsiteX3" fmla="*/ 23226 w 80376"/>
                    <a:gd name="connsiteY3" fmla="*/ 72390 h 579120"/>
                    <a:gd name="connsiteX4" fmla="*/ 27036 w 80376"/>
                    <a:gd name="connsiteY4" fmla="*/ 83820 h 579120"/>
                    <a:gd name="connsiteX5" fmla="*/ 23226 w 80376"/>
                    <a:gd name="connsiteY5" fmla="*/ 144780 h 579120"/>
                    <a:gd name="connsiteX6" fmla="*/ 19416 w 80376"/>
                    <a:gd name="connsiteY6" fmla="*/ 160020 h 579120"/>
                    <a:gd name="connsiteX7" fmla="*/ 11796 w 80376"/>
                    <a:gd name="connsiteY7" fmla="*/ 182880 h 579120"/>
                    <a:gd name="connsiteX8" fmla="*/ 19416 w 80376"/>
                    <a:gd name="connsiteY8" fmla="*/ 262890 h 579120"/>
                    <a:gd name="connsiteX9" fmla="*/ 27036 w 80376"/>
                    <a:gd name="connsiteY9" fmla="*/ 274320 h 579120"/>
                    <a:gd name="connsiteX10" fmla="*/ 46086 w 80376"/>
                    <a:gd name="connsiteY10" fmla="*/ 316230 h 579120"/>
                    <a:gd name="connsiteX11" fmla="*/ 61326 w 80376"/>
                    <a:gd name="connsiteY11" fmla="*/ 335280 h 579120"/>
                    <a:gd name="connsiteX12" fmla="*/ 72756 w 80376"/>
                    <a:gd name="connsiteY12" fmla="*/ 358140 h 579120"/>
                    <a:gd name="connsiteX13" fmla="*/ 80376 w 80376"/>
                    <a:gd name="connsiteY13" fmla="*/ 369570 h 579120"/>
                    <a:gd name="connsiteX14" fmla="*/ 72756 w 80376"/>
                    <a:gd name="connsiteY14" fmla="*/ 400050 h 579120"/>
                    <a:gd name="connsiteX15" fmla="*/ 61326 w 80376"/>
                    <a:gd name="connsiteY15" fmla="*/ 407670 h 579120"/>
                    <a:gd name="connsiteX16" fmla="*/ 42276 w 80376"/>
                    <a:gd name="connsiteY16" fmla="*/ 430530 h 579120"/>
                    <a:gd name="connsiteX17" fmla="*/ 46086 w 80376"/>
                    <a:gd name="connsiteY17" fmla="*/ 453390 h 579120"/>
                    <a:gd name="connsiteX18" fmla="*/ 49896 w 80376"/>
                    <a:gd name="connsiteY18" fmla="*/ 464820 h 579120"/>
                    <a:gd name="connsiteX19" fmla="*/ 49896 w 80376"/>
                    <a:gd name="connsiteY19" fmla="*/ 579120 h 579120"/>
                    <a:gd name="connsiteX0" fmla="*/ 0 w 72390"/>
                    <a:gd name="connsiteY0" fmla="*/ 0 h 579120"/>
                    <a:gd name="connsiteX1" fmla="*/ 7620 w 72390"/>
                    <a:gd name="connsiteY1" fmla="*/ 49530 h 579120"/>
                    <a:gd name="connsiteX2" fmla="*/ 15240 w 72390"/>
                    <a:gd name="connsiteY2" fmla="*/ 72390 h 579120"/>
                    <a:gd name="connsiteX3" fmla="*/ 19050 w 72390"/>
                    <a:gd name="connsiteY3" fmla="*/ 83820 h 579120"/>
                    <a:gd name="connsiteX4" fmla="*/ 15240 w 72390"/>
                    <a:gd name="connsiteY4" fmla="*/ 144780 h 579120"/>
                    <a:gd name="connsiteX5" fmla="*/ 11430 w 72390"/>
                    <a:gd name="connsiteY5" fmla="*/ 160020 h 579120"/>
                    <a:gd name="connsiteX6" fmla="*/ 3810 w 72390"/>
                    <a:gd name="connsiteY6" fmla="*/ 182880 h 579120"/>
                    <a:gd name="connsiteX7" fmla="*/ 11430 w 72390"/>
                    <a:gd name="connsiteY7" fmla="*/ 262890 h 579120"/>
                    <a:gd name="connsiteX8" fmla="*/ 19050 w 72390"/>
                    <a:gd name="connsiteY8" fmla="*/ 274320 h 579120"/>
                    <a:gd name="connsiteX9" fmla="*/ 38100 w 72390"/>
                    <a:gd name="connsiteY9" fmla="*/ 316230 h 579120"/>
                    <a:gd name="connsiteX10" fmla="*/ 53340 w 72390"/>
                    <a:gd name="connsiteY10" fmla="*/ 335280 h 579120"/>
                    <a:gd name="connsiteX11" fmla="*/ 64770 w 72390"/>
                    <a:gd name="connsiteY11" fmla="*/ 358140 h 579120"/>
                    <a:gd name="connsiteX12" fmla="*/ 72390 w 72390"/>
                    <a:gd name="connsiteY12" fmla="*/ 369570 h 579120"/>
                    <a:gd name="connsiteX13" fmla="*/ 64770 w 72390"/>
                    <a:gd name="connsiteY13" fmla="*/ 400050 h 579120"/>
                    <a:gd name="connsiteX14" fmla="*/ 53340 w 72390"/>
                    <a:gd name="connsiteY14" fmla="*/ 407670 h 579120"/>
                    <a:gd name="connsiteX15" fmla="*/ 34290 w 72390"/>
                    <a:gd name="connsiteY15" fmla="*/ 430530 h 579120"/>
                    <a:gd name="connsiteX16" fmla="*/ 38100 w 72390"/>
                    <a:gd name="connsiteY16" fmla="*/ 453390 h 579120"/>
                    <a:gd name="connsiteX17" fmla="*/ 41910 w 72390"/>
                    <a:gd name="connsiteY17" fmla="*/ 464820 h 579120"/>
                    <a:gd name="connsiteX18" fmla="*/ 41910 w 72390"/>
                    <a:gd name="connsiteY18" fmla="*/ 579120 h 579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72390" h="579120">
                      <a:moveTo>
                        <a:pt x="0" y="0"/>
                      </a:moveTo>
                      <a:cubicBezTo>
                        <a:pt x="1588" y="10319"/>
                        <a:pt x="5080" y="37465"/>
                        <a:pt x="7620" y="49530"/>
                      </a:cubicBezTo>
                      <a:lnTo>
                        <a:pt x="15240" y="72390"/>
                      </a:lnTo>
                      <a:lnTo>
                        <a:pt x="19050" y="83820"/>
                      </a:lnTo>
                      <a:cubicBezTo>
                        <a:pt x="17780" y="104140"/>
                        <a:pt x="17266" y="124521"/>
                        <a:pt x="15240" y="144780"/>
                      </a:cubicBezTo>
                      <a:cubicBezTo>
                        <a:pt x="14719" y="149990"/>
                        <a:pt x="12935" y="155004"/>
                        <a:pt x="11430" y="160020"/>
                      </a:cubicBezTo>
                      <a:cubicBezTo>
                        <a:pt x="9122" y="167713"/>
                        <a:pt x="3810" y="182880"/>
                        <a:pt x="3810" y="182880"/>
                      </a:cubicBezTo>
                      <a:cubicBezTo>
                        <a:pt x="3906" y="184600"/>
                        <a:pt x="1071" y="242171"/>
                        <a:pt x="11430" y="262890"/>
                      </a:cubicBezTo>
                      <a:cubicBezTo>
                        <a:pt x="13478" y="266986"/>
                        <a:pt x="16510" y="270510"/>
                        <a:pt x="19050" y="274320"/>
                      </a:cubicBezTo>
                      <a:cubicBezTo>
                        <a:pt x="27977" y="310027"/>
                        <a:pt x="19265" y="297395"/>
                        <a:pt x="38100" y="316230"/>
                      </a:cubicBezTo>
                      <a:cubicBezTo>
                        <a:pt x="45517" y="338482"/>
                        <a:pt x="36106" y="318046"/>
                        <a:pt x="53340" y="335280"/>
                      </a:cubicBezTo>
                      <a:cubicBezTo>
                        <a:pt x="64259" y="346199"/>
                        <a:pt x="58572" y="345745"/>
                        <a:pt x="64770" y="358140"/>
                      </a:cubicBezTo>
                      <a:cubicBezTo>
                        <a:pt x="66818" y="362236"/>
                        <a:pt x="69850" y="365760"/>
                        <a:pt x="72390" y="369570"/>
                      </a:cubicBezTo>
                      <a:cubicBezTo>
                        <a:pt x="72200" y="370519"/>
                        <a:pt x="67894" y="396145"/>
                        <a:pt x="64770" y="400050"/>
                      </a:cubicBezTo>
                      <a:cubicBezTo>
                        <a:pt x="61909" y="403626"/>
                        <a:pt x="56858" y="404739"/>
                        <a:pt x="53340" y="407670"/>
                      </a:cubicBezTo>
                      <a:cubicBezTo>
                        <a:pt x="42339" y="416837"/>
                        <a:pt x="41782" y="419291"/>
                        <a:pt x="34290" y="430530"/>
                      </a:cubicBezTo>
                      <a:cubicBezTo>
                        <a:pt x="35560" y="438150"/>
                        <a:pt x="36424" y="445849"/>
                        <a:pt x="38100" y="453390"/>
                      </a:cubicBezTo>
                      <a:cubicBezTo>
                        <a:pt x="38971" y="457310"/>
                        <a:pt x="41788" y="460806"/>
                        <a:pt x="41910" y="464820"/>
                      </a:cubicBezTo>
                      <a:cubicBezTo>
                        <a:pt x="43064" y="502903"/>
                        <a:pt x="41910" y="541020"/>
                        <a:pt x="41910" y="57912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7" name="Forma livre 758"/>
                <p:cNvSpPr/>
                <p:nvPr/>
              </p:nvSpPr>
              <p:spPr>
                <a:xfrm>
                  <a:off x="4690110" y="3128716"/>
                  <a:ext cx="58439" cy="45014"/>
                </a:xfrm>
                <a:custGeom>
                  <a:avLst/>
                  <a:gdLst>
                    <a:gd name="connsiteX0" fmla="*/ 0 w 57150"/>
                    <a:gd name="connsiteY0" fmla="*/ 41910 h 41910"/>
                    <a:gd name="connsiteX1" fmla="*/ 7620 w 57150"/>
                    <a:gd name="connsiteY1" fmla="*/ 22860 h 41910"/>
                    <a:gd name="connsiteX2" fmla="*/ 53340 w 57150"/>
                    <a:gd name="connsiteY2" fmla="*/ 0 h 41910"/>
                    <a:gd name="connsiteX3" fmla="*/ 57150 w 57150"/>
                    <a:gd name="connsiteY3" fmla="*/ 0 h 41910"/>
                    <a:gd name="connsiteX0" fmla="*/ 0 w 58439"/>
                    <a:gd name="connsiteY0" fmla="*/ 45014 h 45014"/>
                    <a:gd name="connsiteX1" fmla="*/ 53340 w 58439"/>
                    <a:gd name="connsiteY1" fmla="*/ 3104 h 45014"/>
                    <a:gd name="connsiteX2" fmla="*/ 57150 w 58439"/>
                    <a:gd name="connsiteY2" fmla="*/ 3104 h 450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439" h="45014">
                      <a:moveTo>
                        <a:pt x="0" y="45014"/>
                      </a:moveTo>
                      <a:cubicBezTo>
                        <a:pt x="11113" y="36283"/>
                        <a:pt x="43815" y="10089"/>
                        <a:pt x="53340" y="3104"/>
                      </a:cubicBezTo>
                      <a:cubicBezTo>
                        <a:pt x="62865" y="-3881"/>
                        <a:pt x="55880" y="3104"/>
                        <a:pt x="57150" y="3104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8" name="Forma livre 759"/>
                <p:cNvSpPr/>
                <p:nvPr/>
              </p:nvSpPr>
              <p:spPr>
                <a:xfrm>
                  <a:off x="4086860" y="3368040"/>
                  <a:ext cx="140970" cy="148590"/>
                </a:xfrm>
                <a:custGeom>
                  <a:avLst/>
                  <a:gdLst>
                    <a:gd name="connsiteX0" fmla="*/ 0 w 140970"/>
                    <a:gd name="connsiteY0" fmla="*/ 0 h 148590"/>
                    <a:gd name="connsiteX1" fmla="*/ 19050 w 140970"/>
                    <a:gd name="connsiteY1" fmla="*/ 11430 h 148590"/>
                    <a:gd name="connsiteX2" fmla="*/ 30480 w 140970"/>
                    <a:gd name="connsiteY2" fmla="*/ 15240 h 148590"/>
                    <a:gd name="connsiteX3" fmla="*/ 53340 w 140970"/>
                    <a:gd name="connsiteY3" fmla="*/ 30480 h 148590"/>
                    <a:gd name="connsiteX4" fmla="*/ 64770 w 140970"/>
                    <a:gd name="connsiteY4" fmla="*/ 38100 h 148590"/>
                    <a:gd name="connsiteX5" fmla="*/ 72390 w 140970"/>
                    <a:gd name="connsiteY5" fmla="*/ 49530 h 148590"/>
                    <a:gd name="connsiteX6" fmla="*/ 76200 w 140970"/>
                    <a:gd name="connsiteY6" fmla="*/ 60960 h 148590"/>
                    <a:gd name="connsiteX7" fmla="*/ 87630 w 140970"/>
                    <a:gd name="connsiteY7" fmla="*/ 76200 h 148590"/>
                    <a:gd name="connsiteX8" fmla="*/ 110490 w 140970"/>
                    <a:gd name="connsiteY8" fmla="*/ 121920 h 148590"/>
                    <a:gd name="connsiteX9" fmla="*/ 118110 w 140970"/>
                    <a:gd name="connsiteY9" fmla="*/ 133350 h 148590"/>
                    <a:gd name="connsiteX10" fmla="*/ 129540 w 140970"/>
                    <a:gd name="connsiteY10" fmla="*/ 144780 h 148590"/>
                    <a:gd name="connsiteX11" fmla="*/ 140970 w 140970"/>
                    <a:gd name="connsiteY11" fmla="*/ 148590 h 1485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40970" h="148590">
                      <a:moveTo>
                        <a:pt x="0" y="0"/>
                      </a:moveTo>
                      <a:cubicBezTo>
                        <a:pt x="6350" y="3810"/>
                        <a:pt x="12426" y="8118"/>
                        <a:pt x="19050" y="11430"/>
                      </a:cubicBezTo>
                      <a:cubicBezTo>
                        <a:pt x="22642" y="13226"/>
                        <a:pt x="26969" y="13290"/>
                        <a:pt x="30480" y="15240"/>
                      </a:cubicBezTo>
                      <a:cubicBezTo>
                        <a:pt x="38486" y="19688"/>
                        <a:pt x="45720" y="25400"/>
                        <a:pt x="53340" y="30480"/>
                      </a:cubicBezTo>
                      <a:lnTo>
                        <a:pt x="64770" y="38100"/>
                      </a:lnTo>
                      <a:cubicBezTo>
                        <a:pt x="67310" y="41910"/>
                        <a:pt x="70342" y="45434"/>
                        <a:pt x="72390" y="49530"/>
                      </a:cubicBezTo>
                      <a:cubicBezTo>
                        <a:pt x="74186" y="53122"/>
                        <a:pt x="74207" y="57473"/>
                        <a:pt x="76200" y="60960"/>
                      </a:cubicBezTo>
                      <a:cubicBezTo>
                        <a:pt x="79350" y="66473"/>
                        <a:pt x="83820" y="71120"/>
                        <a:pt x="87630" y="76200"/>
                      </a:cubicBezTo>
                      <a:cubicBezTo>
                        <a:pt x="98146" y="107748"/>
                        <a:pt x="90795" y="92377"/>
                        <a:pt x="110490" y="121920"/>
                      </a:cubicBezTo>
                      <a:cubicBezTo>
                        <a:pt x="113030" y="125730"/>
                        <a:pt x="114872" y="130112"/>
                        <a:pt x="118110" y="133350"/>
                      </a:cubicBezTo>
                      <a:cubicBezTo>
                        <a:pt x="121920" y="137160"/>
                        <a:pt x="125057" y="141791"/>
                        <a:pt x="129540" y="144780"/>
                      </a:cubicBezTo>
                      <a:cubicBezTo>
                        <a:pt x="132882" y="147008"/>
                        <a:pt x="140970" y="148590"/>
                        <a:pt x="140970" y="148590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79" name="Forma livre 760"/>
                <p:cNvSpPr/>
                <p:nvPr/>
              </p:nvSpPr>
              <p:spPr>
                <a:xfrm>
                  <a:off x="1908797" y="1930759"/>
                  <a:ext cx="307518" cy="458918"/>
                </a:xfrm>
                <a:custGeom>
                  <a:avLst/>
                  <a:gdLst>
                    <a:gd name="connsiteX0" fmla="*/ 4984 w 307518"/>
                    <a:gd name="connsiteY0" fmla="*/ 458918 h 458918"/>
                    <a:gd name="connsiteX1" fmla="*/ 4984 w 307518"/>
                    <a:gd name="connsiteY1" fmla="*/ 370538 h 458918"/>
                    <a:gd name="connsiteX2" fmla="*/ 15182 w 307518"/>
                    <a:gd name="connsiteY2" fmla="*/ 350142 h 458918"/>
                    <a:gd name="connsiteX3" fmla="*/ 21981 w 307518"/>
                    <a:gd name="connsiteY3" fmla="*/ 329747 h 458918"/>
                    <a:gd name="connsiteX4" fmla="*/ 28779 w 307518"/>
                    <a:gd name="connsiteY4" fmla="*/ 319549 h 458918"/>
                    <a:gd name="connsiteX5" fmla="*/ 35578 w 307518"/>
                    <a:gd name="connsiteY5" fmla="*/ 299153 h 458918"/>
                    <a:gd name="connsiteX6" fmla="*/ 62772 w 307518"/>
                    <a:gd name="connsiteY6" fmla="*/ 258362 h 458918"/>
                    <a:gd name="connsiteX7" fmla="*/ 79768 w 307518"/>
                    <a:gd name="connsiteY7" fmla="*/ 234567 h 458918"/>
                    <a:gd name="connsiteX8" fmla="*/ 89966 w 307518"/>
                    <a:gd name="connsiteY8" fmla="*/ 224370 h 458918"/>
                    <a:gd name="connsiteX9" fmla="*/ 96764 w 307518"/>
                    <a:gd name="connsiteY9" fmla="*/ 214172 h 458918"/>
                    <a:gd name="connsiteX10" fmla="*/ 106962 w 307518"/>
                    <a:gd name="connsiteY10" fmla="*/ 203974 h 458918"/>
                    <a:gd name="connsiteX11" fmla="*/ 113761 w 307518"/>
                    <a:gd name="connsiteY11" fmla="*/ 193776 h 458918"/>
                    <a:gd name="connsiteX12" fmla="*/ 123958 w 307518"/>
                    <a:gd name="connsiteY12" fmla="*/ 183579 h 458918"/>
                    <a:gd name="connsiteX13" fmla="*/ 144354 w 307518"/>
                    <a:gd name="connsiteY13" fmla="*/ 166582 h 458918"/>
                    <a:gd name="connsiteX14" fmla="*/ 151152 w 307518"/>
                    <a:gd name="connsiteY14" fmla="*/ 156384 h 458918"/>
                    <a:gd name="connsiteX15" fmla="*/ 161350 w 307518"/>
                    <a:gd name="connsiteY15" fmla="*/ 149586 h 458918"/>
                    <a:gd name="connsiteX16" fmla="*/ 168149 w 307518"/>
                    <a:gd name="connsiteY16" fmla="*/ 129190 h 458918"/>
                    <a:gd name="connsiteX17" fmla="*/ 171548 w 307518"/>
                    <a:gd name="connsiteY17" fmla="*/ 118993 h 458918"/>
                    <a:gd name="connsiteX18" fmla="*/ 181746 w 307518"/>
                    <a:gd name="connsiteY18" fmla="*/ 105396 h 458918"/>
                    <a:gd name="connsiteX19" fmla="*/ 191944 w 307518"/>
                    <a:gd name="connsiteY19" fmla="*/ 95198 h 458918"/>
                    <a:gd name="connsiteX20" fmla="*/ 198742 w 307518"/>
                    <a:gd name="connsiteY20" fmla="*/ 85000 h 458918"/>
                    <a:gd name="connsiteX21" fmla="*/ 219138 w 307518"/>
                    <a:gd name="connsiteY21" fmla="*/ 68004 h 458918"/>
                    <a:gd name="connsiteX22" fmla="*/ 225936 w 307518"/>
                    <a:gd name="connsiteY22" fmla="*/ 57806 h 458918"/>
                    <a:gd name="connsiteX23" fmla="*/ 246332 w 307518"/>
                    <a:gd name="connsiteY23" fmla="*/ 44209 h 458918"/>
                    <a:gd name="connsiteX24" fmla="*/ 256529 w 307518"/>
                    <a:gd name="connsiteY24" fmla="*/ 37411 h 458918"/>
                    <a:gd name="connsiteX25" fmla="*/ 266727 w 307518"/>
                    <a:gd name="connsiteY25" fmla="*/ 34011 h 458918"/>
                    <a:gd name="connsiteX26" fmla="*/ 297320 w 307518"/>
                    <a:gd name="connsiteY26" fmla="*/ 10216 h 458918"/>
                    <a:gd name="connsiteX27" fmla="*/ 307518 w 307518"/>
                    <a:gd name="connsiteY27" fmla="*/ 19 h 458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307518" h="458918">
                      <a:moveTo>
                        <a:pt x="4984" y="458918"/>
                      </a:moveTo>
                      <a:cubicBezTo>
                        <a:pt x="-2615" y="420922"/>
                        <a:pt x="-635" y="437965"/>
                        <a:pt x="4984" y="370538"/>
                      </a:cubicBezTo>
                      <a:cubicBezTo>
                        <a:pt x="5937" y="359098"/>
                        <a:pt x="10659" y="360318"/>
                        <a:pt x="15182" y="350142"/>
                      </a:cubicBezTo>
                      <a:cubicBezTo>
                        <a:pt x="18092" y="343594"/>
                        <a:pt x="18006" y="335710"/>
                        <a:pt x="21981" y="329747"/>
                      </a:cubicBezTo>
                      <a:cubicBezTo>
                        <a:pt x="24247" y="326348"/>
                        <a:pt x="27120" y="323282"/>
                        <a:pt x="28779" y="319549"/>
                      </a:cubicBezTo>
                      <a:cubicBezTo>
                        <a:pt x="31690" y="313000"/>
                        <a:pt x="31603" y="305116"/>
                        <a:pt x="35578" y="299153"/>
                      </a:cubicBezTo>
                      <a:lnTo>
                        <a:pt x="62772" y="258362"/>
                      </a:lnTo>
                      <a:cubicBezTo>
                        <a:pt x="68156" y="250287"/>
                        <a:pt x="73438" y="241951"/>
                        <a:pt x="79768" y="234567"/>
                      </a:cubicBezTo>
                      <a:cubicBezTo>
                        <a:pt x="82897" y="230917"/>
                        <a:pt x="86889" y="228063"/>
                        <a:pt x="89966" y="224370"/>
                      </a:cubicBezTo>
                      <a:cubicBezTo>
                        <a:pt x="92581" y="221232"/>
                        <a:pt x="94149" y="217311"/>
                        <a:pt x="96764" y="214172"/>
                      </a:cubicBezTo>
                      <a:cubicBezTo>
                        <a:pt x="99842" y="210479"/>
                        <a:pt x="103884" y="207667"/>
                        <a:pt x="106962" y="203974"/>
                      </a:cubicBezTo>
                      <a:cubicBezTo>
                        <a:pt x="109578" y="200835"/>
                        <a:pt x="111145" y="196915"/>
                        <a:pt x="113761" y="193776"/>
                      </a:cubicBezTo>
                      <a:cubicBezTo>
                        <a:pt x="116838" y="190083"/>
                        <a:pt x="120830" y="187229"/>
                        <a:pt x="123958" y="183579"/>
                      </a:cubicBezTo>
                      <a:cubicBezTo>
                        <a:pt x="138775" y="166292"/>
                        <a:pt x="127219" y="172295"/>
                        <a:pt x="144354" y="166582"/>
                      </a:cubicBezTo>
                      <a:cubicBezTo>
                        <a:pt x="146620" y="163183"/>
                        <a:pt x="148263" y="159273"/>
                        <a:pt x="151152" y="156384"/>
                      </a:cubicBezTo>
                      <a:cubicBezTo>
                        <a:pt x="154041" y="153495"/>
                        <a:pt x="159185" y="153050"/>
                        <a:pt x="161350" y="149586"/>
                      </a:cubicBezTo>
                      <a:cubicBezTo>
                        <a:pt x="165148" y="143509"/>
                        <a:pt x="165883" y="135989"/>
                        <a:pt x="168149" y="129190"/>
                      </a:cubicBezTo>
                      <a:cubicBezTo>
                        <a:pt x="169282" y="125791"/>
                        <a:pt x="169398" y="121859"/>
                        <a:pt x="171548" y="118993"/>
                      </a:cubicBezTo>
                      <a:cubicBezTo>
                        <a:pt x="174947" y="114461"/>
                        <a:pt x="178059" y="109698"/>
                        <a:pt x="181746" y="105396"/>
                      </a:cubicBezTo>
                      <a:cubicBezTo>
                        <a:pt x="184875" y="101746"/>
                        <a:pt x="188866" y="98891"/>
                        <a:pt x="191944" y="95198"/>
                      </a:cubicBezTo>
                      <a:cubicBezTo>
                        <a:pt x="194559" y="92059"/>
                        <a:pt x="195853" y="87889"/>
                        <a:pt x="198742" y="85000"/>
                      </a:cubicBezTo>
                      <a:cubicBezTo>
                        <a:pt x="225481" y="58261"/>
                        <a:pt x="191293" y="101419"/>
                        <a:pt x="219138" y="68004"/>
                      </a:cubicBezTo>
                      <a:cubicBezTo>
                        <a:pt x="221753" y="64865"/>
                        <a:pt x="222861" y="60496"/>
                        <a:pt x="225936" y="57806"/>
                      </a:cubicBezTo>
                      <a:cubicBezTo>
                        <a:pt x="232085" y="52425"/>
                        <a:pt x="239533" y="48741"/>
                        <a:pt x="246332" y="44209"/>
                      </a:cubicBezTo>
                      <a:cubicBezTo>
                        <a:pt x="249731" y="41943"/>
                        <a:pt x="252654" y="38703"/>
                        <a:pt x="256529" y="37411"/>
                      </a:cubicBezTo>
                      <a:cubicBezTo>
                        <a:pt x="259928" y="36278"/>
                        <a:pt x="263595" y="35751"/>
                        <a:pt x="266727" y="34011"/>
                      </a:cubicBezTo>
                      <a:cubicBezTo>
                        <a:pt x="278495" y="27473"/>
                        <a:pt x="288775" y="20470"/>
                        <a:pt x="297320" y="10216"/>
                      </a:cubicBezTo>
                      <a:cubicBezTo>
                        <a:pt x="306603" y="-924"/>
                        <a:pt x="299519" y="19"/>
                        <a:pt x="307518" y="19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80" name="Forma livre 761"/>
                <p:cNvSpPr/>
                <p:nvPr/>
              </p:nvSpPr>
              <p:spPr>
                <a:xfrm>
                  <a:off x="1743029" y="3062730"/>
                  <a:ext cx="269331" cy="122373"/>
                </a:xfrm>
                <a:custGeom>
                  <a:avLst/>
                  <a:gdLst>
                    <a:gd name="connsiteX0" fmla="*/ 4189 w 269331"/>
                    <a:gd name="connsiteY0" fmla="*/ 122373 h 122373"/>
                    <a:gd name="connsiteX1" fmla="*/ 4189 w 269331"/>
                    <a:gd name="connsiteY1" fmla="*/ 74784 h 122373"/>
                    <a:gd name="connsiteX2" fmla="*/ 14387 w 269331"/>
                    <a:gd name="connsiteY2" fmla="*/ 67985 h 122373"/>
                    <a:gd name="connsiteX3" fmla="*/ 34782 w 269331"/>
                    <a:gd name="connsiteY3" fmla="*/ 61187 h 122373"/>
                    <a:gd name="connsiteX4" fmla="*/ 44980 w 269331"/>
                    <a:gd name="connsiteY4" fmla="*/ 54388 h 122373"/>
                    <a:gd name="connsiteX5" fmla="*/ 92570 w 269331"/>
                    <a:gd name="connsiteY5" fmla="*/ 61187 h 122373"/>
                    <a:gd name="connsiteX6" fmla="*/ 102767 w 269331"/>
                    <a:gd name="connsiteY6" fmla="*/ 64586 h 122373"/>
                    <a:gd name="connsiteX7" fmla="*/ 160555 w 269331"/>
                    <a:gd name="connsiteY7" fmla="*/ 57787 h 122373"/>
                    <a:gd name="connsiteX8" fmla="*/ 167353 w 269331"/>
                    <a:gd name="connsiteY8" fmla="*/ 47590 h 122373"/>
                    <a:gd name="connsiteX9" fmla="*/ 177551 w 269331"/>
                    <a:gd name="connsiteY9" fmla="*/ 40791 h 122373"/>
                    <a:gd name="connsiteX10" fmla="*/ 194547 w 269331"/>
                    <a:gd name="connsiteY10" fmla="*/ 6799 h 122373"/>
                    <a:gd name="connsiteX11" fmla="*/ 214943 w 269331"/>
                    <a:gd name="connsiteY11" fmla="*/ 0 h 122373"/>
                    <a:gd name="connsiteX12" fmla="*/ 269331 w 269331"/>
                    <a:gd name="connsiteY12" fmla="*/ 3399 h 12237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9331" h="122373">
                      <a:moveTo>
                        <a:pt x="4189" y="122373"/>
                      </a:moveTo>
                      <a:cubicBezTo>
                        <a:pt x="611" y="104483"/>
                        <a:pt x="-3104" y="94839"/>
                        <a:pt x="4189" y="74784"/>
                      </a:cubicBezTo>
                      <a:cubicBezTo>
                        <a:pt x="5585" y="70944"/>
                        <a:pt x="10654" y="69644"/>
                        <a:pt x="14387" y="67985"/>
                      </a:cubicBezTo>
                      <a:cubicBezTo>
                        <a:pt x="20935" y="65075"/>
                        <a:pt x="34782" y="61187"/>
                        <a:pt x="34782" y="61187"/>
                      </a:cubicBezTo>
                      <a:cubicBezTo>
                        <a:pt x="38181" y="58921"/>
                        <a:pt x="40894" y="54388"/>
                        <a:pt x="44980" y="54388"/>
                      </a:cubicBezTo>
                      <a:cubicBezTo>
                        <a:pt x="61004" y="54388"/>
                        <a:pt x="92570" y="61187"/>
                        <a:pt x="92570" y="61187"/>
                      </a:cubicBezTo>
                      <a:cubicBezTo>
                        <a:pt x="95969" y="62320"/>
                        <a:pt x="99184" y="64586"/>
                        <a:pt x="102767" y="64586"/>
                      </a:cubicBezTo>
                      <a:cubicBezTo>
                        <a:pt x="142970" y="64586"/>
                        <a:pt x="137739" y="65394"/>
                        <a:pt x="160555" y="57787"/>
                      </a:cubicBezTo>
                      <a:cubicBezTo>
                        <a:pt x="162821" y="54388"/>
                        <a:pt x="164464" y="50479"/>
                        <a:pt x="167353" y="47590"/>
                      </a:cubicBezTo>
                      <a:cubicBezTo>
                        <a:pt x="170242" y="44701"/>
                        <a:pt x="175285" y="44190"/>
                        <a:pt x="177551" y="40791"/>
                      </a:cubicBezTo>
                      <a:cubicBezTo>
                        <a:pt x="185207" y="29307"/>
                        <a:pt x="174380" y="13522"/>
                        <a:pt x="194547" y="6799"/>
                      </a:cubicBezTo>
                      <a:lnTo>
                        <a:pt x="214943" y="0"/>
                      </a:lnTo>
                      <a:cubicBezTo>
                        <a:pt x="255700" y="4075"/>
                        <a:pt x="237548" y="3399"/>
                        <a:pt x="269331" y="3399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81" name="Forma livre 762"/>
                <p:cNvSpPr/>
                <p:nvPr/>
              </p:nvSpPr>
              <p:spPr>
                <a:xfrm>
                  <a:off x="2212916" y="1652039"/>
                  <a:ext cx="254951" cy="285537"/>
                </a:xfrm>
                <a:custGeom>
                  <a:avLst/>
                  <a:gdLst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27750 w 254951"/>
                    <a:gd name="connsiteY3" fmla="*/ 37391 h 285537"/>
                    <a:gd name="connsiteX4" fmla="*/ 207355 w 254951"/>
                    <a:gd name="connsiteY4" fmla="*/ 44190 h 285537"/>
                    <a:gd name="connsiteX5" fmla="*/ 200556 w 254951"/>
                    <a:gd name="connsiteY5" fmla="*/ 54388 h 285537"/>
                    <a:gd name="connsiteX6" fmla="*/ 183560 w 254951"/>
                    <a:gd name="connsiteY6" fmla="*/ 71384 h 285537"/>
                    <a:gd name="connsiteX7" fmla="*/ 176761 w 254951"/>
                    <a:gd name="connsiteY7" fmla="*/ 91780 h 285537"/>
                    <a:gd name="connsiteX8" fmla="*/ 173362 w 254951"/>
                    <a:gd name="connsiteY8" fmla="*/ 101977 h 285537"/>
                    <a:gd name="connsiteX9" fmla="*/ 149567 w 254951"/>
                    <a:gd name="connsiteY9" fmla="*/ 132571 h 285537"/>
                    <a:gd name="connsiteX10" fmla="*/ 139370 w 254951"/>
                    <a:gd name="connsiteY10" fmla="*/ 139369 h 285537"/>
                    <a:gd name="connsiteX11" fmla="*/ 129172 w 254951"/>
                    <a:gd name="connsiteY11" fmla="*/ 142768 h 285537"/>
                    <a:gd name="connsiteX12" fmla="*/ 118974 w 254951"/>
                    <a:gd name="connsiteY12" fmla="*/ 152966 h 285537"/>
                    <a:gd name="connsiteX13" fmla="*/ 108776 w 254951"/>
                    <a:gd name="connsiteY13" fmla="*/ 159765 h 285537"/>
                    <a:gd name="connsiteX14" fmla="*/ 88381 w 254951"/>
                    <a:gd name="connsiteY14" fmla="*/ 190358 h 285537"/>
                    <a:gd name="connsiteX15" fmla="*/ 81582 w 254951"/>
                    <a:gd name="connsiteY15" fmla="*/ 200556 h 285537"/>
                    <a:gd name="connsiteX16" fmla="*/ 71384 w 254951"/>
                    <a:gd name="connsiteY16" fmla="*/ 210754 h 285537"/>
                    <a:gd name="connsiteX17" fmla="*/ 64586 w 254951"/>
                    <a:gd name="connsiteY17" fmla="*/ 220951 h 285537"/>
                    <a:gd name="connsiteX18" fmla="*/ 44190 w 254951"/>
                    <a:gd name="connsiteY18" fmla="*/ 234548 h 285537"/>
                    <a:gd name="connsiteX19" fmla="*/ 33993 w 254951"/>
                    <a:gd name="connsiteY19" fmla="*/ 244746 h 285537"/>
                    <a:gd name="connsiteX20" fmla="*/ 27194 w 254951"/>
                    <a:gd name="connsiteY20" fmla="*/ 254944 h 285537"/>
                    <a:gd name="connsiteX21" fmla="*/ 6798 w 254951"/>
                    <a:gd name="connsiteY21" fmla="*/ 275339 h 285537"/>
                    <a:gd name="connsiteX22" fmla="*/ 0 w 254951"/>
                    <a:gd name="connsiteY22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27750 w 254951"/>
                    <a:gd name="connsiteY3" fmla="*/ 37391 h 285537"/>
                    <a:gd name="connsiteX4" fmla="*/ 207355 w 254951"/>
                    <a:gd name="connsiteY4" fmla="*/ 44190 h 285537"/>
                    <a:gd name="connsiteX5" fmla="*/ 183560 w 254951"/>
                    <a:gd name="connsiteY5" fmla="*/ 71384 h 285537"/>
                    <a:gd name="connsiteX6" fmla="*/ 176761 w 254951"/>
                    <a:gd name="connsiteY6" fmla="*/ 91780 h 285537"/>
                    <a:gd name="connsiteX7" fmla="*/ 173362 w 254951"/>
                    <a:gd name="connsiteY7" fmla="*/ 101977 h 285537"/>
                    <a:gd name="connsiteX8" fmla="*/ 149567 w 254951"/>
                    <a:gd name="connsiteY8" fmla="*/ 132571 h 285537"/>
                    <a:gd name="connsiteX9" fmla="*/ 139370 w 254951"/>
                    <a:gd name="connsiteY9" fmla="*/ 139369 h 285537"/>
                    <a:gd name="connsiteX10" fmla="*/ 129172 w 254951"/>
                    <a:gd name="connsiteY10" fmla="*/ 142768 h 285537"/>
                    <a:gd name="connsiteX11" fmla="*/ 118974 w 254951"/>
                    <a:gd name="connsiteY11" fmla="*/ 152966 h 285537"/>
                    <a:gd name="connsiteX12" fmla="*/ 108776 w 254951"/>
                    <a:gd name="connsiteY12" fmla="*/ 159765 h 285537"/>
                    <a:gd name="connsiteX13" fmla="*/ 88381 w 254951"/>
                    <a:gd name="connsiteY13" fmla="*/ 190358 h 285537"/>
                    <a:gd name="connsiteX14" fmla="*/ 81582 w 254951"/>
                    <a:gd name="connsiteY14" fmla="*/ 200556 h 285537"/>
                    <a:gd name="connsiteX15" fmla="*/ 71384 w 254951"/>
                    <a:gd name="connsiteY15" fmla="*/ 210754 h 285537"/>
                    <a:gd name="connsiteX16" fmla="*/ 64586 w 254951"/>
                    <a:gd name="connsiteY16" fmla="*/ 220951 h 285537"/>
                    <a:gd name="connsiteX17" fmla="*/ 44190 w 254951"/>
                    <a:gd name="connsiteY17" fmla="*/ 234548 h 285537"/>
                    <a:gd name="connsiteX18" fmla="*/ 33993 w 254951"/>
                    <a:gd name="connsiteY18" fmla="*/ 244746 h 285537"/>
                    <a:gd name="connsiteX19" fmla="*/ 27194 w 254951"/>
                    <a:gd name="connsiteY19" fmla="*/ 254944 h 285537"/>
                    <a:gd name="connsiteX20" fmla="*/ 6798 w 254951"/>
                    <a:gd name="connsiteY20" fmla="*/ 275339 h 285537"/>
                    <a:gd name="connsiteX21" fmla="*/ 0 w 254951"/>
                    <a:gd name="connsiteY21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27750 w 254951"/>
                    <a:gd name="connsiteY3" fmla="*/ 37391 h 285537"/>
                    <a:gd name="connsiteX4" fmla="*/ 207355 w 254951"/>
                    <a:gd name="connsiteY4" fmla="*/ 44190 h 285537"/>
                    <a:gd name="connsiteX5" fmla="*/ 176761 w 254951"/>
                    <a:gd name="connsiteY5" fmla="*/ 91780 h 285537"/>
                    <a:gd name="connsiteX6" fmla="*/ 173362 w 254951"/>
                    <a:gd name="connsiteY6" fmla="*/ 101977 h 285537"/>
                    <a:gd name="connsiteX7" fmla="*/ 149567 w 254951"/>
                    <a:gd name="connsiteY7" fmla="*/ 132571 h 285537"/>
                    <a:gd name="connsiteX8" fmla="*/ 139370 w 254951"/>
                    <a:gd name="connsiteY8" fmla="*/ 139369 h 285537"/>
                    <a:gd name="connsiteX9" fmla="*/ 129172 w 254951"/>
                    <a:gd name="connsiteY9" fmla="*/ 142768 h 285537"/>
                    <a:gd name="connsiteX10" fmla="*/ 118974 w 254951"/>
                    <a:gd name="connsiteY10" fmla="*/ 152966 h 285537"/>
                    <a:gd name="connsiteX11" fmla="*/ 108776 w 254951"/>
                    <a:gd name="connsiteY11" fmla="*/ 159765 h 285537"/>
                    <a:gd name="connsiteX12" fmla="*/ 88381 w 254951"/>
                    <a:gd name="connsiteY12" fmla="*/ 190358 h 285537"/>
                    <a:gd name="connsiteX13" fmla="*/ 81582 w 254951"/>
                    <a:gd name="connsiteY13" fmla="*/ 200556 h 285537"/>
                    <a:gd name="connsiteX14" fmla="*/ 71384 w 254951"/>
                    <a:gd name="connsiteY14" fmla="*/ 210754 h 285537"/>
                    <a:gd name="connsiteX15" fmla="*/ 64586 w 254951"/>
                    <a:gd name="connsiteY15" fmla="*/ 220951 h 285537"/>
                    <a:gd name="connsiteX16" fmla="*/ 44190 w 254951"/>
                    <a:gd name="connsiteY16" fmla="*/ 234548 h 285537"/>
                    <a:gd name="connsiteX17" fmla="*/ 33993 w 254951"/>
                    <a:gd name="connsiteY17" fmla="*/ 244746 h 285537"/>
                    <a:gd name="connsiteX18" fmla="*/ 27194 w 254951"/>
                    <a:gd name="connsiteY18" fmla="*/ 254944 h 285537"/>
                    <a:gd name="connsiteX19" fmla="*/ 6798 w 254951"/>
                    <a:gd name="connsiteY19" fmla="*/ 275339 h 285537"/>
                    <a:gd name="connsiteX20" fmla="*/ 0 w 254951"/>
                    <a:gd name="connsiteY20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27750 w 254951"/>
                    <a:gd name="connsiteY3" fmla="*/ 37391 h 285537"/>
                    <a:gd name="connsiteX4" fmla="*/ 207355 w 254951"/>
                    <a:gd name="connsiteY4" fmla="*/ 44190 h 285537"/>
                    <a:gd name="connsiteX5" fmla="*/ 173362 w 254951"/>
                    <a:gd name="connsiteY5" fmla="*/ 101977 h 285537"/>
                    <a:gd name="connsiteX6" fmla="*/ 149567 w 254951"/>
                    <a:gd name="connsiteY6" fmla="*/ 132571 h 285537"/>
                    <a:gd name="connsiteX7" fmla="*/ 139370 w 254951"/>
                    <a:gd name="connsiteY7" fmla="*/ 139369 h 285537"/>
                    <a:gd name="connsiteX8" fmla="*/ 129172 w 254951"/>
                    <a:gd name="connsiteY8" fmla="*/ 142768 h 285537"/>
                    <a:gd name="connsiteX9" fmla="*/ 118974 w 254951"/>
                    <a:gd name="connsiteY9" fmla="*/ 152966 h 285537"/>
                    <a:gd name="connsiteX10" fmla="*/ 108776 w 254951"/>
                    <a:gd name="connsiteY10" fmla="*/ 159765 h 285537"/>
                    <a:gd name="connsiteX11" fmla="*/ 88381 w 254951"/>
                    <a:gd name="connsiteY11" fmla="*/ 190358 h 285537"/>
                    <a:gd name="connsiteX12" fmla="*/ 81582 w 254951"/>
                    <a:gd name="connsiteY12" fmla="*/ 200556 h 285537"/>
                    <a:gd name="connsiteX13" fmla="*/ 71384 w 254951"/>
                    <a:gd name="connsiteY13" fmla="*/ 210754 h 285537"/>
                    <a:gd name="connsiteX14" fmla="*/ 64586 w 254951"/>
                    <a:gd name="connsiteY14" fmla="*/ 220951 h 285537"/>
                    <a:gd name="connsiteX15" fmla="*/ 44190 w 254951"/>
                    <a:gd name="connsiteY15" fmla="*/ 234548 h 285537"/>
                    <a:gd name="connsiteX16" fmla="*/ 33993 w 254951"/>
                    <a:gd name="connsiteY16" fmla="*/ 244746 h 285537"/>
                    <a:gd name="connsiteX17" fmla="*/ 27194 w 254951"/>
                    <a:gd name="connsiteY17" fmla="*/ 254944 h 285537"/>
                    <a:gd name="connsiteX18" fmla="*/ 6798 w 254951"/>
                    <a:gd name="connsiteY18" fmla="*/ 275339 h 285537"/>
                    <a:gd name="connsiteX19" fmla="*/ 0 w 254951"/>
                    <a:gd name="connsiteY19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27750 w 254951"/>
                    <a:gd name="connsiteY3" fmla="*/ 37391 h 285537"/>
                    <a:gd name="connsiteX4" fmla="*/ 173362 w 254951"/>
                    <a:gd name="connsiteY4" fmla="*/ 101977 h 285537"/>
                    <a:gd name="connsiteX5" fmla="*/ 149567 w 254951"/>
                    <a:gd name="connsiteY5" fmla="*/ 132571 h 285537"/>
                    <a:gd name="connsiteX6" fmla="*/ 139370 w 254951"/>
                    <a:gd name="connsiteY6" fmla="*/ 139369 h 285537"/>
                    <a:gd name="connsiteX7" fmla="*/ 129172 w 254951"/>
                    <a:gd name="connsiteY7" fmla="*/ 142768 h 285537"/>
                    <a:gd name="connsiteX8" fmla="*/ 118974 w 254951"/>
                    <a:gd name="connsiteY8" fmla="*/ 152966 h 285537"/>
                    <a:gd name="connsiteX9" fmla="*/ 108776 w 254951"/>
                    <a:gd name="connsiteY9" fmla="*/ 159765 h 285537"/>
                    <a:gd name="connsiteX10" fmla="*/ 88381 w 254951"/>
                    <a:gd name="connsiteY10" fmla="*/ 190358 h 285537"/>
                    <a:gd name="connsiteX11" fmla="*/ 81582 w 254951"/>
                    <a:gd name="connsiteY11" fmla="*/ 200556 h 285537"/>
                    <a:gd name="connsiteX12" fmla="*/ 71384 w 254951"/>
                    <a:gd name="connsiteY12" fmla="*/ 210754 h 285537"/>
                    <a:gd name="connsiteX13" fmla="*/ 64586 w 254951"/>
                    <a:gd name="connsiteY13" fmla="*/ 220951 h 285537"/>
                    <a:gd name="connsiteX14" fmla="*/ 44190 w 254951"/>
                    <a:gd name="connsiteY14" fmla="*/ 234548 h 285537"/>
                    <a:gd name="connsiteX15" fmla="*/ 33993 w 254951"/>
                    <a:gd name="connsiteY15" fmla="*/ 244746 h 285537"/>
                    <a:gd name="connsiteX16" fmla="*/ 27194 w 254951"/>
                    <a:gd name="connsiteY16" fmla="*/ 254944 h 285537"/>
                    <a:gd name="connsiteX17" fmla="*/ 6798 w 254951"/>
                    <a:gd name="connsiteY17" fmla="*/ 275339 h 285537"/>
                    <a:gd name="connsiteX18" fmla="*/ 0 w 254951"/>
                    <a:gd name="connsiteY18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00556 w 254951"/>
                    <a:gd name="connsiteY3" fmla="*/ 71383 h 285537"/>
                    <a:gd name="connsiteX4" fmla="*/ 173362 w 254951"/>
                    <a:gd name="connsiteY4" fmla="*/ 101977 h 285537"/>
                    <a:gd name="connsiteX5" fmla="*/ 149567 w 254951"/>
                    <a:gd name="connsiteY5" fmla="*/ 132571 h 285537"/>
                    <a:gd name="connsiteX6" fmla="*/ 139370 w 254951"/>
                    <a:gd name="connsiteY6" fmla="*/ 139369 h 285537"/>
                    <a:gd name="connsiteX7" fmla="*/ 129172 w 254951"/>
                    <a:gd name="connsiteY7" fmla="*/ 142768 h 285537"/>
                    <a:gd name="connsiteX8" fmla="*/ 118974 w 254951"/>
                    <a:gd name="connsiteY8" fmla="*/ 152966 h 285537"/>
                    <a:gd name="connsiteX9" fmla="*/ 108776 w 254951"/>
                    <a:gd name="connsiteY9" fmla="*/ 159765 h 285537"/>
                    <a:gd name="connsiteX10" fmla="*/ 88381 w 254951"/>
                    <a:gd name="connsiteY10" fmla="*/ 190358 h 285537"/>
                    <a:gd name="connsiteX11" fmla="*/ 81582 w 254951"/>
                    <a:gd name="connsiteY11" fmla="*/ 200556 h 285537"/>
                    <a:gd name="connsiteX12" fmla="*/ 71384 w 254951"/>
                    <a:gd name="connsiteY12" fmla="*/ 210754 h 285537"/>
                    <a:gd name="connsiteX13" fmla="*/ 64586 w 254951"/>
                    <a:gd name="connsiteY13" fmla="*/ 220951 h 285537"/>
                    <a:gd name="connsiteX14" fmla="*/ 44190 w 254951"/>
                    <a:gd name="connsiteY14" fmla="*/ 234548 h 285537"/>
                    <a:gd name="connsiteX15" fmla="*/ 33993 w 254951"/>
                    <a:gd name="connsiteY15" fmla="*/ 244746 h 285537"/>
                    <a:gd name="connsiteX16" fmla="*/ 27194 w 254951"/>
                    <a:gd name="connsiteY16" fmla="*/ 254944 h 285537"/>
                    <a:gd name="connsiteX17" fmla="*/ 6798 w 254951"/>
                    <a:gd name="connsiteY17" fmla="*/ 275339 h 285537"/>
                    <a:gd name="connsiteX18" fmla="*/ 0 w 254951"/>
                    <a:gd name="connsiteY18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00556 w 254951"/>
                    <a:gd name="connsiteY3" fmla="*/ 71383 h 285537"/>
                    <a:gd name="connsiteX4" fmla="*/ 173362 w 254951"/>
                    <a:gd name="connsiteY4" fmla="*/ 101977 h 285537"/>
                    <a:gd name="connsiteX5" fmla="*/ 149567 w 254951"/>
                    <a:gd name="connsiteY5" fmla="*/ 132571 h 285537"/>
                    <a:gd name="connsiteX6" fmla="*/ 139370 w 254951"/>
                    <a:gd name="connsiteY6" fmla="*/ 139369 h 285537"/>
                    <a:gd name="connsiteX7" fmla="*/ 129172 w 254951"/>
                    <a:gd name="connsiteY7" fmla="*/ 142768 h 285537"/>
                    <a:gd name="connsiteX8" fmla="*/ 118974 w 254951"/>
                    <a:gd name="connsiteY8" fmla="*/ 152966 h 285537"/>
                    <a:gd name="connsiteX9" fmla="*/ 88381 w 254951"/>
                    <a:gd name="connsiteY9" fmla="*/ 190358 h 285537"/>
                    <a:gd name="connsiteX10" fmla="*/ 81582 w 254951"/>
                    <a:gd name="connsiteY10" fmla="*/ 200556 h 285537"/>
                    <a:gd name="connsiteX11" fmla="*/ 71384 w 254951"/>
                    <a:gd name="connsiteY11" fmla="*/ 210754 h 285537"/>
                    <a:gd name="connsiteX12" fmla="*/ 64586 w 254951"/>
                    <a:gd name="connsiteY12" fmla="*/ 220951 h 285537"/>
                    <a:gd name="connsiteX13" fmla="*/ 44190 w 254951"/>
                    <a:gd name="connsiteY13" fmla="*/ 234548 h 285537"/>
                    <a:gd name="connsiteX14" fmla="*/ 33993 w 254951"/>
                    <a:gd name="connsiteY14" fmla="*/ 244746 h 285537"/>
                    <a:gd name="connsiteX15" fmla="*/ 27194 w 254951"/>
                    <a:gd name="connsiteY15" fmla="*/ 254944 h 285537"/>
                    <a:gd name="connsiteX16" fmla="*/ 6798 w 254951"/>
                    <a:gd name="connsiteY16" fmla="*/ 275339 h 285537"/>
                    <a:gd name="connsiteX17" fmla="*/ 0 w 254951"/>
                    <a:gd name="connsiteY17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00556 w 254951"/>
                    <a:gd name="connsiteY3" fmla="*/ 71383 h 285537"/>
                    <a:gd name="connsiteX4" fmla="*/ 173362 w 254951"/>
                    <a:gd name="connsiteY4" fmla="*/ 101977 h 285537"/>
                    <a:gd name="connsiteX5" fmla="*/ 149567 w 254951"/>
                    <a:gd name="connsiteY5" fmla="*/ 132571 h 285537"/>
                    <a:gd name="connsiteX6" fmla="*/ 139370 w 254951"/>
                    <a:gd name="connsiteY6" fmla="*/ 139369 h 285537"/>
                    <a:gd name="connsiteX7" fmla="*/ 129172 w 254951"/>
                    <a:gd name="connsiteY7" fmla="*/ 142768 h 285537"/>
                    <a:gd name="connsiteX8" fmla="*/ 88381 w 254951"/>
                    <a:gd name="connsiteY8" fmla="*/ 190358 h 285537"/>
                    <a:gd name="connsiteX9" fmla="*/ 81582 w 254951"/>
                    <a:gd name="connsiteY9" fmla="*/ 200556 h 285537"/>
                    <a:gd name="connsiteX10" fmla="*/ 71384 w 254951"/>
                    <a:gd name="connsiteY10" fmla="*/ 210754 h 285537"/>
                    <a:gd name="connsiteX11" fmla="*/ 64586 w 254951"/>
                    <a:gd name="connsiteY11" fmla="*/ 220951 h 285537"/>
                    <a:gd name="connsiteX12" fmla="*/ 44190 w 254951"/>
                    <a:gd name="connsiteY12" fmla="*/ 234548 h 285537"/>
                    <a:gd name="connsiteX13" fmla="*/ 33993 w 254951"/>
                    <a:gd name="connsiteY13" fmla="*/ 244746 h 285537"/>
                    <a:gd name="connsiteX14" fmla="*/ 27194 w 254951"/>
                    <a:gd name="connsiteY14" fmla="*/ 254944 h 285537"/>
                    <a:gd name="connsiteX15" fmla="*/ 6798 w 254951"/>
                    <a:gd name="connsiteY15" fmla="*/ 275339 h 285537"/>
                    <a:gd name="connsiteX16" fmla="*/ 0 w 254951"/>
                    <a:gd name="connsiteY16" fmla="*/ 285537 h 285537"/>
                    <a:gd name="connsiteX0" fmla="*/ 244746 w 254951"/>
                    <a:gd name="connsiteY0" fmla="*/ 0 h 285537"/>
                    <a:gd name="connsiteX1" fmla="*/ 248146 w 254951"/>
                    <a:gd name="connsiteY1" fmla="*/ 27194 h 285537"/>
                    <a:gd name="connsiteX2" fmla="*/ 237948 w 254951"/>
                    <a:gd name="connsiteY2" fmla="*/ 30593 h 285537"/>
                    <a:gd name="connsiteX3" fmla="*/ 200556 w 254951"/>
                    <a:gd name="connsiteY3" fmla="*/ 71383 h 285537"/>
                    <a:gd name="connsiteX4" fmla="*/ 173362 w 254951"/>
                    <a:gd name="connsiteY4" fmla="*/ 101977 h 285537"/>
                    <a:gd name="connsiteX5" fmla="*/ 149567 w 254951"/>
                    <a:gd name="connsiteY5" fmla="*/ 132571 h 285537"/>
                    <a:gd name="connsiteX6" fmla="*/ 139370 w 254951"/>
                    <a:gd name="connsiteY6" fmla="*/ 139369 h 285537"/>
                    <a:gd name="connsiteX7" fmla="*/ 129172 w 254951"/>
                    <a:gd name="connsiteY7" fmla="*/ 142768 h 285537"/>
                    <a:gd name="connsiteX8" fmla="*/ 91780 w 254951"/>
                    <a:gd name="connsiteY8" fmla="*/ 176761 h 285537"/>
                    <a:gd name="connsiteX9" fmla="*/ 81582 w 254951"/>
                    <a:gd name="connsiteY9" fmla="*/ 200556 h 285537"/>
                    <a:gd name="connsiteX10" fmla="*/ 71384 w 254951"/>
                    <a:gd name="connsiteY10" fmla="*/ 210754 h 285537"/>
                    <a:gd name="connsiteX11" fmla="*/ 64586 w 254951"/>
                    <a:gd name="connsiteY11" fmla="*/ 220951 h 285537"/>
                    <a:gd name="connsiteX12" fmla="*/ 44190 w 254951"/>
                    <a:gd name="connsiteY12" fmla="*/ 234548 h 285537"/>
                    <a:gd name="connsiteX13" fmla="*/ 33993 w 254951"/>
                    <a:gd name="connsiteY13" fmla="*/ 244746 h 285537"/>
                    <a:gd name="connsiteX14" fmla="*/ 27194 w 254951"/>
                    <a:gd name="connsiteY14" fmla="*/ 254944 h 285537"/>
                    <a:gd name="connsiteX15" fmla="*/ 6798 w 254951"/>
                    <a:gd name="connsiteY15" fmla="*/ 275339 h 285537"/>
                    <a:gd name="connsiteX16" fmla="*/ 0 w 254951"/>
                    <a:gd name="connsiteY16" fmla="*/ 285537 h 2855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254951" h="285537">
                      <a:moveTo>
                        <a:pt x="244746" y="0"/>
                      </a:moveTo>
                      <a:cubicBezTo>
                        <a:pt x="252243" y="12495"/>
                        <a:pt x="261578" y="16448"/>
                        <a:pt x="248146" y="27194"/>
                      </a:cubicBezTo>
                      <a:cubicBezTo>
                        <a:pt x="245348" y="29432"/>
                        <a:pt x="245880" y="23228"/>
                        <a:pt x="237948" y="30593"/>
                      </a:cubicBezTo>
                      <a:cubicBezTo>
                        <a:pt x="230016" y="37958"/>
                        <a:pt x="211320" y="59486"/>
                        <a:pt x="200556" y="71383"/>
                      </a:cubicBezTo>
                      <a:cubicBezTo>
                        <a:pt x="189792" y="83280"/>
                        <a:pt x="181860" y="91779"/>
                        <a:pt x="173362" y="101977"/>
                      </a:cubicBezTo>
                      <a:cubicBezTo>
                        <a:pt x="164864" y="112175"/>
                        <a:pt x="161549" y="122586"/>
                        <a:pt x="149567" y="132571"/>
                      </a:cubicBezTo>
                      <a:cubicBezTo>
                        <a:pt x="146429" y="135186"/>
                        <a:pt x="143024" y="137542"/>
                        <a:pt x="139370" y="139369"/>
                      </a:cubicBezTo>
                      <a:cubicBezTo>
                        <a:pt x="136165" y="140971"/>
                        <a:pt x="132571" y="141635"/>
                        <a:pt x="129172" y="142768"/>
                      </a:cubicBezTo>
                      <a:cubicBezTo>
                        <a:pt x="120674" y="151266"/>
                        <a:pt x="99712" y="167130"/>
                        <a:pt x="91780" y="176761"/>
                      </a:cubicBezTo>
                      <a:cubicBezTo>
                        <a:pt x="83848" y="186392"/>
                        <a:pt x="84981" y="194891"/>
                        <a:pt x="81582" y="200556"/>
                      </a:cubicBezTo>
                      <a:cubicBezTo>
                        <a:pt x="78183" y="206221"/>
                        <a:pt x="74462" y="207061"/>
                        <a:pt x="71384" y="210754"/>
                      </a:cubicBezTo>
                      <a:cubicBezTo>
                        <a:pt x="68769" y="213892"/>
                        <a:pt x="67660" y="218261"/>
                        <a:pt x="64586" y="220951"/>
                      </a:cubicBezTo>
                      <a:cubicBezTo>
                        <a:pt x="58437" y="226331"/>
                        <a:pt x="49967" y="228770"/>
                        <a:pt x="44190" y="234548"/>
                      </a:cubicBezTo>
                      <a:cubicBezTo>
                        <a:pt x="40791" y="237947"/>
                        <a:pt x="37070" y="241053"/>
                        <a:pt x="33993" y="244746"/>
                      </a:cubicBezTo>
                      <a:cubicBezTo>
                        <a:pt x="31378" y="247885"/>
                        <a:pt x="29908" y="251890"/>
                        <a:pt x="27194" y="254944"/>
                      </a:cubicBezTo>
                      <a:cubicBezTo>
                        <a:pt x="20806" y="262130"/>
                        <a:pt x="12131" y="267339"/>
                        <a:pt x="6798" y="275339"/>
                      </a:cubicBezTo>
                      <a:lnTo>
                        <a:pt x="0" y="285537"/>
                      </a:ln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82" name="Forma livre 763"/>
                <p:cNvSpPr/>
                <p:nvPr/>
              </p:nvSpPr>
              <p:spPr>
                <a:xfrm>
                  <a:off x="2333805" y="693805"/>
                  <a:ext cx="35808" cy="249059"/>
                </a:xfrm>
                <a:custGeom>
                  <a:avLst/>
                  <a:gdLst>
                    <a:gd name="connsiteX0" fmla="*/ 9038 w 41059"/>
                    <a:gd name="connsiteY0" fmla="*/ 0 h 249059"/>
                    <a:gd name="connsiteX1" fmla="*/ 5480 w 41059"/>
                    <a:gd name="connsiteY1" fmla="*/ 67602 h 249059"/>
                    <a:gd name="connsiteX2" fmla="*/ 12596 w 41059"/>
                    <a:gd name="connsiteY2" fmla="*/ 88950 h 249059"/>
                    <a:gd name="connsiteX3" fmla="*/ 16154 w 41059"/>
                    <a:gd name="connsiteY3" fmla="*/ 110298 h 249059"/>
                    <a:gd name="connsiteX4" fmla="*/ 30385 w 41059"/>
                    <a:gd name="connsiteY4" fmla="*/ 149435 h 249059"/>
                    <a:gd name="connsiteX5" fmla="*/ 33943 w 41059"/>
                    <a:gd name="connsiteY5" fmla="*/ 174341 h 249059"/>
                    <a:gd name="connsiteX6" fmla="*/ 41059 w 41059"/>
                    <a:gd name="connsiteY6" fmla="*/ 202805 h 249059"/>
                    <a:gd name="connsiteX7" fmla="*/ 37501 w 41059"/>
                    <a:gd name="connsiteY7" fmla="*/ 249059 h 249059"/>
                    <a:gd name="connsiteX0" fmla="*/ 9038 w 37501"/>
                    <a:gd name="connsiteY0" fmla="*/ 0 h 249059"/>
                    <a:gd name="connsiteX1" fmla="*/ 5480 w 37501"/>
                    <a:gd name="connsiteY1" fmla="*/ 67602 h 249059"/>
                    <a:gd name="connsiteX2" fmla="*/ 12596 w 37501"/>
                    <a:gd name="connsiteY2" fmla="*/ 88950 h 249059"/>
                    <a:gd name="connsiteX3" fmla="*/ 16154 w 37501"/>
                    <a:gd name="connsiteY3" fmla="*/ 110298 h 249059"/>
                    <a:gd name="connsiteX4" fmla="*/ 30385 w 37501"/>
                    <a:gd name="connsiteY4" fmla="*/ 149435 h 249059"/>
                    <a:gd name="connsiteX5" fmla="*/ 33943 w 37501"/>
                    <a:gd name="connsiteY5" fmla="*/ 174341 h 249059"/>
                    <a:gd name="connsiteX6" fmla="*/ 37501 w 37501"/>
                    <a:gd name="connsiteY6" fmla="*/ 249059 h 249059"/>
                    <a:gd name="connsiteX0" fmla="*/ 9038 w 37501"/>
                    <a:gd name="connsiteY0" fmla="*/ 0 h 249059"/>
                    <a:gd name="connsiteX1" fmla="*/ 5480 w 37501"/>
                    <a:gd name="connsiteY1" fmla="*/ 67602 h 249059"/>
                    <a:gd name="connsiteX2" fmla="*/ 12596 w 37501"/>
                    <a:gd name="connsiteY2" fmla="*/ 88950 h 249059"/>
                    <a:gd name="connsiteX3" fmla="*/ 16154 w 37501"/>
                    <a:gd name="connsiteY3" fmla="*/ 110298 h 249059"/>
                    <a:gd name="connsiteX4" fmla="*/ 30385 w 37501"/>
                    <a:gd name="connsiteY4" fmla="*/ 149435 h 249059"/>
                    <a:gd name="connsiteX5" fmla="*/ 30385 w 37501"/>
                    <a:gd name="connsiteY5" fmla="*/ 192131 h 249059"/>
                    <a:gd name="connsiteX6" fmla="*/ 37501 w 37501"/>
                    <a:gd name="connsiteY6" fmla="*/ 249059 h 249059"/>
                    <a:gd name="connsiteX0" fmla="*/ 9038 w 37501"/>
                    <a:gd name="connsiteY0" fmla="*/ 0 h 249059"/>
                    <a:gd name="connsiteX1" fmla="*/ 5480 w 37501"/>
                    <a:gd name="connsiteY1" fmla="*/ 67602 h 249059"/>
                    <a:gd name="connsiteX2" fmla="*/ 12596 w 37501"/>
                    <a:gd name="connsiteY2" fmla="*/ 88950 h 249059"/>
                    <a:gd name="connsiteX3" fmla="*/ 16154 w 37501"/>
                    <a:gd name="connsiteY3" fmla="*/ 110298 h 249059"/>
                    <a:gd name="connsiteX4" fmla="*/ 16153 w 37501"/>
                    <a:gd name="connsiteY4" fmla="*/ 167224 h 249059"/>
                    <a:gd name="connsiteX5" fmla="*/ 30385 w 37501"/>
                    <a:gd name="connsiteY5" fmla="*/ 192131 h 249059"/>
                    <a:gd name="connsiteX6" fmla="*/ 37501 w 37501"/>
                    <a:gd name="connsiteY6" fmla="*/ 249059 h 249059"/>
                    <a:gd name="connsiteX0" fmla="*/ 7345 w 35808"/>
                    <a:gd name="connsiteY0" fmla="*/ 0 h 249059"/>
                    <a:gd name="connsiteX1" fmla="*/ 7345 w 35808"/>
                    <a:gd name="connsiteY1" fmla="*/ 46254 h 249059"/>
                    <a:gd name="connsiteX2" fmla="*/ 10903 w 35808"/>
                    <a:gd name="connsiteY2" fmla="*/ 88950 h 249059"/>
                    <a:gd name="connsiteX3" fmla="*/ 14461 w 35808"/>
                    <a:gd name="connsiteY3" fmla="*/ 110298 h 249059"/>
                    <a:gd name="connsiteX4" fmla="*/ 14460 w 35808"/>
                    <a:gd name="connsiteY4" fmla="*/ 167224 h 249059"/>
                    <a:gd name="connsiteX5" fmla="*/ 28692 w 35808"/>
                    <a:gd name="connsiteY5" fmla="*/ 192131 h 249059"/>
                    <a:gd name="connsiteX6" fmla="*/ 35808 w 35808"/>
                    <a:gd name="connsiteY6" fmla="*/ 249059 h 249059"/>
                    <a:gd name="connsiteX0" fmla="*/ 7345 w 35808"/>
                    <a:gd name="connsiteY0" fmla="*/ 0 h 249059"/>
                    <a:gd name="connsiteX1" fmla="*/ 7345 w 35808"/>
                    <a:gd name="connsiteY1" fmla="*/ 46254 h 249059"/>
                    <a:gd name="connsiteX2" fmla="*/ 10903 w 35808"/>
                    <a:gd name="connsiteY2" fmla="*/ 88950 h 249059"/>
                    <a:gd name="connsiteX3" fmla="*/ 14461 w 35808"/>
                    <a:gd name="connsiteY3" fmla="*/ 110298 h 249059"/>
                    <a:gd name="connsiteX4" fmla="*/ 14460 w 35808"/>
                    <a:gd name="connsiteY4" fmla="*/ 167224 h 249059"/>
                    <a:gd name="connsiteX5" fmla="*/ 21577 w 35808"/>
                    <a:gd name="connsiteY5" fmla="*/ 206363 h 249059"/>
                    <a:gd name="connsiteX6" fmla="*/ 35808 w 35808"/>
                    <a:gd name="connsiteY6" fmla="*/ 249059 h 249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808" h="249059">
                      <a:moveTo>
                        <a:pt x="7345" y="0"/>
                      </a:moveTo>
                      <a:cubicBezTo>
                        <a:pt x="-4722" y="30166"/>
                        <a:pt x="122" y="-1902"/>
                        <a:pt x="7345" y="46254"/>
                      </a:cubicBezTo>
                      <a:cubicBezTo>
                        <a:pt x="8458" y="53672"/>
                        <a:pt x="9717" y="78276"/>
                        <a:pt x="10903" y="88950"/>
                      </a:cubicBezTo>
                      <a:cubicBezTo>
                        <a:pt x="12089" y="99624"/>
                        <a:pt x="13868" y="97252"/>
                        <a:pt x="14461" y="110298"/>
                      </a:cubicBezTo>
                      <a:cubicBezTo>
                        <a:pt x="15054" y="123344"/>
                        <a:pt x="9746" y="155437"/>
                        <a:pt x="14460" y="167224"/>
                      </a:cubicBezTo>
                      <a:cubicBezTo>
                        <a:pt x="15646" y="175526"/>
                        <a:pt x="18019" y="192724"/>
                        <a:pt x="21577" y="206363"/>
                      </a:cubicBezTo>
                      <a:cubicBezTo>
                        <a:pt x="25135" y="220002"/>
                        <a:pt x="35067" y="233493"/>
                        <a:pt x="35808" y="249059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83" name="Forma livre 764"/>
                <p:cNvSpPr/>
                <p:nvPr/>
              </p:nvSpPr>
              <p:spPr>
                <a:xfrm>
                  <a:off x="354149" y="2409371"/>
                  <a:ext cx="667657" cy="232240"/>
                </a:xfrm>
                <a:custGeom>
                  <a:avLst/>
                  <a:gdLst>
                    <a:gd name="connsiteX0" fmla="*/ 0 w 667657"/>
                    <a:gd name="connsiteY0" fmla="*/ 0 h 232240"/>
                    <a:gd name="connsiteX1" fmla="*/ 14514 w 667657"/>
                    <a:gd name="connsiteY1" fmla="*/ 2903 h 232240"/>
                    <a:gd name="connsiteX2" fmla="*/ 98697 w 667657"/>
                    <a:gd name="connsiteY2" fmla="*/ 11612 h 232240"/>
                    <a:gd name="connsiteX3" fmla="*/ 127725 w 667657"/>
                    <a:gd name="connsiteY3" fmla="*/ 17418 h 232240"/>
                    <a:gd name="connsiteX4" fmla="*/ 136434 w 667657"/>
                    <a:gd name="connsiteY4" fmla="*/ 20320 h 232240"/>
                    <a:gd name="connsiteX5" fmla="*/ 159657 w 667657"/>
                    <a:gd name="connsiteY5" fmla="*/ 26126 h 232240"/>
                    <a:gd name="connsiteX6" fmla="*/ 174171 w 667657"/>
                    <a:gd name="connsiteY6" fmla="*/ 29029 h 232240"/>
                    <a:gd name="connsiteX7" fmla="*/ 182880 w 667657"/>
                    <a:gd name="connsiteY7" fmla="*/ 31932 h 232240"/>
                    <a:gd name="connsiteX8" fmla="*/ 197394 w 667657"/>
                    <a:gd name="connsiteY8" fmla="*/ 34835 h 232240"/>
                    <a:gd name="connsiteX9" fmla="*/ 214811 w 667657"/>
                    <a:gd name="connsiteY9" fmla="*/ 40640 h 232240"/>
                    <a:gd name="connsiteX10" fmla="*/ 226422 w 667657"/>
                    <a:gd name="connsiteY10" fmla="*/ 43543 h 232240"/>
                    <a:gd name="connsiteX11" fmla="*/ 235131 w 667657"/>
                    <a:gd name="connsiteY11" fmla="*/ 49349 h 232240"/>
                    <a:gd name="connsiteX12" fmla="*/ 243840 w 667657"/>
                    <a:gd name="connsiteY12" fmla="*/ 52252 h 232240"/>
                    <a:gd name="connsiteX13" fmla="*/ 261257 w 667657"/>
                    <a:gd name="connsiteY13" fmla="*/ 63863 h 232240"/>
                    <a:gd name="connsiteX14" fmla="*/ 269965 w 667657"/>
                    <a:gd name="connsiteY14" fmla="*/ 69669 h 232240"/>
                    <a:gd name="connsiteX15" fmla="*/ 281577 w 667657"/>
                    <a:gd name="connsiteY15" fmla="*/ 72572 h 232240"/>
                    <a:gd name="connsiteX16" fmla="*/ 290285 w 667657"/>
                    <a:gd name="connsiteY16" fmla="*/ 75475 h 232240"/>
                    <a:gd name="connsiteX17" fmla="*/ 304800 w 667657"/>
                    <a:gd name="connsiteY17" fmla="*/ 78378 h 232240"/>
                    <a:gd name="connsiteX18" fmla="*/ 313508 w 667657"/>
                    <a:gd name="connsiteY18" fmla="*/ 81280 h 232240"/>
                    <a:gd name="connsiteX19" fmla="*/ 328022 w 667657"/>
                    <a:gd name="connsiteY19" fmla="*/ 84183 h 232240"/>
                    <a:gd name="connsiteX20" fmla="*/ 368662 w 667657"/>
                    <a:gd name="connsiteY20" fmla="*/ 81280 h 232240"/>
                    <a:gd name="connsiteX21" fmla="*/ 377371 w 667657"/>
                    <a:gd name="connsiteY21" fmla="*/ 78378 h 232240"/>
                    <a:gd name="connsiteX22" fmla="*/ 391885 w 667657"/>
                    <a:gd name="connsiteY22" fmla="*/ 81280 h 232240"/>
                    <a:gd name="connsiteX23" fmla="*/ 406400 w 667657"/>
                    <a:gd name="connsiteY23" fmla="*/ 107406 h 232240"/>
                    <a:gd name="connsiteX24" fmla="*/ 415108 w 667657"/>
                    <a:gd name="connsiteY24" fmla="*/ 113212 h 232240"/>
                    <a:gd name="connsiteX25" fmla="*/ 420914 w 667657"/>
                    <a:gd name="connsiteY25" fmla="*/ 121920 h 232240"/>
                    <a:gd name="connsiteX26" fmla="*/ 423817 w 667657"/>
                    <a:gd name="connsiteY26" fmla="*/ 130629 h 232240"/>
                    <a:gd name="connsiteX27" fmla="*/ 441234 w 667657"/>
                    <a:gd name="connsiteY27" fmla="*/ 136435 h 232240"/>
                    <a:gd name="connsiteX28" fmla="*/ 449942 w 667657"/>
                    <a:gd name="connsiteY28" fmla="*/ 139338 h 232240"/>
                    <a:gd name="connsiteX29" fmla="*/ 458651 w 667657"/>
                    <a:gd name="connsiteY29" fmla="*/ 142240 h 232240"/>
                    <a:gd name="connsiteX30" fmla="*/ 467360 w 667657"/>
                    <a:gd name="connsiteY30" fmla="*/ 150949 h 232240"/>
                    <a:gd name="connsiteX31" fmla="*/ 484777 w 667657"/>
                    <a:gd name="connsiteY31" fmla="*/ 156755 h 232240"/>
                    <a:gd name="connsiteX32" fmla="*/ 493485 w 667657"/>
                    <a:gd name="connsiteY32" fmla="*/ 159658 h 232240"/>
                    <a:gd name="connsiteX33" fmla="*/ 528320 w 667657"/>
                    <a:gd name="connsiteY33" fmla="*/ 171269 h 232240"/>
                    <a:gd name="connsiteX34" fmla="*/ 545737 w 667657"/>
                    <a:gd name="connsiteY34" fmla="*/ 177075 h 232240"/>
                    <a:gd name="connsiteX35" fmla="*/ 554445 w 667657"/>
                    <a:gd name="connsiteY35" fmla="*/ 179978 h 232240"/>
                    <a:gd name="connsiteX36" fmla="*/ 563154 w 667657"/>
                    <a:gd name="connsiteY36" fmla="*/ 185783 h 232240"/>
                    <a:gd name="connsiteX37" fmla="*/ 568960 w 667657"/>
                    <a:gd name="connsiteY37" fmla="*/ 194492 h 232240"/>
                    <a:gd name="connsiteX38" fmla="*/ 595085 w 667657"/>
                    <a:gd name="connsiteY38" fmla="*/ 206103 h 232240"/>
                    <a:gd name="connsiteX39" fmla="*/ 621211 w 667657"/>
                    <a:gd name="connsiteY39" fmla="*/ 211909 h 232240"/>
                    <a:gd name="connsiteX40" fmla="*/ 647337 w 667657"/>
                    <a:gd name="connsiteY40" fmla="*/ 223520 h 232240"/>
                    <a:gd name="connsiteX41" fmla="*/ 656045 w 667657"/>
                    <a:gd name="connsiteY41" fmla="*/ 226423 h 232240"/>
                    <a:gd name="connsiteX42" fmla="*/ 667657 w 667657"/>
                    <a:gd name="connsiteY42" fmla="*/ 232229 h 2322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</a:cxnLst>
                  <a:rect l="l" t="t" r="r" b="b"/>
                  <a:pathLst>
                    <a:path w="667657" h="232240">
                      <a:moveTo>
                        <a:pt x="0" y="0"/>
                      </a:moveTo>
                      <a:cubicBezTo>
                        <a:pt x="4838" y="968"/>
                        <a:pt x="9630" y="2205"/>
                        <a:pt x="14514" y="2903"/>
                      </a:cubicBezTo>
                      <a:cubicBezTo>
                        <a:pt x="57508" y="9045"/>
                        <a:pt x="58317" y="8506"/>
                        <a:pt x="98697" y="11612"/>
                      </a:cubicBezTo>
                      <a:cubicBezTo>
                        <a:pt x="118366" y="18169"/>
                        <a:pt x="94380" y="10750"/>
                        <a:pt x="127725" y="17418"/>
                      </a:cubicBezTo>
                      <a:cubicBezTo>
                        <a:pt x="130726" y="18018"/>
                        <a:pt x="133482" y="19515"/>
                        <a:pt x="136434" y="20320"/>
                      </a:cubicBezTo>
                      <a:cubicBezTo>
                        <a:pt x="144132" y="22419"/>
                        <a:pt x="151833" y="24561"/>
                        <a:pt x="159657" y="26126"/>
                      </a:cubicBezTo>
                      <a:cubicBezTo>
                        <a:pt x="164495" y="27094"/>
                        <a:pt x="169384" y="27832"/>
                        <a:pt x="174171" y="29029"/>
                      </a:cubicBezTo>
                      <a:cubicBezTo>
                        <a:pt x="177140" y="29771"/>
                        <a:pt x="179911" y="31190"/>
                        <a:pt x="182880" y="31932"/>
                      </a:cubicBezTo>
                      <a:cubicBezTo>
                        <a:pt x="187667" y="33129"/>
                        <a:pt x="192634" y="33537"/>
                        <a:pt x="197394" y="34835"/>
                      </a:cubicBezTo>
                      <a:cubicBezTo>
                        <a:pt x="203298" y="36445"/>
                        <a:pt x="208874" y="39156"/>
                        <a:pt x="214811" y="40640"/>
                      </a:cubicBezTo>
                      <a:lnTo>
                        <a:pt x="226422" y="43543"/>
                      </a:lnTo>
                      <a:cubicBezTo>
                        <a:pt x="229325" y="45478"/>
                        <a:pt x="232010" y="47789"/>
                        <a:pt x="235131" y="49349"/>
                      </a:cubicBezTo>
                      <a:cubicBezTo>
                        <a:pt x="237868" y="50717"/>
                        <a:pt x="241165" y="50766"/>
                        <a:pt x="243840" y="52252"/>
                      </a:cubicBezTo>
                      <a:cubicBezTo>
                        <a:pt x="249939" y="55640"/>
                        <a:pt x="255451" y="59993"/>
                        <a:pt x="261257" y="63863"/>
                      </a:cubicBezTo>
                      <a:cubicBezTo>
                        <a:pt x="264160" y="65798"/>
                        <a:pt x="266580" y="68823"/>
                        <a:pt x="269965" y="69669"/>
                      </a:cubicBezTo>
                      <a:cubicBezTo>
                        <a:pt x="273836" y="70637"/>
                        <a:pt x="277741" y="71476"/>
                        <a:pt x="281577" y="72572"/>
                      </a:cubicBezTo>
                      <a:cubicBezTo>
                        <a:pt x="284519" y="73413"/>
                        <a:pt x="287317" y="74733"/>
                        <a:pt x="290285" y="75475"/>
                      </a:cubicBezTo>
                      <a:cubicBezTo>
                        <a:pt x="295072" y="76672"/>
                        <a:pt x="300013" y="77181"/>
                        <a:pt x="304800" y="78378"/>
                      </a:cubicBezTo>
                      <a:cubicBezTo>
                        <a:pt x="307768" y="79120"/>
                        <a:pt x="310540" y="80538"/>
                        <a:pt x="313508" y="81280"/>
                      </a:cubicBezTo>
                      <a:cubicBezTo>
                        <a:pt x="318295" y="82477"/>
                        <a:pt x="323184" y="83215"/>
                        <a:pt x="328022" y="84183"/>
                      </a:cubicBezTo>
                      <a:cubicBezTo>
                        <a:pt x="341569" y="83215"/>
                        <a:pt x="355174" y="82867"/>
                        <a:pt x="368662" y="81280"/>
                      </a:cubicBezTo>
                      <a:cubicBezTo>
                        <a:pt x="371701" y="80923"/>
                        <a:pt x="374311" y="78378"/>
                        <a:pt x="377371" y="78378"/>
                      </a:cubicBezTo>
                      <a:cubicBezTo>
                        <a:pt x="382305" y="78378"/>
                        <a:pt x="387047" y="80313"/>
                        <a:pt x="391885" y="81280"/>
                      </a:cubicBezTo>
                      <a:cubicBezTo>
                        <a:pt x="394910" y="90356"/>
                        <a:pt x="397843" y="101701"/>
                        <a:pt x="406400" y="107406"/>
                      </a:cubicBezTo>
                      <a:lnTo>
                        <a:pt x="415108" y="113212"/>
                      </a:lnTo>
                      <a:cubicBezTo>
                        <a:pt x="417043" y="116115"/>
                        <a:pt x="419354" y="118800"/>
                        <a:pt x="420914" y="121920"/>
                      </a:cubicBezTo>
                      <a:cubicBezTo>
                        <a:pt x="422283" y="124657"/>
                        <a:pt x="421327" y="128850"/>
                        <a:pt x="423817" y="130629"/>
                      </a:cubicBezTo>
                      <a:cubicBezTo>
                        <a:pt x="428797" y="134186"/>
                        <a:pt x="435428" y="134500"/>
                        <a:pt x="441234" y="136435"/>
                      </a:cubicBezTo>
                      <a:lnTo>
                        <a:pt x="449942" y="139338"/>
                      </a:lnTo>
                      <a:lnTo>
                        <a:pt x="458651" y="142240"/>
                      </a:lnTo>
                      <a:cubicBezTo>
                        <a:pt x="461554" y="145143"/>
                        <a:pt x="463771" y="148955"/>
                        <a:pt x="467360" y="150949"/>
                      </a:cubicBezTo>
                      <a:cubicBezTo>
                        <a:pt x="472710" y="153921"/>
                        <a:pt x="478971" y="154820"/>
                        <a:pt x="484777" y="156755"/>
                      </a:cubicBezTo>
                      <a:lnTo>
                        <a:pt x="493485" y="159658"/>
                      </a:lnTo>
                      <a:lnTo>
                        <a:pt x="528320" y="171269"/>
                      </a:lnTo>
                      <a:lnTo>
                        <a:pt x="545737" y="177075"/>
                      </a:lnTo>
                      <a:cubicBezTo>
                        <a:pt x="548640" y="178043"/>
                        <a:pt x="551899" y="178281"/>
                        <a:pt x="554445" y="179978"/>
                      </a:cubicBezTo>
                      <a:lnTo>
                        <a:pt x="563154" y="185783"/>
                      </a:lnTo>
                      <a:cubicBezTo>
                        <a:pt x="565089" y="188686"/>
                        <a:pt x="566493" y="192025"/>
                        <a:pt x="568960" y="194492"/>
                      </a:cubicBezTo>
                      <a:cubicBezTo>
                        <a:pt x="575861" y="201394"/>
                        <a:pt x="586459" y="203228"/>
                        <a:pt x="595085" y="206103"/>
                      </a:cubicBezTo>
                      <a:cubicBezTo>
                        <a:pt x="609380" y="210868"/>
                        <a:pt x="600771" y="208502"/>
                        <a:pt x="621211" y="211909"/>
                      </a:cubicBezTo>
                      <a:cubicBezTo>
                        <a:pt x="635013" y="221110"/>
                        <a:pt x="626608" y="216611"/>
                        <a:pt x="647337" y="223520"/>
                      </a:cubicBezTo>
                      <a:cubicBezTo>
                        <a:pt x="650240" y="224488"/>
                        <a:pt x="653499" y="224726"/>
                        <a:pt x="656045" y="226423"/>
                      </a:cubicBezTo>
                      <a:cubicBezTo>
                        <a:pt x="665559" y="232766"/>
                        <a:pt x="661265" y="232229"/>
                        <a:pt x="667657" y="232229"/>
                      </a:cubicBezTo>
                    </a:path>
                  </a:pathLst>
                </a:custGeom>
                <a:ln w="28575" cmpd="sng">
                  <a:solidFill>
                    <a:srgbClr val="0000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84" name="Forma livre 792"/>
                <p:cNvSpPr/>
                <p:nvPr/>
              </p:nvSpPr>
              <p:spPr>
                <a:xfrm>
                  <a:off x="3261674" y="1545996"/>
                  <a:ext cx="61274" cy="273377"/>
                </a:xfrm>
                <a:custGeom>
                  <a:avLst/>
                  <a:gdLst>
                    <a:gd name="connsiteX0" fmla="*/ 23567 w 61274"/>
                    <a:gd name="connsiteY0" fmla="*/ 273377 h 273377"/>
                    <a:gd name="connsiteX1" fmla="*/ 32994 w 61274"/>
                    <a:gd name="connsiteY1" fmla="*/ 249810 h 273377"/>
                    <a:gd name="connsiteX2" fmla="*/ 37707 w 61274"/>
                    <a:gd name="connsiteY2" fmla="*/ 235670 h 273377"/>
                    <a:gd name="connsiteX3" fmla="*/ 28281 w 61274"/>
                    <a:gd name="connsiteY3" fmla="*/ 197963 h 273377"/>
                    <a:gd name="connsiteX4" fmla="*/ 18854 w 61274"/>
                    <a:gd name="connsiteY4" fmla="*/ 183823 h 273377"/>
                    <a:gd name="connsiteX5" fmla="*/ 4714 w 61274"/>
                    <a:gd name="connsiteY5" fmla="*/ 141402 h 273377"/>
                    <a:gd name="connsiteX6" fmla="*/ 0 w 61274"/>
                    <a:gd name="connsiteY6" fmla="*/ 127262 h 273377"/>
                    <a:gd name="connsiteX7" fmla="*/ 9427 w 61274"/>
                    <a:gd name="connsiteY7" fmla="*/ 61274 h 273377"/>
                    <a:gd name="connsiteX8" fmla="*/ 14140 w 61274"/>
                    <a:gd name="connsiteY8" fmla="*/ 47134 h 273377"/>
                    <a:gd name="connsiteX9" fmla="*/ 42421 w 61274"/>
                    <a:gd name="connsiteY9" fmla="*/ 28280 h 273377"/>
                    <a:gd name="connsiteX10" fmla="*/ 61274 w 61274"/>
                    <a:gd name="connsiteY10" fmla="*/ 0 h 2733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1274" h="273377">
                      <a:moveTo>
                        <a:pt x="23567" y="273377"/>
                      </a:moveTo>
                      <a:cubicBezTo>
                        <a:pt x="26709" y="265521"/>
                        <a:pt x="30023" y="257732"/>
                        <a:pt x="32994" y="249810"/>
                      </a:cubicBezTo>
                      <a:cubicBezTo>
                        <a:pt x="34738" y="245158"/>
                        <a:pt x="37707" y="240638"/>
                        <a:pt x="37707" y="235670"/>
                      </a:cubicBezTo>
                      <a:cubicBezTo>
                        <a:pt x="37707" y="230293"/>
                        <a:pt x="32000" y="205401"/>
                        <a:pt x="28281" y="197963"/>
                      </a:cubicBezTo>
                      <a:cubicBezTo>
                        <a:pt x="25748" y="192896"/>
                        <a:pt x="21155" y="189000"/>
                        <a:pt x="18854" y="183823"/>
                      </a:cubicBezTo>
                      <a:cubicBezTo>
                        <a:pt x="18849" y="183811"/>
                        <a:pt x="7073" y="148478"/>
                        <a:pt x="4714" y="141402"/>
                      </a:cubicBezTo>
                      <a:lnTo>
                        <a:pt x="0" y="127262"/>
                      </a:lnTo>
                      <a:cubicBezTo>
                        <a:pt x="3756" y="89703"/>
                        <a:pt x="1542" y="88873"/>
                        <a:pt x="9427" y="61274"/>
                      </a:cubicBezTo>
                      <a:cubicBezTo>
                        <a:pt x="10792" y="56497"/>
                        <a:pt x="10627" y="50647"/>
                        <a:pt x="14140" y="47134"/>
                      </a:cubicBezTo>
                      <a:cubicBezTo>
                        <a:pt x="22151" y="39123"/>
                        <a:pt x="42421" y="28280"/>
                        <a:pt x="42421" y="28280"/>
                      </a:cubicBezTo>
                      <a:lnTo>
                        <a:pt x="61274" y="0"/>
                      </a:lnTo>
                    </a:path>
                  </a:pathLst>
                </a:custGeom>
                <a:noFill/>
                <a:ln w="28575" cmpd="sng">
                  <a:solidFill>
                    <a:srgbClr val="0000FF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</p:grpSp>
        <p:grpSp>
          <p:nvGrpSpPr>
            <p:cNvPr id="433" name="Grupo 13"/>
            <p:cNvGrpSpPr/>
            <p:nvPr/>
          </p:nvGrpSpPr>
          <p:grpSpPr>
            <a:xfrm>
              <a:off x="3975100" y="3148013"/>
              <a:ext cx="5268339" cy="2635250"/>
              <a:chOff x="3975100" y="3148013"/>
              <a:chExt cx="5268339" cy="2635250"/>
            </a:xfrm>
          </p:grpSpPr>
          <p:grpSp>
            <p:nvGrpSpPr>
              <p:cNvPr id="434" name="Grupo 338"/>
              <p:cNvGrpSpPr>
                <a:grpSpLocks/>
              </p:cNvGrpSpPr>
              <p:nvPr/>
            </p:nvGrpSpPr>
            <p:grpSpPr bwMode="auto">
              <a:xfrm>
                <a:off x="3975100" y="3148013"/>
                <a:ext cx="2025650" cy="2635250"/>
                <a:chOff x="3974432" y="3148013"/>
                <a:chExt cx="2026318" cy="2635166"/>
              </a:xfrm>
            </p:grpSpPr>
            <p:sp>
              <p:nvSpPr>
                <p:cNvPr id="437" name="Forma livre 765"/>
                <p:cNvSpPr/>
                <p:nvPr/>
              </p:nvSpPr>
              <p:spPr>
                <a:xfrm>
                  <a:off x="4238044" y="4997391"/>
                  <a:ext cx="398594" cy="685778"/>
                </a:xfrm>
                <a:custGeom>
                  <a:avLst/>
                  <a:gdLst>
                    <a:gd name="connsiteX0" fmla="*/ 397946 w 397946"/>
                    <a:gd name="connsiteY0" fmla="*/ 0 h 685800"/>
                    <a:gd name="connsiteX1" fmla="*/ 377894 w 397946"/>
                    <a:gd name="connsiteY1" fmla="*/ 32084 h 685800"/>
                    <a:gd name="connsiteX2" fmla="*/ 369873 w 397946"/>
                    <a:gd name="connsiteY2" fmla="*/ 44116 h 685800"/>
                    <a:gd name="connsiteX3" fmla="*/ 361852 w 397946"/>
                    <a:gd name="connsiteY3" fmla="*/ 68179 h 685800"/>
                    <a:gd name="connsiteX4" fmla="*/ 349820 w 397946"/>
                    <a:gd name="connsiteY4" fmla="*/ 76200 h 685800"/>
                    <a:gd name="connsiteX5" fmla="*/ 321746 w 397946"/>
                    <a:gd name="connsiteY5" fmla="*/ 84221 h 685800"/>
                    <a:gd name="connsiteX6" fmla="*/ 309715 w 397946"/>
                    <a:gd name="connsiteY6" fmla="*/ 88231 h 685800"/>
                    <a:gd name="connsiteX7" fmla="*/ 297683 w 397946"/>
                    <a:gd name="connsiteY7" fmla="*/ 96252 h 685800"/>
                    <a:gd name="connsiteX8" fmla="*/ 285652 w 397946"/>
                    <a:gd name="connsiteY8" fmla="*/ 120316 h 685800"/>
                    <a:gd name="connsiteX9" fmla="*/ 249557 w 397946"/>
                    <a:gd name="connsiteY9" fmla="*/ 124326 h 685800"/>
                    <a:gd name="connsiteX10" fmla="*/ 237525 w 397946"/>
                    <a:gd name="connsiteY10" fmla="*/ 132347 h 685800"/>
                    <a:gd name="connsiteX11" fmla="*/ 213462 w 397946"/>
                    <a:gd name="connsiteY11" fmla="*/ 156410 h 685800"/>
                    <a:gd name="connsiteX12" fmla="*/ 205441 w 397946"/>
                    <a:gd name="connsiteY12" fmla="*/ 180473 h 685800"/>
                    <a:gd name="connsiteX13" fmla="*/ 181378 w 397946"/>
                    <a:gd name="connsiteY13" fmla="*/ 196516 h 685800"/>
                    <a:gd name="connsiteX14" fmla="*/ 157315 w 397946"/>
                    <a:gd name="connsiteY14" fmla="*/ 216568 h 685800"/>
                    <a:gd name="connsiteX15" fmla="*/ 153304 w 397946"/>
                    <a:gd name="connsiteY15" fmla="*/ 236621 h 685800"/>
                    <a:gd name="connsiteX16" fmla="*/ 109189 w 397946"/>
                    <a:gd name="connsiteY16" fmla="*/ 232610 h 685800"/>
                    <a:gd name="connsiteX17" fmla="*/ 97157 w 397946"/>
                    <a:gd name="connsiteY17" fmla="*/ 236621 h 685800"/>
                    <a:gd name="connsiteX18" fmla="*/ 89136 w 397946"/>
                    <a:gd name="connsiteY18" fmla="*/ 260684 h 685800"/>
                    <a:gd name="connsiteX19" fmla="*/ 49031 w 397946"/>
                    <a:gd name="connsiteY19" fmla="*/ 272716 h 685800"/>
                    <a:gd name="connsiteX20" fmla="*/ 32989 w 397946"/>
                    <a:gd name="connsiteY20" fmla="*/ 296779 h 685800"/>
                    <a:gd name="connsiteX21" fmla="*/ 20957 w 397946"/>
                    <a:gd name="connsiteY21" fmla="*/ 320842 h 685800"/>
                    <a:gd name="connsiteX22" fmla="*/ 8925 w 397946"/>
                    <a:gd name="connsiteY22" fmla="*/ 328863 h 685800"/>
                    <a:gd name="connsiteX23" fmla="*/ 904 w 397946"/>
                    <a:gd name="connsiteY23" fmla="*/ 352926 h 685800"/>
                    <a:gd name="connsiteX24" fmla="*/ 16946 w 397946"/>
                    <a:gd name="connsiteY24" fmla="*/ 381000 h 685800"/>
                    <a:gd name="connsiteX25" fmla="*/ 36999 w 397946"/>
                    <a:gd name="connsiteY25" fmla="*/ 405063 h 685800"/>
                    <a:gd name="connsiteX26" fmla="*/ 45020 w 397946"/>
                    <a:gd name="connsiteY26" fmla="*/ 433137 h 685800"/>
                    <a:gd name="connsiteX27" fmla="*/ 53041 w 397946"/>
                    <a:gd name="connsiteY27" fmla="*/ 461210 h 685800"/>
                    <a:gd name="connsiteX28" fmla="*/ 57052 w 397946"/>
                    <a:gd name="connsiteY28" fmla="*/ 473242 h 685800"/>
                    <a:gd name="connsiteX29" fmla="*/ 65073 w 397946"/>
                    <a:gd name="connsiteY29" fmla="*/ 485273 h 685800"/>
                    <a:gd name="connsiteX30" fmla="*/ 73094 w 397946"/>
                    <a:gd name="connsiteY30" fmla="*/ 549442 h 685800"/>
                    <a:gd name="connsiteX31" fmla="*/ 77104 w 397946"/>
                    <a:gd name="connsiteY31" fmla="*/ 565484 h 685800"/>
                    <a:gd name="connsiteX32" fmla="*/ 85125 w 397946"/>
                    <a:gd name="connsiteY32" fmla="*/ 597568 h 685800"/>
                    <a:gd name="connsiteX33" fmla="*/ 81115 w 397946"/>
                    <a:gd name="connsiteY33" fmla="*/ 633663 h 685800"/>
                    <a:gd name="connsiteX34" fmla="*/ 73094 w 397946"/>
                    <a:gd name="connsiteY34" fmla="*/ 657726 h 685800"/>
                    <a:gd name="connsiteX35" fmla="*/ 69083 w 397946"/>
                    <a:gd name="connsiteY35" fmla="*/ 669758 h 685800"/>
                    <a:gd name="connsiteX36" fmla="*/ 69083 w 397946"/>
                    <a:gd name="connsiteY36" fmla="*/ 685800 h 685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397946" h="685800">
                      <a:moveTo>
                        <a:pt x="397946" y="0"/>
                      </a:moveTo>
                      <a:cubicBezTo>
                        <a:pt x="361130" y="46019"/>
                        <a:pt x="393566" y="737"/>
                        <a:pt x="377894" y="32084"/>
                      </a:cubicBezTo>
                      <a:cubicBezTo>
                        <a:pt x="375739" y="36395"/>
                        <a:pt x="371831" y="39711"/>
                        <a:pt x="369873" y="44116"/>
                      </a:cubicBezTo>
                      <a:cubicBezTo>
                        <a:pt x="366439" y="51842"/>
                        <a:pt x="368887" y="63489"/>
                        <a:pt x="361852" y="68179"/>
                      </a:cubicBezTo>
                      <a:cubicBezTo>
                        <a:pt x="357841" y="70853"/>
                        <a:pt x="354131" y="74044"/>
                        <a:pt x="349820" y="76200"/>
                      </a:cubicBezTo>
                      <a:cubicBezTo>
                        <a:pt x="343413" y="79404"/>
                        <a:pt x="327738" y="82509"/>
                        <a:pt x="321746" y="84221"/>
                      </a:cubicBezTo>
                      <a:cubicBezTo>
                        <a:pt x="317681" y="85382"/>
                        <a:pt x="313725" y="86894"/>
                        <a:pt x="309715" y="88231"/>
                      </a:cubicBezTo>
                      <a:cubicBezTo>
                        <a:pt x="305704" y="90905"/>
                        <a:pt x="300694" y="92488"/>
                        <a:pt x="297683" y="96252"/>
                      </a:cubicBezTo>
                      <a:cubicBezTo>
                        <a:pt x="292876" y="102261"/>
                        <a:pt x="295189" y="116848"/>
                        <a:pt x="285652" y="120316"/>
                      </a:cubicBezTo>
                      <a:cubicBezTo>
                        <a:pt x="274275" y="124453"/>
                        <a:pt x="261589" y="122989"/>
                        <a:pt x="249557" y="124326"/>
                      </a:cubicBezTo>
                      <a:cubicBezTo>
                        <a:pt x="245546" y="127000"/>
                        <a:pt x="241128" y="129145"/>
                        <a:pt x="237525" y="132347"/>
                      </a:cubicBezTo>
                      <a:cubicBezTo>
                        <a:pt x="229047" y="139883"/>
                        <a:pt x="213462" y="156410"/>
                        <a:pt x="213462" y="156410"/>
                      </a:cubicBezTo>
                      <a:cubicBezTo>
                        <a:pt x="210788" y="164431"/>
                        <a:pt x="212476" y="175783"/>
                        <a:pt x="205441" y="180473"/>
                      </a:cubicBezTo>
                      <a:cubicBezTo>
                        <a:pt x="197420" y="185821"/>
                        <a:pt x="188195" y="189700"/>
                        <a:pt x="181378" y="196516"/>
                      </a:cubicBezTo>
                      <a:cubicBezTo>
                        <a:pt x="165938" y="211955"/>
                        <a:pt x="174065" y="205401"/>
                        <a:pt x="157315" y="216568"/>
                      </a:cubicBezTo>
                      <a:cubicBezTo>
                        <a:pt x="155978" y="223252"/>
                        <a:pt x="159771" y="234465"/>
                        <a:pt x="153304" y="236621"/>
                      </a:cubicBezTo>
                      <a:cubicBezTo>
                        <a:pt x="139296" y="241290"/>
                        <a:pt x="123955" y="232610"/>
                        <a:pt x="109189" y="232610"/>
                      </a:cubicBezTo>
                      <a:cubicBezTo>
                        <a:pt x="104961" y="232610"/>
                        <a:pt x="101168" y="235284"/>
                        <a:pt x="97157" y="236621"/>
                      </a:cubicBezTo>
                      <a:cubicBezTo>
                        <a:pt x="94483" y="244642"/>
                        <a:pt x="94209" y="253920"/>
                        <a:pt x="89136" y="260684"/>
                      </a:cubicBezTo>
                      <a:cubicBezTo>
                        <a:pt x="82475" y="269566"/>
                        <a:pt x="56339" y="271498"/>
                        <a:pt x="49031" y="272716"/>
                      </a:cubicBezTo>
                      <a:cubicBezTo>
                        <a:pt x="43684" y="280737"/>
                        <a:pt x="36038" y="287634"/>
                        <a:pt x="32989" y="296779"/>
                      </a:cubicBezTo>
                      <a:cubicBezTo>
                        <a:pt x="29727" y="306563"/>
                        <a:pt x="28730" y="313069"/>
                        <a:pt x="20957" y="320842"/>
                      </a:cubicBezTo>
                      <a:cubicBezTo>
                        <a:pt x="17549" y="324250"/>
                        <a:pt x="12936" y="326189"/>
                        <a:pt x="8925" y="328863"/>
                      </a:cubicBezTo>
                      <a:cubicBezTo>
                        <a:pt x="6251" y="336884"/>
                        <a:pt x="-2877" y="345364"/>
                        <a:pt x="904" y="352926"/>
                      </a:cubicBezTo>
                      <a:cubicBezTo>
                        <a:pt x="5806" y="362730"/>
                        <a:pt x="9861" y="372499"/>
                        <a:pt x="16946" y="381000"/>
                      </a:cubicBezTo>
                      <a:cubicBezTo>
                        <a:pt x="42680" y="411880"/>
                        <a:pt x="17084" y="375190"/>
                        <a:pt x="36999" y="405063"/>
                      </a:cubicBezTo>
                      <a:cubicBezTo>
                        <a:pt x="45785" y="440204"/>
                        <a:pt x="36391" y="404373"/>
                        <a:pt x="45020" y="433137"/>
                      </a:cubicBezTo>
                      <a:cubicBezTo>
                        <a:pt x="47816" y="442459"/>
                        <a:pt x="50244" y="451888"/>
                        <a:pt x="53041" y="461210"/>
                      </a:cubicBezTo>
                      <a:cubicBezTo>
                        <a:pt x="54256" y="465259"/>
                        <a:pt x="55161" y="469461"/>
                        <a:pt x="57052" y="473242"/>
                      </a:cubicBezTo>
                      <a:cubicBezTo>
                        <a:pt x="59208" y="477553"/>
                        <a:pt x="62399" y="481263"/>
                        <a:pt x="65073" y="485273"/>
                      </a:cubicBezTo>
                      <a:cubicBezTo>
                        <a:pt x="75454" y="516422"/>
                        <a:pt x="65213" y="482450"/>
                        <a:pt x="73094" y="549442"/>
                      </a:cubicBezTo>
                      <a:cubicBezTo>
                        <a:pt x="73738" y="554916"/>
                        <a:pt x="75908" y="560103"/>
                        <a:pt x="77104" y="565484"/>
                      </a:cubicBezTo>
                      <a:cubicBezTo>
                        <a:pt x="83556" y="594518"/>
                        <a:pt x="77960" y="576071"/>
                        <a:pt x="85125" y="597568"/>
                      </a:cubicBezTo>
                      <a:cubicBezTo>
                        <a:pt x="83788" y="609600"/>
                        <a:pt x="83489" y="621792"/>
                        <a:pt x="81115" y="633663"/>
                      </a:cubicBezTo>
                      <a:cubicBezTo>
                        <a:pt x="79457" y="641954"/>
                        <a:pt x="75768" y="649705"/>
                        <a:pt x="73094" y="657726"/>
                      </a:cubicBezTo>
                      <a:cubicBezTo>
                        <a:pt x="71757" y="661737"/>
                        <a:pt x="69083" y="665530"/>
                        <a:pt x="69083" y="669758"/>
                      </a:cubicBezTo>
                      <a:lnTo>
                        <a:pt x="69083" y="685800"/>
                      </a:ln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38" name="Forma livre 766"/>
                <p:cNvSpPr/>
                <p:nvPr/>
              </p:nvSpPr>
              <p:spPr>
                <a:xfrm>
                  <a:off x="3974432" y="5341868"/>
                  <a:ext cx="268376" cy="441311"/>
                </a:xfrm>
                <a:custGeom>
                  <a:avLst/>
                  <a:gdLst>
                    <a:gd name="connsiteX0" fmla="*/ 268705 w 268705"/>
                    <a:gd name="connsiteY0" fmla="*/ 0 h 441158"/>
                    <a:gd name="connsiteX1" fmla="*/ 236621 w 268705"/>
                    <a:gd name="connsiteY1" fmla="*/ 12032 h 441158"/>
                    <a:gd name="connsiteX2" fmla="*/ 232610 w 268705"/>
                    <a:gd name="connsiteY2" fmla="*/ 52137 h 441158"/>
                    <a:gd name="connsiteX3" fmla="*/ 184484 w 268705"/>
                    <a:gd name="connsiteY3" fmla="*/ 56147 h 441158"/>
                    <a:gd name="connsiteX4" fmla="*/ 172452 w 268705"/>
                    <a:gd name="connsiteY4" fmla="*/ 64168 h 441158"/>
                    <a:gd name="connsiteX5" fmla="*/ 156410 w 268705"/>
                    <a:gd name="connsiteY5" fmla="*/ 88232 h 441158"/>
                    <a:gd name="connsiteX6" fmla="*/ 140368 w 268705"/>
                    <a:gd name="connsiteY6" fmla="*/ 92242 h 441158"/>
                    <a:gd name="connsiteX7" fmla="*/ 108284 w 268705"/>
                    <a:gd name="connsiteY7" fmla="*/ 120316 h 441158"/>
                    <a:gd name="connsiteX8" fmla="*/ 80210 w 268705"/>
                    <a:gd name="connsiteY8" fmla="*/ 124326 h 441158"/>
                    <a:gd name="connsiteX9" fmla="*/ 80210 w 268705"/>
                    <a:gd name="connsiteY9" fmla="*/ 172453 h 441158"/>
                    <a:gd name="connsiteX10" fmla="*/ 76200 w 268705"/>
                    <a:gd name="connsiteY10" fmla="*/ 184484 h 441158"/>
                    <a:gd name="connsiteX11" fmla="*/ 64168 w 268705"/>
                    <a:gd name="connsiteY11" fmla="*/ 192505 h 441158"/>
                    <a:gd name="connsiteX12" fmla="*/ 60157 w 268705"/>
                    <a:gd name="connsiteY12" fmla="*/ 204537 h 441158"/>
                    <a:gd name="connsiteX13" fmla="*/ 56147 w 268705"/>
                    <a:gd name="connsiteY13" fmla="*/ 240632 h 441158"/>
                    <a:gd name="connsiteX14" fmla="*/ 44115 w 268705"/>
                    <a:gd name="connsiteY14" fmla="*/ 252663 h 441158"/>
                    <a:gd name="connsiteX15" fmla="*/ 40105 w 268705"/>
                    <a:gd name="connsiteY15" fmla="*/ 264695 h 441158"/>
                    <a:gd name="connsiteX16" fmla="*/ 52136 w 268705"/>
                    <a:gd name="connsiteY16" fmla="*/ 292768 h 441158"/>
                    <a:gd name="connsiteX17" fmla="*/ 64168 w 268705"/>
                    <a:gd name="connsiteY17" fmla="*/ 316832 h 441158"/>
                    <a:gd name="connsiteX18" fmla="*/ 56147 w 268705"/>
                    <a:gd name="connsiteY18" fmla="*/ 368968 h 441158"/>
                    <a:gd name="connsiteX19" fmla="*/ 44115 w 268705"/>
                    <a:gd name="connsiteY19" fmla="*/ 381000 h 441158"/>
                    <a:gd name="connsiteX20" fmla="*/ 36094 w 268705"/>
                    <a:gd name="connsiteY20" fmla="*/ 393032 h 441158"/>
                    <a:gd name="connsiteX21" fmla="*/ 24063 w 268705"/>
                    <a:gd name="connsiteY21" fmla="*/ 417095 h 441158"/>
                    <a:gd name="connsiteX22" fmla="*/ 0 w 268705"/>
                    <a:gd name="connsiteY22" fmla="*/ 441158 h 441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268705" h="441158">
                      <a:moveTo>
                        <a:pt x="268705" y="0"/>
                      </a:moveTo>
                      <a:cubicBezTo>
                        <a:pt x="264790" y="783"/>
                        <a:pt x="239572" y="3180"/>
                        <a:pt x="236621" y="12032"/>
                      </a:cubicBezTo>
                      <a:cubicBezTo>
                        <a:pt x="232372" y="24778"/>
                        <a:pt x="242866" y="43459"/>
                        <a:pt x="232610" y="52137"/>
                      </a:cubicBezTo>
                      <a:cubicBezTo>
                        <a:pt x="220321" y="62535"/>
                        <a:pt x="200526" y="54810"/>
                        <a:pt x="184484" y="56147"/>
                      </a:cubicBezTo>
                      <a:cubicBezTo>
                        <a:pt x="180473" y="58821"/>
                        <a:pt x="175626" y="60540"/>
                        <a:pt x="172452" y="64168"/>
                      </a:cubicBezTo>
                      <a:cubicBezTo>
                        <a:pt x="166104" y="71423"/>
                        <a:pt x="165763" y="85894"/>
                        <a:pt x="156410" y="88232"/>
                      </a:cubicBezTo>
                      <a:lnTo>
                        <a:pt x="140368" y="92242"/>
                      </a:lnTo>
                      <a:cubicBezTo>
                        <a:pt x="123567" y="117444"/>
                        <a:pt x="132364" y="115938"/>
                        <a:pt x="108284" y="120316"/>
                      </a:cubicBezTo>
                      <a:cubicBezTo>
                        <a:pt x="98983" y="122007"/>
                        <a:pt x="89568" y="122989"/>
                        <a:pt x="80210" y="124326"/>
                      </a:cubicBezTo>
                      <a:cubicBezTo>
                        <a:pt x="86204" y="148298"/>
                        <a:pt x="86140" y="139838"/>
                        <a:pt x="80210" y="172453"/>
                      </a:cubicBezTo>
                      <a:cubicBezTo>
                        <a:pt x="79454" y="176612"/>
                        <a:pt x="78841" y="181183"/>
                        <a:pt x="76200" y="184484"/>
                      </a:cubicBezTo>
                      <a:cubicBezTo>
                        <a:pt x="73189" y="188248"/>
                        <a:pt x="68179" y="189831"/>
                        <a:pt x="64168" y="192505"/>
                      </a:cubicBezTo>
                      <a:cubicBezTo>
                        <a:pt x="62831" y="196516"/>
                        <a:pt x="60852" y="200367"/>
                        <a:pt x="60157" y="204537"/>
                      </a:cubicBezTo>
                      <a:cubicBezTo>
                        <a:pt x="58167" y="216478"/>
                        <a:pt x="59975" y="229148"/>
                        <a:pt x="56147" y="240632"/>
                      </a:cubicBezTo>
                      <a:cubicBezTo>
                        <a:pt x="54353" y="246013"/>
                        <a:pt x="48126" y="248653"/>
                        <a:pt x="44115" y="252663"/>
                      </a:cubicBezTo>
                      <a:cubicBezTo>
                        <a:pt x="42778" y="256674"/>
                        <a:pt x="40105" y="260467"/>
                        <a:pt x="40105" y="264695"/>
                      </a:cubicBezTo>
                      <a:cubicBezTo>
                        <a:pt x="40105" y="281390"/>
                        <a:pt x="45586" y="279669"/>
                        <a:pt x="52136" y="292768"/>
                      </a:cubicBezTo>
                      <a:cubicBezTo>
                        <a:pt x="68744" y="325982"/>
                        <a:pt x="41178" y="282346"/>
                        <a:pt x="64168" y="316832"/>
                      </a:cubicBezTo>
                      <a:cubicBezTo>
                        <a:pt x="61494" y="334211"/>
                        <a:pt x="61392" y="352185"/>
                        <a:pt x="56147" y="368968"/>
                      </a:cubicBezTo>
                      <a:cubicBezTo>
                        <a:pt x="54455" y="374382"/>
                        <a:pt x="47746" y="376643"/>
                        <a:pt x="44115" y="381000"/>
                      </a:cubicBezTo>
                      <a:cubicBezTo>
                        <a:pt x="41029" y="384703"/>
                        <a:pt x="38768" y="389021"/>
                        <a:pt x="36094" y="393032"/>
                      </a:cubicBezTo>
                      <a:cubicBezTo>
                        <a:pt x="32378" y="404181"/>
                        <a:pt x="32356" y="407766"/>
                        <a:pt x="24063" y="417095"/>
                      </a:cubicBezTo>
                      <a:cubicBezTo>
                        <a:pt x="16527" y="425573"/>
                        <a:pt x="0" y="441158"/>
                        <a:pt x="0" y="441158"/>
                      </a:cubicBez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39" name="Forma livre 767"/>
                <p:cNvSpPr/>
                <p:nvPr/>
              </p:nvSpPr>
              <p:spPr>
                <a:xfrm>
                  <a:off x="4093534" y="4473533"/>
                  <a:ext cx="144510" cy="441311"/>
                </a:xfrm>
                <a:custGeom>
                  <a:avLst/>
                  <a:gdLst>
                    <a:gd name="connsiteX0" fmla="*/ 136358 w 136358"/>
                    <a:gd name="connsiteY0" fmla="*/ 0 h 461210"/>
                    <a:gd name="connsiteX1" fmla="*/ 128337 w 136358"/>
                    <a:gd name="connsiteY1" fmla="*/ 20052 h 461210"/>
                    <a:gd name="connsiteX2" fmla="*/ 124327 w 136358"/>
                    <a:gd name="connsiteY2" fmla="*/ 32084 h 461210"/>
                    <a:gd name="connsiteX3" fmla="*/ 116306 w 136358"/>
                    <a:gd name="connsiteY3" fmla="*/ 44116 h 461210"/>
                    <a:gd name="connsiteX4" fmla="*/ 120316 w 136358"/>
                    <a:gd name="connsiteY4" fmla="*/ 56147 h 461210"/>
                    <a:gd name="connsiteX5" fmla="*/ 116306 w 136358"/>
                    <a:gd name="connsiteY5" fmla="*/ 88231 h 461210"/>
                    <a:gd name="connsiteX6" fmla="*/ 92242 w 136358"/>
                    <a:gd name="connsiteY6" fmla="*/ 108284 h 461210"/>
                    <a:gd name="connsiteX7" fmla="*/ 68179 w 136358"/>
                    <a:gd name="connsiteY7" fmla="*/ 116305 h 461210"/>
                    <a:gd name="connsiteX8" fmla="*/ 56148 w 136358"/>
                    <a:gd name="connsiteY8" fmla="*/ 120316 h 461210"/>
                    <a:gd name="connsiteX9" fmla="*/ 44116 w 136358"/>
                    <a:gd name="connsiteY9" fmla="*/ 128337 h 461210"/>
                    <a:gd name="connsiteX10" fmla="*/ 40106 w 136358"/>
                    <a:gd name="connsiteY10" fmla="*/ 168442 h 461210"/>
                    <a:gd name="connsiteX11" fmla="*/ 36095 w 136358"/>
                    <a:gd name="connsiteY11" fmla="*/ 184484 h 461210"/>
                    <a:gd name="connsiteX12" fmla="*/ 40106 w 136358"/>
                    <a:gd name="connsiteY12" fmla="*/ 208547 h 461210"/>
                    <a:gd name="connsiteX13" fmla="*/ 36095 w 136358"/>
                    <a:gd name="connsiteY13" fmla="*/ 236621 h 461210"/>
                    <a:gd name="connsiteX14" fmla="*/ 24064 w 136358"/>
                    <a:gd name="connsiteY14" fmla="*/ 248652 h 461210"/>
                    <a:gd name="connsiteX15" fmla="*/ 20053 w 136358"/>
                    <a:gd name="connsiteY15" fmla="*/ 260684 h 461210"/>
                    <a:gd name="connsiteX16" fmla="*/ 12032 w 136358"/>
                    <a:gd name="connsiteY16" fmla="*/ 272716 h 461210"/>
                    <a:gd name="connsiteX17" fmla="*/ 8021 w 136358"/>
                    <a:gd name="connsiteY17" fmla="*/ 284747 h 461210"/>
                    <a:gd name="connsiteX18" fmla="*/ 0 w 136358"/>
                    <a:gd name="connsiteY18" fmla="*/ 316831 h 461210"/>
                    <a:gd name="connsiteX19" fmla="*/ 4011 w 136358"/>
                    <a:gd name="connsiteY19" fmla="*/ 328863 h 461210"/>
                    <a:gd name="connsiteX20" fmla="*/ 16042 w 136358"/>
                    <a:gd name="connsiteY20" fmla="*/ 332873 h 461210"/>
                    <a:gd name="connsiteX21" fmla="*/ 24064 w 136358"/>
                    <a:gd name="connsiteY21" fmla="*/ 340895 h 461210"/>
                    <a:gd name="connsiteX22" fmla="*/ 28074 w 136358"/>
                    <a:gd name="connsiteY22" fmla="*/ 360947 h 461210"/>
                    <a:gd name="connsiteX23" fmla="*/ 32085 w 136358"/>
                    <a:gd name="connsiteY23" fmla="*/ 372979 h 461210"/>
                    <a:gd name="connsiteX24" fmla="*/ 24064 w 136358"/>
                    <a:gd name="connsiteY24" fmla="*/ 425116 h 461210"/>
                    <a:gd name="connsiteX25" fmla="*/ 16042 w 136358"/>
                    <a:gd name="connsiteY25" fmla="*/ 433137 h 461210"/>
                    <a:gd name="connsiteX26" fmla="*/ 20053 w 136358"/>
                    <a:gd name="connsiteY26" fmla="*/ 461210 h 461210"/>
                    <a:gd name="connsiteX0" fmla="*/ 136358 w 136358"/>
                    <a:gd name="connsiteY0" fmla="*/ 0 h 461210"/>
                    <a:gd name="connsiteX1" fmla="*/ 128337 w 136358"/>
                    <a:gd name="connsiteY1" fmla="*/ 20052 h 461210"/>
                    <a:gd name="connsiteX2" fmla="*/ 124327 w 136358"/>
                    <a:gd name="connsiteY2" fmla="*/ 32084 h 461210"/>
                    <a:gd name="connsiteX3" fmla="*/ 116306 w 136358"/>
                    <a:gd name="connsiteY3" fmla="*/ 44116 h 461210"/>
                    <a:gd name="connsiteX4" fmla="*/ 120316 w 136358"/>
                    <a:gd name="connsiteY4" fmla="*/ 56147 h 461210"/>
                    <a:gd name="connsiteX5" fmla="*/ 116306 w 136358"/>
                    <a:gd name="connsiteY5" fmla="*/ 88231 h 461210"/>
                    <a:gd name="connsiteX6" fmla="*/ 92242 w 136358"/>
                    <a:gd name="connsiteY6" fmla="*/ 108284 h 461210"/>
                    <a:gd name="connsiteX7" fmla="*/ 68179 w 136358"/>
                    <a:gd name="connsiteY7" fmla="*/ 116305 h 461210"/>
                    <a:gd name="connsiteX8" fmla="*/ 56148 w 136358"/>
                    <a:gd name="connsiteY8" fmla="*/ 120316 h 461210"/>
                    <a:gd name="connsiteX9" fmla="*/ 60785 w 136358"/>
                    <a:gd name="connsiteY9" fmla="*/ 145006 h 461210"/>
                    <a:gd name="connsiteX10" fmla="*/ 40106 w 136358"/>
                    <a:gd name="connsiteY10" fmla="*/ 168442 h 461210"/>
                    <a:gd name="connsiteX11" fmla="*/ 36095 w 136358"/>
                    <a:gd name="connsiteY11" fmla="*/ 184484 h 461210"/>
                    <a:gd name="connsiteX12" fmla="*/ 40106 w 136358"/>
                    <a:gd name="connsiteY12" fmla="*/ 208547 h 461210"/>
                    <a:gd name="connsiteX13" fmla="*/ 36095 w 136358"/>
                    <a:gd name="connsiteY13" fmla="*/ 236621 h 461210"/>
                    <a:gd name="connsiteX14" fmla="*/ 24064 w 136358"/>
                    <a:gd name="connsiteY14" fmla="*/ 248652 h 461210"/>
                    <a:gd name="connsiteX15" fmla="*/ 20053 w 136358"/>
                    <a:gd name="connsiteY15" fmla="*/ 260684 h 461210"/>
                    <a:gd name="connsiteX16" fmla="*/ 12032 w 136358"/>
                    <a:gd name="connsiteY16" fmla="*/ 272716 h 461210"/>
                    <a:gd name="connsiteX17" fmla="*/ 8021 w 136358"/>
                    <a:gd name="connsiteY17" fmla="*/ 284747 h 461210"/>
                    <a:gd name="connsiteX18" fmla="*/ 0 w 136358"/>
                    <a:gd name="connsiteY18" fmla="*/ 316831 h 461210"/>
                    <a:gd name="connsiteX19" fmla="*/ 4011 w 136358"/>
                    <a:gd name="connsiteY19" fmla="*/ 328863 h 461210"/>
                    <a:gd name="connsiteX20" fmla="*/ 16042 w 136358"/>
                    <a:gd name="connsiteY20" fmla="*/ 332873 h 461210"/>
                    <a:gd name="connsiteX21" fmla="*/ 24064 w 136358"/>
                    <a:gd name="connsiteY21" fmla="*/ 340895 h 461210"/>
                    <a:gd name="connsiteX22" fmla="*/ 28074 w 136358"/>
                    <a:gd name="connsiteY22" fmla="*/ 360947 h 461210"/>
                    <a:gd name="connsiteX23" fmla="*/ 32085 w 136358"/>
                    <a:gd name="connsiteY23" fmla="*/ 372979 h 461210"/>
                    <a:gd name="connsiteX24" fmla="*/ 24064 w 136358"/>
                    <a:gd name="connsiteY24" fmla="*/ 425116 h 461210"/>
                    <a:gd name="connsiteX25" fmla="*/ 16042 w 136358"/>
                    <a:gd name="connsiteY25" fmla="*/ 433137 h 461210"/>
                    <a:gd name="connsiteX26" fmla="*/ 20053 w 136358"/>
                    <a:gd name="connsiteY26" fmla="*/ 461210 h 461210"/>
                    <a:gd name="connsiteX0" fmla="*/ 136358 w 136358"/>
                    <a:gd name="connsiteY0" fmla="*/ 0 h 461210"/>
                    <a:gd name="connsiteX1" fmla="*/ 128337 w 136358"/>
                    <a:gd name="connsiteY1" fmla="*/ 20052 h 461210"/>
                    <a:gd name="connsiteX2" fmla="*/ 124327 w 136358"/>
                    <a:gd name="connsiteY2" fmla="*/ 32084 h 461210"/>
                    <a:gd name="connsiteX3" fmla="*/ 116306 w 136358"/>
                    <a:gd name="connsiteY3" fmla="*/ 44116 h 461210"/>
                    <a:gd name="connsiteX4" fmla="*/ 120316 w 136358"/>
                    <a:gd name="connsiteY4" fmla="*/ 56147 h 461210"/>
                    <a:gd name="connsiteX5" fmla="*/ 116306 w 136358"/>
                    <a:gd name="connsiteY5" fmla="*/ 88231 h 461210"/>
                    <a:gd name="connsiteX6" fmla="*/ 92242 w 136358"/>
                    <a:gd name="connsiteY6" fmla="*/ 108284 h 461210"/>
                    <a:gd name="connsiteX7" fmla="*/ 68179 w 136358"/>
                    <a:gd name="connsiteY7" fmla="*/ 116305 h 461210"/>
                    <a:gd name="connsiteX8" fmla="*/ 70435 w 136358"/>
                    <a:gd name="connsiteY8" fmla="*/ 136985 h 461210"/>
                    <a:gd name="connsiteX9" fmla="*/ 60785 w 136358"/>
                    <a:gd name="connsiteY9" fmla="*/ 145006 h 461210"/>
                    <a:gd name="connsiteX10" fmla="*/ 40106 w 136358"/>
                    <a:gd name="connsiteY10" fmla="*/ 168442 h 461210"/>
                    <a:gd name="connsiteX11" fmla="*/ 36095 w 136358"/>
                    <a:gd name="connsiteY11" fmla="*/ 184484 h 461210"/>
                    <a:gd name="connsiteX12" fmla="*/ 40106 w 136358"/>
                    <a:gd name="connsiteY12" fmla="*/ 208547 h 461210"/>
                    <a:gd name="connsiteX13" fmla="*/ 36095 w 136358"/>
                    <a:gd name="connsiteY13" fmla="*/ 236621 h 461210"/>
                    <a:gd name="connsiteX14" fmla="*/ 24064 w 136358"/>
                    <a:gd name="connsiteY14" fmla="*/ 248652 h 461210"/>
                    <a:gd name="connsiteX15" fmla="*/ 20053 w 136358"/>
                    <a:gd name="connsiteY15" fmla="*/ 260684 h 461210"/>
                    <a:gd name="connsiteX16" fmla="*/ 12032 w 136358"/>
                    <a:gd name="connsiteY16" fmla="*/ 272716 h 461210"/>
                    <a:gd name="connsiteX17" fmla="*/ 8021 w 136358"/>
                    <a:gd name="connsiteY17" fmla="*/ 284747 h 461210"/>
                    <a:gd name="connsiteX18" fmla="*/ 0 w 136358"/>
                    <a:gd name="connsiteY18" fmla="*/ 316831 h 461210"/>
                    <a:gd name="connsiteX19" fmla="*/ 4011 w 136358"/>
                    <a:gd name="connsiteY19" fmla="*/ 328863 h 461210"/>
                    <a:gd name="connsiteX20" fmla="*/ 16042 w 136358"/>
                    <a:gd name="connsiteY20" fmla="*/ 332873 h 461210"/>
                    <a:gd name="connsiteX21" fmla="*/ 24064 w 136358"/>
                    <a:gd name="connsiteY21" fmla="*/ 340895 h 461210"/>
                    <a:gd name="connsiteX22" fmla="*/ 28074 w 136358"/>
                    <a:gd name="connsiteY22" fmla="*/ 360947 h 461210"/>
                    <a:gd name="connsiteX23" fmla="*/ 32085 w 136358"/>
                    <a:gd name="connsiteY23" fmla="*/ 372979 h 461210"/>
                    <a:gd name="connsiteX24" fmla="*/ 24064 w 136358"/>
                    <a:gd name="connsiteY24" fmla="*/ 425116 h 461210"/>
                    <a:gd name="connsiteX25" fmla="*/ 16042 w 136358"/>
                    <a:gd name="connsiteY25" fmla="*/ 433137 h 461210"/>
                    <a:gd name="connsiteX26" fmla="*/ 20053 w 136358"/>
                    <a:gd name="connsiteY26" fmla="*/ 461210 h 461210"/>
                    <a:gd name="connsiteX0" fmla="*/ 136358 w 136358"/>
                    <a:gd name="connsiteY0" fmla="*/ 0 h 461210"/>
                    <a:gd name="connsiteX1" fmla="*/ 128337 w 136358"/>
                    <a:gd name="connsiteY1" fmla="*/ 20052 h 461210"/>
                    <a:gd name="connsiteX2" fmla="*/ 124327 w 136358"/>
                    <a:gd name="connsiteY2" fmla="*/ 32084 h 461210"/>
                    <a:gd name="connsiteX3" fmla="*/ 116306 w 136358"/>
                    <a:gd name="connsiteY3" fmla="*/ 44116 h 461210"/>
                    <a:gd name="connsiteX4" fmla="*/ 120316 w 136358"/>
                    <a:gd name="connsiteY4" fmla="*/ 56147 h 461210"/>
                    <a:gd name="connsiteX5" fmla="*/ 116306 w 136358"/>
                    <a:gd name="connsiteY5" fmla="*/ 88231 h 461210"/>
                    <a:gd name="connsiteX6" fmla="*/ 92242 w 136358"/>
                    <a:gd name="connsiteY6" fmla="*/ 108284 h 461210"/>
                    <a:gd name="connsiteX7" fmla="*/ 72941 w 136358"/>
                    <a:gd name="connsiteY7" fmla="*/ 128211 h 461210"/>
                    <a:gd name="connsiteX8" fmla="*/ 70435 w 136358"/>
                    <a:gd name="connsiteY8" fmla="*/ 136985 h 461210"/>
                    <a:gd name="connsiteX9" fmla="*/ 60785 w 136358"/>
                    <a:gd name="connsiteY9" fmla="*/ 145006 h 461210"/>
                    <a:gd name="connsiteX10" fmla="*/ 40106 w 136358"/>
                    <a:gd name="connsiteY10" fmla="*/ 168442 h 461210"/>
                    <a:gd name="connsiteX11" fmla="*/ 36095 w 136358"/>
                    <a:gd name="connsiteY11" fmla="*/ 184484 h 461210"/>
                    <a:gd name="connsiteX12" fmla="*/ 40106 w 136358"/>
                    <a:gd name="connsiteY12" fmla="*/ 208547 h 461210"/>
                    <a:gd name="connsiteX13" fmla="*/ 36095 w 136358"/>
                    <a:gd name="connsiteY13" fmla="*/ 236621 h 461210"/>
                    <a:gd name="connsiteX14" fmla="*/ 24064 w 136358"/>
                    <a:gd name="connsiteY14" fmla="*/ 248652 h 461210"/>
                    <a:gd name="connsiteX15" fmla="*/ 20053 w 136358"/>
                    <a:gd name="connsiteY15" fmla="*/ 260684 h 461210"/>
                    <a:gd name="connsiteX16" fmla="*/ 12032 w 136358"/>
                    <a:gd name="connsiteY16" fmla="*/ 272716 h 461210"/>
                    <a:gd name="connsiteX17" fmla="*/ 8021 w 136358"/>
                    <a:gd name="connsiteY17" fmla="*/ 284747 h 461210"/>
                    <a:gd name="connsiteX18" fmla="*/ 0 w 136358"/>
                    <a:gd name="connsiteY18" fmla="*/ 316831 h 461210"/>
                    <a:gd name="connsiteX19" fmla="*/ 4011 w 136358"/>
                    <a:gd name="connsiteY19" fmla="*/ 328863 h 461210"/>
                    <a:gd name="connsiteX20" fmla="*/ 16042 w 136358"/>
                    <a:gd name="connsiteY20" fmla="*/ 332873 h 461210"/>
                    <a:gd name="connsiteX21" fmla="*/ 24064 w 136358"/>
                    <a:gd name="connsiteY21" fmla="*/ 340895 h 461210"/>
                    <a:gd name="connsiteX22" fmla="*/ 28074 w 136358"/>
                    <a:gd name="connsiteY22" fmla="*/ 360947 h 461210"/>
                    <a:gd name="connsiteX23" fmla="*/ 32085 w 136358"/>
                    <a:gd name="connsiteY23" fmla="*/ 372979 h 461210"/>
                    <a:gd name="connsiteX24" fmla="*/ 24064 w 136358"/>
                    <a:gd name="connsiteY24" fmla="*/ 425116 h 461210"/>
                    <a:gd name="connsiteX25" fmla="*/ 16042 w 136358"/>
                    <a:gd name="connsiteY25" fmla="*/ 433137 h 461210"/>
                    <a:gd name="connsiteX26" fmla="*/ 20053 w 136358"/>
                    <a:gd name="connsiteY26" fmla="*/ 461210 h 461210"/>
                    <a:gd name="connsiteX0" fmla="*/ 136358 w 136358"/>
                    <a:gd name="connsiteY0" fmla="*/ 0 h 461210"/>
                    <a:gd name="connsiteX1" fmla="*/ 128337 w 136358"/>
                    <a:gd name="connsiteY1" fmla="*/ 20052 h 461210"/>
                    <a:gd name="connsiteX2" fmla="*/ 124327 w 136358"/>
                    <a:gd name="connsiteY2" fmla="*/ 32084 h 461210"/>
                    <a:gd name="connsiteX3" fmla="*/ 116306 w 136358"/>
                    <a:gd name="connsiteY3" fmla="*/ 44116 h 461210"/>
                    <a:gd name="connsiteX4" fmla="*/ 120316 w 136358"/>
                    <a:gd name="connsiteY4" fmla="*/ 56147 h 461210"/>
                    <a:gd name="connsiteX5" fmla="*/ 116306 w 136358"/>
                    <a:gd name="connsiteY5" fmla="*/ 88231 h 461210"/>
                    <a:gd name="connsiteX6" fmla="*/ 92242 w 136358"/>
                    <a:gd name="connsiteY6" fmla="*/ 108284 h 461210"/>
                    <a:gd name="connsiteX7" fmla="*/ 72941 w 136358"/>
                    <a:gd name="connsiteY7" fmla="*/ 128211 h 461210"/>
                    <a:gd name="connsiteX8" fmla="*/ 70435 w 136358"/>
                    <a:gd name="connsiteY8" fmla="*/ 136985 h 461210"/>
                    <a:gd name="connsiteX9" fmla="*/ 60785 w 136358"/>
                    <a:gd name="connsiteY9" fmla="*/ 145006 h 461210"/>
                    <a:gd name="connsiteX10" fmla="*/ 54394 w 136358"/>
                    <a:gd name="connsiteY10" fmla="*/ 168442 h 461210"/>
                    <a:gd name="connsiteX11" fmla="*/ 36095 w 136358"/>
                    <a:gd name="connsiteY11" fmla="*/ 184484 h 461210"/>
                    <a:gd name="connsiteX12" fmla="*/ 40106 w 136358"/>
                    <a:gd name="connsiteY12" fmla="*/ 208547 h 461210"/>
                    <a:gd name="connsiteX13" fmla="*/ 36095 w 136358"/>
                    <a:gd name="connsiteY13" fmla="*/ 236621 h 461210"/>
                    <a:gd name="connsiteX14" fmla="*/ 24064 w 136358"/>
                    <a:gd name="connsiteY14" fmla="*/ 248652 h 461210"/>
                    <a:gd name="connsiteX15" fmla="*/ 20053 w 136358"/>
                    <a:gd name="connsiteY15" fmla="*/ 260684 h 461210"/>
                    <a:gd name="connsiteX16" fmla="*/ 12032 w 136358"/>
                    <a:gd name="connsiteY16" fmla="*/ 272716 h 461210"/>
                    <a:gd name="connsiteX17" fmla="*/ 8021 w 136358"/>
                    <a:gd name="connsiteY17" fmla="*/ 284747 h 461210"/>
                    <a:gd name="connsiteX18" fmla="*/ 0 w 136358"/>
                    <a:gd name="connsiteY18" fmla="*/ 316831 h 461210"/>
                    <a:gd name="connsiteX19" fmla="*/ 4011 w 136358"/>
                    <a:gd name="connsiteY19" fmla="*/ 328863 h 461210"/>
                    <a:gd name="connsiteX20" fmla="*/ 16042 w 136358"/>
                    <a:gd name="connsiteY20" fmla="*/ 332873 h 461210"/>
                    <a:gd name="connsiteX21" fmla="*/ 24064 w 136358"/>
                    <a:gd name="connsiteY21" fmla="*/ 340895 h 461210"/>
                    <a:gd name="connsiteX22" fmla="*/ 28074 w 136358"/>
                    <a:gd name="connsiteY22" fmla="*/ 360947 h 461210"/>
                    <a:gd name="connsiteX23" fmla="*/ 32085 w 136358"/>
                    <a:gd name="connsiteY23" fmla="*/ 372979 h 461210"/>
                    <a:gd name="connsiteX24" fmla="*/ 24064 w 136358"/>
                    <a:gd name="connsiteY24" fmla="*/ 425116 h 461210"/>
                    <a:gd name="connsiteX25" fmla="*/ 16042 w 136358"/>
                    <a:gd name="connsiteY25" fmla="*/ 433137 h 461210"/>
                    <a:gd name="connsiteX26" fmla="*/ 20053 w 136358"/>
                    <a:gd name="connsiteY26" fmla="*/ 461210 h 461210"/>
                    <a:gd name="connsiteX0" fmla="*/ 136946 w 136946"/>
                    <a:gd name="connsiteY0" fmla="*/ 0 h 461210"/>
                    <a:gd name="connsiteX1" fmla="*/ 128925 w 136946"/>
                    <a:gd name="connsiteY1" fmla="*/ 20052 h 461210"/>
                    <a:gd name="connsiteX2" fmla="*/ 124915 w 136946"/>
                    <a:gd name="connsiteY2" fmla="*/ 32084 h 461210"/>
                    <a:gd name="connsiteX3" fmla="*/ 116894 w 136946"/>
                    <a:gd name="connsiteY3" fmla="*/ 44116 h 461210"/>
                    <a:gd name="connsiteX4" fmla="*/ 120904 w 136946"/>
                    <a:gd name="connsiteY4" fmla="*/ 56147 h 461210"/>
                    <a:gd name="connsiteX5" fmla="*/ 116894 w 136946"/>
                    <a:gd name="connsiteY5" fmla="*/ 88231 h 461210"/>
                    <a:gd name="connsiteX6" fmla="*/ 92830 w 136946"/>
                    <a:gd name="connsiteY6" fmla="*/ 108284 h 461210"/>
                    <a:gd name="connsiteX7" fmla="*/ 73529 w 136946"/>
                    <a:gd name="connsiteY7" fmla="*/ 128211 h 461210"/>
                    <a:gd name="connsiteX8" fmla="*/ 71023 w 136946"/>
                    <a:gd name="connsiteY8" fmla="*/ 136985 h 461210"/>
                    <a:gd name="connsiteX9" fmla="*/ 61373 w 136946"/>
                    <a:gd name="connsiteY9" fmla="*/ 145006 h 461210"/>
                    <a:gd name="connsiteX10" fmla="*/ 54982 w 136946"/>
                    <a:gd name="connsiteY10" fmla="*/ 168442 h 461210"/>
                    <a:gd name="connsiteX11" fmla="*/ 36683 w 136946"/>
                    <a:gd name="connsiteY11" fmla="*/ 184484 h 461210"/>
                    <a:gd name="connsiteX12" fmla="*/ 40694 w 136946"/>
                    <a:gd name="connsiteY12" fmla="*/ 208547 h 461210"/>
                    <a:gd name="connsiteX13" fmla="*/ 36683 w 136946"/>
                    <a:gd name="connsiteY13" fmla="*/ 236621 h 461210"/>
                    <a:gd name="connsiteX14" fmla="*/ 24652 w 136946"/>
                    <a:gd name="connsiteY14" fmla="*/ 248652 h 461210"/>
                    <a:gd name="connsiteX15" fmla="*/ 20641 w 136946"/>
                    <a:gd name="connsiteY15" fmla="*/ 260684 h 461210"/>
                    <a:gd name="connsiteX16" fmla="*/ 12620 w 136946"/>
                    <a:gd name="connsiteY16" fmla="*/ 272716 h 461210"/>
                    <a:gd name="connsiteX17" fmla="*/ 15752 w 136946"/>
                    <a:gd name="connsiteY17" fmla="*/ 294272 h 461210"/>
                    <a:gd name="connsiteX18" fmla="*/ 588 w 136946"/>
                    <a:gd name="connsiteY18" fmla="*/ 316831 h 461210"/>
                    <a:gd name="connsiteX19" fmla="*/ 4599 w 136946"/>
                    <a:gd name="connsiteY19" fmla="*/ 328863 h 461210"/>
                    <a:gd name="connsiteX20" fmla="*/ 16630 w 136946"/>
                    <a:gd name="connsiteY20" fmla="*/ 332873 h 461210"/>
                    <a:gd name="connsiteX21" fmla="*/ 24652 w 136946"/>
                    <a:gd name="connsiteY21" fmla="*/ 340895 h 461210"/>
                    <a:gd name="connsiteX22" fmla="*/ 28662 w 136946"/>
                    <a:gd name="connsiteY22" fmla="*/ 360947 h 461210"/>
                    <a:gd name="connsiteX23" fmla="*/ 32673 w 136946"/>
                    <a:gd name="connsiteY23" fmla="*/ 372979 h 461210"/>
                    <a:gd name="connsiteX24" fmla="*/ 24652 w 136946"/>
                    <a:gd name="connsiteY24" fmla="*/ 425116 h 461210"/>
                    <a:gd name="connsiteX25" fmla="*/ 16630 w 136946"/>
                    <a:gd name="connsiteY25" fmla="*/ 433137 h 461210"/>
                    <a:gd name="connsiteX26" fmla="*/ 20641 w 136946"/>
                    <a:gd name="connsiteY26" fmla="*/ 461210 h 461210"/>
                    <a:gd name="connsiteX0" fmla="*/ 136946 w 136946"/>
                    <a:gd name="connsiteY0" fmla="*/ 0 h 461210"/>
                    <a:gd name="connsiteX1" fmla="*/ 128925 w 136946"/>
                    <a:gd name="connsiteY1" fmla="*/ 20052 h 461210"/>
                    <a:gd name="connsiteX2" fmla="*/ 124915 w 136946"/>
                    <a:gd name="connsiteY2" fmla="*/ 32084 h 461210"/>
                    <a:gd name="connsiteX3" fmla="*/ 116894 w 136946"/>
                    <a:gd name="connsiteY3" fmla="*/ 44116 h 461210"/>
                    <a:gd name="connsiteX4" fmla="*/ 120904 w 136946"/>
                    <a:gd name="connsiteY4" fmla="*/ 56147 h 461210"/>
                    <a:gd name="connsiteX5" fmla="*/ 116894 w 136946"/>
                    <a:gd name="connsiteY5" fmla="*/ 88231 h 461210"/>
                    <a:gd name="connsiteX6" fmla="*/ 92830 w 136946"/>
                    <a:gd name="connsiteY6" fmla="*/ 108284 h 461210"/>
                    <a:gd name="connsiteX7" fmla="*/ 73529 w 136946"/>
                    <a:gd name="connsiteY7" fmla="*/ 128211 h 461210"/>
                    <a:gd name="connsiteX8" fmla="*/ 71023 w 136946"/>
                    <a:gd name="connsiteY8" fmla="*/ 136985 h 461210"/>
                    <a:gd name="connsiteX9" fmla="*/ 61373 w 136946"/>
                    <a:gd name="connsiteY9" fmla="*/ 145006 h 461210"/>
                    <a:gd name="connsiteX10" fmla="*/ 54982 w 136946"/>
                    <a:gd name="connsiteY10" fmla="*/ 168442 h 461210"/>
                    <a:gd name="connsiteX11" fmla="*/ 36683 w 136946"/>
                    <a:gd name="connsiteY11" fmla="*/ 184484 h 461210"/>
                    <a:gd name="connsiteX12" fmla="*/ 40694 w 136946"/>
                    <a:gd name="connsiteY12" fmla="*/ 208547 h 461210"/>
                    <a:gd name="connsiteX13" fmla="*/ 36683 w 136946"/>
                    <a:gd name="connsiteY13" fmla="*/ 236621 h 461210"/>
                    <a:gd name="connsiteX14" fmla="*/ 24652 w 136946"/>
                    <a:gd name="connsiteY14" fmla="*/ 248652 h 461210"/>
                    <a:gd name="connsiteX15" fmla="*/ 20641 w 136946"/>
                    <a:gd name="connsiteY15" fmla="*/ 260684 h 461210"/>
                    <a:gd name="connsiteX16" fmla="*/ 12620 w 136946"/>
                    <a:gd name="connsiteY16" fmla="*/ 272716 h 461210"/>
                    <a:gd name="connsiteX17" fmla="*/ 15752 w 136946"/>
                    <a:gd name="connsiteY17" fmla="*/ 294272 h 461210"/>
                    <a:gd name="connsiteX18" fmla="*/ 588 w 136946"/>
                    <a:gd name="connsiteY18" fmla="*/ 316831 h 461210"/>
                    <a:gd name="connsiteX19" fmla="*/ 4599 w 136946"/>
                    <a:gd name="connsiteY19" fmla="*/ 328863 h 461210"/>
                    <a:gd name="connsiteX20" fmla="*/ 16630 w 136946"/>
                    <a:gd name="connsiteY20" fmla="*/ 332873 h 461210"/>
                    <a:gd name="connsiteX21" fmla="*/ 24652 w 136946"/>
                    <a:gd name="connsiteY21" fmla="*/ 340895 h 461210"/>
                    <a:gd name="connsiteX22" fmla="*/ 28662 w 136946"/>
                    <a:gd name="connsiteY22" fmla="*/ 360947 h 461210"/>
                    <a:gd name="connsiteX23" fmla="*/ 27911 w 136946"/>
                    <a:gd name="connsiteY23" fmla="*/ 382504 h 461210"/>
                    <a:gd name="connsiteX24" fmla="*/ 24652 w 136946"/>
                    <a:gd name="connsiteY24" fmla="*/ 425116 h 461210"/>
                    <a:gd name="connsiteX25" fmla="*/ 16630 w 136946"/>
                    <a:gd name="connsiteY25" fmla="*/ 433137 h 461210"/>
                    <a:gd name="connsiteX26" fmla="*/ 20641 w 136946"/>
                    <a:gd name="connsiteY26" fmla="*/ 461210 h 461210"/>
                    <a:gd name="connsiteX0" fmla="*/ 136946 w 136946"/>
                    <a:gd name="connsiteY0" fmla="*/ 0 h 451685"/>
                    <a:gd name="connsiteX1" fmla="*/ 128925 w 136946"/>
                    <a:gd name="connsiteY1" fmla="*/ 20052 h 451685"/>
                    <a:gd name="connsiteX2" fmla="*/ 124915 w 136946"/>
                    <a:gd name="connsiteY2" fmla="*/ 32084 h 451685"/>
                    <a:gd name="connsiteX3" fmla="*/ 116894 w 136946"/>
                    <a:gd name="connsiteY3" fmla="*/ 44116 h 451685"/>
                    <a:gd name="connsiteX4" fmla="*/ 120904 w 136946"/>
                    <a:gd name="connsiteY4" fmla="*/ 56147 h 451685"/>
                    <a:gd name="connsiteX5" fmla="*/ 116894 w 136946"/>
                    <a:gd name="connsiteY5" fmla="*/ 88231 h 451685"/>
                    <a:gd name="connsiteX6" fmla="*/ 92830 w 136946"/>
                    <a:gd name="connsiteY6" fmla="*/ 108284 h 451685"/>
                    <a:gd name="connsiteX7" fmla="*/ 73529 w 136946"/>
                    <a:gd name="connsiteY7" fmla="*/ 128211 h 451685"/>
                    <a:gd name="connsiteX8" fmla="*/ 71023 w 136946"/>
                    <a:gd name="connsiteY8" fmla="*/ 136985 h 451685"/>
                    <a:gd name="connsiteX9" fmla="*/ 61373 w 136946"/>
                    <a:gd name="connsiteY9" fmla="*/ 145006 h 451685"/>
                    <a:gd name="connsiteX10" fmla="*/ 54982 w 136946"/>
                    <a:gd name="connsiteY10" fmla="*/ 168442 h 451685"/>
                    <a:gd name="connsiteX11" fmla="*/ 36683 w 136946"/>
                    <a:gd name="connsiteY11" fmla="*/ 184484 h 451685"/>
                    <a:gd name="connsiteX12" fmla="*/ 40694 w 136946"/>
                    <a:gd name="connsiteY12" fmla="*/ 208547 h 451685"/>
                    <a:gd name="connsiteX13" fmla="*/ 36683 w 136946"/>
                    <a:gd name="connsiteY13" fmla="*/ 236621 h 451685"/>
                    <a:gd name="connsiteX14" fmla="*/ 24652 w 136946"/>
                    <a:gd name="connsiteY14" fmla="*/ 248652 h 451685"/>
                    <a:gd name="connsiteX15" fmla="*/ 20641 w 136946"/>
                    <a:gd name="connsiteY15" fmla="*/ 260684 h 451685"/>
                    <a:gd name="connsiteX16" fmla="*/ 12620 w 136946"/>
                    <a:gd name="connsiteY16" fmla="*/ 272716 h 451685"/>
                    <a:gd name="connsiteX17" fmla="*/ 15752 w 136946"/>
                    <a:gd name="connsiteY17" fmla="*/ 294272 h 451685"/>
                    <a:gd name="connsiteX18" fmla="*/ 588 w 136946"/>
                    <a:gd name="connsiteY18" fmla="*/ 316831 h 451685"/>
                    <a:gd name="connsiteX19" fmla="*/ 4599 w 136946"/>
                    <a:gd name="connsiteY19" fmla="*/ 328863 h 451685"/>
                    <a:gd name="connsiteX20" fmla="*/ 16630 w 136946"/>
                    <a:gd name="connsiteY20" fmla="*/ 332873 h 451685"/>
                    <a:gd name="connsiteX21" fmla="*/ 24652 w 136946"/>
                    <a:gd name="connsiteY21" fmla="*/ 340895 h 451685"/>
                    <a:gd name="connsiteX22" fmla="*/ 28662 w 136946"/>
                    <a:gd name="connsiteY22" fmla="*/ 360947 h 451685"/>
                    <a:gd name="connsiteX23" fmla="*/ 27911 w 136946"/>
                    <a:gd name="connsiteY23" fmla="*/ 382504 h 451685"/>
                    <a:gd name="connsiteX24" fmla="*/ 24652 w 136946"/>
                    <a:gd name="connsiteY24" fmla="*/ 425116 h 451685"/>
                    <a:gd name="connsiteX25" fmla="*/ 16630 w 136946"/>
                    <a:gd name="connsiteY25" fmla="*/ 433137 h 451685"/>
                    <a:gd name="connsiteX26" fmla="*/ 42072 w 136946"/>
                    <a:gd name="connsiteY26" fmla="*/ 451685 h 451685"/>
                    <a:gd name="connsiteX0" fmla="*/ 136946 w 136946"/>
                    <a:gd name="connsiteY0" fmla="*/ 0 h 451685"/>
                    <a:gd name="connsiteX1" fmla="*/ 128925 w 136946"/>
                    <a:gd name="connsiteY1" fmla="*/ 20052 h 451685"/>
                    <a:gd name="connsiteX2" fmla="*/ 124915 w 136946"/>
                    <a:gd name="connsiteY2" fmla="*/ 32084 h 451685"/>
                    <a:gd name="connsiteX3" fmla="*/ 116894 w 136946"/>
                    <a:gd name="connsiteY3" fmla="*/ 44116 h 451685"/>
                    <a:gd name="connsiteX4" fmla="*/ 120904 w 136946"/>
                    <a:gd name="connsiteY4" fmla="*/ 56147 h 451685"/>
                    <a:gd name="connsiteX5" fmla="*/ 116894 w 136946"/>
                    <a:gd name="connsiteY5" fmla="*/ 88231 h 451685"/>
                    <a:gd name="connsiteX6" fmla="*/ 92830 w 136946"/>
                    <a:gd name="connsiteY6" fmla="*/ 108284 h 451685"/>
                    <a:gd name="connsiteX7" fmla="*/ 73529 w 136946"/>
                    <a:gd name="connsiteY7" fmla="*/ 128211 h 451685"/>
                    <a:gd name="connsiteX8" fmla="*/ 71023 w 136946"/>
                    <a:gd name="connsiteY8" fmla="*/ 136985 h 451685"/>
                    <a:gd name="connsiteX9" fmla="*/ 61373 w 136946"/>
                    <a:gd name="connsiteY9" fmla="*/ 145006 h 451685"/>
                    <a:gd name="connsiteX10" fmla="*/ 54982 w 136946"/>
                    <a:gd name="connsiteY10" fmla="*/ 168442 h 451685"/>
                    <a:gd name="connsiteX11" fmla="*/ 36683 w 136946"/>
                    <a:gd name="connsiteY11" fmla="*/ 184484 h 451685"/>
                    <a:gd name="connsiteX12" fmla="*/ 40694 w 136946"/>
                    <a:gd name="connsiteY12" fmla="*/ 208547 h 451685"/>
                    <a:gd name="connsiteX13" fmla="*/ 36683 w 136946"/>
                    <a:gd name="connsiteY13" fmla="*/ 236621 h 451685"/>
                    <a:gd name="connsiteX14" fmla="*/ 24652 w 136946"/>
                    <a:gd name="connsiteY14" fmla="*/ 248652 h 451685"/>
                    <a:gd name="connsiteX15" fmla="*/ 20641 w 136946"/>
                    <a:gd name="connsiteY15" fmla="*/ 260684 h 451685"/>
                    <a:gd name="connsiteX16" fmla="*/ 12620 w 136946"/>
                    <a:gd name="connsiteY16" fmla="*/ 272716 h 451685"/>
                    <a:gd name="connsiteX17" fmla="*/ 15752 w 136946"/>
                    <a:gd name="connsiteY17" fmla="*/ 294272 h 451685"/>
                    <a:gd name="connsiteX18" fmla="*/ 588 w 136946"/>
                    <a:gd name="connsiteY18" fmla="*/ 316831 h 451685"/>
                    <a:gd name="connsiteX19" fmla="*/ 4599 w 136946"/>
                    <a:gd name="connsiteY19" fmla="*/ 328863 h 451685"/>
                    <a:gd name="connsiteX20" fmla="*/ 16630 w 136946"/>
                    <a:gd name="connsiteY20" fmla="*/ 332873 h 451685"/>
                    <a:gd name="connsiteX21" fmla="*/ 24652 w 136946"/>
                    <a:gd name="connsiteY21" fmla="*/ 340895 h 451685"/>
                    <a:gd name="connsiteX22" fmla="*/ 28662 w 136946"/>
                    <a:gd name="connsiteY22" fmla="*/ 360947 h 451685"/>
                    <a:gd name="connsiteX23" fmla="*/ 27911 w 136946"/>
                    <a:gd name="connsiteY23" fmla="*/ 382504 h 451685"/>
                    <a:gd name="connsiteX24" fmla="*/ 24652 w 136946"/>
                    <a:gd name="connsiteY24" fmla="*/ 425116 h 451685"/>
                    <a:gd name="connsiteX25" fmla="*/ 26155 w 136946"/>
                    <a:gd name="connsiteY25" fmla="*/ 437900 h 451685"/>
                    <a:gd name="connsiteX26" fmla="*/ 42072 w 136946"/>
                    <a:gd name="connsiteY26" fmla="*/ 451685 h 451685"/>
                    <a:gd name="connsiteX0" fmla="*/ 144090 w 144090"/>
                    <a:gd name="connsiteY0" fmla="*/ 0 h 442160"/>
                    <a:gd name="connsiteX1" fmla="*/ 128925 w 144090"/>
                    <a:gd name="connsiteY1" fmla="*/ 10527 h 442160"/>
                    <a:gd name="connsiteX2" fmla="*/ 124915 w 144090"/>
                    <a:gd name="connsiteY2" fmla="*/ 22559 h 442160"/>
                    <a:gd name="connsiteX3" fmla="*/ 116894 w 144090"/>
                    <a:gd name="connsiteY3" fmla="*/ 34591 h 442160"/>
                    <a:gd name="connsiteX4" fmla="*/ 120904 w 144090"/>
                    <a:gd name="connsiteY4" fmla="*/ 46622 h 442160"/>
                    <a:gd name="connsiteX5" fmla="*/ 116894 w 144090"/>
                    <a:gd name="connsiteY5" fmla="*/ 78706 h 442160"/>
                    <a:gd name="connsiteX6" fmla="*/ 92830 w 144090"/>
                    <a:gd name="connsiteY6" fmla="*/ 98759 h 442160"/>
                    <a:gd name="connsiteX7" fmla="*/ 73529 w 144090"/>
                    <a:gd name="connsiteY7" fmla="*/ 118686 h 442160"/>
                    <a:gd name="connsiteX8" fmla="*/ 71023 w 144090"/>
                    <a:gd name="connsiteY8" fmla="*/ 127460 h 442160"/>
                    <a:gd name="connsiteX9" fmla="*/ 61373 w 144090"/>
                    <a:gd name="connsiteY9" fmla="*/ 135481 h 442160"/>
                    <a:gd name="connsiteX10" fmla="*/ 54982 w 144090"/>
                    <a:gd name="connsiteY10" fmla="*/ 158917 h 442160"/>
                    <a:gd name="connsiteX11" fmla="*/ 36683 w 144090"/>
                    <a:gd name="connsiteY11" fmla="*/ 174959 h 442160"/>
                    <a:gd name="connsiteX12" fmla="*/ 40694 w 144090"/>
                    <a:gd name="connsiteY12" fmla="*/ 199022 h 442160"/>
                    <a:gd name="connsiteX13" fmla="*/ 36683 w 144090"/>
                    <a:gd name="connsiteY13" fmla="*/ 227096 h 442160"/>
                    <a:gd name="connsiteX14" fmla="*/ 24652 w 144090"/>
                    <a:gd name="connsiteY14" fmla="*/ 239127 h 442160"/>
                    <a:gd name="connsiteX15" fmla="*/ 20641 w 144090"/>
                    <a:gd name="connsiteY15" fmla="*/ 251159 h 442160"/>
                    <a:gd name="connsiteX16" fmla="*/ 12620 w 144090"/>
                    <a:gd name="connsiteY16" fmla="*/ 263191 h 442160"/>
                    <a:gd name="connsiteX17" fmla="*/ 15752 w 144090"/>
                    <a:gd name="connsiteY17" fmla="*/ 284747 h 442160"/>
                    <a:gd name="connsiteX18" fmla="*/ 588 w 144090"/>
                    <a:gd name="connsiteY18" fmla="*/ 307306 h 442160"/>
                    <a:gd name="connsiteX19" fmla="*/ 4599 w 144090"/>
                    <a:gd name="connsiteY19" fmla="*/ 319338 h 442160"/>
                    <a:gd name="connsiteX20" fmla="*/ 16630 w 144090"/>
                    <a:gd name="connsiteY20" fmla="*/ 323348 h 442160"/>
                    <a:gd name="connsiteX21" fmla="*/ 24652 w 144090"/>
                    <a:gd name="connsiteY21" fmla="*/ 331370 h 442160"/>
                    <a:gd name="connsiteX22" fmla="*/ 28662 w 144090"/>
                    <a:gd name="connsiteY22" fmla="*/ 351422 h 442160"/>
                    <a:gd name="connsiteX23" fmla="*/ 27911 w 144090"/>
                    <a:gd name="connsiteY23" fmla="*/ 372979 h 442160"/>
                    <a:gd name="connsiteX24" fmla="*/ 24652 w 144090"/>
                    <a:gd name="connsiteY24" fmla="*/ 415591 h 442160"/>
                    <a:gd name="connsiteX25" fmla="*/ 26155 w 144090"/>
                    <a:gd name="connsiteY25" fmla="*/ 428375 h 442160"/>
                    <a:gd name="connsiteX26" fmla="*/ 42072 w 144090"/>
                    <a:gd name="connsiteY26" fmla="*/ 442160 h 442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144090" h="442160">
                      <a:moveTo>
                        <a:pt x="144090" y="0"/>
                      </a:moveTo>
                      <a:cubicBezTo>
                        <a:pt x="141416" y="6684"/>
                        <a:pt x="132121" y="6767"/>
                        <a:pt x="128925" y="10527"/>
                      </a:cubicBezTo>
                      <a:cubicBezTo>
                        <a:pt x="125729" y="14287"/>
                        <a:pt x="126805" y="18778"/>
                        <a:pt x="124915" y="22559"/>
                      </a:cubicBezTo>
                      <a:cubicBezTo>
                        <a:pt x="122760" y="26870"/>
                        <a:pt x="119568" y="30580"/>
                        <a:pt x="116894" y="34591"/>
                      </a:cubicBezTo>
                      <a:cubicBezTo>
                        <a:pt x="118231" y="38601"/>
                        <a:pt x="120904" y="42395"/>
                        <a:pt x="120904" y="46622"/>
                      </a:cubicBezTo>
                      <a:cubicBezTo>
                        <a:pt x="120904" y="57400"/>
                        <a:pt x="119730" y="68308"/>
                        <a:pt x="116894" y="78706"/>
                      </a:cubicBezTo>
                      <a:cubicBezTo>
                        <a:pt x="113579" y="90863"/>
                        <a:pt x="100057" y="92096"/>
                        <a:pt x="92830" y="98759"/>
                      </a:cubicBezTo>
                      <a:cubicBezTo>
                        <a:pt x="85603" y="105422"/>
                        <a:pt x="77164" y="113903"/>
                        <a:pt x="73529" y="118686"/>
                      </a:cubicBezTo>
                      <a:cubicBezTo>
                        <a:pt x="69895" y="123470"/>
                        <a:pt x="73049" y="124661"/>
                        <a:pt x="71023" y="127460"/>
                      </a:cubicBezTo>
                      <a:cubicBezTo>
                        <a:pt x="68997" y="130259"/>
                        <a:pt x="59827" y="127251"/>
                        <a:pt x="61373" y="135481"/>
                      </a:cubicBezTo>
                      <a:cubicBezTo>
                        <a:pt x="60036" y="148849"/>
                        <a:pt x="59097" y="152337"/>
                        <a:pt x="54982" y="158917"/>
                      </a:cubicBezTo>
                      <a:cubicBezTo>
                        <a:pt x="50867" y="165497"/>
                        <a:pt x="39064" y="168275"/>
                        <a:pt x="36683" y="174959"/>
                      </a:cubicBezTo>
                      <a:cubicBezTo>
                        <a:pt x="34302" y="181643"/>
                        <a:pt x="39357" y="191001"/>
                        <a:pt x="40694" y="199022"/>
                      </a:cubicBezTo>
                      <a:cubicBezTo>
                        <a:pt x="39357" y="208380"/>
                        <a:pt x="40194" y="218319"/>
                        <a:pt x="36683" y="227096"/>
                      </a:cubicBezTo>
                      <a:cubicBezTo>
                        <a:pt x="34577" y="232362"/>
                        <a:pt x="27798" y="234408"/>
                        <a:pt x="24652" y="239127"/>
                      </a:cubicBezTo>
                      <a:cubicBezTo>
                        <a:pt x="22307" y="242645"/>
                        <a:pt x="22532" y="247378"/>
                        <a:pt x="20641" y="251159"/>
                      </a:cubicBezTo>
                      <a:cubicBezTo>
                        <a:pt x="18485" y="255470"/>
                        <a:pt x="13435" y="257593"/>
                        <a:pt x="12620" y="263191"/>
                      </a:cubicBezTo>
                      <a:cubicBezTo>
                        <a:pt x="11805" y="268789"/>
                        <a:pt x="16864" y="280669"/>
                        <a:pt x="15752" y="284747"/>
                      </a:cubicBezTo>
                      <a:cubicBezTo>
                        <a:pt x="12851" y="295382"/>
                        <a:pt x="2447" y="301541"/>
                        <a:pt x="588" y="307306"/>
                      </a:cubicBezTo>
                      <a:cubicBezTo>
                        <a:pt x="-1271" y="313071"/>
                        <a:pt x="1610" y="316349"/>
                        <a:pt x="4599" y="319338"/>
                      </a:cubicBezTo>
                      <a:cubicBezTo>
                        <a:pt x="7588" y="322327"/>
                        <a:pt x="13005" y="321173"/>
                        <a:pt x="16630" y="323348"/>
                      </a:cubicBezTo>
                      <a:cubicBezTo>
                        <a:pt x="19873" y="325294"/>
                        <a:pt x="21978" y="328696"/>
                        <a:pt x="24652" y="331370"/>
                      </a:cubicBezTo>
                      <a:cubicBezTo>
                        <a:pt x="25989" y="338054"/>
                        <a:pt x="28119" y="344487"/>
                        <a:pt x="28662" y="351422"/>
                      </a:cubicBezTo>
                      <a:cubicBezTo>
                        <a:pt x="29205" y="358357"/>
                        <a:pt x="27911" y="368751"/>
                        <a:pt x="27911" y="372979"/>
                      </a:cubicBezTo>
                      <a:cubicBezTo>
                        <a:pt x="27911" y="374900"/>
                        <a:pt x="24945" y="406358"/>
                        <a:pt x="24652" y="415591"/>
                      </a:cubicBezTo>
                      <a:cubicBezTo>
                        <a:pt x="24359" y="424824"/>
                        <a:pt x="28829" y="425701"/>
                        <a:pt x="26155" y="428375"/>
                      </a:cubicBezTo>
                      <a:lnTo>
                        <a:pt x="42072" y="442160"/>
                      </a:ln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40" name="Forma livre 768"/>
                <p:cNvSpPr/>
                <p:nvPr/>
              </p:nvSpPr>
              <p:spPr>
                <a:xfrm>
                  <a:off x="4638226" y="4417973"/>
                  <a:ext cx="438294" cy="590531"/>
                </a:xfrm>
                <a:custGeom>
                  <a:avLst/>
                  <a:gdLst>
                    <a:gd name="connsiteX0" fmla="*/ 438150 w 438150"/>
                    <a:gd name="connsiteY0" fmla="*/ 0 h 590550"/>
                    <a:gd name="connsiteX1" fmla="*/ 426244 w 438150"/>
                    <a:gd name="connsiteY1" fmla="*/ 2381 h 590550"/>
                    <a:gd name="connsiteX2" fmla="*/ 411956 w 438150"/>
                    <a:gd name="connsiteY2" fmla="*/ 11906 h 590550"/>
                    <a:gd name="connsiteX3" fmla="*/ 407194 w 438150"/>
                    <a:gd name="connsiteY3" fmla="*/ 19050 h 590550"/>
                    <a:gd name="connsiteX4" fmla="*/ 400050 w 438150"/>
                    <a:gd name="connsiteY4" fmla="*/ 23812 h 590550"/>
                    <a:gd name="connsiteX5" fmla="*/ 397669 w 438150"/>
                    <a:gd name="connsiteY5" fmla="*/ 30956 h 590550"/>
                    <a:gd name="connsiteX6" fmla="*/ 383381 w 438150"/>
                    <a:gd name="connsiteY6" fmla="*/ 40481 h 590550"/>
                    <a:gd name="connsiteX7" fmla="*/ 378619 w 438150"/>
                    <a:gd name="connsiteY7" fmla="*/ 47625 h 590550"/>
                    <a:gd name="connsiteX8" fmla="*/ 373856 w 438150"/>
                    <a:gd name="connsiteY8" fmla="*/ 61912 h 590550"/>
                    <a:gd name="connsiteX9" fmla="*/ 366713 w 438150"/>
                    <a:gd name="connsiteY9" fmla="*/ 66675 h 590550"/>
                    <a:gd name="connsiteX10" fmla="*/ 357188 w 438150"/>
                    <a:gd name="connsiteY10" fmla="*/ 76200 h 590550"/>
                    <a:gd name="connsiteX11" fmla="*/ 340519 w 438150"/>
                    <a:gd name="connsiteY11" fmla="*/ 92869 h 590550"/>
                    <a:gd name="connsiteX12" fmla="*/ 333375 w 438150"/>
                    <a:gd name="connsiteY12" fmla="*/ 100012 h 590550"/>
                    <a:gd name="connsiteX13" fmla="*/ 326231 w 438150"/>
                    <a:gd name="connsiteY13" fmla="*/ 104775 h 590550"/>
                    <a:gd name="connsiteX14" fmla="*/ 314325 w 438150"/>
                    <a:gd name="connsiteY14" fmla="*/ 116681 h 590550"/>
                    <a:gd name="connsiteX15" fmla="*/ 304800 w 438150"/>
                    <a:gd name="connsiteY15" fmla="*/ 130969 h 590550"/>
                    <a:gd name="connsiteX16" fmla="*/ 300038 w 438150"/>
                    <a:gd name="connsiteY16" fmla="*/ 145256 h 590550"/>
                    <a:gd name="connsiteX17" fmla="*/ 297656 w 438150"/>
                    <a:gd name="connsiteY17" fmla="*/ 152400 h 590550"/>
                    <a:gd name="connsiteX18" fmla="*/ 290513 w 438150"/>
                    <a:gd name="connsiteY18" fmla="*/ 159544 h 590550"/>
                    <a:gd name="connsiteX19" fmla="*/ 280988 w 438150"/>
                    <a:gd name="connsiteY19" fmla="*/ 171450 h 590550"/>
                    <a:gd name="connsiteX20" fmla="*/ 278606 w 438150"/>
                    <a:gd name="connsiteY20" fmla="*/ 178594 h 590550"/>
                    <a:gd name="connsiteX21" fmla="*/ 264319 w 438150"/>
                    <a:gd name="connsiteY21" fmla="*/ 188119 h 590550"/>
                    <a:gd name="connsiteX22" fmla="*/ 259556 w 438150"/>
                    <a:gd name="connsiteY22" fmla="*/ 202406 h 590550"/>
                    <a:gd name="connsiteX23" fmla="*/ 254794 w 438150"/>
                    <a:gd name="connsiteY23" fmla="*/ 223837 h 590550"/>
                    <a:gd name="connsiteX24" fmla="*/ 250031 w 438150"/>
                    <a:gd name="connsiteY24" fmla="*/ 238125 h 590550"/>
                    <a:gd name="connsiteX25" fmla="*/ 245269 w 438150"/>
                    <a:gd name="connsiteY25" fmla="*/ 245269 h 590550"/>
                    <a:gd name="connsiteX26" fmla="*/ 240506 w 438150"/>
                    <a:gd name="connsiteY26" fmla="*/ 259556 h 590550"/>
                    <a:gd name="connsiteX27" fmla="*/ 238125 w 438150"/>
                    <a:gd name="connsiteY27" fmla="*/ 266700 h 590550"/>
                    <a:gd name="connsiteX28" fmla="*/ 230981 w 438150"/>
                    <a:gd name="connsiteY28" fmla="*/ 273844 h 590550"/>
                    <a:gd name="connsiteX29" fmla="*/ 228600 w 438150"/>
                    <a:gd name="connsiteY29" fmla="*/ 280987 h 590550"/>
                    <a:gd name="connsiteX30" fmla="*/ 214313 w 438150"/>
                    <a:gd name="connsiteY30" fmla="*/ 292894 h 590550"/>
                    <a:gd name="connsiteX31" fmla="*/ 202406 w 438150"/>
                    <a:gd name="connsiteY31" fmla="*/ 304800 h 590550"/>
                    <a:gd name="connsiteX32" fmla="*/ 190500 w 438150"/>
                    <a:gd name="connsiteY32" fmla="*/ 314325 h 590550"/>
                    <a:gd name="connsiteX33" fmla="*/ 178594 w 438150"/>
                    <a:gd name="connsiteY33" fmla="*/ 326231 h 590550"/>
                    <a:gd name="connsiteX34" fmla="*/ 173831 w 438150"/>
                    <a:gd name="connsiteY34" fmla="*/ 333375 h 590550"/>
                    <a:gd name="connsiteX35" fmla="*/ 166688 w 438150"/>
                    <a:gd name="connsiteY35" fmla="*/ 340519 h 590550"/>
                    <a:gd name="connsiteX36" fmla="*/ 157163 w 438150"/>
                    <a:gd name="connsiteY36" fmla="*/ 354806 h 590550"/>
                    <a:gd name="connsiteX37" fmla="*/ 154781 w 438150"/>
                    <a:gd name="connsiteY37" fmla="*/ 361950 h 590550"/>
                    <a:gd name="connsiteX38" fmla="*/ 147638 w 438150"/>
                    <a:gd name="connsiteY38" fmla="*/ 366712 h 590550"/>
                    <a:gd name="connsiteX39" fmla="*/ 140494 w 438150"/>
                    <a:gd name="connsiteY39" fmla="*/ 383381 h 590550"/>
                    <a:gd name="connsiteX40" fmla="*/ 133350 w 438150"/>
                    <a:gd name="connsiteY40" fmla="*/ 388144 h 590550"/>
                    <a:gd name="connsiteX41" fmla="*/ 123825 w 438150"/>
                    <a:gd name="connsiteY41" fmla="*/ 402431 h 590550"/>
                    <a:gd name="connsiteX42" fmla="*/ 116681 w 438150"/>
                    <a:gd name="connsiteY42" fmla="*/ 416719 h 590550"/>
                    <a:gd name="connsiteX43" fmla="*/ 109538 w 438150"/>
                    <a:gd name="connsiteY43" fmla="*/ 423862 h 590550"/>
                    <a:gd name="connsiteX44" fmla="*/ 107156 w 438150"/>
                    <a:gd name="connsiteY44" fmla="*/ 431006 h 590550"/>
                    <a:gd name="connsiteX45" fmla="*/ 97631 w 438150"/>
                    <a:gd name="connsiteY45" fmla="*/ 447675 h 590550"/>
                    <a:gd name="connsiteX46" fmla="*/ 95250 w 438150"/>
                    <a:gd name="connsiteY46" fmla="*/ 454819 h 590550"/>
                    <a:gd name="connsiteX47" fmla="*/ 71438 w 438150"/>
                    <a:gd name="connsiteY47" fmla="*/ 473869 h 590550"/>
                    <a:gd name="connsiteX48" fmla="*/ 64294 w 438150"/>
                    <a:gd name="connsiteY48" fmla="*/ 476250 h 590550"/>
                    <a:gd name="connsiteX49" fmla="*/ 50006 w 438150"/>
                    <a:gd name="connsiteY49" fmla="*/ 488156 h 590550"/>
                    <a:gd name="connsiteX50" fmla="*/ 42863 w 438150"/>
                    <a:gd name="connsiteY50" fmla="*/ 490537 h 590550"/>
                    <a:gd name="connsiteX51" fmla="*/ 33338 w 438150"/>
                    <a:gd name="connsiteY51" fmla="*/ 497681 h 590550"/>
                    <a:gd name="connsiteX52" fmla="*/ 28575 w 438150"/>
                    <a:gd name="connsiteY52" fmla="*/ 516731 h 590550"/>
                    <a:gd name="connsiteX53" fmla="*/ 23813 w 438150"/>
                    <a:gd name="connsiteY53" fmla="*/ 523875 h 590550"/>
                    <a:gd name="connsiteX54" fmla="*/ 21431 w 438150"/>
                    <a:gd name="connsiteY54" fmla="*/ 531019 h 590550"/>
                    <a:gd name="connsiteX55" fmla="*/ 19050 w 438150"/>
                    <a:gd name="connsiteY55" fmla="*/ 554831 h 590550"/>
                    <a:gd name="connsiteX56" fmla="*/ 14288 w 438150"/>
                    <a:gd name="connsiteY56" fmla="*/ 561975 h 590550"/>
                    <a:gd name="connsiteX57" fmla="*/ 11906 w 438150"/>
                    <a:gd name="connsiteY57" fmla="*/ 569119 h 590550"/>
                    <a:gd name="connsiteX58" fmla="*/ 4763 w 438150"/>
                    <a:gd name="connsiteY58" fmla="*/ 576262 h 590550"/>
                    <a:gd name="connsiteX59" fmla="*/ 0 w 438150"/>
                    <a:gd name="connsiteY59" fmla="*/ 583406 h 590550"/>
                    <a:gd name="connsiteX60" fmla="*/ 4763 w 438150"/>
                    <a:gd name="connsiteY60" fmla="*/ 590550 h 590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</a:cxnLst>
                  <a:rect l="l" t="t" r="r" b="b"/>
                  <a:pathLst>
                    <a:path w="438150" h="590550">
                      <a:moveTo>
                        <a:pt x="438150" y="0"/>
                      </a:moveTo>
                      <a:cubicBezTo>
                        <a:pt x="434181" y="794"/>
                        <a:pt x="429928" y="706"/>
                        <a:pt x="426244" y="2381"/>
                      </a:cubicBezTo>
                      <a:cubicBezTo>
                        <a:pt x="421033" y="4750"/>
                        <a:pt x="411956" y="11906"/>
                        <a:pt x="411956" y="11906"/>
                      </a:cubicBezTo>
                      <a:cubicBezTo>
                        <a:pt x="410369" y="14287"/>
                        <a:pt x="409218" y="17026"/>
                        <a:pt x="407194" y="19050"/>
                      </a:cubicBezTo>
                      <a:cubicBezTo>
                        <a:pt x="405170" y="21074"/>
                        <a:pt x="401838" y="21577"/>
                        <a:pt x="400050" y="23812"/>
                      </a:cubicBezTo>
                      <a:cubicBezTo>
                        <a:pt x="398482" y="25772"/>
                        <a:pt x="399444" y="29181"/>
                        <a:pt x="397669" y="30956"/>
                      </a:cubicBezTo>
                      <a:cubicBezTo>
                        <a:pt x="393622" y="35003"/>
                        <a:pt x="383381" y="40481"/>
                        <a:pt x="383381" y="40481"/>
                      </a:cubicBezTo>
                      <a:cubicBezTo>
                        <a:pt x="381794" y="42862"/>
                        <a:pt x="379781" y="45010"/>
                        <a:pt x="378619" y="47625"/>
                      </a:cubicBezTo>
                      <a:cubicBezTo>
                        <a:pt x="376580" y="52212"/>
                        <a:pt x="378033" y="59127"/>
                        <a:pt x="373856" y="61912"/>
                      </a:cubicBezTo>
                      <a:lnTo>
                        <a:pt x="366713" y="66675"/>
                      </a:lnTo>
                      <a:cubicBezTo>
                        <a:pt x="360360" y="85727"/>
                        <a:pt x="369889" y="63499"/>
                        <a:pt x="357188" y="76200"/>
                      </a:cubicBezTo>
                      <a:cubicBezTo>
                        <a:pt x="338082" y="95306"/>
                        <a:pt x="356684" y="87479"/>
                        <a:pt x="340519" y="92869"/>
                      </a:cubicBezTo>
                      <a:cubicBezTo>
                        <a:pt x="338138" y="95250"/>
                        <a:pt x="335962" y="97856"/>
                        <a:pt x="333375" y="100012"/>
                      </a:cubicBezTo>
                      <a:cubicBezTo>
                        <a:pt x="331176" y="101844"/>
                        <a:pt x="328255" y="102751"/>
                        <a:pt x="326231" y="104775"/>
                      </a:cubicBezTo>
                      <a:cubicBezTo>
                        <a:pt x="310360" y="120647"/>
                        <a:pt x="333372" y="103985"/>
                        <a:pt x="314325" y="116681"/>
                      </a:cubicBezTo>
                      <a:cubicBezTo>
                        <a:pt x="311150" y="121444"/>
                        <a:pt x="306610" y="125539"/>
                        <a:pt x="304800" y="130969"/>
                      </a:cubicBezTo>
                      <a:lnTo>
                        <a:pt x="300038" y="145256"/>
                      </a:lnTo>
                      <a:cubicBezTo>
                        <a:pt x="299244" y="147637"/>
                        <a:pt x="299431" y="150625"/>
                        <a:pt x="297656" y="152400"/>
                      </a:cubicBezTo>
                      <a:lnTo>
                        <a:pt x="290513" y="159544"/>
                      </a:lnTo>
                      <a:cubicBezTo>
                        <a:pt x="284525" y="177500"/>
                        <a:pt x="293298" y="156061"/>
                        <a:pt x="280988" y="171450"/>
                      </a:cubicBezTo>
                      <a:cubicBezTo>
                        <a:pt x="279420" y="173410"/>
                        <a:pt x="280381" y="176819"/>
                        <a:pt x="278606" y="178594"/>
                      </a:cubicBezTo>
                      <a:cubicBezTo>
                        <a:pt x="274559" y="182641"/>
                        <a:pt x="264319" y="188119"/>
                        <a:pt x="264319" y="188119"/>
                      </a:cubicBezTo>
                      <a:cubicBezTo>
                        <a:pt x="262731" y="192881"/>
                        <a:pt x="260540" y="197483"/>
                        <a:pt x="259556" y="202406"/>
                      </a:cubicBezTo>
                      <a:cubicBezTo>
                        <a:pt x="258197" y="209200"/>
                        <a:pt x="256811" y="217114"/>
                        <a:pt x="254794" y="223837"/>
                      </a:cubicBezTo>
                      <a:cubicBezTo>
                        <a:pt x="253351" y="228646"/>
                        <a:pt x="252816" y="233948"/>
                        <a:pt x="250031" y="238125"/>
                      </a:cubicBezTo>
                      <a:cubicBezTo>
                        <a:pt x="248444" y="240506"/>
                        <a:pt x="246431" y="242654"/>
                        <a:pt x="245269" y="245269"/>
                      </a:cubicBezTo>
                      <a:cubicBezTo>
                        <a:pt x="243230" y="249856"/>
                        <a:pt x="242094" y="254794"/>
                        <a:pt x="240506" y="259556"/>
                      </a:cubicBezTo>
                      <a:cubicBezTo>
                        <a:pt x="239712" y="261937"/>
                        <a:pt x="239900" y="264925"/>
                        <a:pt x="238125" y="266700"/>
                      </a:cubicBezTo>
                      <a:lnTo>
                        <a:pt x="230981" y="273844"/>
                      </a:lnTo>
                      <a:cubicBezTo>
                        <a:pt x="230187" y="276225"/>
                        <a:pt x="229992" y="278899"/>
                        <a:pt x="228600" y="280987"/>
                      </a:cubicBezTo>
                      <a:cubicBezTo>
                        <a:pt x="224934" y="286486"/>
                        <a:pt x="219583" y="289380"/>
                        <a:pt x="214313" y="292894"/>
                      </a:cubicBezTo>
                      <a:cubicBezTo>
                        <a:pt x="201607" y="311949"/>
                        <a:pt x="218287" y="288918"/>
                        <a:pt x="202406" y="304800"/>
                      </a:cubicBezTo>
                      <a:cubicBezTo>
                        <a:pt x="191636" y="315571"/>
                        <a:pt x="204408" y="309690"/>
                        <a:pt x="190500" y="314325"/>
                      </a:cubicBezTo>
                      <a:cubicBezTo>
                        <a:pt x="177804" y="333372"/>
                        <a:pt x="194466" y="310360"/>
                        <a:pt x="178594" y="326231"/>
                      </a:cubicBezTo>
                      <a:cubicBezTo>
                        <a:pt x="176570" y="328255"/>
                        <a:pt x="175663" y="331176"/>
                        <a:pt x="173831" y="333375"/>
                      </a:cubicBezTo>
                      <a:cubicBezTo>
                        <a:pt x="171675" y="335962"/>
                        <a:pt x="168755" y="337861"/>
                        <a:pt x="166688" y="340519"/>
                      </a:cubicBezTo>
                      <a:cubicBezTo>
                        <a:pt x="163174" y="345037"/>
                        <a:pt x="158973" y="349376"/>
                        <a:pt x="157163" y="354806"/>
                      </a:cubicBezTo>
                      <a:cubicBezTo>
                        <a:pt x="156369" y="357187"/>
                        <a:pt x="156349" y="359990"/>
                        <a:pt x="154781" y="361950"/>
                      </a:cubicBezTo>
                      <a:cubicBezTo>
                        <a:pt x="152993" y="364185"/>
                        <a:pt x="150019" y="365125"/>
                        <a:pt x="147638" y="366712"/>
                      </a:cubicBezTo>
                      <a:cubicBezTo>
                        <a:pt x="145984" y="371673"/>
                        <a:pt x="143761" y="379460"/>
                        <a:pt x="140494" y="383381"/>
                      </a:cubicBezTo>
                      <a:cubicBezTo>
                        <a:pt x="138662" y="385580"/>
                        <a:pt x="135731" y="386556"/>
                        <a:pt x="133350" y="388144"/>
                      </a:cubicBezTo>
                      <a:cubicBezTo>
                        <a:pt x="129165" y="400698"/>
                        <a:pt x="133735" y="390538"/>
                        <a:pt x="123825" y="402431"/>
                      </a:cubicBezTo>
                      <a:cubicBezTo>
                        <a:pt x="105094" y="424910"/>
                        <a:pt x="131000" y="395242"/>
                        <a:pt x="116681" y="416719"/>
                      </a:cubicBezTo>
                      <a:cubicBezTo>
                        <a:pt x="114813" y="419521"/>
                        <a:pt x="111919" y="421481"/>
                        <a:pt x="109538" y="423862"/>
                      </a:cubicBezTo>
                      <a:cubicBezTo>
                        <a:pt x="108744" y="426243"/>
                        <a:pt x="108279" y="428761"/>
                        <a:pt x="107156" y="431006"/>
                      </a:cubicBezTo>
                      <a:cubicBezTo>
                        <a:pt x="95207" y="454905"/>
                        <a:pt x="110147" y="418472"/>
                        <a:pt x="97631" y="447675"/>
                      </a:cubicBezTo>
                      <a:cubicBezTo>
                        <a:pt x="96642" y="449982"/>
                        <a:pt x="96709" y="452776"/>
                        <a:pt x="95250" y="454819"/>
                      </a:cubicBezTo>
                      <a:cubicBezTo>
                        <a:pt x="91186" y="460508"/>
                        <a:pt x="77340" y="471902"/>
                        <a:pt x="71438" y="473869"/>
                      </a:cubicBezTo>
                      <a:cubicBezTo>
                        <a:pt x="69057" y="474663"/>
                        <a:pt x="66539" y="475128"/>
                        <a:pt x="64294" y="476250"/>
                      </a:cubicBezTo>
                      <a:cubicBezTo>
                        <a:pt x="48716" y="484038"/>
                        <a:pt x="65801" y="477625"/>
                        <a:pt x="50006" y="488156"/>
                      </a:cubicBezTo>
                      <a:cubicBezTo>
                        <a:pt x="47918" y="489548"/>
                        <a:pt x="45244" y="489743"/>
                        <a:pt x="42863" y="490537"/>
                      </a:cubicBezTo>
                      <a:cubicBezTo>
                        <a:pt x="39688" y="492918"/>
                        <a:pt x="35879" y="494632"/>
                        <a:pt x="33338" y="497681"/>
                      </a:cubicBezTo>
                      <a:cubicBezTo>
                        <a:pt x="31333" y="500087"/>
                        <a:pt x="28777" y="516192"/>
                        <a:pt x="28575" y="516731"/>
                      </a:cubicBezTo>
                      <a:cubicBezTo>
                        <a:pt x="27570" y="519411"/>
                        <a:pt x="25093" y="521315"/>
                        <a:pt x="23813" y="523875"/>
                      </a:cubicBezTo>
                      <a:cubicBezTo>
                        <a:pt x="22690" y="526120"/>
                        <a:pt x="22225" y="528638"/>
                        <a:pt x="21431" y="531019"/>
                      </a:cubicBezTo>
                      <a:cubicBezTo>
                        <a:pt x="20637" y="538956"/>
                        <a:pt x="20844" y="547058"/>
                        <a:pt x="19050" y="554831"/>
                      </a:cubicBezTo>
                      <a:cubicBezTo>
                        <a:pt x="18407" y="557620"/>
                        <a:pt x="15568" y="559415"/>
                        <a:pt x="14288" y="561975"/>
                      </a:cubicBezTo>
                      <a:cubicBezTo>
                        <a:pt x="13165" y="564220"/>
                        <a:pt x="13298" y="567030"/>
                        <a:pt x="11906" y="569119"/>
                      </a:cubicBezTo>
                      <a:cubicBezTo>
                        <a:pt x="10038" y="571921"/>
                        <a:pt x="6919" y="573675"/>
                        <a:pt x="4763" y="576262"/>
                      </a:cubicBezTo>
                      <a:cubicBezTo>
                        <a:pt x="2931" y="578461"/>
                        <a:pt x="1588" y="581025"/>
                        <a:pt x="0" y="583406"/>
                      </a:cubicBezTo>
                      <a:lnTo>
                        <a:pt x="4763" y="590550"/>
                      </a:ln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41" name="Forma livre 769"/>
                <p:cNvSpPr/>
                <p:nvPr/>
              </p:nvSpPr>
              <p:spPr>
                <a:xfrm>
                  <a:off x="5065405" y="4738637"/>
                  <a:ext cx="235027" cy="104772"/>
                </a:xfrm>
                <a:custGeom>
                  <a:avLst/>
                  <a:gdLst>
                    <a:gd name="connsiteX0" fmla="*/ 0 w 235744"/>
                    <a:gd name="connsiteY0" fmla="*/ 104775 h 104775"/>
                    <a:gd name="connsiteX1" fmla="*/ 14287 w 235744"/>
                    <a:gd name="connsiteY1" fmla="*/ 102393 h 104775"/>
                    <a:gd name="connsiteX2" fmla="*/ 33337 w 235744"/>
                    <a:gd name="connsiteY2" fmla="*/ 97631 h 104775"/>
                    <a:gd name="connsiteX3" fmla="*/ 42862 w 235744"/>
                    <a:gd name="connsiteY3" fmla="*/ 95250 h 104775"/>
                    <a:gd name="connsiteX4" fmla="*/ 57150 w 235744"/>
                    <a:gd name="connsiteY4" fmla="*/ 90487 h 104775"/>
                    <a:gd name="connsiteX5" fmla="*/ 71437 w 235744"/>
                    <a:gd name="connsiteY5" fmla="*/ 85725 h 104775"/>
                    <a:gd name="connsiteX6" fmla="*/ 78581 w 235744"/>
                    <a:gd name="connsiteY6" fmla="*/ 83343 h 104775"/>
                    <a:gd name="connsiteX7" fmla="*/ 85725 w 235744"/>
                    <a:gd name="connsiteY7" fmla="*/ 76200 h 104775"/>
                    <a:gd name="connsiteX8" fmla="*/ 92869 w 235744"/>
                    <a:gd name="connsiteY8" fmla="*/ 73818 h 104775"/>
                    <a:gd name="connsiteX9" fmla="*/ 100012 w 235744"/>
                    <a:gd name="connsiteY9" fmla="*/ 69056 h 104775"/>
                    <a:gd name="connsiteX10" fmla="*/ 111919 w 235744"/>
                    <a:gd name="connsiteY10" fmla="*/ 57150 h 104775"/>
                    <a:gd name="connsiteX11" fmla="*/ 116681 w 235744"/>
                    <a:gd name="connsiteY11" fmla="*/ 50006 h 104775"/>
                    <a:gd name="connsiteX12" fmla="*/ 130969 w 235744"/>
                    <a:gd name="connsiteY12" fmla="*/ 45243 h 104775"/>
                    <a:gd name="connsiteX13" fmla="*/ 173831 w 235744"/>
                    <a:gd name="connsiteY13" fmla="*/ 35718 h 104775"/>
                    <a:gd name="connsiteX14" fmla="*/ 195262 w 235744"/>
                    <a:gd name="connsiteY14" fmla="*/ 23812 h 104775"/>
                    <a:gd name="connsiteX15" fmla="*/ 211931 w 235744"/>
                    <a:gd name="connsiteY15" fmla="*/ 14287 h 104775"/>
                    <a:gd name="connsiteX16" fmla="*/ 226219 w 235744"/>
                    <a:gd name="connsiteY16" fmla="*/ 4762 h 104775"/>
                    <a:gd name="connsiteX17" fmla="*/ 235744 w 235744"/>
                    <a:gd name="connsiteY17" fmla="*/ 0 h 1047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35744" h="104775">
                      <a:moveTo>
                        <a:pt x="0" y="104775"/>
                      </a:moveTo>
                      <a:cubicBezTo>
                        <a:pt x="4762" y="103981"/>
                        <a:pt x="9566" y="103405"/>
                        <a:pt x="14287" y="102393"/>
                      </a:cubicBezTo>
                      <a:cubicBezTo>
                        <a:pt x="20687" y="101021"/>
                        <a:pt x="26987" y="99218"/>
                        <a:pt x="33337" y="97631"/>
                      </a:cubicBezTo>
                      <a:cubicBezTo>
                        <a:pt x="36512" y="96837"/>
                        <a:pt x="39757" y="96285"/>
                        <a:pt x="42862" y="95250"/>
                      </a:cubicBezTo>
                      <a:lnTo>
                        <a:pt x="57150" y="90487"/>
                      </a:lnTo>
                      <a:lnTo>
                        <a:pt x="71437" y="85725"/>
                      </a:lnTo>
                      <a:lnTo>
                        <a:pt x="78581" y="83343"/>
                      </a:lnTo>
                      <a:cubicBezTo>
                        <a:pt x="80962" y="80962"/>
                        <a:pt x="82923" y="78068"/>
                        <a:pt x="85725" y="76200"/>
                      </a:cubicBezTo>
                      <a:cubicBezTo>
                        <a:pt x="87814" y="74808"/>
                        <a:pt x="90624" y="74941"/>
                        <a:pt x="92869" y="73818"/>
                      </a:cubicBezTo>
                      <a:cubicBezTo>
                        <a:pt x="95428" y="72538"/>
                        <a:pt x="97631" y="70643"/>
                        <a:pt x="100012" y="69056"/>
                      </a:cubicBezTo>
                      <a:cubicBezTo>
                        <a:pt x="112716" y="50001"/>
                        <a:pt x="96040" y="73029"/>
                        <a:pt x="111919" y="57150"/>
                      </a:cubicBezTo>
                      <a:cubicBezTo>
                        <a:pt x="113943" y="55126"/>
                        <a:pt x="114254" y="51523"/>
                        <a:pt x="116681" y="50006"/>
                      </a:cubicBezTo>
                      <a:cubicBezTo>
                        <a:pt x="120938" y="47345"/>
                        <a:pt x="130969" y="45243"/>
                        <a:pt x="130969" y="45243"/>
                      </a:cubicBezTo>
                      <a:cubicBezTo>
                        <a:pt x="143072" y="27089"/>
                        <a:pt x="131620" y="40162"/>
                        <a:pt x="173831" y="35718"/>
                      </a:cubicBezTo>
                      <a:cubicBezTo>
                        <a:pt x="181298" y="34932"/>
                        <a:pt x="190531" y="26966"/>
                        <a:pt x="195262" y="23812"/>
                      </a:cubicBezTo>
                      <a:cubicBezTo>
                        <a:pt x="219961" y="7346"/>
                        <a:pt x="181735" y="32405"/>
                        <a:pt x="211931" y="14287"/>
                      </a:cubicBezTo>
                      <a:cubicBezTo>
                        <a:pt x="216839" y="11342"/>
                        <a:pt x="220789" y="6572"/>
                        <a:pt x="226219" y="4762"/>
                      </a:cubicBezTo>
                      <a:cubicBezTo>
                        <a:pt x="234427" y="2026"/>
                        <a:pt x="231587" y="4155"/>
                        <a:pt x="235744" y="0"/>
                      </a:cubicBez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42" name="Forma livre 770"/>
                <p:cNvSpPr/>
                <p:nvPr/>
              </p:nvSpPr>
              <p:spPr>
                <a:xfrm>
                  <a:off x="5184506" y="4079845"/>
                  <a:ext cx="587569" cy="820712"/>
                </a:xfrm>
                <a:custGeom>
                  <a:avLst/>
                  <a:gdLst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69119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0069 w 588169"/>
                    <a:gd name="connsiteY14" fmla="*/ 192882 h 821532"/>
                    <a:gd name="connsiteX15" fmla="*/ 545307 w 588169"/>
                    <a:gd name="connsiteY15" fmla="*/ 216694 h 821532"/>
                    <a:gd name="connsiteX16" fmla="*/ 540544 w 588169"/>
                    <a:gd name="connsiteY16" fmla="*/ 230982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5300 w 588169"/>
                    <a:gd name="connsiteY24" fmla="*/ 311944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0069 w 588169"/>
                    <a:gd name="connsiteY14" fmla="*/ 192882 h 821532"/>
                    <a:gd name="connsiteX15" fmla="*/ 545307 w 588169"/>
                    <a:gd name="connsiteY15" fmla="*/ 216694 h 821532"/>
                    <a:gd name="connsiteX16" fmla="*/ 540544 w 588169"/>
                    <a:gd name="connsiteY16" fmla="*/ 230982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5300 w 588169"/>
                    <a:gd name="connsiteY24" fmla="*/ 311944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45307 w 588169"/>
                    <a:gd name="connsiteY15" fmla="*/ 216694 h 821532"/>
                    <a:gd name="connsiteX16" fmla="*/ 540544 w 588169"/>
                    <a:gd name="connsiteY16" fmla="*/ 230982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5300 w 588169"/>
                    <a:gd name="connsiteY24" fmla="*/ 311944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40544 w 588169"/>
                    <a:gd name="connsiteY16" fmla="*/ 230982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5300 w 588169"/>
                    <a:gd name="connsiteY24" fmla="*/ 311944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5300 w 588169"/>
                    <a:gd name="connsiteY24" fmla="*/ 311944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33375 w 588169"/>
                    <a:gd name="connsiteY48" fmla="*/ 564357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35757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47625 w 588169"/>
                    <a:gd name="connsiteY75" fmla="*/ 809625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33338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495300 w 588169"/>
                    <a:gd name="connsiteY25" fmla="*/ 357188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47625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88156 w 588169"/>
                    <a:gd name="connsiteY24" fmla="*/ 326231 h 821532"/>
                    <a:gd name="connsiteX25" fmla="*/ 500063 w 588169"/>
                    <a:gd name="connsiteY25" fmla="*/ 347663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47625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2919 w 588169"/>
                    <a:gd name="connsiteY23" fmla="*/ 302419 h 821532"/>
                    <a:gd name="connsiteX24" fmla="*/ 497681 w 588169"/>
                    <a:gd name="connsiteY24" fmla="*/ 326231 h 821532"/>
                    <a:gd name="connsiteX25" fmla="*/ 500063 w 588169"/>
                    <a:gd name="connsiteY25" fmla="*/ 347663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47625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81026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7682 w 588169"/>
                    <a:gd name="connsiteY23" fmla="*/ 311944 h 821532"/>
                    <a:gd name="connsiteX24" fmla="*/ 497681 w 588169"/>
                    <a:gd name="connsiteY24" fmla="*/ 326231 h 821532"/>
                    <a:gd name="connsiteX25" fmla="*/ 500063 w 588169"/>
                    <a:gd name="connsiteY25" fmla="*/ 347663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47625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  <a:gd name="connsiteX0" fmla="*/ 588169 w 588169"/>
                    <a:gd name="connsiteY0" fmla="*/ 0 h 821532"/>
                    <a:gd name="connsiteX1" fmla="*/ 585788 w 588169"/>
                    <a:gd name="connsiteY1" fmla="*/ 16669 h 821532"/>
                    <a:gd name="connsiteX2" fmla="*/ 578644 w 588169"/>
                    <a:gd name="connsiteY2" fmla="*/ 30957 h 821532"/>
                    <a:gd name="connsiteX3" fmla="*/ 569119 w 588169"/>
                    <a:gd name="connsiteY3" fmla="*/ 47625 h 821532"/>
                    <a:gd name="connsiteX4" fmla="*/ 564357 w 588169"/>
                    <a:gd name="connsiteY4" fmla="*/ 61913 h 821532"/>
                    <a:gd name="connsiteX5" fmla="*/ 561975 w 588169"/>
                    <a:gd name="connsiteY5" fmla="*/ 69057 h 821532"/>
                    <a:gd name="connsiteX6" fmla="*/ 564357 w 588169"/>
                    <a:gd name="connsiteY6" fmla="*/ 78582 h 821532"/>
                    <a:gd name="connsiteX7" fmla="*/ 573882 w 588169"/>
                    <a:gd name="connsiteY7" fmla="*/ 102394 h 821532"/>
                    <a:gd name="connsiteX8" fmla="*/ 578644 w 588169"/>
                    <a:gd name="connsiteY8" fmla="*/ 116682 h 821532"/>
                    <a:gd name="connsiteX9" fmla="*/ 583407 w 588169"/>
                    <a:gd name="connsiteY9" fmla="*/ 123825 h 821532"/>
                    <a:gd name="connsiteX10" fmla="*/ 581025 w 588169"/>
                    <a:gd name="connsiteY10" fmla="*/ 142875 h 821532"/>
                    <a:gd name="connsiteX11" fmla="*/ 578644 w 588169"/>
                    <a:gd name="connsiteY11" fmla="*/ 150019 h 821532"/>
                    <a:gd name="connsiteX12" fmla="*/ 569119 w 588169"/>
                    <a:gd name="connsiteY12" fmla="*/ 157163 h 821532"/>
                    <a:gd name="connsiteX13" fmla="*/ 561975 w 588169"/>
                    <a:gd name="connsiteY13" fmla="*/ 171450 h 821532"/>
                    <a:gd name="connsiteX14" fmla="*/ 552450 w 588169"/>
                    <a:gd name="connsiteY14" fmla="*/ 197644 h 821532"/>
                    <a:gd name="connsiteX15" fmla="*/ 557213 w 588169"/>
                    <a:gd name="connsiteY15" fmla="*/ 221456 h 821532"/>
                    <a:gd name="connsiteX16" fmla="*/ 550069 w 588169"/>
                    <a:gd name="connsiteY16" fmla="*/ 245269 h 821532"/>
                    <a:gd name="connsiteX17" fmla="*/ 535782 w 588169"/>
                    <a:gd name="connsiteY17" fmla="*/ 261938 h 821532"/>
                    <a:gd name="connsiteX18" fmla="*/ 531019 w 588169"/>
                    <a:gd name="connsiteY18" fmla="*/ 269082 h 821532"/>
                    <a:gd name="connsiteX19" fmla="*/ 523875 w 588169"/>
                    <a:gd name="connsiteY19" fmla="*/ 283369 h 821532"/>
                    <a:gd name="connsiteX20" fmla="*/ 516732 w 588169"/>
                    <a:gd name="connsiteY20" fmla="*/ 288132 h 821532"/>
                    <a:gd name="connsiteX21" fmla="*/ 509588 w 588169"/>
                    <a:gd name="connsiteY21" fmla="*/ 290513 h 821532"/>
                    <a:gd name="connsiteX22" fmla="*/ 502444 w 588169"/>
                    <a:gd name="connsiteY22" fmla="*/ 297657 h 821532"/>
                    <a:gd name="connsiteX23" fmla="*/ 497682 w 588169"/>
                    <a:gd name="connsiteY23" fmla="*/ 311944 h 821532"/>
                    <a:gd name="connsiteX24" fmla="*/ 497681 w 588169"/>
                    <a:gd name="connsiteY24" fmla="*/ 326231 h 821532"/>
                    <a:gd name="connsiteX25" fmla="*/ 500063 w 588169"/>
                    <a:gd name="connsiteY25" fmla="*/ 347663 h 821532"/>
                    <a:gd name="connsiteX26" fmla="*/ 497682 w 588169"/>
                    <a:gd name="connsiteY26" fmla="*/ 364332 h 821532"/>
                    <a:gd name="connsiteX27" fmla="*/ 504825 w 588169"/>
                    <a:gd name="connsiteY27" fmla="*/ 366713 h 821532"/>
                    <a:gd name="connsiteX28" fmla="*/ 511969 w 588169"/>
                    <a:gd name="connsiteY28" fmla="*/ 371475 h 821532"/>
                    <a:gd name="connsiteX29" fmla="*/ 516732 w 588169"/>
                    <a:gd name="connsiteY29" fmla="*/ 378619 h 821532"/>
                    <a:gd name="connsiteX30" fmla="*/ 495300 w 588169"/>
                    <a:gd name="connsiteY30" fmla="*/ 385763 h 821532"/>
                    <a:gd name="connsiteX31" fmla="*/ 485775 w 588169"/>
                    <a:gd name="connsiteY31" fmla="*/ 407194 h 821532"/>
                    <a:gd name="connsiteX32" fmla="*/ 483394 w 588169"/>
                    <a:gd name="connsiteY32" fmla="*/ 414338 h 821532"/>
                    <a:gd name="connsiteX33" fmla="*/ 478632 w 588169"/>
                    <a:gd name="connsiteY33" fmla="*/ 423863 h 821532"/>
                    <a:gd name="connsiteX34" fmla="*/ 476250 w 588169"/>
                    <a:gd name="connsiteY34" fmla="*/ 447675 h 821532"/>
                    <a:gd name="connsiteX35" fmla="*/ 466725 w 588169"/>
                    <a:gd name="connsiteY35" fmla="*/ 452438 h 821532"/>
                    <a:gd name="connsiteX36" fmla="*/ 452438 w 588169"/>
                    <a:gd name="connsiteY36" fmla="*/ 457200 h 821532"/>
                    <a:gd name="connsiteX37" fmla="*/ 445294 w 588169"/>
                    <a:gd name="connsiteY37" fmla="*/ 459582 h 821532"/>
                    <a:gd name="connsiteX38" fmla="*/ 438150 w 588169"/>
                    <a:gd name="connsiteY38" fmla="*/ 461963 h 821532"/>
                    <a:gd name="connsiteX39" fmla="*/ 423863 w 588169"/>
                    <a:gd name="connsiteY39" fmla="*/ 471488 h 821532"/>
                    <a:gd name="connsiteX40" fmla="*/ 416719 w 588169"/>
                    <a:gd name="connsiteY40" fmla="*/ 476250 h 821532"/>
                    <a:gd name="connsiteX41" fmla="*/ 402432 w 588169"/>
                    <a:gd name="connsiteY41" fmla="*/ 488157 h 821532"/>
                    <a:gd name="connsiteX42" fmla="*/ 388144 w 588169"/>
                    <a:gd name="connsiteY42" fmla="*/ 492919 h 821532"/>
                    <a:gd name="connsiteX43" fmla="*/ 371475 w 588169"/>
                    <a:gd name="connsiteY43" fmla="*/ 500063 h 821532"/>
                    <a:gd name="connsiteX44" fmla="*/ 354807 w 588169"/>
                    <a:gd name="connsiteY44" fmla="*/ 521494 h 821532"/>
                    <a:gd name="connsiteX45" fmla="*/ 352425 w 588169"/>
                    <a:gd name="connsiteY45" fmla="*/ 528638 h 821532"/>
                    <a:gd name="connsiteX46" fmla="*/ 345282 w 588169"/>
                    <a:gd name="connsiteY46" fmla="*/ 533400 h 821532"/>
                    <a:gd name="connsiteX47" fmla="*/ 340519 w 588169"/>
                    <a:gd name="connsiteY47" fmla="*/ 547688 h 821532"/>
                    <a:gd name="connsiteX48" fmla="*/ 340519 w 588169"/>
                    <a:gd name="connsiteY48" fmla="*/ 573882 h 821532"/>
                    <a:gd name="connsiteX49" fmla="*/ 345282 w 588169"/>
                    <a:gd name="connsiteY49" fmla="*/ 616744 h 821532"/>
                    <a:gd name="connsiteX50" fmla="*/ 333375 w 588169"/>
                    <a:gd name="connsiteY50" fmla="*/ 633413 h 821532"/>
                    <a:gd name="connsiteX51" fmla="*/ 326232 w 588169"/>
                    <a:gd name="connsiteY51" fmla="*/ 638175 h 821532"/>
                    <a:gd name="connsiteX52" fmla="*/ 321469 w 588169"/>
                    <a:gd name="connsiteY52" fmla="*/ 645319 h 821532"/>
                    <a:gd name="connsiteX53" fmla="*/ 307182 w 588169"/>
                    <a:gd name="connsiteY53" fmla="*/ 654844 h 821532"/>
                    <a:gd name="connsiteX54" fmla="*/ 300038 w 588169"/>
                    <a:gd name="connsiteY54" fmla="*/ 659607 h 821532"/>
                    <a:gd name="connsiteX55" fmla="*/ 292894 w 588169"/>
                    <a:gd name="connsiteY55" fmla="*/ 666750 h 821532"/>
                    <a:gd name="connsiteX56" fmla="*/ 283369 w 588169"/>
                    <a:gd name="connsiteY56" fmla="*/ 681038 h 821532"/>
                    <a:gd name="connsiteX57" fmla="*/ 276225 w 588169"/>
                    <a:gd name="connsiteY57" fmla="*/ 695325 h 821532"/>
                    <a:gd name="connsiteX58" fmla="*/ 273844 w 588169"/>
                    <a:gd name="connsiteY58" fmla="*/ 702469 h 821532"/>
                    <a:gd name="connsiteX59" fmla="*/ 266700 w 588169"/>
                    <a:gd name="connsiteY59" fmla="*/ 707232 h 821532"/>
                    <a:gd name="connsiteX60" fmla="*/ 259557 w 588169"/>
                    <a:gd name="connsiteY60" fmla="*/ 714375 h 821532"/>
                    <a:gd name="connsiteX61" fmla="*/ 245269 w 588169"/>
                    <a:gd name="connsiteY61" fmla="*/ 721519 h 821532"/>
                    <a:gd name="connsiteX62" fmla="*/ 238125 w 588169"/>
                    <a:gd name="connsiteY62" fmla="*/ 728663 h 821532"/>
                    <a:gd name="connsiteX63" fmla="*/ 230982 w 588169"/>
                    <a:gd name="connsiteY63" fmla="*/ 731044 h 821532"/>
                    <a:gd name="connsiteX64" fmla="*/ 223838 w 588169"/>
                    <a:gd name="connsiteY64" fmla="*/ 735807 h 821532"/>
                    <a:gd name="connsiteX65" fmla="*/ 216694 w 588169"/>
                    <a:gd name="connsiteY65" fmla="*/ 738188 h 821532"/>
                    <a:gd name="connsiteX66" fmla="*/ 209550 w 588169"/>
                    <a:gd name="connsiteY66" fmla="*/ 742950 h 821532"/>
                    <a:gd name="connsiteX67" fmla="*/ 202407 w 588169"/>
                    <a:gd name="connsiteY67" fmla="*/ 745332 h 821532"/>
                    <a:gd name="connsiteX68" fmla="*/ 188119 w 588169"/>
                    <a:gd name="connsiteY68" fmla="*/ 752475 h 821532"/>
                    <a:gd name="connsiteX69" fmla="*/ 166688 w 588169"/>
                    <a:gd name="connsiteY69" fmla="*/ 766763 h 821532"/>
                    <a:gd name="connsiteX70" fmla="*/ 152400 w 588169"/>
                    <a:gd name="connsiteY70" fmla="*/ 776288 h 821532"/>
                    <a:gd name="connsiteX71" fmla="*/ 145257 w 588169"/>
                    <a:gd name="connsiteY71" fmla="*/ 783432 h 821532"/>
                    <a:gd name="connsiteX72" fmla="*/ 130969 w 588169"/>
                    <a:gd name="connsiteY72" fmla="*/ 788194 h 821532"/>
                    <a:gd name="connsiteX73" fmla="*/ 123825 w 588169"/>
                    <a:gd name="connsiteY73" fmla="*/ 795338 h 821532"/>
                    <a:gd name="connsiteX74" fmla="*/ 100013 w 588169"/>
                    <a:gd name="connsiteY74" fmla="*/ 802482 h 821532"/>
                    <a:gd name="connsiteX75" fmla="*/ 76200 w 588169"/>
                    <a:gd name="connsiteY75" fmla="*/ 797719 h 821532"/>
                    <a:gd name="connsiteX76" fmla="*/ 47625 w 588169"/>
                    <a:gd name="connsiteY76" fmla="*/ 819150 h 821532"/>
                    <a:gd name="connsiteX77" fmla="*/ 26194 w 588169"/>
                    <a:gd name="connsiteY77" fmla="*/ 821532 h 821532"/>
                    <a:gd name="connsiteX78" fmla="*/ 7144 w 588169"/>
                    <a:gd name="connsiteY78" fmla="*/ 816769 h 821532"/>
                    <a:gd name="connsiteX79" fmla="*/ 0 w 588169"/>
                    <a:gd name="connsiteY79" fmla="*/ 812007 h 821532"/>
                    <a:gd name="connsiteX80" fmla="*/ 4763 w 588169"/>
                    <a:gd name="connsiteY80" fmla="*/ 809625 h 8215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</a:cxnLst>
                  <a:rect l="l" t="t" r="r" b="b"/>
                  <a:pathLst>
                    <a:path w="588169" h="821532">
                      <a:moveTo>
                        <a:pt x="588169" y="0"/>
                      </a:moveTo>
                      <a:cubicBezTo>
                        <a:pt x="587375" y="5556"/>
                        <a:pt x="586889" y="11165"/>
                        <a:pt x="585788" y="16669"/>
                      </a:cubicBezTo>
                      <a:cubicBezTo>
                        <a:pt x="584109" y="25067"/>
                        <a:pt x="582968" y="23391"/>
                        <a:pt x="578644" y="30957"/>
                      </a:cubicBezTo>
                      <a:cubicBezTo>
                        <a:pt x="566564" y="52097"/>
                        <a:pt x="580719" y="30228"/>
                        <a:pt x="569119" y="47625"/>
                      </a:cubicBezTo>
                      <a:lnTo>
                        <a:pt x="564357" y="61913"/>
                      </a:lnTo>
                      <a:lnTo>
                        <a:pt x="561975" y="69057"/>
                      </a:lnTo>
                      <a:cubicBezTo>
                        <a:pt x="562769" y="72232"/>
                        <a:pt x="562373" y="73026"/>
                        <a:pt x="564357" y="78582"/>
                      </a:cubicBezTo>
                      <a:cubicBezTo>
                        <a:pt x="566341" y="84138"/>
                        <a:pt x="569392" y="95659"/>
                        <a:pt x="573882" y="102394"/>
                      </a:cubicBezTo>
                      <a:cubicBezTo>
                        <a:pt x="573088" y="107157"/>
                        <a:pt x="577057" y="113110"/>
                        <a:pt x="578644" y="116682"/>
                      </a:cubicBezTo>
                      <a:cubicBezTo>
                        <a:pt x="580232" y="120254"/>
                        <a:pt x="581819" y="121444"/>
                        <a:pt x="583407" y="123825"/>
                      </a:cubicBezTo>
                      <a:cubicBezTo>
                        <a:pt x="582613" y="130175"/>
                        <a:pt x="582170" y="136579"/>
                        <a:pt x="581025" y="142875"/>
                      </a:cubicBezTo>
                      <a:cubicBezTo>
                        <a:pt x="580576" y="145345"/>
                        <a:pt x="580251" y="148091"/>
                        <a:pt x="578644" y="150019"/>
                      </a:cubicBezTo>
                      <a:cubicBezTo>
                        <a:pt x="576103" y="153068"/>
                        <a:pt x="572294" y="154782"/>
                        <a:pt x="569119" y="157163"/>
                      </a:cubicBezTo>
                      <a:cubicBezTo>
                        <a:pt x="560435" y="183218"/>
                        <a:pt x="564753" y="164703"/>
                        <a:pt x="561975" y="171450"/>
                      </a:cubicBezTo>
                      <a:cubicBezTo>
                        <a:pt x="559197" y="178197"/>
                        <a:pt x="565491" y="184603"/>
                        <a:pt x="552450" y="197644"/>
                      </a:cubicBezTo>
                      <a:cubicBezTo>
                        <a:pt x="550842" y="207295"/>
                        <a:pt x="557610" y="213519"/>
                        <a:pt x="557213" y="221456"/>
                      </a:cubicBezTo>
                      <a:cubicBezTo>
                        <a:pt x="556816" y="229393"/>
                        <a:pt x="553641" y="238522"/>
                        <a:pt x="550069" y="245269"/>
                      </a:cubicBezTo>
                      <a:cubicBezTo>
                        <a:pt x="546497" y="252016"/>
                        <a:pt x="538957" y="257969"/>
                        <a:pt x="535782" y="261938"/>
                      </a:cubicBezTo>
                      <a:cubicBezTo>
                        <a:pt x="532607" y="265907"/>
                        <a:pt x="532607" y="266701"/>
                        <a:pt x="531019" y="269082"/>
                      </a:cubicBezTo>
                      <a:cubicBezTo>
                        <a:pt x="529082" y="274893"/>
                        <a:pt x="528492" y="278752"/>
                        <a:pt x="523875" y="283369"/>
                      </a:cubicBezTo>
                      <a:cubicBezTo>
                        <a:pt x="521851" y="285393"/>
                        <a:pt x="519292" y="286852"/>
                        <a:pt x="516732" y="288132"/>
                      </a:cubicBezTo>
                      <a:cubicBezTo>
                        <a:pt x="514487" y="289255"/>
                        <a:pt x="511969" y="289719"/>
                        <a:pt x="509588" y="290513"/>
                      </a:cubicBezTo>
                      <a:cubicBezTo>
                        <a:pt x="507207" y="292894"/>
                        <a:pt x="504428" y="294085"/>
                        <a:pt x="502444" y="297657"/>
                      </a:cubicBezTo>
                      <a:cubicBezTo>
                        <a:pt x="500460" y="301229"/>
                        <a:pt x="498476" y="307182"/>
                        <a:pt x="497682" y="311944"/>
                      </a:cubicBezTo>
                      <a:cubicBezTo>
                        <a:pt x="496888" y="316706"/>
                        <a:pt x="496887" y="323056"/>
                        <a:pt x="497681" y="326231"/>
                      </a:cubicBezTo>
                      <a:cubicBezTo>
                        <a:pt x="494789" y="349368"/>
                        <a:pt x="500063" y="341313"/>
                        <a:pt x="500063" y="347663"/>
                      </a:cubicBezTo>
                      <a:cubicBezTo>
                        <a:pt x="500063" y="354013"/>
                        <a:pt x="496888" y="361157"/>
                        <a:pt x="497682" y="364332"/>
                      </a:cubicBezTo>
                      <a:cubicBezTo>
                        <a:pt x="498476" y="367507"/>
                        <a:pt x="502580" y="365591"/>
                        <a:pt x="504825" y="366713"/>
                      </a:cubicBezTo>
                      <a:cubicBezTo>
                        <a:pt x="507385" y="367993"/>
                        <a:pt x="509588" y="369888"/>
                        <a:pt x="511969" y="371475"/>
                      </a:cubicBezTo>
                      <a:cubicBezTo>
                        <a:pt x="513557" y="373856"/>
                        <a:pt x="517293" y="375812"/>
                        <a:pt x="516732" y="378619"/>
                      </a:cubicBezTo>
                      <a:cubicBezTo>
                        <a:pt x="515577" y="384393"/>
                        <a:pt x="495530" y="385725"/>
                        <a:pt x="495300" y="385763"/>
                      </a:cubicBezTo>
                      <a:cubicBezTo>
                        <a:pt x="489633" y="402765"/>
                        <a:pt x="493323" y="395873"/>
                        <a:pt x="485775" y="407194"/>
                      </a:cubicBezTo>
                      <a:cubicBezTo>
                        <a:pt x="484981" y="409575"/>
                        <a:pt x="484383" y="412031"/>
                        <a:pt x="483394" y="414338"/>
                      </a:cubicBezTo>
                      <a:cubicBezTo>
                        <a:pt x="481996" y="417601"/>
                        <a:pt x="479376" y="420392"/>
                        <a:pt x="478632" y="423863"/>
                      </a:cubicBezTo>
                      <a:cubicBezTo>
                        <a:pt x="476961" y="431663"/>
                        <a:pt x="479318" y="440312"/>
                        <a:pt x="476250" y="447675"/>
                      </a:cubicBezTo>
                      <a:cubicBezTo>
                        <a:pt x="474885" y="450952"/>
                        <a:pt x="470021" y="451120"/>
                        <a:pt x="466725" y="452438"/>
                      </a:cubicBezTo>
                      <a:cubicBezTo>
                        <a:pt x="462064" y="454302"/>
                        <a:pt x="457200" y="455613"/>
                        <a:pt x="452438" y="457200"/>
                      </a:cubicBezTo>
                      <a:lnTo>
                        <a:pt x="445294" y="459582"/>
                      </a:lnTo>
                      <a:lnTo>
                        <a:pt x="438150" y="461963"/>
                      </a:lnTo>
                      <a:lnTo>
                        <a:pt x="423863" y="471488"/>
                      </a:lnTo>
                      <a:cubicBezTo>
                        <a:pt x="421482" y="473075"/>
                        <a:pt x="418743" y="474226"/>
                        <a:pt x="416719" y="476250"/>
                      </a:cubicBezTo>
                      <a:cubicBezTo>
                        <a:pt x="412236" y="480733"/>
                        <a:pt x="408397" y="485506"/>
                        <a:pt x="402432" y="488157"/>
                      </a:cubicBezTo>
                      <a:cubicBezTo>
                        <a:pt x="397844" y="490196"/>
                        <a:pt x="392634" y="490674"/>
                        <a:pt x="388144" y="492919"/>
                      </a:cubicBezTo>
                      <a:cubicBezTo>
                        <a:pt x="376374" y="498805"/>
                        <a:pt x="381987" y="496560"/>
                        <a:pt x="371475" y="500063"/>
                      </a:cubicBezTo>
                      <a:cubicBezTo>
                        <a:pt x="365312" y="506227"/>
                        <a:pt x="357656" y="512951"/>
                        <a:pt x="354807" y="521494"/>
                      </a:cubicBezTo>
                      <a:cubicBezTo>
                        <a:pt x="354013" y="523875"/>
                        <a:pt x="353993" y="526678"/>
                        <a:pt x="352425" y="528638"/>
                      </a:cubicBezTo>
                      <a:cubicBezTo>
                        <a:pt x="350637" y="530873"/>
                        <a:pt x="347663" y="531813"/>
                        <a:pt x="345282" y="533400"/>
                      </a:cubicBezTo>
                      <a:cubicBezTo>
                        <a:pt x="343694" y="538163"/>
                        <a:pt x="341313" y="540941"/>
                        <a:pt x="340519" y="547688"/>
                      </a:cubicBezTo>
                      <a:cubicBezTo>
                        <a:pt x="339725" y="554435"/>
                        <a:pt x="344024" y="563371"/>
                        <a:pt x="340519" y="573882"/>
                      </a:cubicBezTo>
                      <a:cubicBezTo>
                        <a:pt x="341313" y="591344"/>
                        <a:pt x="346473" y="606822"/>
                        <a:pt x="345282" y="616744"/>
                      </a:cubicBezTo>
                      <a:cubicBezTo>
                        <a:pt x="344091" y="626666"/>
                        <a:pt x="336550" y="629841"/>
                        <a:pt x="333375" y="633413"/>
                      </a:cubicBezTo>
                      <a:cubicBezTo>
                        <a:pt x="330200" y="636985"/>
                        <a:pt x="328613" y="636588"/>
                        <a:pt x="326232" y="638175"/>
                      </a:cubicBezTo>
                      <a:cubicBezTo>
                        <a:pt x="324644" y="640556"/>
                        <a:pt x="323623" y="643434"/>
                        <a:pt x="321469" y="645319"/>
                      </a:cubicBezTo>
                      <a:cubicBezTo>
                        <a:pt x="317162" y="649088"/>
                        <a:pt x="311944" y="651669"/>
                        <a:pt x="307182" y="654844"/>
                      </a:cubicBezTo>
                      <a:cubicBezTo>
                        <a:pt x="304801" y="656432"/>
                        <a:pt x="302062" y="657583"/>
                        <a:pt x="300038" y="659607"/>
                      </a:cubicBezTo>
                      <a:cubicBezTo>
                        <a:pt x="297657" y="661988"/>
                        <a:pt x="294961" y="664092"/>
                        <a:pt x="292894" y="666750"/>
                      </a:cubicBezTo>
                      <a:cubicBezTo>
                        <a:pt x="289380" y="671268"/>
                        <a:pt x="283369" y="681038"/>
                        <a:pt x="283369" y="681038"/>
                      </a:cubicBezTo>
                      <a:cubicBezTo>
                        <a:pt x="277384" y="698995"/>
                        <a:pt x="285458" y="676861"/>
                        <a:pt x="276225" y="695325"/>
                      </a:cubicBezTo>
                      <a:cubicBezTo>
                        <a:pt x="275102" y="697570"/>
                        <a:pt x="275412" y="700509"/>
                        <a:pt x="273844" y="702469"/>
                      </a:cubicBezTo>
                      <a:cubicBezTo>
                        <a:pt x="272056" y="704704"/>
                        <a:pt x="268899" y="705400"/>
                        <a:pt x="266700" y="707232"/>
                      </a:cubicBezTo>
                      <a:cubicBezTo>
                        <a:pt x="264113" y="709388"/>
                        <a:pt x="262144" y="712219"/>
                        <a:pt x="259557" y="714375"/>
                      </a:cubicBezTo>
                      <a:cubicBezTo>
                        <a:pt x="253401" y="719505"/>
                        <a:pt x="252430" y="719132"/>
                        <a:pt x="245269" y="721519"/>
                      </a:cubicBezTo>
                      <a:cubicBezTo>
                        <a:pt x="242888" y="723900"/>
                        <a:pt x="240927" y="726795"/>
                        <a:pt x="238125" y="728663"/>
                      </a:cubicBezTo>
                      <a:cubicBezTo>
                        <a:pt x="236037" y="730055"/>
                        <a:pt x="233227" y="729922"/>
                        <a:pt x="230982" y="731044"/>
                      </a:cubicBezTo>
                      <a:cubicBezTo>
                        <a:pt x="228422" y="732324"/>
                        <a:pt x="226398" y="734527"/>
                        <a:pt x="223838" y="735807"/>
                      </a:cubicBezTo>
                      <a:cubicBezTo>
                        <a:pt x="221593" y="736930"/>
                        <a:pt x="218939" y="737066"/>
                        <a:pt x="216694" y="738188"/>
                      </a:cubicBezTo>
                      <a:cubicBezTo>
                        <a:pt x="214134" y="739468"/>
                        <a:pt x="212110" y="741670"/>
                        <a:pt x="209550" y="742950"/>
                      </a:cubicBezTo>
                      <a:cubicBezTo>
                        <a:pt x="207305" y="744073"/>
                        <a:pt x="204652" y="744209"/>
                        <a:pt x="202407" y="745332"/>
                      </a:cubicBezTo>
                      <a:cubicBezTo>
                        <a:pt x="183953" y="754559"/>
                        <a:pt x="206066" y="746494"/>
                        <a:pt x="188119" y="752475"/>
                      </a:cubicBezTo>
                      <a:lnTo>
                        <a:pt x="166688" y="766763"/>
                      </a:lnTo>
                      <a:cubicBezTo>
                        <a:pt x="166683" y="766766"/>
                        <a:pt x="152404" y="776284"/>
                        <a:pt x="152400" y="776288"/>
                      </a:cubicBezTo>
                      <a:cubicBezTo>
                        <a:pt x="150019" y="778669"/>
                        <a:pt x="148201" y="781797"/>
                        <a:pt x="145257" y="783432"/>
                      </a:cubicBezTo>
                      <a:cubicBezTo>
                        <a:pt x="140869" y="785870"/>
                        <a:pt x="130969" y="788194"/>
                        <a:pt x="130969" y="788194"/>
                      </a:cubicBezTo>
                      <a:cubicBezTo>
                        <a:pt x="128588" y="790575"/>
                        <a:pt x="126769" y="793703"/>
                        <a:pt x="123825" y="795338"/>
                      </a:cubicBezTo>
                      <a:cubicBezTo>
                        <a:pt x="121344" y="796716"/>
                        <a:pt x="107950" y="802085"/>
                        <a:pt x="100013" y="802482"/>
                      </a:cubicBezTo>
                      <a:cubicBezTo>
                        <a:pt x="92076" y="802879"/>
                        <a:pt x="84931" y="794941"/>
                        <a:pt x="76200" y="797719"/>
                      </a:cubicBezTo>
                      <a:cubicBezTo>
                        <a:pt x="67469" y="800497"/>
                        <a:pt x="55959" y="815181"/>
                        <a:pt x="47625" y="819150"/>
                      </a:cubicBezTo>
                      <a:cubicBezTo>
                        <a:pt x="39291" y="823119"/>
                        <a:pt x="28575" y="820738"/>
                        <a:pt x="26194" y="821532"/>
                      </a:cubicBezTo>
                      <a:cubicBezTo>
                        <a:pt x="19844" y="819944"/>
                        <a:pt x="13295" y="819006"/>
                        <a:pt x="7144" y="816769"/>
                      </a:cubicBezTo>
                      <a:cubicBezTo>
                        <a:pt x="4454" y="815791"/>
                        <a:pt x="0" y="814869"/>
                        <a:pt x="0" y="812007"/>
                      </a:cubicBezTo>
                      <a:cubicBezTo>
                        <a:pt x="0" y="809374"/>
                        <a:pt x="12151" y="809625"/>
                        <a:pt x="4763" y="809625"/>
                      </a:cubicBez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443" name="Forma livre 771"/>
                <p:cNvSpPr/>
                <p:nvPr/>
              </p:nvSpPr>
              <p:spPr>
                <a:xfrm>
                  <a:off x="5519579" y="3148013"/>
                  <a:ext cx="481171" cy="581006"/>
                </a:xfrm>
                <a:custGeom>
                  <a:avLst/>
                  <a:gdLst>
                    <a:gd name="connsiteX0" fmla="*/ 469106 w 481012"/>
                    <a:gd name="connsiteY0" fmla="*/ 123825 h 581025"/>
                    <a:gd name="connsiteX1" fmla="*/ 481012 w 481012"/>
                    <a:gd name="connsiteY1" fmla="*/ 104775 h 581025"/>
                    <a:gd name="connsiteX2" fmla="*/ 478631 w 481012"/>
                    <a:gd name="connsiteY2" fmla="*/ 97631 h 581025"/>
                    <a:gd name="connsiteX3" fmla="*/ 471487 w 481012"/>
                    <a:gd name="connsiteY3" fmla="*/ 90487 h 581025"/>
                    <a:gd name="connsiteX4" fmla="*/ 466725 w 481012"/>
                    <a:gd name="connsiteY4" fmla="*/ 76200 h 581025"/>
                    <a:gd name="connsiteX5" fmla="*/ 457200 w 481012"/>
                    <a:gd name="connsiteY5" fmla="*/ 61912 h 581025"/>
                    <a:gd name="connsiteX6" fmla="*/ 454818 w 481012"/>
                    <a:gd name="connsiteY6" fmla="*/ 52387 h 581025"/>
                    <a:gd name="connsiteX7" fmla="*/ 440531 w 481012"/>
                    <a:gd name="connsiteY7" fmla="*/ 42862 h 581025"/>
                    <a:gd name="connsiteX8" fmla="*/ 433387 w 481012"/>
                    <a:gd name="connsiteY8" fmla="*/ 35718 h 581025"/>
                    <a:gd name="connsiteX9" fmla="*/ 426243 w 481012"/>
                    <a:gd name="connsiteY9" fmla="*/ 33337 h 581025"/>
                    <a:gd name="connsiteX10" fmla="*/ 416718 w 481012"/>
                    <a:gd name="connsiteY10" fmla="*/ 26193 h 581025"/>
                    <a:gd name="connsiteX11" fmla="*/ 409575 w 481012"/>
                    <a:gd name="connsiteY11" fmla="*/ 21431 h 581025"/>
                    <a:gd name="connsiteX12" fmla="*/ 397668 w 481012"/>
                    <a:gd name="connsiteY12" fmla="*/ 2381 h 581025"/>
                    <a:gd name="connsiteX13" fmla="*/ 390525 w 481012"/>
                    <a:gd name="connsiteY13" fmla="*/ 0 h 581025"/>
                    <a:gd name="connsiteX14" fmla="*/ 383381 w 481012"/>
                    <a:gd name="connsiteY14" fmla="*/ 2381 h 581025"/>
                    <a:gd name="connsiteX15" fmla="*/ 376237 w 481012"/>
                    <a:gd name="connsiteY15" fmla="*/ 16668 h 581025"/>
                    <a:gd name="connsiteX16" fmla="*/ 361950 w 481012"/>
                    <a:gd name="connsiteY16" fmla="*/ 23812 h 581025"/>
                    <a:gd name="connsiteX17" fmla="*/ 347662 w 481012"/>
                    <a:gd name="connsiteY17" fmla="*/ 33337 h 581025"/>
                    <a:gd name="connsiteX18" fmla="*/ 333375 w 481012"/>
                    <a:gd name="connsiteY18" fmla="*/ 38100 h 581025"/>
                    <a:gd name="connsiteX19" fmla="*/ 302418 w 481012"/>
                    <a:gd name="connsiteY19" fmla="*/ 42862 h 581025"/>
                    <a:gd name="connsiteX20" fmla="*/ 283368 w 481012"/>
                    <a:gd name="connsiteY20" fmla="*/ 54768 h 581025"/>
                    <a:gd name="connsiteX21" fmla="*/ 278606 w 481012"/>
                    <a:gd name="connsiteY21" fmla="*/ 69056 h 581025"/>
                    <a:gd name="connsiteX22" fmla="*/ 266700 w 481012"/>
                    <a:gd name="connsiteY22" fmla="*/ 90487 h 581025"/>
                    <a:gd name="connsiteX23" fmla="*/ 259556 w 481012"/>
                    <a:gd name="connsiteY23" fmla="*/ 95250 h 581025"/>
                    <a:gd name="connsiteX24" fmla="*/ 254793 w 481012"/>
                    <a:gd name="connsiteY24" fmla="*/ 102393 h 581025"/>
                    <a:gd name="connsiteX25" fmla="*/ 240506 w 481012"/>
                    <a:gd name="connsiteY25" fmla="*/ 111918 h 581025"/>
                    <a:gd name="connsiteX26" fmla="*/ 233362 w 481012"/>
                    <a:gd name="connsiteY26" fmla="*/ 119062 h 581025"/>
                    <a:gd name="connsiteX27" fmla="*/ 226218 w 481012"/>
                    <a:gd name="connsiteY27" fmla="*/ 138112 h 581025"/>
                    <a:gd name="connsiteX28" fmla="*/ 221456 w 481012"/>
                    <a:gd name="connsiteY28" fmla="*/ 159543 h 581025"/>
                    <a:gd name="connsiteX29" fmla="*/ 219075 w 481012"/>
                    <a:gd name="connsiteY29" fmla="*/ 169068 h 581025"/>
                    <a:gd name="connsiteX30" fmla="*/ 214312 w 481012"/>
                    <a:gd name="connsiteY30" fmla="*/ 183356 h 581025"/>
                    <a:gd name="connsiteX31" fmla="*/ 211931 w 481012"/>
                    <a:gd name="connsiteY31" fmla="*/ 223837 h 581025"/>
                    <a:gd name="connsiteX32" fmla="*/ 209550 w 481012"/>
                    <a:gd name="connsiteY32" fmla="*/ 230981 h 581025"/>
                    <a:gd name="connsiteX33" fmla="*/ 207168 w 481012"/>
                    <a:gd name="connsiteY33" fmla="*/ 273843 h 581025"/>
                    <a:gd name="connsiteX34" fmla="*/ 200025 w 481012"/>
                    <a:gd name="connsiteY34" fmla="*/ 278606 h 581025"/>
                    <a:gd name="connsiteX35" fmla="*/ 195262 w 481012"/>
                    <a:gd name="connsiteY35" fmla="*/ 285750 h 581025"/>
                    <a:gd name="connsiteX36" fmla="*/ 188118 w 481012"/>
                    <a:gd name="connsiteY36" fmla="*/ 290512 h 581025"/>
                    <a:gd name="connsiteX37" fmla="*/ 183356 w 481012"/>
                    <a:gd name="connsiteY37" fmla="*/ 304800 h 581025"/>
                    <a:gd name="connsiteX38" fmla="*/ 180975 w 481012"/>
                    <a:gd name="connsiteY38" fmla="*/ 311943 h 581025"/>
                    <a:gd name="connsiteX39" fmla="*/ 178593 w 481012"/>
                    <a:gd name="connsiteY39" fmla="*/ 319087 h 581025"/>
                    <a:gd name="connsiteX40" fmla="*/ 171450 w 481012"/>
                    <a:gd name="connsiteY40" fmla="*/ 342900 h 581025"/>
                    <a:gd name="connsiteX41" fmla="*/ 169068 w 481012"/>
                    <a:gd name="connsiteY41" fmla="*/ 350043 h 581025"/>
                    <a:gd name="connsiteX42" fmla="*/ 166687 w 481012"/>
                    <a:gd name="connsiteY42" fmla="*/ 378618 h 581025"/>
                    <a:gd name="connsiteX43" fmla="*/ 154781 w 481012"/>
                    <a:gd name="connsiteY43" fmla="*/ 392906 h 581025"/>
                    <a:gd name="connsiteX44" fmla="*/ 150018 w 481012"/>
                    <a:gd name="connsiteY44" fmla="*/ 400050 h 581025"/>
                    <a:gd name="connsiteX45" fmla="*/ 142875 w 481012"/>
                    <a:gd name="connsiteY45" fmla="*/ 402431 h 581025"/>
                    <a:gd name="connsiteX46" fmla="*/ 135731 w 481012"/>
                    <a:gd name="connsiteY46" fmla="*/ 407193 h 581025"/>
                    <a:gd name="connsiteX47" fmla="*/ 102393 w 481012"/>
                    <a:gd name="connsiteY47" fmla="*/ 416718 h 581025"/>
                    <a:gd name="connsiteX48" fmla="*/ 97631 w 481012"/>
                    <a:gd name="connsiteY48" fmla="*/ 431006 h 581025"/>
                    <a:gd name="connsiteX49" fmla="*/ 88106 w 481012"/>
                    <a:gd name="connsiteY49" fmla="*/ 445293 h 581025"/>
                    <a:gd name="connsiteX50" fmla="*/ 83343 w 481012"/>
                    <a:gd name="connsiteY50" fmla="*/ 452437 h 581025"/>
                    <a:gd name="connsiteX51" fmla="*/ 78581 w 481012"/>
                    <a:gd name="connsiteY51" fmla="*/ 459581 h 581025"/>
                    <a:gd name="connsiteX52" fmla="*/ 71437 w 481012"/>
                    <a:gd name="connsiteY52" fmla="*/ 466725 h 581025"/>
                    <a:gd name="connsiteX53" fmla="*/ 66675 w 481012"/>
                    <a:gd name="connsiteY53" fmla="*/ 473868 h 581025"/>
                    <a:gd name="connsiteX54" fmla="*/ 52387 w 481012"/>
                    <a:gd name="connsiteY54" fmla="*/ 483393 h 581025"/>
                    <a:gd name="connsiteX55" fmla="*/ 45243 w 481012"/>
                    <a:gd name="connsiteY55" fmla="*/ 490537 h 581025"/>
                    <a:gd name="connsiteX56" fmla="*/ 38100 w 481012"/>
                    <a:gd name="connsiteY56" fmla="*/ 504825 h 581025"/>
                    <a:gd name="connsiteX57" fmla="*/ 30956 w 481012"/>
                    <a:gd name="connsiteY57" fmla="*/ 511968 h 581025"/>
                    <a:gd name="connsiteX58" fmla="*/ 26193 w 481012"/>
                    <a:gd name="connsiteY58" fmla="*/ 519112 h 581025"/>
                    <a:gd name="connsiteX59" fmla="*/ 14287 w 481012"/>
                    <a:gd name="connsiteY59" fmla="*/ 533400 h 581025"/>
                    <a:gd name="connsiteX60" fmla="*/ 9525 w 481012"/>
                    <a:gd name="connsiteY60" fmla="*/ 547687 h 581025"/>
                    <a:gd name="connsiteX61" fmla="*/ 7143 w 481012"/>
                    <a:gd name="connsiteY61" fmla="*/ 554831 h 581025"/>
                    <a:gd name="connsiteX62" fmla="*/ 0 w 481012"/>
                    <a:gd name="connsiteY62" fmla="*/ 559593 h 581025"/>
                    <a:gd name="connsiteX63" fmla="*/ 2381 w 481012"/>
                    <a:gd name="connsiteY63" fmla="*/ 581025 h 581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481012" h="581025">
                      <a:moveTo>
                        <a:pt x="469106" y="123825"/>
                      </a:moveTo>
                      <a:cubicBezTo>
                        <a:pt x="472122" y="120055"/>
                        <a:pt x="481012" y="111754"/>
                        <a:pt x="481012" y="104775"/>
                      </a:cubicBezTo>
                      <a:cubicBezTo>
                        <a:pt x="481012" y="102265"/>
                        <a:pt x="480023" y="99720"/>
                        <a:pt x="478631" y="97631"/>
                      </a:cubicBezTo>
                      <a:cubicBezTo>
                        <a:pt x="476763" y="94829"/>
                        <a:pt x="473868" y="92868"/>
                        <a:pt x="471487" y="90487"/>
                      </a:cubicBezTo>
                      <a:cubicBezTo>
                        <a:pt x="469900" y="85725"/>
                        <a:pt x="469509" y="80377"/>
                        <a:pt x="466725" y="76200"/>
                      </a:cubicBezTo>
                      <a:lnTo>
                        <a:pt x="457200" y="61912"/>
                      </a:lnTo>
                      <a:cubicBezTo>
                        <a:pt x="456406" y="58737"/>
                        <a:pt x="456973" y="54850"/>
                        <a:pt x="454818" y="52387"/>
                      </a:cubicBezTo>
                      <a:cubicBezTo>
                        <a:pt x="451049" y="48080"/>
                        <a:pt x="444578" y="46909"/>
                        <a:pt x="440531" y="42862"/>
                      </a:cubicBezTo>
                      <a:cubicBezTo>
                        <a:pt x="438150" y="40481"/>
                        <a:pt x="436189" y="37586"/>
                        <a:pt x="433387" y="35718"/>
                      </a:cubicBezTo>
                      <a:cubicBezTo>
                        <a:pt x="431298" y="34326"/>
                        <a:pt x="428624" y="34131"/>
                        <a:pt x="426243" y="33337"/>
                      </a:cubicBezTo>
                      <a:cubicBezTo>
                        <a:pt x="423068" y="30956"/>
                        <a:pt x="419948" y="28500"/>
                        <a:pt x="416718" y="26193"/>
                      </a:cubicBezTo>
                      <a:cubicBezTo>
                        <a:pt x="414389" y="24530"/>
                        <a:pt x="411092" y="23858"/>
                        <a:pt x="409575" y="21431"/>
                      </a:cubicBezTo>
                      <a:cubicBezTo>
                        <a:pt x="399703" y="5635"/>
                        <a:pt x="411386" y="9240"/>
                        <a:pt x="397668" y="2381"/>
                      </a:cubicBezTo>
                      <a:cubicBezTo>
                        <a:pt x="395423" y="1259"/>
                        <a:pt x="392906" y="794"/>
                        <a:pt x="390525" y="0"/>
                      </a:cubicBezTo>
                      <a:cubicBezTo>
                        <a:pt x="388144" y="794"/>
                        <a:pt x="385341" y="813"/>
                        <a:pt x="383381" y="2381"/>
                      </a:cubicBezTo>
                      <a:cubicBezTo>
                        <a:pt x="372227" y="11304"/>
                        <a:pt x="383906" y="7081"/>
                        <a:pt x="376237" y="16668"/>
                      </a:cubicBezTo>
                      <a:cubicBezTo>
                        <a:pt x="372879" y="20865"/>
                        <a:pt x="366657" y="22243"/>
                        <a:pt x="361950" y="23812"/>
                      </a:cubicBezTo>
                      <a:cubicBezTo>
                        <a:pt x="357187" y="26987"/>
                        <a:pt x="353092" y="31527"/>
                        <a:pt x="347662" y="33337"/>
                      </a:cubicBezTo>
                      <a:cubicBezTo>
                        <a:pt x="342900" y="34925"/>
                        <a:pt x="338345" y="37390"/>
                        <a:pt x="333375" y="38100"/>
                      </a:cubicBezTo>
                      <a:cubicBezTo>
                        <a:pt x="311926" y="41164"/>
                        <a:pt x="322242" y="39558"/>
                        <a:pt x="302418" y="42862"/>
                      </a:cubicBezTo>
                      <a:cubicBezTo>
                        <a:pt x="285416" y="48530"/>
                        <a:pt x="290916" y="43448"/>
                        <a:pt x="283368" y="54768"/>
                      </a:cubicBezTo>
                      <a:lnTo>
                        <a:pt x="278606" y="69056"/>
                      </a:lnTo>
                      <a:cubicBezTo>
                        <a:pt x="276125" y="76501"/>
                        <a:pt x="273719" y="85807"/>
                        <a:pt x="266700" y="90487"/>
                      </a:cubicBezTo>
                      <a:lnTo>
                        <a:pt x="259556" y="95250"/>
                      </a:lnTo>
                      <a:cubicBezTo>
                        <a:pt x="257968" y="97631"/>
                        <a:pt x="256947" y="100509"/>
                        <a:pt x="254793" y="102393"/>
                      </a:cubicBezTo>
                      <a:cubicBezTo>
                        <a:pt x="250485" y="106162"/>
                        <a:pt x="244553" y="107871"/>
                        <a:pt x="240506" y="111918"/>
                      </a:cubicBezTo>
                      <a:lnTo>
                        <a:pt x="233362" y="119062"/>
                      </a:lnTo>
                      <a:cubicBezTo>
                        <a:pt x="230852" y="125338"/>
                        <a:pt x="228082" y="131588"/>
                        <a:pt x="226218" y="138112"/>
                      </a:cubicBezTo>
                      <a:cubicBezTo>
                        <a:pt x="223317" y="148266"/>
                        <a:pt x="223908" y="148506"/>
                        <a:pt x="221456" y="159543"/>
                      </a:cubicBezTo>
                      <a:cubicBezTo>
                        <a:pt x="220746" y="162738"/>
                        <a:pt x="220015" y="165933"/>
                        <a:pt x="219075" y="169068"/>
                      </a:cubicBezTo>
                      <a:cubicBezTo>
                        <a:pt x="217632" y="173877"/>
                        <a:pt x="214312" y="183356"/>
                        <a:pt x="214312" y="183356"/>
                      </a:cubicBezTo>
                      <a:cubicBezTo>
                        <a:pt x="213518" y="196850"/>
                        <a:pt x="213276" y="210387"/>
                        <a:pt x="211931" y="223837"/>
                      </a:cubicBezTo>
                      <a:cubicBezTo>
                        <a:pt x="211681" y="226335"/>
                        <a:pt x="209788" y="228482"/>
                        <a:pt x="209550" y="230981"/>
                      </a:cubicBezTo>
                      <a:cubicBezTo>
                        <a:pt x="208193" y="245226"/>
                        <a:pt x="209974" y="259811"/>
                        <a:pt x="207168" y="273843"/>
                      </a:cubicBezTo>
                      <a:cubicBezTo>
                        <a:pt x="206607" y="276649"/>
                        <a:pt x="202406" y="277018"/>
                        <a:pt x="200025" y="278606"/>
                      </a:cubicBezTo>
                      <a:cubicBezTo>
                        <a:pt x="198437" y="280987"/>
                        <a:pt x="197286" y="283726"/>
                        <a:pt x="195262" y="285750"/>
                      </a:cubicBezTo>
                      <a:cubicBezTo>
                        <a:pt x="193238" y="287774"/>
                        <a:pt x="189635" y="288085"/>
                        <a:pt x="188118" y="290512"/>
                      </a:cubicBezTo>
                      <a:cubicBezTo>
                        <a:pt x="185457" y="294769"/>
                        <a:pt x="184943" y="300037"/>
                        <a:pt x="183356" y="304800"/>
                      </a:cubicBezTo>
                      <a:lnTo>
                        <a:pt x="180975" y="311943"/>
                      </a:lnTo>
                      <a:cubicBezTo>
                        <a:pt x="180181" y="314324"/>
                        <a:pt x="179202" y="316652"/>
                        <a:pt x="178593" y="319087"/>
                      </a:cubicBezTo>
                      <a:cubicBezTo>
                        <a:pt x="174997" y="333474"/>
                        <a:pt x="177244" y="325520"/>
                        <a:pt x="171450" y="342900"/>
                      </a:cubicBezTo>
                      <a:lnTo>
                        <a:pt x="169068" y="350043"/>
                      </a:lnTo>
                      <a:cubicBezTo>
                        <a:pt x="168274" y="359568"/>
                        <a:pt x="168561" y="369246"/>
                        <a:pt x="166687" y="378618"/>
                      </a:cubicBezTo>
                      <a:cubicBezTo>
                        <a:pt x="165753" y="383287"/>
                        <a:pt x="157246" y="389949"/>
                        <a:pt x="154781" y="392906"/>
                      </a:cubicBezTo>
                      <a:cubicBezTo>
                        <a:pt x="152949" y="395105"/>
                        <a:pt x="152253" y="398262"/>
                        <a:pt x="150018" y="400050"/>
                      </a:cubicBezTo>
                      <a:cubicBezTo>
                        <a:pt x="148058" y="401618"/>
                        <a:pt x="145120" y="401309"/>
                        <a:pt x="142875" y="402431"/>
                      </a:cubicBezTo>
                      <a:cubicBezTo>
                        <a:pt x="140315" y="403711"/>
                        <a:pt x="138112" y="405606"/>
                        <a:pt x="135731" y="407193"/>
                      </a:cubicBezTo>
                      <a:cubicBezTo>
                        <a:pt x="121744" y="428172"/>
                        <a:pt x="146917" y="394455"/>
                        <a:pt x="102393" y="416718"/>
                      </a:cubicBezTo>
                      <a:cubicBezTo>
                        <a:pt x="97903" y="418963"/>
                        <a:pt x="100416" y="426829"/>
                        <a:pt x="97631" y="431006"/>
                      </a:cubicBezTo>
                      <a:lnTo>
                        <a:pt x="88106" y="445293"/>
                      </a:lnTo>
                      <a:lnTo>
                        <a:pt x="83343" y="452437"/>
                      </a:lnTo>
                      <a:cubicBezTo>
                        <a:pt x="81756" y="454818"/>
                        <a:pt x="80605" y="457557"/>
                        <a:pt x="78581" y="459581"/>
                      </a:cubicBezTo>
                      <a:cubicBezTo>
                        <a:pt x="76200" y="461962"/>
                        <a:pt x="73593" y="464138"/>
                        <a:pt x="71437" y="466725"/>
                      </a:cubicBezTo>
                      <a:cubicBezTo>
                        <a:pt x="69605" y="468923"/>
                        <a:pt x="68829" y="471984"/>
                        <a:pt x="66675" y="473868"/>
                      </a:cubicBezTo>
                      <a:cubicBezTo>
                        <a:pt x="62367" y="477637"/>
                        <a:pt x="56434" y="479346"/>
                        <a:pt x="52387" y="483393"/>
                      </a:cubicBezTo>
                      <a:lnTo>
                        <a:pt x="45243" y="490537"/>
                      </a:lnTo>
                      <a:cubicBezTo>
                        <a:pt x="42857" y="497695"/>
                        <a:pt x="43228" y="498671"/>
                        <a:pt x="38100" y="504825"/>
                      </a:cubicBezTo>
                      <a:cubicBezTo>
                        <a:pt x="35944" y="507412"/>
                        <a:pt x="33112" y="509381"/>
                        <a:pt x="30956" y="511968"/>
                      </a:cubicBezTo>
                      <a:cubicBezTo>
                        <a:pt x="29124" y="514167"/>
                        <a:pt x="28025" y="516913"/>
                        <a:pt x="26193" y="519112"/>
                      </a:cubicBezTo>
                      <a:cubicBezTo>
                        <a:pt x="10914" y="537448"/>
                        <a:pt x="26113" y="515662"/>
                        <a:pt x="14287" y="533400"/>
                      </a:cubicBezTo>
                      <a:lnTo>
                        <a:pt x="9525" y="547687"/>
                      </a:lnTo>
                      <a:cubicBezTo>
                        <a:pt x="8731" y="550068"/>
                        <a:pt x="9232" y="553439"/>
                        <a:pt x="7143" y="554831"/>
                      </a:cubicBezTo>
                      <a:lnTo>
                        <a:pt x="0" y="559593"/>
                      </a:lnTo>
                      <a:lnTo>
                        <a:pt x="2381" y="581025"/>
                      </a:lnTo>
                    </a:path>
                  </a:pathLst>
                </a:custGeom>
                <a:ln w="28575" cmpd="sng">
                  <a:solidFill>
                    <a:srgbClr val="3366FF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</p:grpSp>
          <p:sp>
            <p:nvSpPr>
              <p:cNvPr id="435" name="TextBox 6"/>
              <p:cNvSpPr txBox="1">
                <a:spLocks noChangeArrowheads="1"/>
              </p:cNvSpPr>
              <p:nvPr/>
            </p:nvSpPr>
            <p:spPr bwMode="auto">
              <a:xfrm>
                <a:off x="6551998" y="5477752"/>
                <a:ext cx="2691441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pt-BR" sz="1100" dirty="0"/>
                  <a:t>PAC </a:t>
                </a:r>
                <a:r>
                  <a:rPr lang="pt-BR" sz="1100" dirty="0" smtClean="0"/>
                  <a:t>– Concessões 2ª Etapa (3,3 mil km)</a:t>
                </a:r>
                <a:endParaRPr lang="en-US" sz="1100" dirty="0"/>
              </a:p>
            </p:txBody>
          </p:sp>
          <p:cxnSp>
            <p:nvCxnSpPr>
              <p:cNvPr id="436" name="Conector reto 497"/>
              <p:cNvCxnSpPr/>
              <p:nvPr/>
            </p:nvCxnSpPr>
            <p:spPr>
              <a:xfrm>
                <a:off x="6123599" y="5574590"/>
                <a:ext cx="325438" cy="0"/>
              </a:xfrm>
              <a:prstGeom prst="line">
                <a:avLst/>
              </a:prstGeom>
              <a:ln w="28575" cmpd="sng">
                <a:solidFill>
                  <a:srgbClr val="3366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Grupo 7"/>
          <p:cNvGrpSpPr/>
          <p:nvPr/>
        </p:nvGrpSpPr>
        <p:grpSpPr>
          <a:xfrm>
            <a:off x="3025776" y="2813050"/>
            <a:ext cx="5481430" cy="3540383"/>
            <a:chOff x="3025776" y="2813050"/>
            <a:chExt cx="5481430" cy="3540383"/>
          </a:xfrm>
        </p:grpSpPr>
        <p:sp>
          <p:nvSpPr>
            <p:cNvPr id="520" name="TextBox 6"/>
            <p:cNvSpPr txBox="1">
              <a:spLocks noChangeArrowheads="1"/>
            </p:cNvSpPr>
            <p:nvPr/>
          </p:nvSpPr>
          <p:spPr bwMode="auto">
            <a:xfrm>
              <a:off x="6552000" y="6014879"/>
              <a:ext cx="1955206" cy="338554"/>
            </a:xfrm>
            <a:prstGeom prst="rect">
              <a:avLst/>
            </a:prstGeom>
            <a:noFill/>
            <a:ln w="28575" cmpd="sng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pt-BR" sz="1100" dirty="0"/>
                <a:t>PIL </a:t>
              </a:r>
              <a:r>
                <a:rPr lang="en-US" sz="1100" dirty="0"/>
                <a:t>–</a:t>
              </a:r>
              <a:r>
                <a:rPr lang="pt-BR" sz="1100" dirty="0"/>
                <a:t> Concessões </a:t>
              </a:r>
              <a:r>
                <a:rPr lang="pt-BR" sz="1100" dirty="0" smtClean="0"/>
                <a:t>c/ Duplicações (7,1 mil km)</a:t>
              </a:r>
              <a:endParaRPr lang="en-US" sz="1100" dirty="0"/>
            </a:p>
          </p:txBody>
        </p:sp>
        <p:cxnSp>
          <p:nvCxnSpPr>
            <p:cNvPr id="521" name="Conector reto 774"/>
            <p:cNvCxnSpPr/>
            <p:nvPr/>
          </p:nvCxnSpPr>
          <p:spPr>
            <a:xfrm>
              <a:off x="6123600" y="6104506"/>
              <a:ext cx="325437" cy="0"/>
            </a:xfrm>
            <a:prstGeom prst="line">
              <a:avLst/>
            </a:prstGeom>
            <a:ln w="28575" cmpd="sng">
              <a:solidFill>
                <a:srgbClr val="008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upo 6"/>
            <p:cNvGrpSpPr/>
            <p:nvPr/>
          </p:nvGrpSpPr>
          <p:grpSpPr>
            <a:xfrm>
              <a:off x="3025776" y="2813050"/>
              <a:ext cx="2911475" cy="2279650"/>
              <a:chOff x="3025776" y="2813050"/>
              <a:chExt cx="2911475" cy="2279650"/>
            </a:xfrm>
          </p:grpSpPr>
          <p:sp>
            <p:nvSpPr>
              <p:cNvPr id="689" name="Forma livre 783"/>
              <p:cNvSpPr/>
              <p:nvPr/>
            </p:nvSpPr>
            <p:spPr bwMode="auto">
              <a:xfrm>
                <a:off x="5297489" y="3714750"/>
                <a:ext cx="222250" cy="1025525"/>
              </a:xfrm>
              <a:custGeom>
                <a:avLst/>
                <a:gdLst>
                  <a:gd name="connsiteX0" fmla="*/ 221428 w 221428"/>
                  <a:gd name="connsiteY0" fmla="*/ 0 h 1025112"/>
                  <a:gd name="connsiteX1" fmla="*/ 217327 w 221428"/>
                  <a:gd name="connsiteY1" fmla="*/ 20503 h 1025112"/>
                  <a:gd name="connsiteX2" fmla="*/ 209126 w 221428"/>
                  <a:gd name="connsiteY2" fmla="*/ 32804 h 1025112"/>
                  <a:gd name="connsiteX3" fmla="*/ 205026 w 221428"/>
                  <a:gd name="connsiteY3" fmla="*/ 98411 h 1025112"/>
                  <a:gd name="connsiteX4" fmla="*/ 196825 w 221428"/>
                  <a:gd name="connsiteY4" fmla="*/ 110712 h 1025112"/>
                  <a:gd name="connsiteX5" fmla="*/ 184524 w 221428"/>
                  <a:gd name="connsiteY5" fmla="*/ 135315 h 1025112"/>
                  <a:gd name="connsiteX6" fmla="*/ 188624 w 221428"/>
                  <a:gd name="connsiteY6" fmla="*/ 168119 h 1025112"/>
                  <a:gd name="connsiteX7" fmla="*/ 196825 w 221428"/>
                  <a:gd name="connsiteY7" fmla="*/ 213224 h 1025112"/>
                  <a:gd name="connsiteX8" fmla="*/ 192724 w 221428"/>
                  <a:gd name="connsiteY8" fmla="*/ 254228 h 1025112"/>
                  <a:gd name="connsiteX9" fmla="*/ 196825 w 221428"/>
                  <a:gd name="connsiteY9" fmla="*/ 295233 h 1025112"/>
                  <a:gd name="connsiteX10" fmla="*/ 205026 w 221428"/>
                  <a:gd name="connsiteY10" fmla="*/ 307534 h 1025112"/>
                  <a:gd name="connsiteX11" fmla="*/ 209126 w 221428"/>
                  <a:gd name="connsiteY11" fmla="*/ 323936 h 1025112"/>
                  <a:gd name="connsiteX12" fmla="*/ 196825 w 221428"/>
                  <a:gd name="connsiteY12" fmla="*/ 360840 h 1025112"/>
                  <a:gd name="connsiteX13" fmla="*/ 184524 w 221428"/>
                  <a:gd name="connsiteY13" fmla="*/ 364940 h 1025112"/>
                  <a:gd name="connsiteX14" fmla="*/ 180423 w 221428"/>
                  <a:gd name="connsiteY14" fmla="*/ 377242 h 1025112"/>
                  <a:gd name="connsiteX15" fmla="*/ 164021 w 221428"/>
                  <a:gd name="connsiteY15" fmla="*/ 401844 h 1025112"/>
                  <a:gd name="connsiteX16" fmla="*/ 151720 w 221428"/>
                  <a:gd name="connsiteY16" fmla="*/ 426447 h 1025112"/>
                  <a:gd name="connsiteX17" fmla="*/ 147620 w 221428"/>
                  <a:gd name="connsiteY17" fmla="*/ 438748 h 1025112"/>
                  <a:gd name="connsiteX18" fmla="*/ 131218 w 221428"/>
                  <a:gd name="connsiteY18" fmla="*/ 463351 h 1025112"/>
                  <a:gd name="connsiteX19" fmla="*/ 123017 w 221428"/>
                  <a:gd name="connsiteY19" fmla="*/ 487954 h 1025112"/>
                  <a:gd name="connsiteX20" fmla="*/ 114816 w 221428"/>
                  <a:gd name="connsiteY20" fmla="*/ 549460 h 1025112"/>
                  <a:gd name="connsiteX21" fmla="*/ 106615 w 221428"/>
                  <a:gd name="connsiteY21" fmla="*/ 574063 h 1025112"/>
                  <a:gd name="connsiteX22" fmla="*/ 98414 w 221428"/>
                  <a:gd name="connsiteY22" fmla="*/ 586364 h 1025112"/>
                  <a:gd name="connsiteX23" fmla="*/ 94314 w 221428"/>
                  <a:gd name="connsiteY23" fmla="*/ 598666 h 1025112"/>
                  <a:gd name="connsiteX24" fmla="*/ 86113 w 221428"/>
                  <a:gd name="connsiteY24" fmla="*/ 692976 h 1025112"/>
                  <a:gd name="connsiteX25" fmla="*/ 82012 w 221428"/>
                  <a:gd name="connsiteY25" fmla="*/ 725780 h 1025112"/>
                  <a:gd name="connsiteX26" fmla="*/ 73811 w 221428"/>
                  <a:gd name="connsiteY26" fmla="*/ 758583 h 1025112"/>
                  <a:gd name="connsiteX27" fmla="*/ 65611 w 221428"/>
                  <a:gd name="connsiteY27" fmla="*/ 799588 h 1025112"/>
                  <a:gd name="connsiteX28" fmla="*/ 61510 w 221428"/>
                  <a:gd name="connsiteY28" fmla="*/ 861094 h 1025112"/>
                  <a:gd name="connsiteX29" fmla="*/ 53309 w 221428"/>
                  <a:gd name="connsiteY29" fmla="*/ 885697 h 1025112"/>
                  <a:gd name="connsiteX30" fmla="*/ 49209 w 221428"/>
                  <a:gd name="connsiteY30" fmla="*/ 897998 h 1025112"/>
                  <a:gd name="connsiteX31" fmla="*/ 36907 w 221428"/>
                  <a:gd name="connsiteY31" fmla="*/ 947204 h 1025112"/>
                  <a:gd name="connsiteX32" fmla="*/ 24606 w 221428"/>
                  <a:gd name="connsiteY32" fmla="*/ 955405 h 1025112"/>
                  <a:gd name="connsiteX33" fmla="*/ 16405 w 221428"/>
                  <a:gd name="connsiteY33" fmla="*/ 967706 h 1025112"/>
                  <a:gd name="connsiteX34" fmla="*/ 4104 w 221428"/>
                  <a:gd name="connsiteY34" fmla="*/ 975907 h 1025112"/>
                  <a:gd name="connsiteX35" fmla="*/ 3 w 221428"/>
                  <a:gd name="connsiteY35" fmla="*/ 1025112 h 1025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21428" h="1025112">
                    <a:moveTo>
                      <a:pt x="221428" y="0"/>
                    </a:moveTo>
                    <a:cubicBezTo>
                      <a:pt x="220061" y="6834"/>
                      <a:pt x="219774" y="13977"/>
                      <a:pt x="217327" y="20503"/>
                    </a:cubicBezTo>
                    <a:cubicBezTo>
                      <a:pt x="215597" y="25117"/>
                      <a:pt x="209895" y="27936"/>
                      <a:pt x="209126" y="32804"/>
                    </a:cubicBezTo>
                    <a:cubicBezTo>
                      <a:pt x="205709" y="54448"/>
                      <a:pt x="208443" y="76767"/>
                      <a:pt x="205026" y="98411"/>
                    </a:cubicBezTo>
                    <a:cubicBezTo>
                      <a:pt x="204257" y="103279"/>
                      <a:pt x="199029" y="106304"/>
                      <a:pt x="196825" y="110712"/>
                    </a:cubicBezTo>
                    <a:cubicBezTo>
                      <a:pt x="179844" y="144673"/>
                      <a:pt x="208029" y="100055"/>
                      <a:pt x="184524" y="135315"/>
                    </a:cubicBezTo>
                    <a:cubicBezTo>
                      <a:pt x="185891" y="146250"/>
                      <a:pt x="186905" y="157234"/>
                      <a:pt x="188624" y="168119"/>
                    </a:cubicBezTo>
                    <a:cubicBezTo>
                      <a:pt x="191007" y="183214"/>
                      <a:pt x="196098" y="197960"/>
                      <a:pt x="196825" y="213224"/>
                    </a:cubicBezTo>
                    <a:cubicBezTo>
                      <a:pt x="197478" y="226945"/>
                      <a:pt x="194091" y="240560"/>
                      <a:pt x="192724" y="254228"/>
                    </a:cubicBezTo>
                    <a:cubicBezTo>
                      <a:pt x="194091" y="267896"/>
                      <a:pt x="193736" y="281848"/>
                      <a:pt x="196825" y="295233"/>
                    </a:cubicBezTo>
                    <a:cubicBezTo>
                      <a:pt x="197933" y="300035"/>
                      <a:pt x="203085" y="303004"/>
                      <a:pt x="205026" y="307534"/>
                    </a:cubicBezTo>
                    <a:cubicBezTo>
                      <a:pt x="207246" y="312714"/>
                      <a:pt x="207759" y="318469"/>
                      <a:pt x="209126" y="323936"/>
                    </a:cubicBezTo>
                    <a:cubicBezTo>
                      <a:pt x="207125" y="335941"/>
                      <a:pt x="207913" y="351970"/>
                      <a:pt x="196825" y="360840"/>
                    </a:cubicBezTo>
                    <a:cubicBezTo>
                      <a:pt x="193450" y="363540"/>
                      <a:pt x="188624" y="363573"/>
                      <a:pt x="184524" y="364940"/>
                    </a:cubicBezTo>
                    <a:cubicBezTo>
                      <a:pt x="183157" y="369041"/>
                      <a:pt x="182522" y="373463"/>
                      <a:pt x="180423" y="377242"/>
                    </a:cubicBezTo>
                    <a:cubicBezTo>
                      <a:pt x="175636" y="385858"/>
                      <a:pt x="164021" y="401844"/>
                      <a:pt x="164021" y="401844"/>
                    </a:cubicBezTo>
                    <a:cubicBezTo>
                      <a:pt x="153716" y="432763"/>
                      <a:pt x="167616" y="394655"/>
                      <a:pt x="151720" y="426447"/>
                    </a:cubicBezTo>
                    <a:cubicBezTo>
                      <a:pt x="149787" y="430313"/>
                      <a:pt x="149719" y="434970"/>
                      <a:pt x="147620" y="438748"/>
                    </a:cubicBezTo>
                    <a:cubicBezTo>
                      <a:pt x="142833" y="447364"/>
                      <a:pt x="134335" y="454000"/>
                      <a:pt x="131218" y="463351"/>
                    </a:cubicBezTo>
                    <a:lnTo>
                      <a:pt x="123017" y="487954"/>
                    </a:lnTo>
                    <a:cubicBezTo>
                      <a:pt x="122412" y="492796"/>
                      <a:pt x="116357" y="542783"/>
                      <a:pt x="114816" y="549460"/>
                    </a:cubicBezTo>
                    <a:cubicBezTo>
                      <a:pt x="112872" y="557883"/>
                      <a:pt x="111410" y="566870"/>
                      <a:pt x="106615" y="574063"/>
                    </a:cubicBezTo>
                    <a:lnTo>
                      <a:pt x="98414" y="586364"/>
                    </a:lnTo>
                    <a:cubicBezTo>
                      <a:pt x="97047" y="590465"/>
                      <a:pt x="94688" y="594360"/>
                      <a:pt x="94314" y="598666"/>
                    </a:cubicBezTo>
                    <a:cubicBezTo>
                      <a:pt x="85681" y="697940"/>
                      <a:pt x="99549" y="652664"/>
                      <a:pt x="86113" y="692976"/>
                    </a:cubicBezTo>
                    <a:cubicBezTo>
                      <a:pt x="84746" y="703911"/>
                      <a:pt x="84043" y="714949"/>
                      <a:pt x="82012" y="725780"/>
                    </a:cubicBezTo>
                    <a:cubicBezTo>
                      <a:pt x="79935" y="736858"/>
                      <a:pt x="75405" y="747425"/>
                      <a:pt x="73811" y="758583"/>
                    </a:cubicBezTo>
                    <a:cubicBezTo>
                      <a:pt x="69100" y="791565"/>
                      <a:pt x="72767" y="778117"/>
                      <a:pt x="65611" y="799588"/>
                    </a:cubicBezTo>
                    <a:cubicBezTo>
                      <a:pt x="64244" y="820090"/>
                      <a:pt x="64416" y="840753"/>
                      <a:pt x="61510" y="861094"/>
                    </a:cubicBezTo>
                    <a:cubicBezTo>
                      <a:pt x="60287" y="869652"/>
                      <a:pt x="56043" y="877496"/>
                      <a:pt x="53309" y="885697"/>
                    </a:cubicBezTo>
                    <a:lnTo>
                      <a:pt x="49209" y="897998"/>
                    </a:lnTo>
                    <a:cubicBezTo>
                      <a:pt x="46929" y="918517"/>
                      <a:pt x="51032" y="933079"/>
                      <a:pt x="36907" y="947204"/>
                    </a:cubicBezTo>
                    <a:cubicBezTo>
                      <a:pt x="33422" y="950689"/>
                      <a:pt x="28706" y="952671"/>
                      <a:pt x="24606" y="955405"/>
                    </a:cubicBezTo>
                    <a:cubicBezTo>
                      <a:pt x="21872" y="959505"/>
                      <a:pt x="19890" y="964221"/>
                      <a:pt x="16405" y="967706"/>
                    </a:cubicBezTo>
                    <a:cubicBezTo>
                      <a:pt x="12920" y="971191"/>
                      <a:pt x="5662" y="971232"/>
                      <a:pt x="4104" y="975907"/>
                    </a:cubicBezTo>
                    <a:cubicBezTo>
                      <a:pt x="-269" y="989026"/>
                      <a:pt x="3" y="1009266"/>
                      <a:pt x="3" y="1025112"/>
                    </a:cubicBezTo>
                  </a:path>
                </a:pathLst>
              </a:custGeom>
              <a:ln w="28575" cmpd="sng">
                <a:solidFill>
                  <a:srgbClr val="008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pt-BR"/>
              </a:p>
            </p:txBody>
          </p:sp>
          <p:grpSp>
            <p:nvGrpSpPr>
              <p:cNvPr id="6" name="Grupo 5"/>
              <p:cNvGrpSpPr/>
              <p:nvPr/>
            </p:nvGrpSpPr>
            <p:grpSpPr>
              <a:xfrm>
                <a:off x="3025776" y="2813050"/>
                <a:ext cx="2911475" cy="2279650"/>
                <a:chOff x="3025776" y="2813050"/>
                <a:chExt cx="2911475" cy="2279650"/>
              </a:xfrm>
            </p:grpSpPr>
            <p:sp>
              <p:nvSpPr>
                <p:cNvPr id="687" name="Forma livre 779"/>
                <p:cNvSpPr/>
                <p:nvPr/>
              </p:nvSpPr>
              <p:spPr bwMode="auto">
                <a:xfrm>
                  <a:off x="4289426" y="4348163"/>
                  <a:ext cx="1381125" cy="146050"/>
                </a:xfrm>
                <a:custGeom>
                  <a:avLst/>
                  <a:gdLst>
                    <a:gd name="connsiteX0" fmla="*/ 1381851 w 1381851"/>
                    <a:gd name="connsiteY0" fmla="*/ 139416 h 147616"/>
                    <a:gd name="connsiteX1" fmla="*/ 1349048 w 1381851"/>
                    <a:gd name="connsiteY1" fmla="*/ 143516 h 147616"/>
                    <a:gd name="connsiteX2" fmla="*/ 1336746 w 1381851"/>
                    <a:gd name="connsiteY2" fmla="*/ 147616 h 147616"/>
                    <a:gd name="connsiteX3" fmla="*/ 1299842 w 1381851"/>
                    <a:gd name="connsiteY3" fmla="*/ 143516 h 147616"/>
                    <a:gd name="connsiteX4" fmla="*/ 1271139 w 1381851"/>
                    <a:gd name="connsiteY4" fmla="*/ 118913 h 147616"/>
                    <a:gd name="connsiteX5" fmla="*/ 1254737 w 1381851"/>
                    <a:gd name="connsiteY5" fmla="*/ 114813 h 147616"/>
                    <a:gd name="connsiteX6" fmla="*/ 1230135 w 1381851"/>
                    <a:gd name="connsiteY6" fmla="*/ 106612 h 147616"/>
                    <a:gd name="connsiteX7" fmla="*/ 1160427 w 1381851"/>
                    <a:gd name="connsiteY7" fmla="*/ 110712 h 147616"/>
                    <a:gd name="connsiteX8" fmla="*/ 1135824 w 1381851"/>
                    <a:gd name="connsiteY8" fmla="*/ 123014 h 147616"/>
                    <a:gd name="connsiteX9" fmla="*/ 1123523 w 1381851"/>
                    <a:gd name="connsiteY9" fmla="*/ 127114 h 147616"/>
                    <a:gd name="connsiteX10" fmla="*/ 1078418 w 1381851"/>
                    <a:gd name="connsiteY10" fmla="*/ 139416 h 147616"/>
                    <a:gd name="connsiteX11" fmla="*/ 1057916 w 1381851"/>
                    <a:gd name="connsiteY11" fmla="*/ 131215 h 147616"/>
                    <a:gd name="connsiteX12" fmla="*/ 1016911 w 1381851"/>
                    <a:gd name="connsiteY12" fmla="*/ 102512 h 147616"/>
                    <a:gd name="connsiteX13" fmla="*/ 1004610 w 1381851"/>
                    <a:gd name="connsiteY13" fmla="*/ 94311 h 147616"/>
                    <a:gd name="connsiteX14" fmla="*/ 996409 w 1381851"/>
                    <a:gd name="connsiteY14" fmla="*/ 82009 h 147616"/>
                    <a:gd name="connsiteX15" fmla="*/ 959505 w 1381851"/>
                    <a:gd name="connsiteY15" fmla="*/ 65608 h 147616"/>
                    <a:gd name="connsiteX16" fmla="*/ 947204 w 1381851"/>
                    <a:gd name="connsiteY16" fmla="*/ 61507 h 147616"/>
                    <a:gd name="connsiteX17" fmla="*/ 815989 w 1381851"/>
                    <a:gd name="connsiteY17" fmla="*/ 65608 h 147616"/>
                    <a:gd name="connsiteX18" fmla="*/ 803688 w 1381851"/>
                    <a:gd name="connsiteY18" fmla="*/ 69708 h 147616"/>
                    <a:gd name="connsiteX19" fmla="*/ 729880 w 1381851"/>
                    <a:gd name="connsiteY19" fmla="*/ 57407 h 147616"/>
                    <a:gd name="connsiteX20" fmla="*/ 692976 w 1381851"/>
                    <a:gd name="connsiteY20" fmla="*/ 53306 h 147616"/>
                    <a:gd name="connsiteX21" fmla="*/ 590465 w 1381851"/>
                    <a:gd name="connsiteY21" fmla="*/ 45105 h 147616"/>
                    <a:gd name="connsiteX22" fmla="*/ 574063 w 1381851"/>
                    <a:gd name="connsiteY22" fmla="*/ 41005 h 147616"/>
                    <a:gd name="connsiteX23" fmla="*/ 537159 w 1381851"/>
                    <a:gd name="connsiteY23" fmla="*/ 28703 h 147616"/>
                    <a:gd name="connsiteX24" fmla="*/ 524857 w 1381851"/>
                    <a:gd name="connsiteY24" fmla="*/ 24603 h 147616"/>
                    <a:gd name="connsiteX25" fmla="*/ 483853 w 1381851"/>
                    <a:gd name="connsiteY25" fmla="*/ 16402 h 147616"/>
                    <a:gd name="connsiteX26" fmla="*/ 438748 w 1381851"/>
                    <a:gd name="connsiteY26" fmla="*/ 8201 h 147616"/>
                    <a:gd name="connsiteX27" fmla="*/ 381342 w 1381851"/>
                    <a:gd name="connsiteY27" fmla="*/ 0 h 147616"/>
                    <a:gd name="connsiteX28" fmla="*/ 266529 w 1381851"/>
                    <a:gd name="connsiteY28" fmla="*/ 4101 h 147616"/>
                    <a:gd name="connsiteX29" fmla="*/ 254228 w 1381851"/>
                    <a:gd name="connsiteY29" fmla="*/ 8201 h 147616"/>
                    <a:gd name="connsiteX30" fmla="*/ 221424 w 1381851"/>
                    <a:gd name="connsiteY30" fmla="*/ 16402 h 147616"/>
                    <a:gd name="connsiteX31" fmla="*/ 196822 w 1381851"/>
                    <a:gd name="connsiteY31" fmla="*/ 24603 h 147616"/>
                    <a:gd name="connsiteX32" fmla="*/ 176319 w 1381851"/>
                    <a:gd name="connsiteY32" fmla="*/ 28703 h 147616"/>
                    <a:gd name="connsiteX33" fmla="*/ 151717 w 1381851"/>
                    <a:gd name="connsiteY33" fmla="*/ 36904 h 147616"/>
                    <a:gd name="connsiteX34" fmla="*/ 127114 w 1381851"/>
                    <a:gd name="connsiteY34" fmla="*/ 41005 h 147616"/>
                    <a:gd name="connsiteX35" fmla="*/ 36904 w 1381851"/>
                    <a:gd name="connsiteY35" fmla="*/ 36904 h 147616"/>
                    <a:gd name="connsiteX36" fmla="*/ 12301 w 1381851"/>
                    <a:gd name="connsiteY36" fmla="*/ 24603 h 147616"/>
                    <a:gd name="connsiteX37" fmla="*/ 0 w 1381851"/>
                    <a:gd name="connsiteY37" fmla="*/ 20503 h 147616"/>
                    <a:gd name="connsiteX0" fmla="*/ 1381851 w 1381851"/>
                    <a:gd name="connsiteY0" fmla="*/ 139416 h 147616"/>
                    <a:gd name="connsiteX1" fmla="*/ 1349048 w 1381851"/>
                    <a:gd name="connsiteY1" fmla="*/ 143516 h 147616"/>
                    <a:gd name="connsiteX2" fmla="*/ 1336746 w 1381851"/>
                    <a:gd name="connsiteY2" fmla="*/ 147616 h 147616"/>
                    <a:gd name="connsiteX3" fmla="*/ 1299842 w 1381851"/>
                    <a:gd name="connsiteY3" fmla="*/ 143516 h 147616"/>
                    <a:gd name="connsiteX4" fmla="*/ 1271139 w 1381851"/>
                    <a:gd name="connsiteY4" fmla="*/ 118913 h 147616"/>
                    <a:gd name="connsiteX5" fmla="*/ 1254737 w 1381851"/>
                    <a:gd name="connsiteY5" fmla="*/ 114813 h 147616"/>
                    <a:gd name="connsiteX6" fmla="*/ 1230135 w 1381851"/>
                    <a:gd name="connsiteY6" fmla="*/ 106612 h 147616"/>
                    <a:gd name="connsiteX7" fmla="*/ 1160427 w 1381851"/>
                    <a:gd name="connsiteY7" fmla="*/ 110712 h 147616"/>
                    <a:gd name="connsiteX8" fmla="*/ 1135824 w 1381851"/>
                    <a:gd name="connsiteY8" fmla="*/ 123014 h 147616"/>
                    <a:gd name="connsiteX9" fmla="*/ 1123523 w 1381851"/>
                    <a:gd name="connsiteY9" fmla="*/ 127114 h 147616"/>
                    <a:gd name="connsiteX10" fmla="*/ 1078418 w 1381851"/>
                    <a:gd name="connsiteY10" fmla="*/ 139416 h 147616"/>
                    <a:gd name="connsiteX11" fmla="*/ 1057916 w 1381851"/>
                    <a:gd name="connsiteY11" fmla="*/ 131215 h 147616"/>
                    <a:gd name="connsiteX12" fmla="*/ 1016911 w 1381851"/>
                    <a:gd name="connsiteY12" fmla="*/ 102512 h 147616"/>
                    <a:gd name="connsiteX13" fmla="*/ 1004610 w 1381851"/>
                    <a:gd name="connsiteY13" fmla="*/ 94311 h 147616"/>
                    <a:gd name="connsiteX14" fmla="*/ 996409 w 1381851"/>
                    <a:gd name="connsiteY14" fmla="*/ 82009 h 147616"/>
                    <a:gd name="connsiteX15" fmla="*/ 959505 w 1381851"/>
                    <a:gd name="connsiteY15" fmla="*/ 65608 h 147616"/>
                    <a:gd name="connsiteX16" fmla="*/ 947204 w 1381851"/>
                    <a:gd name="connsiteY16" fmla="*/ 61507 h 147616"/>
                    <a:gd name="connsiteX17" fmla="*/ 815989 w 1381851"/>
                    <a:gd name="connsiteY17" fmla="*/ 65608 h 147616"/>
                    <a:gd name="connsiteX18" fmla="*/ 803688 w 1381851"/>
                    <a:gd name="connsiteY18" fmla="*/ 69708 h 147616"/>
                    <a:gd name="connsiteX19" fmla="*/ 729880 w 1381851"/>
                    <a:gd name="connsiteY19" fmla="*/ 57407 h 147616"/>
                    <a:gd name="connsiteX20" fmla="*/ 692976 w 1381851"/>
                    <a:gd name="connsiteY20" fmla="*/ 53306 h 147616"/>
                    <a:gd name="connsiteX21" fmla="*/ 590465 w 1381851"/>
                    <a:gd name="connsiteY21" fmla="*/ 45105 h 147616"/>
                    <a:gd name="connsiteX22" fmla="*/ 574063 w 1381851"/>
                    <a:gd name="connsiteY22" fmla="*/ 41005 h 147616"/>
                    <a:gd name="connsiteX23" fmla="*/ 537159 w 1381851"/>
                    <a:gd name="connsiteY23" fmla="*/ 28703 h 147616"/>
                    <a:gd name="connsiteX24" fmla="*/ 524857 w 1381851"/>
                    <a:gd name="connsiteY24" fmla="*/ 24603 h 147616"/>
                    <a:gd name="connsiteX25" fmla="*/ 479753 w 1381851"/>
                    <a:gd name="connsiteY25" fmla="*/ 32804 h 147616"/>
                    <a:gd name="connsiteX26" fmla="*/ 438748 w 1381851"/>
                    <a:gd name="connsiteY26" fmla="*/ 8201 h 147616"/>
                    <a:gd name="connsiteX27" fmla="*/ 381342 w 1381851"/>
                    <a:gd name="connsiteY27" fmla="*/ 0 h 147616"/>
                    <a:gd name="connsiteX28" fmla="*/ 266529 w 1381851"/>
                    <a:gd name="connsiteY28" fmla="*/ 4101 h 147616"/>
                    <a:gd name="connsiteX29" fmla="*/ 254228 w 1381851"/>
                    <a:gd name="connsiteY29" fmla="*/ 8201 h 147616"/>
                    <a:gd name="connsiteX30" fmla="*/ 221424 w 1381851"/>
                    <a:gd name="connsiteY30" fmla="*/ 16402 h 147616"/>
                    <a:gd name="connsiteX31" fmla="*/ 196822 w 1381851"/>
                    <a:gd name="connsiteY31" fmla="*/ 24603 h 147616"/>
                    <a:gd name="connsiteX32" fmla="*/ 176319 w 1381851"/>
                    <a:gd name="connsiteY32" fmla="*/ 28703 h 147616"/>
                    <a:gd name="connsiteX33" fmla="*/ 151717 w 1381851"/>
                    <a:gd name="connsiteY33" fmla="*/ 36904 h 147616"/>
                    <a:gd name="connsiteX34" fmla="*/ 127114 w 1381851"/>
                    <a:gd name="connsiteY34" fmla="*/ 41005 h 147616"/>
                    <a:gd name="connsiteX35" fmla="*/ 36904 w 1381851"/>
                    <a:gd name="connsiteY35" fmla="*/ 36904 h 147616"/>
                    <a:gd name="connsiteX36" fmla="*/ 12301 w 1381851"/>
                    <a:gd name="connsiteY36" fmla="*/ 24603 h 147616"/>
                    <a:gd name="connsiteX37" fmla="*/ 0 w 1381851"/>
                    <a:gd name="connsiteY37" fmla="*/ 20503 h 147616"/>
                    <a:gd name="connsiteX0" fmla="*/ 1381851 w 1381851"/>
                    <a:gd name="connsiteY0" fmla="*/ 139416 h 147616"/>
                    <a:gd name="connsiteX1" fmla="*/ 1349048 w 1381851"/>
                    <a:gd name="connsiteY1" fmla="*/ 143516 h 147616"/>
                    <a:gd name="connsiteX2" fmla="*/ 1336746 w 1381851"/>
                    <a:gd name="connsiteY2" fmla="*/ 147616 h 147616"/>
                    <a:gd name="connsiteX3" fmla="*/ 1299842 w 1381851"/>
                    <a:gd name="connsiteY3" fmla="*/ 143516 h 147616"/>
                    <a:gd name="connsiteX4" fmla="*/ 1271139 w 1381851"/>
                    <a:gd name="connsiteY4" fmla="*/ 118913 h 147616"/>
                    <a:gd name="connsiteX5" fmla="*/ 1254737 w 1381851"/>
                    <a:gd name="connsiteY5" fmla="*/ 114813 h 147616"/>
                    <a:gd name="connsiteX6" fmla="*/ 1230135 w 1381851"/>
                    <a:gd name="connsiteY6" fmla="*/ 106612 h 147616"/>
                    <a:gd name="connsiteX7" fmla="*/ 1160427 w 1381851"/>
                    <a:gd name="connsiteY7" fmla="*/ 110712 h 147616"/>
                    <a:gd name="connsiteX8" fmla="*/ 1135824 w 1381851"/>
                    <a:gd name="connsiteY8" fmla="*/ 123014 h 147616"/>
                    <a:gd name="connsiteX9" fmla="*/ 1123523 w 1381851"/>
                    <a:gd name="connsiteY9" fmla="*/ 127114 h 147616"/>
                    <a:gd name="connsiteX10" fmla="*/ 1078418 w 1381851"/>
                    <a:gd name="connsiteY10" fmla="*/ 139416 h 147616"/>
                    <a:gd name="connsiteX11" fmla="*/ 1057916 w 1381851"/>
                    <a:gd name="connsiteY11" fmla="*/ 131215 h 147616"/>
                    <a:gd name="connsiteX12" fmla="*/ 1016911 w 1381851"/>
                    <a:gd name="connsiteY12" fmla="*/ 102512 h 147616"/>
                    <a:gd name="connsiteX13" fmla="*/ 1004610 w 1381851"/>
                    <a:gd name="connsiteY13" fmla="*/ 94311 h 147616"/>
                    <a:gd name="connsiteX14" fmla="*/ 996409 w 1381851"/>
                    <a:gd name="connsiteY14" fmla="*/ 82009 h 147616"/>
                    <a:gd name="connsiteX15" fmla="*/ 959505 w 1381851"/>
                    <a:gd name="connsiteY15" fmla="*/ 65608 h 147616"/>
                    <a:gd name="connsiteX16" fmla="*/ 947204 w 1381851"/>
                    <a:gd name="connsiteY16" fmla="*/ 61507 h 147616"/>
                    <a:gd name="connsiteX17" fmla="*/ 815989 w 1381851"/>
                    <a:gd name="connsiteY17" fmla="*/ 65608 h 147616"/>
                    <a:gd name="connsiteX18" fmla="*/ 803688 w 1381851"/>
                    <a:gd name="connsiteY18" fmla="*/ 69708 h 147616"/>
                    <a:gd name="connsiteX19" fmla="*/ 729880 w 1381851"/>
                    <a:gd name="connsiteY19" fmla="*/ 57407 h 147616"/>
                    <a:gd name="connsiteX20" fmla="*/ 692976 w 1381851"/>
                    <a:gd name="connsiteY20" fmla="*/ 53306 h 147616"/>
                    <a:gd name="connsiteX21" fmla="*/ 590465 w 1381851"/>
                    <a:gd name="connsiteY21" fmla="*/ 45105 h 147616"/>
                    <a:gd name="connsiteX22" fmla="*/ 574063 w 1381851"/>
                    <a:gd name="connsiteY22" fmla="*/ 41005 h 147616"/>
                    <a:gd name="connsiteX23" fmla="*/ 537159 w 1381851"/>
                    <a:gd name="connsiteY23" fmla="*/ 28703 h 147616"/>
                    <a:gd name="connsiteX24" fmla="*/ 524857 w 1381851"/>
                    <a:gd name="connsiteY24" fmla="*/ 45105 h 147616"/>
                    <a:gd name="connsiteX25" fmla="*/ 479753 w 1381851"/>
                    <a:gd name="connsiteY25" fmla="*/ 32804 h 147616"/>
                    <a:gd name="connsiteX26" fmla="*/ 438748 w 1381851"/>
                    <a:gd name="connsiteY26" fmla="*/ 8201 h 147616"/>
                    <a:gd name="connsiteX27" fmla="*/ 381342 w 1381851"/>
                    <a:gd name="connsiteY27" fmla="*/ 0 h 147616"/>
                    <a:gd name="connsiteX28" fmla="*/ 266529 w 1381851"/>
                    <a:gd name="connsiteY28" fmla="*/ 4101 h 147616"/>
                    <a:gd name="connsiteX29" fmla="*/ 254228 w 1381851"/>
                    <a:gd name="connsiteY29" fmla="*/ 8201 h 147616"/>
                    <a:gd name="connsiteX30" fmla="*/ 221424 w 1381851"/>
                    <a:gd name="connsiteY30" fmla="*/ 16402 h 147616"/>
                    <a:gd name="connsiteX31" fmla="*/ 196822 w 1381851"/>
                    <a:gd name="connsiteY31" fmla="*/ 24603 h 147616"/>
                    <a:gd name="connsiteX32" fmla="*/ 176319 w 1381851"/>
                    <a:gd name="connsiteY32" fmla="*/ 28703 h 147616"/>
                    <a:gd name="connsiteX33" fmla="*/ 151717 w 1381851"/>
                    <a:gd name="connsiteY33" fmla="*/ 36904 h 147616"/>
                    <a:gd name="connsiteX34" fmla="*/ 127114 w 1381851"/>
                    <a:gd name="connsiteY34" fmla="*/ 41005 h 147616"/>
                    <a:gd name="connsiteX35" fmla="*/ 36904 w 1381851"/>
                    <a:gd name="connsiteY35" fmla="*/ 36904 h 147616"/>
                    <a:gd name="connsiteX36" fmla="*/ 12301 w 1381851"/>
                    <a:gd name="connsiteY36" fmla="*/ 24603 h 147616"/>
                    <a:gd name="connsiteX37" fmla="*/ 0 w 1381851"/>
                    <a:gd name="connsiteY37" fmla="*/ 20503 h 147616"/>
                    <a:gd name="connsiteX0" fmla="*/ 1381851 w 1381851"/>
                    <a:gd name="connsiteY0" fmla="*/ 139416 h 147616"/>
                    <a:gd name="connsiteX1" fmla="*/ 1349048 w 1381851"/>
                    <a:gd name="connsiteY1" fmla="*/ 143516 h 147616"/>
                    <a:gd name="connsiteX2" fmla="*/ 1336746 w 1381851"/>
                    <a:gd name="connsiteY2" fmla="*/ 147616 h 147616"/>
                    <a:gd name="connsiteX3" fmla="*/ 1299842 w 1381851"/>
                    <a:gd name="connsiteY3" fmla="*/ 143516 h 147616"/>
                    <a:gd name="connsiteX4" fmla="*/ 1271139 w 1381851"/>
                    <a:gd name="connsiteY4" fmla="*/ 118913 h 147616"/>
                    <a:gd name="connsiteX5" fmla="*/ 1254737 w 1381851"/>
                    <a:gd name="connsiteY5" fmla="*/ 114813 h 147616"/>
                    <a:gd name="connsiteX6" fmla="*/ 1230135 w 1381851"/>
                    <a:gd name="connsiteY6" fmla="*/ 106612 h 147616"/>
                    <a:gd name="connsiteX7" fmla="*/ 1160427 w 1381851"/>
                    <a:gd name="connsiteY7" fmla="*/ 110712 h 147616"/>
                    <a:gd name="connsiteX8" fmla="*/ 1135824 w 1381851"/>
                    <a:gd name="connsiteY8" fmla="*/ 123014 h 147616"/>
                    <a:gd name="connsiteX9" fmla="*/ 1123523 w 1381851"/>
                    <a:gd name="connsiteY9" fmla="*/ 127114 h 147616"/>
                    <a:gd name="connsiteX10" fmla="*/ 1078418 w 1381851"/>
                    <a:gd name="connsiteY10" fmla="*/ 139416 h 147616"/>
                    <a:gd name="connsiteX11" fmla="*/ 1057916 w 1381851"/>
                    <a:gd name="connsiteY11" fmla="*/ 131215 h 147616"/>
                    <a:gd name="connsiteX12" fmla="*/ 1016911 w 1381851"/>
                    <a:gd name="connsiteY12" fmla="*/ 102512 h 147616"/>
                    <a:gd name="connsiteX13" fmla="*/ 1004610 w 1381851"/>
                    <a:gd name="connsiteY13" fmla="*/ 94311 h 147616"/>
                    <a:gd name="connsiteX14" fmla="*/ 996409 w 1381851"/>
                    <a:gd name="connsiteY14" fmla="*/ 82009 h 147616"/>
                    <a:gd name="connsiteX15" fmla="*/ 959505 w 1381851"/>
                    <a:gd name="connsiteY15" fmla="*/ 65608 h 147616"/>
                    <a:gd name="connsiteX16" fmla="*/ 947204 w 1381851"/>
                    <a:gd name="connsiteY16" fmla="*/ 61507 h 147616"/>
                    <a:gd name="connsiteX17" fmla="*/ 815989 w 1381851"/>
                    <a:gd name="connsiteY17" fmla="*/ 65608 h 147616"/>
                    <a:gd name="connsiteX18" fmla="*/ 803688 w 1381851"/>
                    <a:gd name="connsiteY18" fmla="*/ 69708 h 147616"/>
                    <a:gd name="connsiteX19" fmla="*/ 729880 w 1381851"/>
                    <a:gd name="connsiteY19" fmla="*/ 57407 h 147616"/>
                    <a:gd name="connsiteX20" fmla="*/ 692976 w 1381851"/>
                    <a:gd name="connsiteY20" fmla="*/ 53306 h 147616"/>
                    <a:gd name="connsiteX21" fmla="*/ 590465 w 1381851"/>
                    <a:gd name="connsiteY21" fmla="*/ 45105 h 147616"/>
                    <a:gd name="connsiteX22" fmla="*/ 574063 w 1381851"/>
                    <a:gd name="connsiteY22" fmla="*/ 41005 h 147616"/>
                    <a:gd name="connsiteX23" fmla="*/ 545360 w 1381851"/>
                    <a:gd name="connsiteY23" fmla="*/ 45104 h 147616"/>
                    <a:gd name="connsiteX24" fmla="*/ 524857 w 1381851"/>
                    <a:gd name="connsiteY24" fmla="*/ 45105 h 147616"/>
                    <a:gd name="connsiteX25" fmla="*/ 479753 w 1381851"/>
                    <a:gd name="connsiteY25" fmla="*/ 32804 h 147616"/>
                    <a:gd name="connsiteX26" fmla="*/ 438748 w 1381851"/>
                    <a:gd name="connsiteY26" fmla="*/ 8201 h 147616"/>
                    <a:gd name="connsiteX27" fmla="*/ 381342 w 1381851"/>
                    <a:gd name="connsiteY27" fmla="*/ 0 h 147616"/>
                    <a:gd name="connsiteX28" fmla="*/ 266529 w 1381851"/>
                    <a:gd name="connsiteY28" fmla="*/ 4101 h 147616"/>
                    <a:gd name="connsiteX29" fmla="*/ 254228 w 1381851"/>
                    <a:gd name="connsiteY29" fmla="*/ 8201 h 147616"/>
                    <a:gd name="connsiteX30" fmla="*/ 221424 w 1381851"/>
                    <a:gd name="connsiteY30" fmla="*/ 16402 h 147616"/>
                    <a:gd name="connsiteX31" fmla="*/ 196822 w 1381851"/>
                    <a:gd name="connsiteY31" fmla="*/ 24603 h 147616"/>
                    <a:gd name="connsiteX32" fmla="*/ 176319 w 1381851"/>
                    <a:gd name="connsiteY32" fmla="*/ 28703 h 147616"/>
                    <a:gd name="connsiteX33" fmla="*/ 151717 w 1381851"/>
                    <a:gd name="connsiteY33" fmla="*/ 36904 h 147616"/>
                    <a:gd name="connsiteX34" fmla="*/ 127114 w 1381851"/>
                    <a:gd name="connsiteY34" fmla="*/ 41005 h 147616"/>
                    <a:gd name="connsiteX35" fmla="*/ 36904 w 1381851"/>
                    <a:gd name="connsiteY35" fmla="*/ 36904 h 147616"/>
                    <a:gd name="connsiteX36" fmla="*/ 12301 w 1381851"/>
                    <a:gd name="connsiteY36" fmla="*/ 24603 h 147616"/>
                    <a:gd name="connsiteX37" fmla="*/ 0 w 1381851"/>
                    <a:gd name="connsiteY37" fmla="*/ 20503 h 147616"/>
                    <a:gd name="connsiteX0" fmla="*/ 1381851 w 1381851"/>
                    <a:gd name="connsiteY0" fmla="*/ 140852 h 149052"/>
                    <a:gd name="connsiteX1" fmla="*/ 1349048 w 1381851"/>
                    <a:gd name="connsiteY1" fmla="*/ 144952 h 149052"/>
                    <a:gd name="connsiteX2" fmla="*/ 1336746 w 1381851"/>
                    <a:gd name="connsiteY2" fmla="*/ 149052 h 149052"/>
                    <a:gd name="connsiteX3" fmla="*/ 1299842 w 1381851"/>
                    <a:gd name="connsiteY3" fmla="*/ 144952 h 149052"/>
                    <a:gd name="connsiteX4" fmla="*/ 1271139 w 1381851"/>
                    <a:gd name="connsiteY4" fmla="*/ 120349 h 149052"/>
                    <a:gd name="connsiteX5" fmla="*/ 1254737 w 1381851"/>
                    <a:gd name="connsiteY5" fmla="*/ 116249 h 149052"/>
                    <a:gd name="connsiteX6" fmla="*/ 1230135 w 1381851"/>
                    <a:gd name="connsiteY6" fmla="*/ 108048 h 149052"/>
                    <a:gd name="connsiteX7" fmla="*/ 1160427 w 1381851"/>
                    <a:gd name="connsiteY7" fmla="*/ 112148 h 149052"/>
                    <a:gd name="connsiteX8" fmla="*/ 1135824 w 1381851"/>
                    <a:gd name="connsiteY8" fmla="*/ 124450 h 149052"/>
                    <a:gd name="connsiteX9" fmla="*/ 1123523 w 1381851"/>
                    <a:gd name="connsiteY9" fmla="*/ 128550 h 149052"/>
                    <a:gd name="connsiteX10" fmla="*/ 1078418 w 1381851"/>
                    <a:gd name="connsiteY10" fmla="*/ 140852 h 149052"/>
                    <a:gd name="connsiteX11" fmla="*/ 1057916 w 1381851"/>
                    <a:gd name="connsiteY11" fmla="*/ 132651 h 149052"/>
                    <a:gd name="connsiteX12" fmla="*/ 1016911 w 1381851"/>
                    <a:gd name="connsiteY12" fmla="*/ 103948 h 149052"/>
                    <a:gd name="connsiteX13" fmla="*/ 1004610 w 1381851"/>
                    <a:gd name="connsiteY13" fmla="*/ 95747 h 149052"/>
                    <a:gd name="connsiteX14" fmla="*/ 996409 w 1381851"/>
                    <a:gd name="connsiteY14" fmla="*/ 83445 h 149052"/>
                    <a:gd name="connsiteX15" fmla="*/ 959505 w 1381851"/>
                    <a:gd name="connsiteY15" fmla="*/ 67044 h 149052"/>
                    <a:gd name="connsiteX16" fmla="*/ 947204 w 1381851"/>
                    <a:gd name="connsiteY16" fmla="*/ 62943 h 149052"/>
                    <a:gd name="connsiteX17" fmla="*/ 815989 w 1381851"/>
                    <a:gd name="connsiteY17" fmla="*/ 67044 h 149052"/>
                    <a:gd name="connsiteX18" fmla="*/ 803688 w 1381851"/>
                    <a:gd name="connsiteY18" fmla="*/ 71144 h 149052"/>
                    <a:gd name="connsiteX19" fmla="*/ 729880 w 1381851"/>
                    <a:gd name="connsiteY19" fmla="*/ 58843 h 149052"/>
                    <a:gd name="connsiteX20" fmla="*/ 692976 w 1381851"/>
                    <a:gd name="connsiteY20" fmla="*/ 54742 h 149052"/>
                    <a:gd name="connsiteX21" fmla="*/ 590465 w 1381851"/>
                    <a:gd name="connsiteY21" fmla="*/ 46541 h 149052"/>
                    <a:gd name="connsiteX22" fmla="*/ 574063 w 1381851"/>
                    <a:gd name="connsiteY22" fmla="*/ 42441 h 149052"/>
                    <a:gd name="connsiteX23" fmla="*/ 545360 w 1381851"/>
                    <a:gd name="connsiteY23" fmla="*/ 46540 h 149052"/>
                    <a:gd name="connsiteX24" fmla="*/ 524857 w 1381851"/>
                    <a:gd name="connsiteY24" fmla="*/ 46541 h 149052"/>
                    <a:gd name="connsiteX25" fmla="*/ 479753 w 1381851"/>
                    <a:gd name="connsiteY25" fmla="*/ 34240 h 149052"/>
                    <a:gd name="connsiteX26" fmla="*/ 426447 w 1381851"/>
                    <a:gd name="connsiteY26" fmla="*/ 30140 h 149052"/>
                    <a:gd name="connsiteX27" fmla="*/ 381342 w 1381851"/>
                    <a:gd name="connsiteY27" fmla="*/ 1436 h 149052"/>
                    <a:gd name="connsiteX28" fmla="*/ 266529 w 1381851"/>
                    <a:gd name="connsiteY28" fmla="*/ 5537 h 149052"/>
                    <a:gd name="connsiteX29" fmla="*/ 254228 w 1381851"/>
                    <a:gd name="connsiteY29" fmla="*/ 9637 h 149052"/>
                    <a:gd name="connsiteX30" fmla="*/ 221424 w 1381851"/>
                    <a:gd name="connsiteY30" fmla="*/ 17838 h 149052"/>
                    <a:gd name="connsiteX31" fmla="*/ 196822 w 1381851"/>
                    <a:gd name="connsiteY31" fmla="*/ 26039 h 149052"/>
                    <a:gd name="connsiteX32" fmla="*/ 176319 w 1381851"/>
                    <a:gd name="connsiteY32" fmla="*/ 30139 h 149052"/>
                    <a:gd name="connsiteX33" fmla="*/ 151717 w 1381851"/>
                    <a:gd name="connsiteY33" fmla="*/ 38340 h 149052"/>
                    <a:gd name="connsiteX34" fmla="*/ 127114 w 1381851"/>
                    <a:gd name="connsiteY34" fmla="*/ 42441 h 149052"/>
                    <a:gd name="connsiteX35" fmla="*/ 36904 w 1381851"/>
                    <a:gd name="connsiteY35" fmla="*/ 38340 h 149052"/>
                    <a:gd name="connsiteX36" fmla="*/ 12301 w 1381851"/>
                    <a:gd name="connsiteY36" fmla="*/ 26039 h 149052"/>
                    <a:gd name="connsiteX37" fmla="*/ 0 w 1381851"/>
                    <a:gd name="connsiteY37" fmla="*/ 21939 h 149052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30135 w 1381851"/>
                    <a:gd name="connsiteY6" fmla="*/ 104496 h 145500"/>
                    <a:gd name="connsiteX7" fmla="*/ 1160427 w 1381851"/>
                    <a:gd name="connsiteY7" fmla="*/ 108596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15989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29880 w 1381851"/>
                    <a:gd name="connsiteY19" fmla="*/ 55291 h 145500"/>
                    <a:gd name="connsiteX20" fmla="*/ 692976 w 1381851"/>
                    <a:gd name="connsiteY20" fmla="*/ 51190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30135 w 1381851"/>
                    <a:gd name="connsiteY6" fmla="*/ 104496 h 145500"/>
                    <a:gd name="connsiteX7" fmla="*/ 1160427 w 1381851"/>
                    <a:gd name="connsiteY7" fmla="*/ 108596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15989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29880 w 1381851"/>
                    <a:gd name="connsiteY19" fmla="*/ 55291 h 145500"/>
                    <a:gd name="connsiteX20" fmla="*/ 672474 w 1381851"/>
                    <a:gd name="connsiteY20" fmla="*/ 59391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30135 w 1381851"/>
                    <a:gd name="connsiteY6" fmla="*/ 104496 h 145500"/>
                    <a:gd name="connsiteX7" fmla="*/ 1160427 w 1381851"/>
                    <a:gd name="connsiteY7" fmla="*/ 108596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15989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33981 w 1381851"/>
                    <a:gd name="connsiteY19" fmla="*/ 67592 h 145500"/>
                    <a:gd name="connsiteX20" fmla="*/ 672474 w 1381851"/>
                    <a:gd name="connsiteY20" fmla="*/ 59391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30135 w 1381851"/>
                    <a:gd name="connsiteY6" fmla="*/ 104496 h 145500"/>
                    <a:gd name="connsiteX7" fmla="*/ 1160427 w 1381851"/>
                    <a:gd name="connsiteY7" fmla="*/ 108596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44692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33981 w 1381851"/>
                    <a:gd name="connsiteY19" fmla="*/ 67592 h 145500"/>
                    <a:gd name="connsiteX20" fmla="*/ 672474 w 1381851"/>
                    <a:gd name="connsiteY20" fmla="*/ 59391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30135 w 1381851"/>
                    <a:gd name="connsiteY6" fmla="*/ 104496 h 145500"/>
                    <a:gd name="connsiteX7" fmla="*/ 1164527 w 1381851"/>
                    <a:gd name="connsiteY7" fmla="*/ 124998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44692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33981 w 1381851"/>
                    <a:gd name="connsiteY19" fmla="*/ 67592 h 145500"/>
                    <a:gd name="connsiteX20" fmla="*/ 672474 w 1381851"/>
                    <a:gd name="connsiteY20" fmla="*/ 59391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  <a:gd name="connsiteX0" fmla="*/ 1381851 w 1381851"/>
                    <a:gd name="connsiteY0" fmla="*/ 137300 h 145500"/>
                    <a:gd name="connsiteX1" fmla="*/ 1349048 w 1381851"/>
                    <a:gd name="connsiteY1" fmla="*/ 141400 h 145500"/>
                    <a:gd name="connsiteX2" fmla="*/ 1336746 w 1381851"/>
                    <a:gd name="connsiteY2" fmla="*/ 145500 h 145500"/>
                    <a:gd name="connsiteX3" fmla="*/ 1299842 w 1381851"/>
                    <a:gd name="connsiteY3" fmla="*/ 141400 h 145500"/>
                    <a:gd name="connsiteX4" fmla="*/ 1271139 w 1381851"/>
                    <a:gd name="connsiteY4" fmla="*/ 116797 h 145500"/>
                    <a:gd name="connsiteX5" fmla="*/ 1254737 w 1381851"/>
                    <a:gd name="connsiteY5" fmla="*/ 112697 h 145500"/>
                    <a:gd name="connsiteX6" fmla="*/ 1217833 w 1381851"/>
                    <a:gd name="connsiteY6" fmla="*/ 116797 h 145500"/>
                    <a:gd name="connsiteX7" fmla="*/ 1164527 w 1381851"/>
                    <a:gd name="connsiteY7" fmla="*/ 124998 h 145500"/>
                    <a:gd name="connsiteX8" fmla="*/ 1135824 w 1381851"/>
                    <a:gd name="connsiteY8" fmla="*/ 120898 h 145500"/>
                    <a:gd name="connsiteX9" fmla="*/ 1123523 w 1381851"/>
                    <a:gd name="connsiteY9" fmla="*/ 124998 h 145500"/>
                    <a:gd name="connsiteX10" fmla="*/ 1078418 w 1381851"/>
                    <a:gd name="connsiteY10" fmla="*/ 137300 h 145500"/>
                    <a:gd name="connsiteX11" fmla="*/ 1057916 w 1381851"/>
                    <a:gd name="connsiteY11" fmla="*/ 129099 h 145500"/>
                    <a:gd name="connsiteX12" fmla="*/ 1016911 w 1381851"/>
                    <a:gd name="connsiteY12" fmla="*/ 100396 h 145500"/>
                    <a:gd name="connsiteX13" fmla="*/ 1004610 w 1381851"/>
                    <a:gd name="connsiteY13" fmla="*/ 92195 h 145500"/>
                    <a:gd name="connsiteX14" fmla="*/ 996409 w 1381851"/>
                    <a:gd name="connsiteY14" fmla="*/ 79893 h 145500"/>
                    <a:gd name="connsiteX15" fmla="*/ 959505 w 1381851"/>
                    <a:gd name="connsiteY15" fmla="*/ 63492 h 145500"/>
                    <a:gd name="connsiteX16" fmla="*/ 947204 w 1381851"/>
                    <a:gd name="connsiteY16" fmla="*/ 59391 h 145500"/>
                    <a:gd name="connsiteX17" fmla="*/ 844692 w 1381851"/>
                    <a:gd name="connsiteY17" fmla="*/ 63492 h 145500"/>
                    <a:gd name="connsiteX18" fmla="*/ 803688 w 1381851"/>
                    <a:gd name="connsiteY18" fmla="*/ 67592 h 145500"/>
                    <a:gd name="connsiteX19" fmla="*/ 733981 w 1381851"/>
                    <a:gd name="connsiteY19" fmla="*/ 67592 h 145500"/>
                    <a:gd name="connsiteX20" fmla="*/ 672474 w 1381851"/>
                    <a:gd name="connsiteY20" fmla="*/ 59391 h 145500"/>
                    <a:gd name="connsiteX21" fmla="*/ 590465 w 1381851"/>
                    <a:gd name="connsiteY21" fmla="*/ 42989 h 145500"/>
                    <a:gd name="connsiteX22" fmla="*/ 574063 w 1381851"/>
                    <a:gd name="connsiteY22" fmla="*/ 38889 h 145500"/>
                    <a:gd name="connsiteX23" fmla="*/ 545360 w 1381851"/>
                    <a:gd name="connsiteY23" fmla="*/ 42988 h 145500"/>
                    <a:gd name="connsiteX24" fmla="*/ 524857 w 1381851"/>
                    <a:gd name="connsiteY24" fmla="*/ 42989 h 145500"/>
                    <a:gd name="connsiteX25" fmla="*/ 479753 w 1381851"/>
                    <a:gd name="connsiteY25" fmla="*/ 30688 h 145500"/>
                    <a:gd name="connsiteX26" fmla="*/ 426447 w 1381851"/>
                    <a:gd name="connsiteY26" fmla="*/ 26588 h 145500"/>
                    <a:gd name="connsiteX27" fmla="*/ 360840 w 1381851"/>
                    <a:gd name="connsiteY27" fmla="*/ 1985 h 145500"/>
                    <a:gd name="connsiteX28" fmla="*/ 266529 w 1381851"/>
                    <a:gd name="connsiteY28" fmla="*/ 1985 h 145500"/>
                    <a:gd name="connsiteX29" fmla="*/ 254228 w 1381851"/>
                    <a:gd name="connsiteY29" fmla="*/ 6085 h 145500"/>
                    <a:gd name="connsiteX30" fmla="*/ 221424 w 1381851"/>
                    <a:gd name="connsiteY30" fmla="*/ 14286 h 145500"/>
                    <a:gd name="connsiteX31" fmla="*/ 196822 w 1381851"/>
                    <a:gd name="connsiteY31" fmla="*/ 22487 h 145500"/>
                    <a:gd name="connsiteX32" fmla="*/ 176319 w 1381851"/>
                    <a:gd name="connsiteY32" fmla="*/ 26587 h 145500"/>
                    <a:gd name="connsiteX33" fmla="*/ 151717 w 1381851"/>
                    <a:gd name="connsiteY33" fmla="*/ 34788 h 145500"/>
                    <a:gd name="connsiteX34" fmla="*/ 127114 w 1381851"/>
                    <a:gd name="connsiteY34" fmla="*/ 38889 h 145500"/>
                    <a:gd name="connsiteX35" fmla="*/ 36904 w 1381851"/>
                    <a:gd name="connsiteY35" fmla="*/ 34788 h 145500"/>
                    <a:gd name="connsiteX36" fmla="*/ 12301 w 1381851"/>
                    <a:gd name="connsiteY36" fmla="*/ 22487 h 145500"/>
                    <a:gd name="connsiteX37" fmla="*/ 0 w 1381851"/>
                    <a:gd name="connsiteY37" fmla="*/ 18387 h 145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381851" h="145500">
                      <a:moveTo>
                        <a:pt x="1381851" y="137300"/>
                      </a:moveTo>
                      <a:cubicBezTo>
                        <a:pt x="1370917" y="138667"/>
                        <a:pt x="1359890" y="139429"/>
                        <a:pt x="1349048" y="141400"/>
                      </a:cubicBezTo>
                      <a:cubicBezTo>
                        <a:pt x="1344795" y="142173"/>
                        <a:pt x="1341068" y="145500"/>
                        <a:pt x="1336746" y="145500"/>
                      </a:cubicBezTo>
                      <a:cubicBezTo>
                        <a:pt x="1324369" y="145500"/>
                        <a:pt x="1312143" y="142767"/>
                        <a:pt x="1299842" y="141400"/>
                      </a:cubicBezTo>
                      <a:cubicBezTo>
                        <a:pt x="1292204" y="133762"/>
                        <a:pt x="1282066" y="121480"/>
                        <a:pt x="1271139" y="116797"/>
                      </a:cubicBezTo>
                      <a:cubicBezTo>
                        <a:pt x="1265959" y="114577"/>
                        <a:pt x="1263621" y="112697"/>
                        <a:pt x="1254737" y="112697"/>
                      </a:cubicBezTo>
                      <a:cubicBezTo>
                        <a:pt x="1245853" y="112697"/>
                        <a:pt x="1232868" y="114747"/>
                        <a:pt x="1217833" y="116797"/>
                      </a:cubicBezTo>
                      <a:cubicBezTo>
                        <a:pt x="1202798" y="118847"/>
                        <a:pt x="1178195" y="124315"/>
                        <a:pt x="1164527" y="124998"/>
                      </a:cubicBezTo>
                      <a:cubicBezTo>
                        <a:pt x="1150859" y="125681"/>
                        <a:pt x="1142658" y="120898"/>
                        <a:pt x="1135824" y="120898"/>
                      </a:cubicBezTo>
                      <a:cubicBezTo>
                        <a:pt x="1128990" y="120898"/>
                        <a:pt x="1127693" y="123861"/>
                        <a:pt x="1123523" y="124998"/>
                      </a:cubicBezTo>
                      <a:cubicBezTo>
                        <a:pt x="1072671" y="138866"/>
                        <a:pt x="1106725" y="127863"/>
                        <a:pt x="1078418" y="137300"/>
                      </a:cubicBezTo>
                      <a:cubicBezTo>
                        <a:pt x="1071584" y="134566"/>
                        <a:pt x="1064378" y="132624"/>
                        <a:pt x="1057916" y="129099"/>
                      </a:cubicBezTo>
                      <a:cubicBezTo>
                        <a:pt x="1041968" y="120400"/>
                        <a:pt x="1031254" y="110641"/>
                        <a:pt x="1016911" y="100396"/>
                      </a:cubicBezTo>
                      <a:cubicBezTo>
                        <a:pt x="1012901" y="97532"/>
                        <a:pt x="1008710" y="94929"/>
                        <a:pt x="1004610" y="92195"/>
                      </a:cubicBezTo>
                      <a:cubicBezTo>
                        <a:pt x="1001876" y="88094"/>
                        <a:pt x="999894" y="83378"/>
                        <a:pt x="996409" y="79893"/>
                      </a:cubicBezTo>
                      <a:cubicBezTo>
                        <a:pt x="986661" y="70145"/>
                        <a:pt x="971688" y="67553"/>
                        <a:pt x="959505" y="63492"/>
                      </a:cubicBezTo>
                      <a:cubicBezTo>
                        <a:pt x="955405" y="62125"/>
                        <a:pt x="966339" y="59391"/>
                        <a:pt x="947204" y="59391"/>
                      </a:cubicBezTo>
                      <a:cubicBezTo>
                        <a:pt x="928069" y="59391"/>
                        <a:pt x="888380" y="60995"/>
                        <a:pt x="844692" y="63492"/>
                      </a:cubicBezTo>
                      <a:cubicBezTo>
                        <a:pt x="840377" y="63739"/>
                        <a:pt x="822140" y="66909"/>
                        <a:pt x="803688" y="67592"/>
                      </a:cubicBezTo>
                      <a:cubicBezTo>
                        <a:pt x="785236" y="68275"/>
                        <a:pt x="755850" y="68959"/>
                        <a:pt x="733981" y="67592"/>
                      </a:cubicBezTo>
                      <a:lnTo>
                        <a:pt x="672474" y="59391"/>
                      </a:lnTo>
                      <a:cubicBezTo>
                        <a:pt x="629950" y="45218"/>
                        <a:pt x="606867" y="46406"/>
                        <a:pt x="590465" y="42989"/>
                      </a:cubicBezTo>
                      <a:cubicBezTo>
                        <a:pt x="574063" y="39572"/>
                        <a:pt x="581580" y="38889"/>
                        <a:pt x="574063" y="38889"/>
                      </a:cubicBezTo>
                      <a:cubicBezTo>
                        <a:pt x="566546" y="38889"/>
                        <a:pt x="553561" y="42305"/>
                        <a:pt x="545360" y="42988"/>
                      </a:cubicBezTo>
                      <a:cubicBezTo>
                        <a:pt x="537159" y="43671"/>
                        <a:pt x="535791" y="45039"/>
                        <a:pt x="524857" y="42989"/>
                      </a:cubicBezTo>
                      <a:cubicBezTo>
                        <a:pt x="513923" y="40939"/>
                        <a:pt x="496155" y="33422"/>
                        <a:pt x="479753" y="30688"/>
                      </a:cubicBezTo>
                      <a:cubicBezTo>
                        <a:pt x="463351" y="27955"/>
                        <a:pt x="446266" y="31372"/>
                        <a:pt x="426447" y="26588"/>
                      </a:cubicBezTo>
                      <a:cubicBezTo>
                        <a:pt x="406628" y="21804"/>
                        <a:pt x="387493" y="6086"/>
                        <a:pt x="360840" y="1985"/>
                      </a:cubicBezTo>
                      <a:cubicBezTo>
                        <a:pt x="334187" y="-2116"/>
                        <a:pt x="284298" y="1302"/>
                        <a:pt x="266529" y="1985"/>
                      </a:cubicBezTo>
                      <a:cubicBezTo>
                        <a:pt x="248760" y="2668"/>
                        <a:pt x="258398" y="4948"/>
                        <a:pt x="254228" y="6085"/>
                      </a:cubicBezTo>
                      <a:cubicBezTo>
                        <a:pt x="243354" y="9051"/>
                        <a:pt x="232117" y="10722"/>
                        <a:pt x="221424" y="14286"/>
                      </a:cubicBezTo>
                      <a:cubicBezTo>
                        <a:pt x="213223" y="17020"/>
                        <a:pt x="205298" y="20792"/>
                        <a:pt x="196822" y="22487"/>
                      </a:cubicBezTo>
                      <a:cubicBezTo>
                        <a:pt x="189988" y="23854"/>
                        <a:pt x="183043" y="24753"/>
                        <a:pt x="176319" y="26587"/>
                      </a:cubicBezTo>
                      <a:cubicBezTo>
                        <a:pt x="167979" y="28861"/>
                        <a:pt x="160244" y="33367"/>
                        <a:pt x="151717" y="34788"/>
                      </a:cubicBezTo>
                      <a:lnTo>
                        <a:pt x="127114" y="38889"/>
                      </a:lnTo>
                      <a:cubicBezTo>
                        <a:pt x="97044" y="37522"/>
                        <a:pt x="66909" y="37188"/>
                        <a:pt x="36904" y="34788"/>
                      </a:cubicBezTo>
                      <a:cubicBezTo>
                        <a:pt x="24634" y="33806"/>
                        <a:pt x="22833" y="27753"/>
                        <a:pt x="12301" y="22487"/>
                      </a:cubicBezTo>
                      <a:cubicBezTo>
                        <a:pt x="8435" y="20554"/>
                        <a:pt x="0" y="18387"/>
                        <a:pt x="0" y="18387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683" name="Forma livre 781"/>
                <p:cNvSpPr/>
                <p:nvPr/>
              </p:nvSpPr>
              <p:spPr bwMode="auto">
                <a:xfrm>
                  <a:off x="4383089" y="3735388"/>
                  <a:ext cx="106362" cy="704850"/>
                </a:xfrm>
                <a:custGeom>
                  <a:avLst/>
                  <a:gdLst>
                    <a:gd name="connsiteX0" fmla="*/ 49206 w 106887"/>
                    <a:gd name="connsiteY0" fmla="*/ 0 h 705277"/>
                    <a:gd name="connsiteX1" fmla="*/ 45105 w 106887"/>
                    <a:gd name="connsiteY1" fmla="*/ 20502 h 705277"/>
                    <a:gd name="connsiteX2" fmla="*/ 53306 w 106887"/>
                    <a:gd name="connsiteY2" fmla="*/ 49205 h 705277"/>
                    <a:gd name="connsiteX3" fmla="*/ 57407 w 106887"/>
                    <a:gd name="connsiteY3" fmla="*/ 61506 h 705277"/>
                    <a:gd name="connsiteX4" fmla="*/ 61507 w 106887"/>
                    <a:gd name="connsiteY4" fmla="*/ 77908 h 705277"/>
                    <a:gd name="connsiteX5" fmla="*/ 69708 w 106887"/>
                    <a:gd name="connsiteY5" fmla="*/ 102511 h 705277"/>
                    <a:gd name="connsiteX6" fmla="*/ 86110 w 106887"/>
                    <a:gd name="connsiteY6" fmla="*/ 127113 h 705277"/>
                    <a:gd name="connsiteX7" fmla="*/ 90210 w 106887"/>
                    <a:gd name="connsiteY7" fmla="*/ 139415 h 705277"/>
                    <a:gd name="connsiteX8" fmla="*/ 94311 w 106887"/>
                    <a:gd name="connsiteY8" fmla="*/ 159917 h 705277"/>
                    <a:gd name="connsiteX9" fmla="*/ 102512 w 106887"/>
                    <a:gd name="connsiteY9" fmla="*/ 172218 h 705277"/>
                    <a:gd name="connsiteX10" fmla="*/ 106612 w 106887"/>
                    <a:gd name="connsiteY10" fmla="*/ 184520 h 705277"/>
                    <a:gd name="connsiteX11" fmla="*/ 94311 w 106887"/>
                    <a:gd name="connsiteY11" fmla="*/ 196821 h 705277"/>
                    <a:gd name="connsiteX12" fmla="*/ 90210 w 106887"/>
                    <a:gd name="connsiteY12" fmla="*/ 209122 h 705277"/>
                    <a:gd name="connsiteX13" fmla="*/ 86110 w 106887"/>
                    <a:gd name="connsiteY13" fmla="*/ 229625 h 705277"/>
                    <a:gd name="connsiteX14" fmla="*/ 77909 w 106887"/>
                    <a:gd name="connsiteY14" fmla="*/ 254227 h 705277"/>
                    <a:gd name="connsiteX15" fmla="*/ 73808 w 106887"/>
                    <a:gd name="connsiteY15" fmla="*/ 266529 h 705277"/>
                    <a:gd name="connsiteX16" fmla="*/ 69708 w 106887"/>
                    <a:gd name="connsiteY16" fmla="*/ 282930 h 705277"/>
                    <a:gd name="connsiteX17" fmla="*/ 73808 w 106887"/>
                    <a:gd name="connsiteY17" fmla="*/ 299332 h 705277"/>
                    <a:gd name="connsiteX18" fmla="*/ 86110 w 106887"/>
                    <a:gd name="connsiteY18" fmla="*/ 303433 h 705277"/>
                    <a:gd name="connsiteX19" fmla="*/ 73808 w 106887"/>
                    <a:gd name="connsiteY19" fmla="*/ 364939 h 705277"/>
                    <a:gd name="connsiteX20" fmla="*/ 61507 w 106887"/>
                    <a:gd name="connsiteY20" fmla="*/ 389542 h 705277"/>
                    <a:gd name="connsiteX21" fmla="*/ 57407 w 106887"/>
                    <a:gd name="connsiteY21" fmla="*/ 401843 h 705277"/>
                    <a:gd name="connsiteX22" fmla="*/ 28704 w 106887"/>
                    <a:gd name="connsiteY22" fmla="*/ 438748 h 705277"/>
                    <a:gd name="connsiteX23" fmla="*/ 24603 w 106887"/>
                    <a:gd name="connsiteY23" fmla="*/ 451049 h 705277"/>
                    <a:gd name="connsiteX24" fmla="*/ 16402 w 106887"/>
                    <a:gd name="connsiteY24" fmla="*/ 467451 h 705277"/>
                    <a:gd name="connsiteX25" fmla="*/ 12302 w 106887"/>
                    <a:gd name="connsiteY25" fmla="*/ 483852 h 705277"/>
                    <a:gd name="connsiteX26" fmla="*/ 4101 w 106887"/>
                    <a:gd name="connsiteY26" fmla="*/ 508455 h 705277"/>
                    <a:gd name="connsiteX27" fmla="*/ 0 w 106887"/>
                    <a:gd name="connsiteY27" fmla="*/ 520756 h 705277"/>
                    <a:gd name="connsiteX28" fmla="*/ 4101 w 106887"/>
                    <a:gd name="connsiteY28" fmla="*/ 533058 h 705277"/>
                    <a:gd name="connsiteX29" fmla="*/ 24603 w 106887"/>
                    <a:gd name="connsiteY29" fmla="*/ 561761 h 705277"/>
                    <a:gd name="connsiteX30" fmla="*/ 36904 w 106887"/>
                    <a:gd name="connsiteY30" fmla="*/ 602765 h 705277"/>
                    <a:gd name="connsiteX31" fmla="*/ 53306 w 106887"/>
                    <a:gd name="connsiteY31" fmla="*/ 627368 h 705277"/>
                    <a:gd name="connsiteX32" fmla="*/ 57407 w 106887"/>
                    <a:gd name="connsiteY32" fmla="*/ 639669 h 705277"/>
                    <a:gd name="connsiteX33" fmla="*/ 73808 w 106887"/>
                    <a:gd name="connsiteY33" fmla="*/ 664272 h 705277"/>
                    <a:gd name="connsiteX34" fmla="*/ 77909 w 106887"/>
                    <a:gd name="connsiteY34" fmla="*/ 676574 h 705277"/>
                    <a:gd name="connsiteX35" fmla="*/ 82009 w 106887"/>
                    <a:gd name="connsiteY35" fmla="*/ 697076 h 705277"/>
                    <a:gd name="connsiteX36" fmla="*/ 90210 w 106887"/>
                    <a:gd name="connsiteY36" fmla="*/ 705277 h 7052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106887" h="705277">
                      <a:moveTo>
                        <a:pt x="49206" y="0"/>
                      </a:moveTo>
                      <a:cubicBezTo>
                        <a:pt x="47839" y="6834"/>
                        <a:pt x="44526" y="13557"/>
                        <a:pt x="45105" y="20502"/>
                      </a:cubicBezTo>
                      <a:cubicBezTo>
                        <a:pt x="45931" y="30418"/>
                        <a:pt x="50447" y="39674"/>
                        <a:pt x="53306" y="49205"/>
                      </a:cubicBezTo>
                      <a:cubicBezTo>
                        <a:pt x="54548" y="53345"/>
                        <a:pt x="56220" y="57350"/>
                        <a:pt x="57407" y="61506"/>
                      </a:cubicBezTo>
                      <a:cubicBezTo>
                        <a:pt x="58955" y="66925"/>
                        <a:pt x="59888" y="72510"/>
                        <a:pt x="61507" y="77908"/>
                      </a:cubicBezTo>
                      <a:cubicBezTo>
                        <a:pt x="63991" y="86188"/>
                        <a:pt x="64913" y="95318"/>
                        <a:pt x="69708" y="102511"/>
                      </a:cubicBezTo>
                      <a:lnTo>
                        <a:pt x="86110" y="127113"/>
                      </a:lnTo>
                      <a:cubicBezTo>
                        <a:pt x="87477" y="131214"/>
                        <a:pt x="89162" y="135222"/>
                        <a:pt x="90210" y="139415"/>
                      </a:cubicBezTo>
                      <a:cubicBezTo>
                        <a:pt x="91900" y="146176"/>
                        <a:pt x="91864" y="153391"/>
                        <a:pt x="94311" y="159917"/>
                      </a:cubicBezTo>
                      <a:cubicBezTo>
                        <a:pt x="96041" y="164531"/>
                        <a:pt x="99778" y="168118"/>
                        <a:pt x="102512" y="172218"/>
                      </a:cubicBezTo>
                      <a:cubicBezTo>
                        <a:pt x="103879" y="176319"/>
                        <a:pt x="107979" y="180419"/>
                        <a:pt x="106612" y="184520"/>
                      </a:cubicBezTo>
                      <a:cubicBezTo>
                        <a:pt x="104778" y="190021"/>
                        <a:pt x="97528" y="191996"/>
                        <a:pt x="94311" y="196821"/>
                      </a:cubicBezTo>
                      <a:cubicBezTo>
                        <a:pt x="91913" y="200417"/>
                        <a:pt x="91258" y="204929"/>
                        <a:pt x="90210" y="209122"/>
                      </a:cubicBezTo>
                      <a:cubicBezTo>
                        <a:pt x="88520" y="215884"/>
                        <a:pt x="87944" y="222901"/>
                        <a:pt x="86110" y="229625"/>
                      </a:cubicBezTo>
                      <a:cubicBezTo>
                        <a:pt x="83836" y="237965"/>
                        <a:pt x="80643" y="246026"/>
                        <a:pt x="77909" y="254227"/>
                      </a:cubicBezTo>
                      <a:cubicBezTo>
                        <a:pt x="76542" y="258328"/>
                        <a:pt x="74856" y="262336"/>
                        <a:pt x="73808" y="266529"/>
                      </a:cubicBezTo>
                      <a:lnTo>
                        <a:pt x="69708" y="282930"/>
                      </a:lnTo>
                      <a:cubicBezTo>
                        <a:pt x="71075" y="288397"/>
                        <a:pt x="70288" y="294931"/>
                        <a:pt x="73808" y="299332"/>
                      </a:cubicBezTo>
                      <a:cubicBezTo>
                        <a:pt x="76508" y="302707"/>
                        <a:pt x="85453" y="299161"/>
                        <a:pt x="86110" y="303433"/>
                      </a:cubicBezTo>
                      <a:cubicBezTo>
                        <a:pt x="92029" y="341906"/>
                        <a:pt x="88016" y="343628"/>
                        <a:pt x="73808" y="364939"/>
                      </a:cubicBezTo>
                      <a:cubicBezTo>
                        <a:pt x="63503" y="395858"/>
                        <a:pt x="77403" y="357750"/>
                        <a:pt x="61507" y="389542"/>
                      </a:cubicBezTo>
                      <a:cubicBezTo>
                        <a:pt x="59574" y="393408"/>
                        <a:pt x="59506" y="398065"/>
                        <a:pt x="57407" y="401843"/>
                      </a:cubicBezTo>
                      <a:cubicBezTo>
                        <a:pt x="45146" y="423912"/>
                        <a:pt x="43645" y="423806"/>
                        <a:pt x="28704" y="438748"/>
                      </a:cubicBezTo>
                      <a:cubicBezTo>
                        <a:pt x="27337" y="442848"/>
                        <a:pt x="26306" y="447076"/>
                        <a:pt x="24603" y="451049"/>
                      </a:cubicBezTo>
                      <a:cubicBezTo>
                        <a:pt x="22195" y="456667"/>
                        <a:pt x="18548" y="461728"/>
                        <a:pt x="16402" y="467451"/>
                      </a:cubicBezTo>
                      <a:cubicBezTo>
                        <a:pt x="14423" y="472727"/>
                        <a:pt x="13921" y="478454"/>
                        <a:pt x="12302" y="483852"/>
                      </a:cubicBezTo>
                      <a:cubicBezTo>
                        <a:pt x="9818" y="492132"/>
                        <a:pt x="6835" y="500254"/>
                        <a:pt x="4101" y="508455"/>
                      </a:cubicBezTo>
                      <a:lnTo>
                        <a:pt x="0" y="520756"/>
                      </a:lnTo>
                      <a:cubicBezTo>
                        <a:pt x="1367" y="524857"/>
                        <a:pt x="1703" y="529461"/>
                        <a:pt x="4101" y="533058"/>
                      </a:cubicBezTo>
                      <a:cubicBezTo>
                        <a:pt x="21998" y="559904"/>
                        <a:pt x="12466" y="529396"/>
                        <a:pt x="24603" y="561761"/>
                      </a:cubicBezTo>
                      <a:cubicBezTo>
                        <a:pt x="29513" y="574854"/>
                        <a:pt x="28897" y="590754"/>
                        <a:pt x="36904" y="602765"/>
                      </a:cubicBezTo>
                      <a:cubicBezTo>
                        <a:pt x="42371" y="610966"/>
                        <a:pt x="50189" y="618018"/>
                        <a:pt x="53306" y="627368"/>
                      </a:cubicBezTo>
                      <a:cubicBezTo>
                        <a:pt x="54673" y="631468"/>
                        <a:pt x="55308" y="635891"/>
                        <a:pt x="57407" y="639669"/>
                      </a:cubicBezTo>
                      <a:cubicBezTo>
                        <a:pt x="62194" y="648285"/>
                        <a:pt x="70691" y="654922"/>
                        <a:pt x="73808" y="664272"/>
                      </a:cubicBezTo>
                      <a:cubicBezTo>
                        <a:pt x="75175" y="668373"/>
                        <a:pt x="76861" y="672381"/>
                        <a:pt x="77909" y="676574"/>
                      </a:cubicBezTo>
                      <a:cubicBezTo>
                        <a:pt x="79599" y="683335"/>
                        <a:pt x="79264" y="690670"/>
                        <a:pt x="82009" y="697076"/>
                      </a:cubicBezTo>
                      <a:cubicBezTo>
                        <a:pt x="83532" y="700629"/>
                        <a:pt x="87476" y="702543"/>
                        <a:pt x="90210" y="705277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679" name="Forma livre 784"/>
                <p:cNvSpPr/>
                <p:nvPr/>
              </p:nvSpPr>
              <p:spPr bwMode="auto">
                <a:xfrm>
                  <a:off x="5773739" y="3170238"/>
                  <a:ext cx="163512" cy="917575"/>
                </a:xfrm>
                <a:custGeom>
                  <a:avLst/>
                  <a:gdLst>
                    <a:gd name="connsiteX0" fmla="*/ 164275 w 164275"/>
                    <a:gd name="connsiteY0" fmla="*/ 0 h 918500"/>
                    <a:gd name="connsiteX1" fmla="*/ 139673 w 164275"/>
                    <a:gd name="connsiteY1" fmla="*/ 32803 h 918500"/>
                    <a:gd name="connsiteX2" fmla="*/ 131472 w 164275"/>
                    <a:gd name="connsiteY2" fmla="*/ 45105 h 918500"/>
                    <a:gd name="connsiteX3" fmla="*/ 127371 w 164275"/>
                    <a:gd name="connsiteY3" fmla="*/ 57406 h 918500"/>
                    <a:gd name="connsiteX4" fmla="*/ 115070 w 164275"/>
                    <a:gd name="connsiteY4" fmla="*/ 61506 h 918500"/>
                    <a:gd name="connsiteX5" fmla="*/ 106869 w 164275"/>
                    <a:gd name="connsiteY5" fmla="*/ 77908 h 918500"/>
                    <a:gd name="connsiteX6" fmla="*/ 102769 w 164275"/>
                    <a:gd name="connsiteY6" fmla="*/ 114812 h 918500"/>
                    <a:gd name="connsiteX7" fmla="*/ 98668 w 164275"/>
                    <a:gd name="connsiteY7" fmla="*/ 127114 h 918500"/>
                    <a:gd name="connsiteX8" fmla="*/ 86367 w 164275"/>
                    <a:gd name="connsiteY8" fmla="*/ 139415 h 918500"/>
                    <a:gd name="connsiteX9" fmla="*/ 82266 w 164275"/>
                    <a:gd name="connsiteY9" fmla="*/ 151716 h 918500"/>
                    <a:gd name="connsiteX10" fmla="*/ 65865 w 164275"/>
                    <a:gd name="connsiteY10" fmla="*/ 176319 h 918500"/>
                    <a:gd name="connsiteX11" fmla="*/ 57664 w 164275"/>
                    <a:gd name="connsiteY11" fmla="*/ 200922 h 918500"/>
                    <a:gd name="connsiteX12" fmla="*/ 53563 w 164275"/>
                    <a:gd name="connsiteY12" fmla="*/ 213223 h 918500"/>
                    <a:gd name="connsiteX13" fmla="*/ 57664 w 164275"/>
                    <a:gd name="connsiteY13" fmla="*/ 246027 h 918500"/>
                    <a:gd name="connsiteX14" fmla="*/ 69965 w 164275"/>
                    <a:gd name="connsiteY14" fmla="*/ 250127 h 918500"/>
                    <a:gd name="connsiteX15" fmla="*/ 78166 w 164275"/>
                    <a:gd name="connsiteY15" fmla="*/ 262428 h 918500"/>
                    <a:gd name="connsiteX16" fmla="*/ 78166 w 164275"/>
                    <a:gd name="connsiteY16" fmla="*/ 455149 h 918500"/>
                    <a:gd name="connsiteX17" fmla="*/ 61764 w 164275"/>
                    <a:gd name="connsiteY17" fmla="*/ 479752 h 918500"/>
                    <a:gd name="connsiteX18" fmla="*/ 53563 w 164275"/>
                    <a:gd name="connsiteY18" fmla="*/ 492053 h 918500"/>
                    <a:gd name="connsiteX19" fmla="*/ 49463 w 164275"/>
                    <a:gd name="connsiteY19" fmla="*/ 504355 h 918500"/>
                    <a:gd name="connsiteX20" fmla="*/ 61764 w 164275"/>
                    <a:gd name="connsiteY20" fmla="*/ 537158 h 918500"/>
                    <a:gd name="connsiteX21" fmla="*/ 57664 w 164275"/>
                    <a:gd name="connsiteY21" fmla="*/ 565862 h 918500"/>
                    <a:gd name="connsiteX22" fmla="*/ 53563 w 164275"/>
                    <a:gd name="connsiteY22" fmla="*/ 578163 h 918500"/>
                    <a:gd name="connsiteX23" fmla="*/ 41262 w 164275"/>
                    <a:gd name="connsiteY23" fmla="*/ 586364 h 918500"/>
                    <a:gd name="connsiteX24" fmla="*/ 24860 w 164275"/>
                    <a:gd name="connsiteY24" fmla="*/ 610966 h 918500"/>
                    <a:gd name="connsiteX25" fmla="*/ 16659 w 164275"/>
                    <a:gd name="connsiteY25" fmla="*/ 623268 h 918500"/>
                    <a:gd name="connsiteX26" fmla="*/ 24860 w 164275"/>
                    <a:gd name="connsiteY26" fmla="*/ 647870 h 918500"/>
                    <a:gd name="connsiteX27" fmla="*/ 28961 w 164275"/>
                    <a:gd name="connsiteY27" fmla="*/ 660172 h 918500"/>
                    <a:gd name="connsiteX28" fmla="*/ 41262 w 164275"/>
                    <a:gd name="connsiteY28" fmla="*/ 668373 h 918500"/>
                    <a:gd name="connsiteX29" fmla="*/ 45362 w 164275"/>
                    <a:gd name="connsiteY29" fmla="*/ 688875 h 918500"/>
                    <a:gd name="connsiteX30" fmla="*/ 53563 w 164275"/>
                    <a:gd name="connsiteY30" fmla="*/ 701176 h 918500"/>
                    <a:gd name="connsiteX31" fmla="*/ 57664 w 164275"/>
                    <a:gd name="connsiteY31" fmla="*/ 713478 h 918500"/>
                    <a:gd name="connsiteX32" fmla="*/ 53563 w 164275"/>
                    <a:gd name="connsiteY32" fmla="*/ 746281 h 918500"/>
                    <a:gd name="connsiteX33" fmla="*/ 33061 w 164275"/>
                    <a:gd name="connsiteY33" fmla="*/ 770884 h 918500"/>
                    <a:gd name="connsiteX34" fmla="*/ 24860 w 164275"/>
                    <a:gd name="connsiteY34" fmla="*/ 840592 h 918500"/>
                    <a:gd name="connsiteX35" fmla="*/ 12559 w 164275"/>
                    <a:gd name="connsiteY35" fmla="*/ 865194 h 918500"/>
                    <a:gd name="connsiteX36" fmla="*/ 257 w 164275"/>
                    <a:gd name="connsiteY36" fmla="*/ 906199 h 918500"/>
                    <a:gd name="connsiteX37" fmla="*/ 257 w 164275"/>
                    <a:gd name="connsiteY37" fmla="*/ 918500 h 918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64275" h="918500">
                      <a:moveTo>
                        <a:pt x="164275" y="0"/>
                      </a:moveTo>
                      <a:cubicBezTo>
                        <a:pt x="138424" y="43086"/>
                        <a:pt x="165298" y="2053"/>
                        <a:pt x="139673" y="32803"/>
                      </a:cubicBezTo>
                      <a:cubicBezTo>
                        <a:pt x="136518" y="36589"/>
                        <a:pt x="133676" y="40697"/>
                        <a:pt x="131472" y="45105"/>
                      </a:cubicBezTo>
                      <a:cubicBezTo>
                        <a:pt x="129539" y="48971"/>
                        <a:pt x="130427" y="54350"/>
                        <a:pt x="127371" y="57406"/>
                      </a:cubicBezTo>
                      <a:cubicBezTo>
                        <a:pt x="124315" y="60462"/>
                        <a:pt x="119170" y="60139"/>
                        <a:pt x="115070" y="61506"/>
                      </a:cubicBezTo>
                      <a:cubicBezTo>
                        <a:pt x="112336" y="66973"/>
                        <a:pt x="108243" y="71952"/>
                        <a:pt x="106869" y="77908"/>
                      </a:cubicBezTo>
                      <a:cubicBezTo>
                        <a:pt x="104086" y="89968"/>
                        <a:pt x="104804" y="102603"/>
                        <a:pt x="102769" y="114812"/>
                      </a:cubicBezTo>
                      <a:cubicBezTo>
                        <a:pt x="102058" y="119076"/>
                        <a:pt x="101066" y="123517"/>
                        <a:pt x="98668" y="127114"/>
                      </a:cubicBezTo>
                      <a:cubicBezTo>
                        <a:pt x="95451" y="131939"/>
                        <a:pt x="90467" y="135315"/>
                        <a:pt x="86367" y="139415"/>
                      </a:cubicBezTo>
                      <a:cubicBezTo>
                        <a:pt x="85000" y="143515"/>
                        <a:pt x="84365" y="147938"/>
                        <a:pt x="82266" y="151716"/>
                      </a:cubicBezTo>
                      <a:cubicBezTo>
                        <a:pt x="77479" y="160332"/>
                        <a:pt x="68982" y="166969"/>
                        <a:pt x="65865" y="176319"/>
                      </a:cubicBezTo>
                      <a:lnTo>
                        <a:pt x="57664" y="200922"/>
                      </a:lnTo>
                      <a:lnTo>
                        <a:pt x="53563" y="213223"/>
                      </a:lnTo>
                      <a:cubicBezTo>
                        <a:pt x="54930" y="224158"/>
                        <a:pt x="53188" y="235957"/>
                        <a:pt x="57664" y="246027"/>
                      </a:cubicBezTo>
                      <a:cubicBezTo>
                        <a:pt x="59419" y="249977"/>
                        <a:pt x="66590" y="247427"/>
                        <a:pt x="69965" y="250127"/>
                      </a:cubicBezTo>
                      <a:cubicBezTo>
                        <a:pt x="73813" y="253205"/>
                        <a:pt x="75432" y="258328"/>
                        <a:pt x="78166" y="262428"/>
                      </a:cubicBezTo>
                      <a:cubicBezTo>
                        <a:pt x="100497" y="329432"/>
                        <a:pt x="93345" y="303357"/>
                        <a:pt x="78166" y="455149"/>
                      </a:cubicBezTo>
                      <a:cubicBezTo>
                        <a:pt x="77185" y="464956"/>
                        <a:pt x="67231" y="471551"/>
                        <a:pt x="61764" y="479752"/>
                      </a:cubicBezTo>
                      <a:lnTo>
                        <a:pt x="53563" y="492053"/>
                      </a:lnTo>
                      <a:cubicBezTo>
                        <a:pt x="52196" y="496154"/>
                        <a:pt x="49463" y="500033"/>
                        <a:pt x="49463" y="504355"/>
                      </a:cubicBezTo>
                      <a:cubicBezTo>
                        <a:pt x="49463" y="522090"/>
                        <a:pt x="53279" y="524432"/>
                        <a:pt x="61764" y="537158"/>
                      </a:cubicBezTo>
                      <a:cubicBezTo>
                        <a:pt x="60397" y="546726"/>
                        <a:pt x="59559" y="556385"/>
                        <a:pt x="57664" y="565862"/>
                      </a:cubicBezTo>
                      <a:cubicBezTo>
                        <a:pt x="56816" y="570100"/>
                        <a:pt x="56263" y="574788"/>
                        <a:pt x="53563" y="578163"/>
                      </a:cubicBezTo>
                      <a:cubicBezTo>
                        <a:pt x="50484" y="582011"/>
                        <a:pt x="45362" y="583630"/>
                        <a:pt x="41262" y="586364"/>
                      </a:cubicBezTo>
                      <a:lnTo>
                        <a:pt x="24860" y="610966"/>
                      </a:lnTo>
                      <a:lnTo>
                        <a:pt x="16659" y="623268"/>
                      </a:lnTo>
                      <a:lnTo>
                        <a:pt x="24860" y="647870"/>
                      </a:lnTo>
                      <a:cubicBezTo>
                        <a:pt x="26227" y="651971"/>
                        <a:pt x="25364" y="657774"/>
                        <a:pt x="28961" y="660172"/>
                      </a:cubicBezTo>
                      <a:lnTo>
                        <a:pt x="41262" y="668373"/>
                      </a:lnTo>
                      <a:cubicBezTo>
                        <a:pt x="42629" y="675207"/>
                        <a:pt x="42915" y="682349"/>
                        <a:pt x="45362" y="688875"/>
                      </a:cubicBezTo>
                      <a:cubicBezTo>
                        <a:pt x="47092" y="693489"/>
                        <a:pt x="51359" y="696768"/>
                        <a:pt x="53563" y="701176"/>
                      </a:cubicBezTo>
                      <a:cubicBezTo>
                        <a:pt x="55496" y="705042"/>
                        <a:pt x="56297" y="709377"/>
                        <a:pt x="57664" y="713478"/>
                      </a:cubicBezTo>
                      <a:cubicBezTo>
                        <a:pt x="56297" y="724412"/>
                        <a:pt x="56463" y="735650"/>
                        <a:pt x="53563" y="746281"/>
                      </a:cubicBezTo>
                      <a:cubicBezTo>
                        <a:pt x="51422" y="754132"/>
                        <a:pt x="37932" y="766013"/>
                        <a:pt x="33061" y="770884"/>
                      </a:cubicBezTo>
                      <a:cubicBezTo>
                        <a:pt x="21902" y="804365"/>
                        <a:pt x="33677" y="765649"/>
                        <a:pt x="24860" y="840592"/>
                      </a:cubicBezTo>
                      <a:cubicBezTo>
                        <a:pt x="23065" y="855847"/>
                        <a:pt x="18752" y="851259"/>
                        <a:pt x="12559" y="865194"/>
                      </a:cubicBezTo>
                      <a:cubicBezTo>
                        <a:pt x="10157" y="870598"/>
                        <a:pt x="1512" y="897412"/>
                        <a:pt x="257" y="906199"/>
                      </a:cubicBezTo>
                      <a:cubicBezTo>
                        <a:pt x="-323" y="910258"/>
                        <a:pt x="257" y="914400"/>
                        <a:pt x="257" y="918500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674" name="Forma livre 782"/>
                <p:cNvSpPr/>
                <p:nvPr/>
              </p:nvSpPr>
              <p:spPr bwMode="auto">
                <a:xfrm>
                  <a:off x="4476751" y="3890963"/>
                  <a:ext cx="706438" cy="833437"/>
                </a:xfrm>
                <a:custGeom>
                  <a:avLst/>
                  <a:gdLst>
                    <a:gd name="connsiteX0" fmla="*/ 0 w 705277"/>
                    <a:gd name="connsiteY0" fmla="*/ 0 h 832391"/>
                    <a:gd name="connsiteX1" fmla="*/ 32803 w 705277"/>
                    <a:gd name="connsiteY1" fmla="*/ 4100 h 832391"/>
                    <a:gd name="connsiteX2" fmla="*/ 49205 w 705277"/>
                    <a:gd name="connsiteY2" fmla="*/ 28703 h 832391"/>
                    <a:gd name="connsiteX3" fmla="*/ 73808 w 705277"/>
                    <a:gd name="connsiteY3" fmla="*/ 49205 h 832391"/>
                    <a:gd name="connsiteX4" fmla="*/ 86109 w 705277"/>
                    <a:gd name="connsiteY4" fmla="*/ 53305 h 832391"/>
                    <a:gd name="connsiteX5" fmla="*/ 98410 w 705277"/>
                    <a:gd name="connsiteY5" fmla="*/ 61506 h 832391"/>
                    <a:gd name="connsiteX6" fmla="*/ 127114 w 705277"/>
                    <a:gd name="connsiteY6" fmla="*/ 73808 h 832391"/>
                    <a:gd name="connsiteX7" fmla="*/ 135314 w 705277"/>
                    <a:gd name="connsiteY7" fmla="*/ 86109 h 832391"/>
                    <a:gd name="connsiteX8" fmla="*/ 159917 w 705277"/>
                    <a:gd name="connsiteY8" fmla="*/ 135314 h 832391"/>
                    <a:gd name="connsiteX9" fmla="*/ 188620 w 705277"/>
                    <a:gd name="connsiteY9" fmla="*/ 143515 h 832391"/>
                    <a:gd name="connsiteX10" fmla="*/ 213223 w 705277"/>
                    <a:gd name="connsiteY10" fmla="*/ 151716 h 832391"/>
                    <a:gd name="connsiteX11" fmla="*/ 221424 w 705277"/>
                    <a:gd name="connsiteY11" fmla="*/ 164017 h 832391"/>
                    <a:gd name="connsiteX12" fmla="*/ 270629 w 705277"/>
                    <a:gd name="connsiteY12" fmla="*/ 176319 h 832391"/>
                    <a:gd name="connsiteX13" fmla="*/ 274730 w 705277"/>
                    <a:gd name="connsiteY13" fmla="*/ 188620 h 832391"/>
                    <a:gd name="connsiteX14" fmla="*/ 311634 w 705277"/>
                    <a:gd name="connsiteY14" fmla="*/ 192721 h 832391"/>
                    <a:gd name="connsiteX15" fmla="*/ 323935 w 705277"/>
                    <a:gd name="connsiteY15" fmla="*/ 196821 h 832391"/>
                    <a:gd name="connsiteX16" fmla="*/ 344437 w 705277"/>
                    <a:gd name="connsiteY16" fmla="*/ 200922 h 832391"/>
                    <a:gd name="connsiteX17" fmla="*/ 373140 w 705277"/>
                    <a:gd name="connsiteY17" fmla="*/ 209122 h 832391"/>
                    <a:gd name="connsiteX18" fmla="*/ 381341 w 705277"/>
                    <a:gd name="connsiteY18" fmla="*/ 221424 h 832391"/>
                    <a:gd name="connsiteX19" fmla="*/ 405944 w 705277"/>
                    <a:gd name="connsiteY19" fmla="*/ 237826 h 832391"/>
                    <a:gd name="connsiteX20" fmla="*/ 410045 w 705277"/>
                    <a:gd name="connsiteY20" fmla="*/ 250127 h 832391"/>
                    <a:gd name="connsiteX21" fmla="*/ 418245 w 705277"/>
                    <a:gd name="connsiteY21" fmla="*/ 262428 h 832391"/>
                    <a:gd name="connsiteX22" fmla="*/ 426446 w 705277"/>
                    <a:gd name="connsiteY22" fmla="*/ 291131 h 832391"/>
                    <a:gd name="connsiteX23" fmla="*/ 438748 w 705277"/>
                    <a:gd name="connsiteY23" fmla="*/ 303433 h 832391"/>
                    <a:gd name="connsiteX24" fmla="*/ 442848 w 705277"/>
                    <a:gd name="connsiteY24" fmla="*/ 315734 h 832391"/>
                    <a:gd name="connsiteX25" fmla="*/ 479752 w 705277"/>
                    <a:gd name="connsiteY25" fmla="*/ 332136 h 832391"/>
                    <a:gd name="connsiteX26" fmla="*/ 492053 w 705277"/>
                    <a:gd name="connsiteY26" fmla="*/ 336236 h 832391"/>
                    <a:gd name="connsiteX27" fmla="*/ 504355 w 705277"/>
                    <a:gd name="connsiteY27" fmla="*/ 344437 h 832391"/>
                    <a:gd name="connsiteX28" fmla="*/ 508455 w 705277"/>
                    <a:gd name="connsiteY28" fmla="*/ 356739 h 832391"/>
                    <a:gd name="connsiteX29" fmla="*/ 516656 w 705277"/>
                    <a:gd name="connsiteY29" fmla="*/ 373140 h 832391"/>
                    <a:gd name="connsiteX30" fmla="*/ 524857 w 705277"/>
                    <a:gd name="connsiteY30" fmla="*/ 401844 h 832391"/>
                    <a:gd name="connsiteX31" fmla="*/ 541259 w 705277"/>
                    <a:gd name="connsiteY31" fmla="*/ 430547 h 832391"/>
                    <a:gd name="connsiteX32" fmla="*/ 545359 w 705277"/>
                    <a:gd name="connsiteY32" fmla="*/ 446948 h 832391"/>
                    <a:gd name="connsiteX33" fmla="*/ 569962 w 705277"/>
                    <a:gd name="connsiteY33" fmla="*/ 463350 h 832391"/>
                    <a:gd name="connsiteX34" fmla="*/ 594565 w 705277"/>
                    <a:gd name="connsiteY34" fmla="*/ 492053 h 832391"/>
                    <a:gd name="connsiteX35" fmla="*/ 598665 w 705277"/>
                    <a:gd name="connsiteY35" fmla="*/ 504355 h 832391"/>
                    <a:gd name="connsiteX36" fmla="*/ 610967 w 705277"/>
                    <a:gd name="connsiteY36" fmla="*/ 528957 h 832391"/>
                    <a:gd name="connsiteX37" fmla="*/ 623268 w 705277"/>
                    <a:gd name="connsiteY37" fmla="*/ 582263 h 832391"/>
                    <a:gd name="connsiteX38" fmla="*/ 627368 w 705277"/>
                    <a:gd name="connsiteY38" fmla="*/ 594565 h 832391"/>
                    <a:gd name="connsiteX39" fmla="*/ 647871 w 705277"/>
                    <a:gd name="connsiteY39" fmla="*/ 619167 h 832391"/>
                    <a:gd name="connsiteX40" fmla="*/ 651971 w 705277"/>
                    <a:gd name="connsiteY40" fmla="*/ 631469 h 832391"/>
                    <a:gd name="connsiteX41" fmla="*/ 643770 w 705277"/>
                    <a:gd name="connsiteY41" fmla="*/ 664272 h 832391"/>
                    <a:gd name="connsiteX42" fmla="*/ 647871 w 705277"/>
                    <a:gd name="connsiteY42" fmla="*/ 697076 h 832391"/>
                    <a:gd name="connsiteX43" fmla="*/ 651971 w 705277"/>
                    <a:gd name="connsiteY43" fmla="*/ 733980 h 832391"/>
                    <a:gd name="connsiteX44" fmla="*/ 656071 w 705277"/>
                    <a:gd name="connsiteY44" fmla="*/ 750382 h 832391"/>
                    <a:gd name="connsiteX45" fmla="*/ 668373 w 705277"/>
                    <a:gd name="connsiteY45" fmla="*/ 754482 h 832391"/>
                    <a:gd name="connsiteX46" fmla="*/ 688875 w 705277"/>
                    <a:gd name="connsiteY46" fmla="*/ 787286 h 832391"/>
                    <a:gd name="connsiteX47" fmla="*/ 697076 w 705277"/>
                    <a:gd name="connsiteY47" fmla="*/ 811888 h 832391"/>
                    <a:gd name="connsiteX48" fmla="*/ 701176 w 705277"/>
                    <a:gd name="connsiteY48" fmla="*/ 824190 h 832391"/>
                    <a:gd name="connsiteX49" fmla="*/ 705277 w 705277"/>
                    <a:gd name="connsiteY49" fmla="*/ 832391 h 832391"/>
                    <a:gd name="connsiteX0" fmla="*/ 0 w 705277"/>
                    <a:gd name="connsiteY0" fmla="*/ 0 h 832391"/>
                    <a:gd name="connsiteX1" fmla="*/ 32803 w 705277"/>
                    <a:gd name="connsiteY1" fmla="*/ 4100 h 832391"/>
                    <a:gd name="connsiteX2" fmla="*/ 49205 w 705277"/>
                    <a:gd name="connsiteY2" fmla="*/ 28703 h 832391"/>
                    <a:gd name="connsiteX3" fmla="*/ 73808 w 705277"/>
                    <a:gd name="connsiteY3" fmla="*/ 49205 h 832391"/>
                    <a:gd name="connsiteX4" fmla="*/ 86109 w 705277"/>
                    <a:gd name="connsiteY4" fmla="*/ 53305 h 832391"/>
                    <a:gd name="connsiteX5" fmla="*/ 98410 w 705277"/>
                    <a:gd name="connsiteY5" fmla="*/ 61506 h 832391"/>
                    <a:gd name="connsiteX6" fmla="*/ 127114 w 705277"/>
                    <a:gd name="connsiteY6" fmla="*/ 73808 h 832391"/>
                    <a:gd name="connsiteX7" fmla="*/ 135314 w 705277"/>
                    <a:gd name="connsiteY7" fmla="*/ 86109 h 832391"/>
                    <a:gd name="connsiteX8" fmla="*/ 159917 w 705277"/>
                    <a:gd name="connsiteY8" fmla="*/ 135314 h 832391"/>
                    <a:gd name="connsiteX9" fmla="*/ 188620 w 705277"/>
                    <a:gd name="connsiteY9" fmla="*/ 143515 h 832391"/>
                    <a:gd name="connsiteX10" fmla="*/ 213223 w 705277"/>
                    <a:gd name="connsiteY10" fmla="*/ 151716 h 832391"/>
                    <a:gd name="connsiteX11" fmla="*/ 221424 w 705277"/>
                    <a:gd name="connsiteY11" fmla="*/ 164017 h 832391"/>
                    <a:gd name="connsiteX12" fmla="*/ 270629 w 705277"/>
                    <a:gd name="connsiteY12" fmla="*/ 176319 h 832391"/>
                    <a:gd name="connsiteX13" fmla="*/ 274730 w 705277"/>
                    <a:gd name="connsiteY13" fmla="*/ 188620 h 832391"/>
                    <a:gd name="connsiteX14" fmla="*/ 311634 w 705277"/>
                    <a:gd name="connsiteY14" fmla="*/ 192721 h 832391"/>
                    <a:gd name="connsiteX15" fmla="*/ 323935 w 705277"/>
                    <a:gd name="connsiteY15" fmla="*/ 196821 h 832391"/>
                    <a:gd name="connsiteX16" fmla="*/ 344437 w 705277"/>
                    <a:gd name="connsiteY16" fmla="*/ 200922 h 832391"/>
                    <a:gd name="connsiteX17" fmla="*/ 373140 w 705277"/>
                    <a:gd name="connsiteY17" fmla="*/ 209122 h 832391"/>
                    <a:gd name="connsiteX18" fmla="*/ 381341 w 705277"/>
                    <a:gd name="connsiteY18" fmla="*/ 221424 h 832391"/>
                    <a:gd name="connsiteX19" fmla="*/ 405944 w 705277"/>
                    <a:gd name="connsiteY19" fmla="*/ 237826 h 832391"/>
                    <a:gd name="connsiteX20" fmla="*/ 410045 w 705277"/>
                    <a:gd name="connsiteY20" fmla="*/ 250127 h 832391"/>
                    <a:gd name="connsiteX21" fmla="*/ 418245 w 705277"/>
                    <a:gd name="connsiteY21" fmla="*/ 262428 h 832391"/>
                    <a:gd name="connsiteX22" fmla="*/ 426446 w 705277"/>
                    <a:gd name="connsiteY22" fmla="*/ 291131 h 832391"/>
                    <a:gd name="connsiteX23" fmla="*/ 438748 w 705277"/>
                    <a:gd name="connsiteY23" fmla="*/ 303433 h 832391"/>
                    <a:gd name="connsiteX24" fmla="*/ 442848 w 705277"/>
                    <a:gd name="connsiteY24" fmla="*/ 315734 h 832391"/>
                    <a:gd name="connsiteX25" fmla="*/ 479752 w 705277"/>
                    <a:gd name="connsiteY25" fmla="*/ 332136 h 832391"/>
                    <a:gd name="connsiteX26" fmla="*/ 492053 w 705277"/>
                    <a:gd name="connsiteY26" fmla="*/ 336236 h 832391"/>
                    <a:gd name="connsiteX27" fmla="*/ 504355 w 705277"/>
                    <a:gd name="connsiteY27" fmla="*/ 344437 h 832391"/>
                    <a:gd name="connsiteX28" fmla="*/ 508455 w 705277"/>
                    <a:gd name="connsiteY28" fmla="*/ 356739 h 832391"/>
                    <a:gd name="connsiteX29" fmla="*/ 516656 w 705277"/>
                    <a:gd name="connsiteY29" fmla="*/ 373140 h 832391"/>
                    <a:gd name="connsiteX30" fmla="*/ 524857 w 705277"/>
                    <a:gd name="connsiteY30" fmla="*/ 401844 h 832391"/>
                    <a:gd name="connsiteX31" fmla="*/ 541259 w 705277"/>
                    <a:gd name="connsiteY31" fmla="*/ 430547 h 832391"/>
                    <a:gd name="connsiteX32" fmla="*/ 565861 w 705277"/>
                    <a:gd name="connsiteY32" fmla="*/ 446948 h 832391"/>
                    <a:gd name="connsiteX33" fmla="*/ 569962 w 705277"/>
                    <a:gd name="connsiteY33" fmla="*/ 463350 h 832391"/>
                    <a:gd name="connsiteX34" fmla="*/ 594565 w 705277"/>
                    <a:gd name="connsiteY34" fmla="*/ 492053 h 832391"/>
                    <a:gd name="connsiteX35" fmla="*/ 598665 w 705277"/>
                    <a:gd name="connsiteY35" fmla="*/ 504355 h 832391"/>
                    <a:gd name="connsiteX36" fmla="*/ 610967 w 705277"/>
                    <a:gd name="connsiteY36" fmla="*/ 528957 h 832391"/>
                    <a:gd name="connsiteX37" fmla="*/ 623268 w 705277"/>
                    <a:gd name="connsiteY37" fmla="*/ 582263 h 832391"/>
                    <a:gd name="connsiteX38" fmla="*/ 627368 w 705277"/>
                    <a:gd name="connsiteY38" fmla="*/ 594565 h 832391"/>
                    <a:gd name="connsiteX39" fmla="*/ 647871 w 705277"/>
                    <a:gd name="connsiteY39" fmla="*/ 619167 h 832391"/>
                    <a:gd name="connsiteX40" fmla="*/ 651971 w 705277"/>
                    <a:gd name="connsiteY40" fmla="*/ 631469 h 832391"/>
                    <a:gd name="connsiteX41" fmla="*/ 643770 w 705277"/>
                    <a:gd name="connsiteY41" fmla="*/ 664272 h 832391"/>
                    <a:gd name="connsiteX42" fmla="*/ 647871 w 705277"/>
                    <a:gd name="connsiteY42" fmla="*/ 697076 h 832391"/>
                    <a:gd name="connsiteX43" fmla="*/ 651971 w 705277"/>
                    <a:gd name="connsiteY43" fmla="*/ 733980 h 832391"/>
                    <a:gd name="connsiteX44" fmla="*/ 656071 w 705277"/>
                    <a:gd name="connsiteY44" fmla="*/ 750382 h 832391"/>
                    <a:gd name="connsiteX45" fmla="*/ 668373 w 705277"/>
                    <a:gd name="connsiteY45" fmla="*/ 754482 h 832391"/>
                    <a:gd name="connsiteX46" fmla="*/ 688875 w 705277"/>
                    <a:gd name="connsiteY46" fmla="*/ 787286 h 832391"/>
                    <a:gd name="connsiteX47" fmla="*/ 697076 w 705277"/>
                    <a:gd name="connsiteY47" fmla="*/ 811888 h 832391"/>
                    <a:gd name="connsiteX48" fmla="*/ 701176 w 705277"/>
                    <a:gd name="connsiteY48" fmla="*/ 824190 h 832391"/>
                    <a:gd name="connsiteX49" fmla="*/ 705277 w 705277"/>
                    <a:gd name="connsiteY49" fmla="*/ 832391 h 832391"/>
                    <a:gd name="connsiteX0" fmla="*/ 0 w 705277"/>
                    <a:gd name="connsiteY0" fmla="*/ 0 h 832391"/>
                    <a:gd name="connsiteX1" fmla="*/ 32803 w 705277"/>
                    <a:gd name="connsiteY1" fmla="*/ 4100 h 832391"/>
                    <a:gd name="connsiteX2" fmla="*/ 49205 w 705277"/>
                    <a:gd name="connsiteY2" fmla="*/ 28703 h 832391"/>
                    <a:gd name="connsiteX3" fmla="*/ 73808 w 705277"/>
                    <a:gd name="connsiteY3" fmla="*/ 49205 h 832391"/>
                    <a:gd name="connsiteX4" fmla="*/ 86109 w 705277"/>
                    <a:gd name="connsiteY4" fmla="*/ 53305 h 832391"/>
                    <a:gd name="connsiteX5" fmla="*/ 98410 w 705277"/>
                    <a:gd name="connsiteY5" fmla="*/ 61506 h 832391"/>
                    <a:gd name="connsiteX6" fmla="*/ 127114 w 705277"/>
                    <a:gd name="connsiteY6" fmla="*/ 73808 h 832391"/>
                    <a:gd name="connsiteX7" fmla="*/ 135314 w 705277"/>
                    <a:gd name="connsiteY7" fmla="*/ 86109 h 832391"/>
                    <a:gd name="connsiteX8" fmla="*/ 159917 w 705277"/>
                    <a:gd name="connsiteY8" fmla="*/ 135314 h 832391"/>
                    <a:gd name="connsiteX9" fmla="*/ 188620 w 705277"/>
                    <a:gd name="connsiteY9" fmla="*/ 143515 h 832391"/>
                    <a:gd name="connsiteX10" fmla="*/ 213223 w 705277"/>
                    <a:gd name="connsiteY10" fmla="*/ 151716 h 832391"/>
                    <a:gd name="connsiteX11" fmla="*/ 221424 w 705277"/>
                    <a:gd name="connsiteY11" fmla="*/ 164017 h 832391"/>
                    <a:gd name="connsiteX12" fmla="*/ 270629 w 705277"/>
                    <a:gd name="connsiteY12" fmla="*/ 176319 h 832391"/>
                    <a:gd name="connsiteX13" fmla="*/ 274730 w 705277"/>
                    <a:gd name="connsiteY13" fmla="*/ 188620 h 832391"/>
                    <a:gd name="connsiteX14" fmla="*/ 311634 w 705277"/>
                    <a:gd name="connsiteY14" fmla="*/ 192721 h 832391"/>
                    <a:gd name="connsiteX15" fmla="*/ 323935 w 705277"/>
                    <a:gd name="connsiteY15" fmla="*/ 196821 h 832391"/>
                    <a:gd name="connsiteX16" fmla="*/ 344437 w 705277"/>
                    <a:gd name="connsiteY16" fmla="*/ 200922 h 832391"/>
                    <a:gd name="connsiteX17" fmla="*/ 373140 w 705277"/>
                    <a:gd name="connsiteY17" fmla="*/ 209122 h 832391"/>
                    <a:gd name="connsiteX18" fmla="*/ 381341 w 705277"/>
                    <a:gd name="connsiteY18" fmla="*/ 221424 h 832391"/>
                    <a:gd name="connsiteX19" fmla="*/ 405944 w 705277"/>
                    <a:gd name="connsiteY19" fmla="*/ 237826 h 832391"/>
                    <a:gd name="connsiteX20" fmla="*/ 410045 w 705277"/>
                    <a:gd name="connsiteY20" fmla="*/ 250127 h 832391"/>
                    <a:gd name="connsiteX21" fmla="*/ 418245 w 705277"/>
                    <a:gd name="connsiteY21" fmla="*/ 262428 h 832391"/>
                    <a:gd name="connsiteX22" fmla="*/ 426446 w 705277"/>
                    <a:gd name="connsiteY22" fmla="*/ 291131 h 832391"/>
                    <a:gd name="connsiteX23" fmla="*/ 438748 w 705277"/>
                    <a:gd name="connsiteY23" fmla="*/ 303433 h 832391"/>
                    <a:gd name="connsiteX24" fmla="*/ 442848 w 705277"/>
                    <a:gd name="connsiteY24" fmla="*/ 315734 h 832391"/>
                    <a:gd name="connsiteX25" fmla="*/ 479752 w 705277"/>
                    <a:gd name="connsiteY25" fmla="*/ 332136 h 832391"/>
                    <a:gd name="connsiteX26" fmla="*/ 492053 w 705277"/>
                    <a:gd name="connsiteY26" fmla="*/ 336236 h 832391"/>
                    <a:gd name="connsiteX27" fmla="*/ 504355 w 705277"/>
                    <a:gd name="connsiteY27" fmla="*/ 344437 h 832391"/>
                    <a:gd name="connsiteX28" fmla="*/ 508455 w 705277"/>
                    <a:gd name="connsiteY28" fmla="*/ 356739 h 832391"/>
                    <a:gd name="connsiteX29" fmla="*/ 516656 w 705277"/>
                    <a:gd name="connsiteY29" fmla="*/ 373140 h 832391"/>
                    <a:gd name="connsiteX30" fmla="*/ 524857 w 705277"/>
                    <a:gd name="connsiteY30" fmla="*/ 401844 h 832391"/>
                    <a:gd name="connsiteX31" fmla="*/ 557661 w 705277"/>
                    <a:gd name="connsiteY31" fmla="*/ 426446 h 832391"/>
                    <a:gd name="connsiteX32" fmla="*/ 565861 w 705277"/>
                    <a:gd name="connsiteY32" fmla="*/ 446948 h 832391"/>
                    <a:gd name="connsiteX33" fmla="*/ 569962 w 705277"/>
                    <a:gd name="connsiteY33" fmla="*/ 463350 h 832391"/>
                    <a:gd name="connsiteX34" fmla="*/ 594565 w 705277"/>
                    <a:gd name="connsiteY34" fmla="*/ 492053 h 832391"/>
                    <a:gd name="connsiteX35" fmla="*/ 598665 w 705277"/>
                    <a:gd name="connsiteY35" fmla="*/ 504355 h 832391"/>
                    <a:gd name="connsiteX36" fmla="*/ 610967 w 705277"/>
                    <a:gd name="connsiteY36" fmla="*/ 528957 h 832391"/>
                    <a:gd name="connsiteX37" fmla="*/ 623268 w 705277"/>
                    <a:gd name="connsiteY37" fmla="*/ 582263 h 832391"/>
                    <a:gd name="connsiteX38" fmla="*/ 627368 w 705277"/>
                    <a:gd name="connsiteY38" fmla="*/ 594565 h 832391"/>
                    <a:gd name="connsiteX39" fmla="*/ 647871 w 705277"/>
                    <a:gd name="connsiteY39" fmla="*/ 619167 h 832391"/>
                    <a:gd name="connsiteX40" fmla="*/ 651971 w 705277"/>
                    <a:gd name="connsiteY40" fmla="*/ 631469 h 832391"/>
                    <a:gd name="connsiteX41" fmla="*/ 643770 w 705277"/>
                    <a:gd name="connsiteY41" fmla="*/ 664272 h 832391"/>
                    <a:gd name="connsiteX42" fmla="*/ 647871 w 705277"/>
                    <a:gd name="connsiteY42" fmla="*/ 697076 h 832391"/>
                    <a:gd name="connsiteX43" fmla="*/ 651971 w 705277"/>
                    <a:gd name="connsiteY43" fmla="*/ 733980 h 832391"/>
                    <a:gd name="connsiteX44" fmla="*/ 656071 w 705277"/>
                    <a:gd name="connsiteY44" fmla="*/ 750382 h 832391"/>
                    <a:gd name="connsiteX45" fmla="*/ 668373 w 705277"/>
                    <a:gd name="connsiteY45" fmla="*/ 754482 h 832391"/>
                    <a:gd name="connsiteX46" fmla="*/ 688875 w 705277"/>
                    <a:gd name="connsiteY46" fmla="*/ 787286 h 832391"/>
                    <a:gd name="connsiteX47" fmla="*/ 697076 w 705277"/>
                    <a:gd name="connsiteY47" fmla="*/ 811888 h 832391"/>
                    <a:gd name="connsiteX48" fmla="*/ 701176 w 705277"/>
                    <a:gd name="connsiteY48" fmla="*/ 824190 h 832391"/>
                    <a:gd name="connsiteX49" fmla="*/ 705277 w 705277"/>
                    <a:gd name="connsiteY49" fmla="*/ 832391 h 832391"/>
                    <a:gd name="connsiteX0" fmla="*/ 0 w 705277"/>
                    <a:gd name="connsiteY0" fmla="*/ 0 h 832391"/>
                    <a:gd name="connsiteX1" fmla="*/ 32803 w 705277"/>
                    <a:gd name="connsiteY1" fmla="*/ 4100 h 832391"/>
                    <a:gd name="connsiteX2" fmla="*/ 49205 w 705277"/>
                    <a:gd name="connsiteY2" fmla="*/ 28703 h 832391"/>
                    <a:gd name="connsiteX3" fmla="*/ 73808 w 705277"/>
                    <a:gd name="connsiteY3" fmla="*/ 49205 h 832391"/>
                    <a:gd name="connsiteX4" fmla="*/ 86109 w 705277"/>
                    <a:gd name="connsiteY4" fmla="*/ 53305 h 832391"/>
                    <a:gd name="connsiteX5" fmla="*/ 98410 w 705277"/>
                    <a:gd name="connsiteY5" fmla="*/ 61506 h 832391"/>
                    <a:gd name="connsiteX6" fmla="*/ 127114 w 705277"/>
                    <a:gd name="connsiteY6" fmla="*/ 73808 h 832391"/>
                    <a:gd name="connsiteX7" fmla="*/ 135314 w 705277"/>
                    <a:gd name="connsiteY7" fmla="*/ 86109 h 832391"/>
                    <a:gd name="connsiteX8" fmla="*/ 168118 w 705277"/>
                    <a:gd name="connsiteY8" fmla="*/ 114812 h 832391"/>
                    <a:gd name="connsiteX9" fmla="*/ 188620 w 705277"/>
                    <a:gd name="connsiteY9" fmla="*/ 143515 h 832391"/>
                    <a:gd name="connsiteX10" fmla="*/ 213223 w 705277"/>
                    <a:gd name="connsiteY10" fmla="*/ 151716 h 832391"/>
                    <a:gd name="connsiteX11" fmla="*/ 221424 w 705277"/>
                    <a:gd name="connsiteY11" fmla="*/ 164017 h 832391"/>
                    <a:gd name="connsiteX12" fmla="*/ 270629 w 705277"/>
                    <a:gd name="connsiteY12" fmla="*/ 176319 h 832391"/>
                    <a:gd name="connsiteX13" fmla="*/ 274730 w 705277"/>
                    <a:gd name="connsiteY13" fmla="*/ 188620 h 832391"/>
                    <a:gd name="connsiteX14" fmla="*/ 311634 w 705277"/>
                    <a:gd name="connsiteY14" fmla="*/ 192721 h 832391"/>
                    <a:gd name="connsiteX15" fmla="*/ 323935 w 705277"/>
                    <a:gd name="connsiteY15" fmla="*/ 196821 h 832391"/>
                    <a:gd name="connsiteX16" fmla="*/ 344437 w 705277"/>
                    <a:gd name="connsiteY16" fmla="*/ 200922 h 832391"/>
                    <a:gd name="connsiteX17" fmla="*/ 373140 w 705277"/>
                    <a:gd name="connsiteY17" fmla="*/ 209122 h 832391"/>
                    <a:gd name="connsiteX18" fmla="*/ 381341 w 705277"/>
                    <a:gd name="connsiteY18" fmla="*/ 221424 h 832391"/>
                    <a:gd name="connsiteX19" fmla="*/ 405944 w 705277"/>
                    <a:gd name="connsiteY19" fmla="*/ 237826 h 832391"/>
                    <a:gd name="connsiteX20" fmla="*/ 410045 w 705277"/>
                    <a:gd name="connsiteY20" fmla="*/ 250127 h 832391"/>
                    <a:gd name="connsiteX21" fmla="*/ 418245 w 705277"/>
                    <a:gd name="connsiteY21" fmla="*/ 262428 h 832391"/>
                    <a:gd name="connsiteX22" fmla="*/ 426446 w 705277"/>
                    <a:gd name="connsiteY22" fmla="*/ 291131 h 832391"/>
                    <a:gd name="connsiteX23" fmla="*/ 438748 w 705277"/>
                    <a:gd name="connsiteY23" fmla="*/ 303433 h 832391"/>
                    <a:gd name="connsiteX24" fmla="*/ 442848 w 705277"/>
                    <a:gd name="connsiteY24" fmla="*/ 315734 h 832391"/>
                    <a:gd name="connsiteX25" fmla="*/ 479752 w 705277"/>
                    <a:gd name="connsiteY25" fmla="*/ 332136 h 832391"/>
                    <a:gd name="connsiteX26" fmla="*/ 492053 w 705277"/>
                    <a:gd name="connsiteY26" fmla="*/ 336236 h 832391"/>
                    <a:gd name="connsiteX27" fmla="*/ 504355 w 705277"/>
                    <a:gd name="connsiteY27" fmla="*/ 344437 h 832391"/>
                    <a:gd name="connsiteX28" fmla="*/ 508455 w 705277"/>
                    <a:gd name="connsiteY28" fmla="*/ 356739 h 832391"/>
                    <a:gd name="connsiteX29" fmla="*/ 516656 w 705277"/>
                    <a:gd name="connsiteY29" fmla="*/ 373140 h 832391"/>
                    <a:gd name="connsiteX30" fmla="*/ 524857 w 705277"/>
                    <a:gd name="connsiteY30" fmla="*/ 401844 h 832391"/>
                    <a:gd name="connsiteX31" fmla="*/ 557661 w 705277"/>
                    <a:gd name="connsiteY31" fmla="*/ 426446 h 832391"/>
                    <a:gd name="connsiteX32" fmla="*/ 565861 w 705277"/>
                    <a:gd name="connsiteY32" fmla="*/ 446948 h 832391"/>
                    <a:gd name="connsiteX33" fmla="*/ 569962 w 705277"/>
                    <a:gd name="connsiteY33" fmla="*/ 463350 h 832391"/>
                    <a:gd name="connsiteX34" fmla="*/ 594565 w 705277"/>
                    <a:gd name="connsiteY34" fmla="*/ 492053 h 832391"/>
                    <a:gd name="connsiteX35" fmla="*/ 598665 w 705277"/>
                    <a:gd name="connsiteY35" fmla="*/ 504355 h 832391"/>
                    <a:gd name="connsiteX36" fmla="*/ 610967 w 705277"/>
                    <a:gd name="connsiteY36" fmla="*/ 528957 h 832391"/>
                    <a:gd name="connsiteX37" fmla="*/ 623268 w 705277"/>
                    <a:gd name="connsiteY37" fmla="*/ 582263 h 832391"/>
                    <a:gd name="connsiteX38" fmla="*/ 627368 w 705277"/>
                    <a:gd name="connsiteY38" fmla="*/ 594565 h 832391"/>
                    <a:gd name="connsiteX39" fmla="*/ 647871 w 705277"/>
                    <a:gd name="connsiteY39" fmla="*/ 619167 h 832391"/>
                    <a:gd name="connsiteX40" fmla="*/ 651971 w 705277"/>
                    <a:gd name="connsiteY40" fmla="*/ 631469 h 832391"/>
                    <a:gd name="connsiteX41" fmla="*/ 643770 w 705277"/>
                    <a:gd name="connsiteY41" fmla="*/ 664272 h 832391"/>
                    <a:gd name="connsiteX42" fmla="*/ 647871 w 705277"/>
                    <a:gd name="connsiteY42" fmla="*/ 697076 h 832391"/>
                    <a:gd name="connsiteX43" fmla="*/ 651971 w 705277"/>
                    <a:gd name="connsiteY43" fmla="*/ 733980 h 832391"/>
                    <a:gd name="connsiteX44" fmla="*/ 656071 w 705277"/>
                    <a:gd name="connsiteY44" fmla="*/ 750382 h 832391"/>
                    <a:gd name="connsiteX45" fmla="*/ 668373 w 705277"/>
                    <a:gd name="connsiteY45" fmla="*/ 754482 h 832391"/>
                    <a:gd name="connsiteX46" fmla="*/ 688875 w 705277"/>
                    <a:gd name="connsiteY46" fmla="*/ 787286 h 832391"/>
                    <a:gd name="connsiteX47" fmla="*/ 697076 w 705277"/>
                    <a:gd name="connsiteY47" fmla="*/ 811888 h 832391"/>
                    <a:gd name="connsiteX48" fmla="*/ 701176 w 705277"/>
                    <a:gd name="connsiteY48" fmla="*/ 824190 h 832391"/>
                    <a:gd name="connsiteX49" fmla="*/ 705277 w 705277"/>
                    <a:gd name="connsiteY49" fmla="*/ 832391 h 8323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</a:cxnLst>
                  <a:rect l="l" t="t" r="r" b="b"/>
                  <a:pathLst>
                    <a:path w="705277" h="832391">
                      <a:moveTo>
                        <a:pt x="0" y="0"/>
                      </a:moveTo>
                      <a:cubicBezTo>
                        <a:pt x="10934" y="1367"/>
                        <a:pt x="23285" y="-1452"/>
                        <a:pt x="32803" y="4100"/>
                      </a:cubicBezTo>
                      <a:cubicBezTo>
                        <a:pt x="41317" y="9066"/>
                        <a:pt x="42235" y="21733"/>
                        <a:pt x="49205" y="28703"/>
                      </a:cubicBezTo>
                      <a:cubicBezTo>
                        <a:pt x="58274" y="37772"/>
                        <a:pt x="62390" y="43496"/>
                        <a:pt x="73808" y="49205"/>
                      </a:cubicBezTo>
                      <a:cubicBezTo>
                        <a:pt x="77674" y="51138"/>
                        <a:pt x="82009" y="51938"/>
                        <a:pt x="86109" y="53305"/>
                      </a:cubicBezTo>
                      <a:cubicBezTo>
                        <a:pt x="90209" y="56039"/>
                        <a:pt x="93880" y="59565"/>
                        <a:pt x="98410" y="61506"/>
                      </a:cubicBezTo>
                      <a:cubicBezTo>
                        <a:pt x="135483" y="77396"/>
                        <a:pt x="96227" y="53217"/>
                        <a:pt x="127114" y="73808"/>
                      </a:cubicBezTo>
                      <a:cubicBezTo>
                        <a:pt x="129847" y="77908"/>
                        <a:pt x="128480" y="79275"/>
                        <a:pt x="135314" y="86109"/>
                      </a:cubicBezTo>
                      <a:cubicBezTo>
                        <a:pt x="142148" y="92943"/>
                        <a:pt x="154773" y="110363"/>
                        <a:pt x="168118" y="114812"/>
                      </a:cubicBezTo>
                      <a:cubicBezTo>
                        <a:pt x="209444" y="128588"/>
                        <a:pt x="181103" y="137364"/>
                        <a:pt x="188620" y="143515"/>
                      </a:cubicBezTo>
                      <a:cubicBezTo>
                        <a:pt x="196137" y="149666"/>
                        <a:pt x="213223" y="151716"/>
                        <a:pt x="213223" y="151716"/>
                      </a:cubicBezTo>
                      <a:cubicBezTo>
                        <a:pt x="215957" y="155816"/>
                        <a:pt x="217939" y="160532"/>
                        <a:pt x="221424" y="164017"/>
                      </a:cubicBezTo>
                      <a:cubicBezTo>
                        <a:pt x="235549" y="178142"/>
                        <a:pt x="250110" y="174039"/>
                        <a:pt x="270629" y="176319"/>
                      </a:cubicBezTo>
                      <a:cubicBezTo>
                        <a:pt x="271996" y="180419"/>
                        <a:pt x="270717" y="187015"/>
                        <a:pt x="274730" y="188620"/>
                      </a:cubicBezTo>
                      <a:cubicBezTo>
                        <a:pt x="286222" y="193217"/>
                        <a:pt x="299425" y="190686"/>
                        <a:pt x="311634" y="192721"/>
                      </a:cubicBezTo>
                      <a:cubicBezTo>
                        <a:pt x="315897" y="193432"/>
                        <a:pt x="319742" y="195773"/>
                        <a:pt x="323935" y="196821"/>
                      </a:cubicBezTo>
                      <a:cubicBezTo>
                        <a:pt x="330696" y="198511"/>
                        <a:pt x="337634" y="199410"/>
                        <a:pt x="344437" y="200922"/>
                      </a:cubicBezTo>
                      <a:cubicBezTo>
                        <a:pt x="359888" y="204356"/>
                        <a:pt x="359438" y="204555"/>
                        <a:pt x="373140" y="209122"/>
                      </a:cubicBezTo>
                      <a:cubicBezTo>
                        <a:pt x="375874" y="213223"/>
                        <a:pt x="377632" y="218179"/>
                        <a:pt x="381341" y="221424"/>
                      </a:cubicBezTo>
                      <a:cubicBezTo>
                        <a:pt x="388759" y="227915"/>
                        <a:pt x="405944" y="237826"/>
                        <a:pt x="405944" y="237826"/>
                      </a:cubicBezTo>
                      <a:cubicBezTo>
                        <a:pt x="407311" y="241926"/>
                        <a:pt x="408112" y="246261"/>
                        <a:pt x="410045" y="250127"/>
                      </a:cubicBezTo>
                      <a:cubicBezTo>
                        <a:pt x="412249" y="254535"/>
                        <a:pt x="416304" y="257899"/>
                        <a:pt x="418245" y="262428"/>
                      </a:cubicBezTo>
                      <a:cubicBezTo>
                        <a:pt x="419882" y="266249"/>
                        <a:pt x="423257" y="286348"/>
                        <a:pt x="426446" y="291131"/>
                      </a:cubicBezTo>
                      <a:cubicBezTo>
                        <a:pt x="429663" y="295956"/>
                        <a:pt x="434647" y="299332"/>
                        <a:pt x="438748" y="303433"/>
                      </a:cubicBezTo>
                      <a:cubicBezTo>
                        <a:pt x="440115" y="307533"/>
                        <a:pt x="440148" y="312359"/>
                        <a:pt x="442848" y="315734"/>
                      </a:cubicBezTo>
                      <a:cubicBezTo>
                        <a:pt x="449937" y="324595"/>
                        <a:pt x="472234" y="329630"/>
                        <a:pt x="479752" y="332136"/>
                      </a:cubicBezTo>
                      <a:lnTo>
                        <a:pt x="492053" y="336236"/>
                      </a:lnTo>
                      <a:cubicBezTo>
                        <a:pt x="496154" y="338970"/>
                        <a:pt x="501276" y="340589"/>
                        <a:pt x="504355" y="344437"/>
                      </a:cubicBezTo>
                      <a:cubicBezTo>
                        <a:pt x="507055" y="347812"/>
                        <a:pt x="506752" y="352766"/>
                        <a:pt x="508455" y="356739"/>
                      </a:cubicBezTo>
                      <a:cubicBezTo>
                        <a:pt x="510863" y="362357"/>
                        <a:pt x="514510" y="367417"/>
                        <a:pt x="516656" y="373140"/>
                      </a:cubicBezTo>
                      <a:cubicBezTo>
                        <a:pt x="527055" y="400868"/>
                        <a:pt x="518023" y="392960"/>
                        <a:pt x="524857" y="401844"/>
                      </a:cubicBezTo>
                      <a:cubicBezTo>
                        <a:pt x="531691" y="410728"/>
                        <a:pt x="549427" y="414095"/>
                        <a:pt x="557661" y="426446"/>
                      </a:cubicBezTo>
                      <a:cubicBezTo>
                        <a:pt x="559028" y="431913"/>
                        <a:pt x="563811" y="440797"/>
                        <a:pt x="565861" y="446948"/>
                      </a:cubicBezTo>
                      <a:cubicBezTo>
                        <a:pt x="567911" y="453099"/>
                        <a:pt x="558219" y="459436"/>
                        <a:pt x="569962" y="463350"/>
                      </a:cubicBezTo>
                      <a:cubicBezTo>
                        <a:pt x="579652" y="473041"/>
                        <a:pt x="587554" y="479785"/>
                        <a:pt x="594565" y="492053"/>
                      </a:cubicBezTo>
                      <a:cubicBezTo>
                        <a:pt x="596710" y="495806"/>
                        <a:pt x="596732" y="500489"/>
                        <a:pt x="598665" y="504355"/>
                      </a:cubicBezTo>
                      <a:cubicBezTo>
                        <a:pt x="614567" y="536161"/>
                        <a:pt x="600656" y="498028"/>
                        <a:pt x="610967" y="528957"/>
                      </a:cubicBezTo>
                      <a:cubicBezTo>
                        <a:pt x="616290" y="566223"/>
                        <a:pt x="612010" y="548488"/>
                        <a:pt x="623268" y="582263"/>
                      </a:cubicBezTo>
                      <a:cubicBezTo>
                        <a:pt x="624635" y="586364"/>
                        <a:pt x="624970" y="590969"/>
                        <a:pt x="627368" y="594565"/>
                      </a:cubicBezTo>
                      <a:cubicBezTo>
                        <a:pt x="638786" y="611691"/>
                        <a:pt x="632084" y="603381"/>
                        <a:pt x="647871" y="619167"/>
                      </a:cubicBezTo>
                      <a:cubicBezTo>
                        <a:pt x="649238" y="623268"/>
                        <a:pt x="651971" y="627147"/>
                        <a:pt x="651971" y="631469"/>
                      </a:cubicBezTo>
                      <a:cubicBezTo>
                        <a:pt x="651971" y="641369"/>
                        <a:pt x="647007" y="654563"/>
                        <a:pt x="643770" y="664272"/>
                      </a:cubicBezTo>
                      <a:cubicBezTo>
                        <a:pt x="645137" y="675207"/>
                        <a:pt x="646583" y="686132"/>
                        <a:pt x="647871" y="697076"/>
                      </a:cubicBezTo>
                      <a:cubicBezTo>
                        <a:pt x="649317" y="709368"/>
                        <a:pt x="650089" y="721747"/>
                        <a:pt x="651971" y="733980"/>
                      </a:cubicBezTo>
                      <a:cubicBezTo>
                        <a:pt x="652828" y="739550"/>
                        <a:pt x="652550" y="745981"/>
                        <a:pt x="656071" y="750382"/>
                      </a:cubicBezTo>
                      <a:cubicBezTo>
                        <a:pt x="658771" y="753757"/>
                        <a:pt x="664272" y="753115"/>
                        <a:pt x="668373" y="754482"/>
                      </a:cubicBezTo>
                      <a:cubicBezTo>
                        <a:pt x="678132" y="783760"/>
                        <a:pt x="669381" y="774290"/>
                        <a:pt x="688875" y="787286"/>
                      </a:cubicBezTo>
                      <a:lnTo>
                        <a:pt x="697076" y="811888"/>
                      </a:lnTo>
                      <a:cubicBezTo>
                        <a:pt x="698443" y="815989"/>
                        <a:pt x="699243" y="820324"/>
                        <a:pt x="701176" y="824190"/>
                      </a:cubicBezTo>
                      <a:lnTo>
                        <a:pt x="705277" y="832391"/>
                      </a:ln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672" name="Forma livre 785"/>
                <p:cNvSpPr/>
                <p:nvPr/>
              </p:nvSpPr>
              <p:spPr bwMode="auto">
                <a:xfrm>
                  <a:off x="4164014" y="2813050"/>
                  <a:ext cx="211137" cy="1012825"/>
                </a:xfrm>
                <a:custGeom>
                  <a:avLst/>
                  <a:gdLst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91723 w 210636"/>
                    <a:gd name="connsiteY5" fmla="*/ 164018 h 1012810"/>
                    <a:gd name="connsiteX6" fmla="*/ 87623 w 210636"/>
                    <a:gd name="connsiteY6" fmla="*/ 176319 h 1012810"/>
                    <a:gd name="connsiteX7" fmla="*/ 91723 w 210636"/>
                    <a:gd name="connsiteY7" fmla="*/ 196821 h 1012810"/>
                    <a:gd name="connsiteX8" fmla="*/ 95824 w 210636"/>
                    <a:gd name="connsiteY8" fmla="*/ 209122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71221 w 210636"/>
                    <a:gd name="connsiteY14" fmla="*/ 479752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91723 w 210636"/>
                    <a:gd name="connsiteY5" fmla="*/ 164018 h 1012810"/>
                    <a:gd name="connsiteX6" fmla="*/ 87623 w 210636"/>
                    <a:gd name="connsiteY6" fmla="*/ 176319 h 1012810"/>
                    <a:gd name="connsiteX7" fmla="*/ 91723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71221 w 210636"/>
                    <a:gd name="connsiteY14" fmla="*/ 479752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91723 w 210636"/>
                    <a:gd name="connsiteY5" fmla="*/ 164018 h 1012810"/>
                    <a:gd name="connsiteX6" fmla="*/ 87623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71221 w 210636"/>
                    <a:gd name="connsiteY14" fmla="*/ 479752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91723 w 210636"/>
                    <a:gd name="connsiteY5" fmla="*/ 164018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71221 w 210636"/>
                    <a:gd name="connsiteY14" fmla="*/ 479752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104025 w 210636"/>
                    <a:gd name="connsiteY5" fmla="*/ 155817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71221 w 210636"/>
                    <a:gd name="connsiteY14" fmla="*/ 479752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104025 w 210636"/>
                    <a:gd name="connsiteY5" fmla="*/ 155817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95823 w 210636"/>
                    <a:gd name="connsiteY14" fmla="*/ 418245 h 1012810"/>
                    <a:gd name="connsiteX15" fmla="*/ 67121 w 210636"/>
                    <a:gd name="connsiteY15" fmla="*/ 496154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104025 w 210636"/>
                    <a:gd name="connsiteY5" fmla="*/ 155817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95823 w 210636"/>
                    <a:gd name="connsiteY14" fmla="*/ 418245 h 1012810"/>
                    <a:gd name="connsiteX15" fmla="*/ 79423 w 210636"/>
                    <a:gd name="connsiteY15" fmla="*/ 459250 h 1012810"/>
                    <a:gd name="connsiteX16" fmla="*/ 58920 w 210636"/>
                    <a:gd name="connsiteY16" fmla="*/ 508455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104025 w 210636"/>
                    <a:gd name="connsiteY5" fmla="*/ 155817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95823 w 210636"/>
                    <a:gd name="connsiteY14" fmla="*/ 418245 h 1012810"/>
                    <a:gd name="connsiteX15" fmla="*/ 79423 w 210636"/>
                    <a:gd name="connsiteY15" fmla="*/ 459250 h 1012810"/>
                    <a:gd name="connsiteX16" fmla="*/ 58920 w 210636"/>
                    <a:gd name="connsiteY16" fmla="*/ 492054 h 1012810"/>
                    <a:gd name="connsiteX17" fmla="*/ 71221 w 210636"/>
                    <a:gd name="connsiteY17" fmla="*/ 516656 h 1012810"/>
                    <a:gd name="connsiteX18" fmla="*/ 87623 w 210636"/>
                    <a:gd name="connsiteY18" fmla="*/ 574062 h 1012810"/>
                    <a:gd name="connsiteX19" fmla="*/ 99924 w 210636"/>
                    <a:gd name="connsiteY19" fmla="*/ 598665 h 1012810"/>
                    <a:gd name="connsiteX20" fmla="*/ 91723 w 210636"/>
                    <a:gd name="connsiteY20" fmla="*/ 619167 h 1012810"/>
                    <a:gd name="connsiteX21" fmla="*/ 75322 w 210636"/>
                    <a:gd name="connsiteY21" fmla="*/ 656071 h 1012810"/>
                    <a:gd name="connsiteX22" fmla="*/ 71221 w 210636"/>
                    <a:gd name="connsiteY22" fmla="*/ 733980 h 1012810"/>
                    <a:gd name="connsiteX23" fmla="*/ 58920 w 210636"/>
                    <a:gd name="connsiteY23" fmla="*/ 742181 h 1012810"/>
                    <a:gd name="connsiteX24" fmla="*/ 42518 w 210636"/>
                    <a:gd name="connsiteY24" fmla="*/ 762683 h 1012810"/>
                    <a:gd name="connsiteX25" fmla="*/ 30217 w 210636"/>
                    <a:gd name="connsiteY25" fmla="*/ 787286 h 1012810"/>
                    <a:gd name="connsiteX26" fmla="*/ 13815 w 210636"/>
                    <a:gd name="connsiteY26" fmla="*/ 811888 h 1012810"/>
                    <a:gd name="connsiteX27" fmla="*/ 9715 w 210636"/>
                    <a:gd name="connsiteY27" fmla="*/ 824190 h 1012810"/>
                    <a:gd name="connsiteX28" fmla="*/ 5614 w 210636"/>
                    <a:gd name="connsiteY28" fmla="*/ 856993 h 1012810"/>
                    <a:gd name="connsiteX29" fmla="*/ 17915 w 210636"/>
                    <a:gd name="connsiteY29" fmla="*/ 869295 h 1012810"/>
                    <a:gd name="connsiteX30" fmla="*/ 26116 w 210636"/>
                    <a:gd name="connsiteY30" fmla="*/ 893897 h 1012810"/>
                    <a:gd name="connsiteX31" fmla="*/ 42518 w 210636"/>
                    <a:gd name="connsiteY31" fmla="*/ 918500 h 1012810"/>
                    <a:gd name="connsiteX32" fmla="*/ 46619 w 210636"/>
                    <a:gd name="connsiteY32" fmla="*/ 930801 h 1012810"/>
                    <a:gd name="connsiteX33" fmla="*/ 67121 w 210636"/>
                    <a:gd name="connsiteY33" fmla="*/ 955404 h 1012810"/>
                    <a:gd name="connsiteX34" fmla="*/ 79422 w 210636"/>
                    <a:gd name="connsiteY34" fmla="*/ 959505 h 1012810"/>
                    <a:gd name="connsiteX35" fmla="*/ 99924 w 210636"/>
                    <a:gd name="connsiteY35" fmla="*/ 1000509 h 1012810"/>
                    <a:gd name="connsiteX36" fmla="*/ 112226 w 210636"/>
                    <a:gd name="connsiteY36" fmla="*/ 1012810 h 1012810"/>
                    <a:gd name="connsiteX0" fmla="*/ 210636 w 210636"/>
                    <a:gd name="connsiteY0" fmla="*/ 0 h 1012810"/>
                    <a:gd name="connsiteX1" fmla="*/ 124527 w 210636"/>
                    <a:gd name="connsiteY1" fmla="*/ 4100 h 1012810"/>
                    <a:gd name="connsiteX2" fmla="*/ 112226 w 210636"/>
                    <a:gd name="connsiteY2" fmla="*/ 12301 h 1012810"/>
                    <a:gd name="connsiteX3" fmla="*/ 108125 w 210636"/>
                    <a:gd name="connsiteY3" fmla="*/ 24602 h 1012810"/>
                    <a:gd name="connsiteX4" fmla="*/ 99924 w 210636"/>
                    <a:gd name="connsiteY4" fmla="*/ 139415 h 1012810"/>
                    <a:gd name="connsiteX5" fmla="*/ 104025 w 210636"/>
                    <a:gd name="connsiteY5" fmla="*/ 155817 h 1012810"/>
                    <a:gd name="connsiteX6" fmla="*/ 116326 w 210636"/>
                    <a:gd name="connsiteY6" fmla="*/ 176319 h 1012810"/>
                    <a:gd name="connsiteX7" fmla="*/ 108124 w 210636"/>
                    <a:gd name="connsiteY7" fmla="*/ 196821 h 1012810"/>
                    <a:gd name="connsiteX8" fmla="*/ 99924 w 210636"/>
                    <a:gd name="connsiteY8" fmla="*/ 233725 h 1012810"/>
                    <a:gd name="connsiteX9" fmla="*/ 87623 w 210636"/>
                    <a:gd name="connsiteY9" fmla="*/ 266529 h 1012810"/>
                    <a:gd name="connsiteX10" fmla="*/ 79422 w 210636"/>
                    <a:gd name="connsiteY10" fmla="*/ 278830 h 1012810"/>
                    <a:gd name="connsiteX11" fmla="*/ 67121 w 210636"/>
                    <a:gd name="connsiteY11" fmla="*/ 291131 h 1012810"/>
                    <a:gd name="connsiteX12" fmla="*/ 67121 w 210636"/>
                    <a:gd name="connsiteY12" fmla="*/ 323935 h 1012810"/>
                    <a:gd name="connsiteX13" fmla="*/ 75322 w 210636"/>
                    <a:gd name="connsiteY13" fmla="*/ 348538 h 1012810"/>
                    <a:gd name="connsiteX14" fmla="*/ 83523 w 210636"/>
                    <a:gd name="connsiteY14" fmla="*/ 385442 h 1012810"/>
                    <a:gd name="connsiteX15" fmla="*/ 95823 w 210636"/>
                    <a:gd name="connsiteY15" fmla="*/ 418245 h 1012810"/>
                    <a:gd name="connsiteX16" fmla="*/ 79423 w 210636"/>
                    <a:gd name="connsiteY16" fmla="*/ 459250 h 1012810"/>
                    <a:gd name="connsiteX17" fmla="*/ 58920 w 210636"/>
                    <a:gd name="connsiteY17" fmla="*/ 492054 h 1012810"/>
                    <a:gd name="connsiteX18" fmla="*/ 71221 w 210636"/>
                    <a:gd name="connsiteY18" fmla="*/ 516656 h 1012810"/>
                    <a:gd name="connsiteX19" fmla="*/ 87623 w 210636"/>
                    <a:gd name="connsiteY19" fmla="*/ 574062 h 1012810"/>
                    <a:gd name="connsiteX20" fmla="*/ 99924 w 210636"/>
                    <a:gd name="connsiteY20" fmla="*/ 598665 h 1012810"/>
                    <a:gd name="connsiteX21" fmla="*/ 91723 w 210636"/>
                    <a:gd name="connsiteY21" fmla="*/ 619167 h 1012810"/>
                    <a:gd name="connsiteX22" fmla="*/ 75322 w 210636"/>
                    <a:gd name="connsiteY22" fmla="*/ 656071 h 1012810"/>
                    <a:gd name="connsiteX23" fmla="*/ 71221 w 210636"/>
                    <a:gd name="connsiteY23" fmla="*/ 733980 h 1012810"/>
                    <a:gd name="connsiteX24" fmla="*/ 58920 w 210636"/>
                    <a:gd name="connsiteY24" fmla="*/ 742181 h 1012810"/>
                    <a:gd name="connsiteX25" fmla="*/ 42518 w 210636"/>
                    <a:gd name="connsiteY25" fmla="*/ 762683 h 1012810"/>
                    <a:gd name="connsiteX26" fmla="*/ 30217 w 210636"/>
                    <a:gd name="connsiteY26" fmla="*/ 787286 h 1012810"/>
                    <a:gd name="connsiteX27" fmla="*/ 13815 w 210636"/>
                    <a:gd name="connsiteY27" fmla="*/ 811888 h 1012810"/>
                    <a:gd name="connsiteX28" fmla="*/ 9715 w 210636"/>
                    <a:gd name="connsiteY28" fmla="*/ 824190 h 1012810"/>
                    <a:gd name="connsiteX29" fmla="*/ 5614 w 210636"/>
                    <a:gd name="connsiteY29" fmla="*/ 856993 h 1012810"/>
                    <a:gd name="connsiteX30" fmla="*/ 17915 w 210636"/>
                    <a:gd name="connsiteY30" fmla="*/ 869295 h 1012810"/>
                    <a:gd name="connsiteX31" fmla="*/ 26116 w 210636"/>
                    <a:gd name="connsiteY31" fmla="*/ 893897 h 1012810"/>
                    <a:gd name="connsiteX32" fmla="*/ 42518 w 210636"/>
                    <a:gd name="connsiteY32" fmla="*/ 918500 h 1012810"/>
                    <a:gd name="connsiteX33" fmla="*/ 46619 w 210636"/>
                    <a:gd name="connsiteY33" fmla="*/ 930801 h 1012810"/>
                    <a:gd name="connsiteX34" fmla="*/ 67121 w 210636"/>
                    <a:gd name="connsiteY34" fmla="*/ 955404 h 1012810"/>
                    <a:gd name="connsiteX35" fmla="*/ 79422 w 210636"/>
                    <a:gd name="connsiteY35" fmla="*/ 959505 h 1012810"/>
                    <a:gd name="connsiteX36" fmla="*/ 99924 w 210636"/>
                    <a:gd name="connsiteY36" fmla="*/ 1000509 h 1012810"/>
                    <a:gd name="connsiteX37" fmla="*/ 112226 w 210636"/>
                    <a:gd name="connsiteY37" fmla="*/ 1012810 h 10128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210636" h="1012810">
                      <a:moveTo>
                        <a:pt x="210636" y="0"/>
                      </a:moveTo>
                      <a:cubicBezTo>
                        <a:pt x="181933" y="1367"/>
                        <a:pt x="153041" y="536"/>
                        <a:pt x="124527" y="4100"/>
                      </a:cubicBezTo>
                      <a:cubicBezTo>
                        <a:pt x="119637" y="4711"/>
                        <a:pt x="115305" y="8453"/>
                        <a:pt x="112226" y="12301"/>
                      </a:cubicBezTo>
                      <a:cubicBezTo>
                        <a:pt x="109526" y="15676"/>
                        <a:pt x="109492" y="20502"/>
                        <a:pt x="108125" y="24602"/>
                      </a:cubicBezTo>
                      <a:cubicBezTo>
                        <a:pt x="107448" y="38819"/>
                        <a:pt x="100607" y="117546"/>
                        <a:pt x="99924" y="139415"/>
                      </a:cubicBezTo>
                      <a:cubicBezTo>
                        <a:pt x="99241" y="161284"/>
                        <a:pt x="101291" y="149666"/>
                        <a:pt x="104025" y="155817"/>
                      </a:cubicBezTo>
                      <a:cubicBezTo>
                        <a:pt x="106759" y="161968"/>
                        <a:pt x="115643" y="169485"/>
                        <a:pt x="116326" y="176319"/>
                      </a:cubicBezTo>
                      <a:cubicBezTo>
                        <a:pt x="117009" y="183153"/>
                        <a:pt x="110858" y="187253"/>
                        <a:pt x="108124" y="196821"/>
                      </a:cubicBezTo>
                      <a:cubicBezTo>
                        <a:pt x="105390" y="206389"/>
                        <a:pt x="103341" y="222107"/>
                        <a:pt x="99924" y="233725"/>
                      </a:cubicBezTo>
                      <a:cubicBezTo>
                        <a:pt x="96507" y="245343"/>
                        <a:pt x="91040" y="259012"/>
                        <a:pt x="87623" y="266529"/>
                      </a:cubicBezTo>
                      <a:cubicBezTo>
                        <a:pt x="84206" y="274046"/>
                        <a:pt x="82577" y="275044"/>
                        <a:pt x="79422" y="278830"/>
                      </a:cubicBezTo>
                      <a:cubicBezTo>
                        <a:pt x="75710" y="283285"/>
                        <a:pt x="71221" y="287031"/>
                        <a:pt x="67121" y="291131"/>
                      </a:cubicBezTo>
                      <a:cubicBezTo>
                        <a:pt x="61430" y="308204"/>
                        <a:pt x="61183" y="302162"/>
                        <a:pt x="67121" y="323935"/>
                      </a:cubicBezTo>
                      <a:cubicBezTo>
                        <a:pt x="69396" y="332275"/>
                        <a:pt x="72588" y="338287"/>
                        <a:pt x="75322" y="348538"/>
                      </a:cubicBezTo>
                      <a:cubicBezTo>
                        <a:pt x="78056" y="358789"/>
                        <a:pt x="80106" y="373824"/>
                        <a:pt x="83523" y="385442"/>
                      </a:cubicBezTo>
                      <a:cubicBezTo>
                        <a:pt x="86940" y="397060"/>
                        <a:pt x="97873" y="407994"/>
                        <a:pt x="95823" y="418245"/>
                      </a:cubicBezTo>
                      <a:cubicBezTo>
                        <a:pt x="95510" y="423872"/>
                        <a:pt x="85573" y="446949"/>
                        <a:pt x="79423" y="459250"/>
                      </a:cubicBezTo>
                      <a:cubicBezTo>
                        <a:pt x="73273" y="471551"/>
                        <a:pt x="61654" y="487954"/>
                        <a:pt x="58920" y="492054"/>
                      </a:cubicBezTo>
                      <a:cubicBezTo>
                        <a:pt x="63020" y="494788"/>
                        <a:pt x="66437" y="502988"/>
                        <a:pt x="71221" y="516656"/>
                      </a:cubicBezTo>
                      <a:cubicBezTo>
                        <a:pt x="76005" y="530324"/>
                        <a:pt x="57577" y="554033"/>
                        <a:pt x="87623" y="574062"/>
                      </a:cubicBezTo>
                      <a:cubicBezTo>
                        <a:pt x="90750" y="578753"/>
                        <a:pt x="100818" y="591517"/>
                        <a:pt x="99924" y="598665"/>
                      </a:cubicBezTo>
                      <a:cubicBezTo>
                        <a:pt x="99011" y="605969"/>
                        <a:pt x="94238" y="612250"/>
                        <a:pt x="91723" y="619167"/>
                      </a:cubicBezTo>
                      <a:cubicBezTo>
                        <a:pt x="80012" y="651375"/>
                        <a:pt x="89432" y="634907"/>
                        <a:pt x="75322" y="656071"/>
                      </a:cubicBezTo>
                      <a:cubicBezTo>
                        <a:pt x="73955" y="682041"/>
                        <a:pt x="76087" y="708434"/>
                        <a:pt x="71221" y="733980"/>
                      </a:cubicBezTo>
                      <a:cubicBezTo>
                        <a:pt x="70299" y="738821"/>
                        <a:pt x="61999" y="738333"/>
                        <a:pt x="58920" y="742181"/>
                      </a:cubicBezTo>
                      <a:cubicBezTo>
                        <a:pt x="36284" y="770475"/>
                        <a:pt x="77771" y="739180"/>
                        <a:pt x="42518" y="762683"/>
                      </a:cubicBezTo>
                      <a:cubicBezTo>
                        <a:pt x="32215" y="793594"/>
                        <a:pt x="46111" y="755499"/>
                        <a:pt x="30217" y="787286"/>
                      </a:cubicBezTo>
                      <a:cubicBezTo>
                        <a:pt x="18349" y="811021"/>
                        <a:pt x="37132" y="788571"/>
                        <a:pt x="13815" y="811888"/>
                      </a:cubicBezTo>
                      <a:cubicBezTo>
                        <a:pt x="12448" y="815989"/>
                        <a:pt x="11648" y="820324"/>
                        <a:pt x="9715" y="824190"/>
                      </a:cubicBezTo>
                      <a:cubicBezTo>
                        <a:pt x="1844" y="839933"/>
                        <a:pt x="-5386" y="834991"/>
                        <a:pt x="5614" y="856993"/>
                      </a:cubicBezTo>
                      <a:cubicBezTo>
                        <a:pt x="8207" y="862180"/>
                        <a:pt x="13815" y="865194"/>
                        <a:pt x="17915" y="869295"/>
                      </a:cubicBezTo>
                      <a:cubicBezTo>
                        <a:pt x="20649" y="877496"/>
                        <a:pt x="21321" y="886705"/>
                        <a:pt x="26116" y="893897"/>
                      </a:cubicBezTo>
                      <a:cubicBezTo>
                        <a:pt x="31583" y="902098"/>
                        <a:pt x="39401" y="909150"/>
                        <a:pt x="42518" y="918500"/>
                      </a:cubicBezTo>
                      <a:cubicBezTo>
                        <a:pt x="43885" y="922600"/>
                        <a:pt x="44686" y="926935"/>
                        <a:pt x="46619" y="930801"/>
                      </a:cubicBezTo>
                      <a:cubicBezTo>
                        <a:pt x="50403" y="938369"/>
                        <a:pt x="60315" y="950867"/>
                        <a:pt x="67121" y="955404"/>
                      </a:cubicBezTo>
                      <a:cubicBezTo>
                        <a:pt x="70717" y="957802"/>
                        <a:pt x="75322" y="958138"/>
                        <a:pt x="79422" y="959505"/>
                      </a:cubicBezTo>
                      <a:cubicBezTo>
                        <a:pt x="86097" y="979529"/>
                        <a:pt x="85352" y="985937"/>
                        <a:pt x="99924" y="1000509"/>
                      </a:cubicBezTo>
                      <a:cubicBezTo>
                        <a:pt x="113363" y="1013948"/>
                        <a:pt x="112226" y="1002539"/>
                        <a:pt x="112226" y="1012810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41" name="Forma livre 776"/>
                <p:cNvSpPr/>
                <p:nvPr/>
              </p:nvSpPr>
              <p:spPr bwMode="auto">
                <a:xfrm>
                  <a:off x="3025776" y="3100388"/>
                  <a:ext cx="373063" cy="1992312"/>
                </a:xfrm>
                <a:custGeom>
                  <a:avLst/>
                  <a:gdLst>
                    <a:gd name="connsiteX0" fmla="*/ 176480 w 373800"/>
                    <a:gd name="connsiteY0" fmla="*/ 0 h 1992818"/>
                    <a:gd name="connsiteX1" fmla="*/ 168279 w 373800"/>
                    <a:gd name="connsiteY1" fmla="*/ 20502 h 1992818"/>
                    <a:gd name="connsiteX2" fmla="*/ 160078 w 373800"/>
                    <a:gd name="connsiteY2" fmla="*/ 53306 h 1992818"/>
                    <a:gd name="connsiteX3" fmla="*/ 147777 w 373800"/>
                    <a:gd name="connsiteY3" fmla="*/ 61507 h 1992818"/>
                    <a:gd name="connsiteX4" fmla="*/ 143677 w 373800"/>
                    <a:gd name="connsiteY4" fmla="*/ 77909 h 1992818"/>
                    <a:gd name="connsiteX5" fmla="*/ 139576 w 373800"/>
                    <a:gd name="connsiteY5" fmla="*/ 90210 h 1992818"/>
                    <a:gd name="connsiteX6" fmla="*/ 135476 w 373800"/>
                    <a:gd name="connsiteY6" fmla="*/ 114813 h 1992818"/>
                    <a:gd name="connsiteX7" fmla="*/ 123174 w 373800"/>
                    <a:gd name="connsiteY7" fmla="*/ 127114 h 1992818"/>
                    <a:gd name="connsiteX8" fmla="*/ 114973 w 373800"/>
                    <a:gd name="connsiteY8" fmla="*/ 139415 h 1992818"/>
                    <a:gd name="connsiteX9" fmla="*/ 119074 w 373800"/>
                    <a:gd name="connsiteY9" fmla="*/ 155817 h 1992818"/>
                    <a:gd name="connsiteX10" fmla="*/ 110873 w 373800"/>
                    <a:gd name="connsiteY10" fmla="*/ 172219 h 1992818"/>
                    <a:gd name="connsiteX11" fmla="*/ 90371 w 373800"/>
                    <a:gd name="connsiteY11" fmla="*/ 192721 h 1992818"/>
                    <a:gd name="connsiteX12" fmla="*/ 78069 w 373800"/>
                    <a:gd name="connsiteY12" fmla="*/ 205022 h 1992818"/>
                    <a:gd name="connsiteX13" fmla="*/ 82170 w 373800"/>
                    <a:gd name="connsiteY13" fmla="*/ 233726 h 1992818"/>
                    <a:gd name="connsiteX14" fmla="*/ 90371 w 373800"/>
                    <a:gd name="connsiteY14" fmla="*/ 246027 h 1992818"/>
                    <a:gd name="connsiteX15" fmla="*/ 94471 w 373800"/>
                    <a:gd name="connsiteY15" fmla="*/ 270630 h 1992818"/>
                    <a:gd name="connsiteX16" fmla="*/ 86270 w 373800"/>
                    <a:gd name="connsiteY16" fmla="*/ 303433 h 1992818"/>
                    <a:gd name="connsiteX17" fmla="*/ 78069 w 373800"/>
                    <a:gd name="connsiteY17" fmla="*/ 315735 h 1992818"/>
                    <a:gd name="connsiteX18" fmla="*/ 73969 w 373800"/>
                    <a:gd name="connsiteY18" fmla="*/ 328036 h 1992818"/>
                    <a:gd name="connsiteX19" fmla="*/ 65768 w 373800"/>
                    <a:gd name="connsiteY19" fmla="*/ 340337 h 1992818"/>
                    <a:gd name="connsiteX20" fmla="*/ 61668 w 373800"/>
                    <a:gd name="connsiteY20" fmla="*/ 381342 h 1992818"/>
                    <a:gd name="connsiteX21" fmla="*/ 49366 w 373800"/>
                    <a:gd name="connsiteY21" fmla="*/ 422346 h 1992818"/>
                    <a:gd name="connsiteX22" fmla="*/ 41165 w 373800"/>
                    <a:gd name="connsiteY22" fmla="*/ 446949 h 1992818"/>
                    <a:gd name="connsiteX23" fmla="*/ 20663 w 373800"/>
                    <a:gd name="connsiteY23" fmla="*/ 471552 h 1992818"/>
                    <a:gd name="connsiteX24" fmla="*/ 8362 w 373800"/>
                    <a:gd name="connsiteY24" fmla="*/ 483853 h 1992818"/>
                    <a:gd name="connsiteX25" fmla="*/ 4261 w 373800"/>
                    <a:gd name="connsiteY25" fmla="*/ 528958 h 1992818"/>
                    <a:gd name="connsiteX26" fmla="*/ 12462 w 373800"/>
                    <a:gd name="connsiteY26" fmla="*/ 541259 h 1992818"/>
                    <a:gd name="connsiteX27" fmla="*/ 24764 w 373800"/>
                    <a:gd name="connsiteY27" fmla="*/ 549460 h 1992818"/>
                    <a:gd name="connsiteX28" fmla="*/ 32965 w 373800"/>
                    <a:gd name="connsiteY28" fmla="*/ 582264 h 1992818"/>
                    <a:gd name="connsiteX29" fmla="*/ 45266 w 373800"/>
                    <a:gd name="connsiteY29" fmla="*/ 594565 h 1992818"/>
                    <a:gd name="connsiteX30" fmla="*/ 53467 w 373800"/>
                    <a:gd name="connsiteY30" fmla="*/ 606866 h 1992818"/>
                    <a:gd name="connsiteX31" fmla="*/ 69869 w 373800"/>
                    <a:gd name="connsiteY31" fmla="*/ 610967 h 1992818"/>
                    <a:gd name="connsiteX32" fmla="*/ 127275 w 373800"/>
                    <a:gd name="connsiteY32" fmla="*/ 610967 h 1992818"/>
                    <a:gd name="connsiteX33" fmla="*/ 139576 w 373800"/>
                    <a:gd name="connsiteY33" fmla="*/ 619168 h 1992818"/>
                    <a:gd name="connsiteX34" fmla="*/ 160078 w 373800"/>
                    <a:gd name="connsiteY34" fmla="*/ 639670 h 1992818"/>
                    <a:gd name="connsiteX35" fmla="*/ 172380 w 373800"/>
                    <a:gd name="connsiteY35" fmla="*/ 635570 h 1992818"/>
                    <a:gd name="connsiteX36" fmla="*/ 217485 w 373800"/>
                    <a:gd name="connsiteY36" fmla="*/ 639670 h 1992818"/>
                    <a:gd name="connsiteX37" fmla="*/ 233887 w 373800"/>
                    <a:gd name="connsiteY37" fmla="*/ 643770 h 1992818"/>
                    <a:gd name="connsiteX38" fmla="*/ 258489 w 373800"/>
                    <a:gd name="connsiteY38" fmla="*/ 660172 h 1992818"/>
                    <a:gd name="connsiteX39" fmla="*/ 283092 w 373800"/>
                    <a:gd name="connsiteY39" fmla="*/ 684775 h 1992818"/>
                    <a:gd name="connsiteX40" fmla="*/ 287192 w 373800"/>
                    <a:gd name="connsiteY40" fmla="*/ 697076 h 1992818"/>
                    <a:gd name="connsiteX41" fmla="*/ 291293 w 373800"/>
                    <a:gd name="connsiteY41" fmla="*/ 717578 h 1992818"/>
                    <a:gd name="connsiteX42" fmla="*/ 299494 w 373800"/>
                    <a:gd name="connsiteY42" fmla="*/ 729880 h 1992818"/>
                    <a:gd name="connsiteX43" fmla="*/ 303594 w 373800"/>
                    <a:gd name="connsiteY43" fmla="*/ 742181 h 1992818"/>
                    <a:gd name="connsiteX44" fmla="*/ 295393 w 373800"/>
                    <a:gd name="connsiteY44" fmla="*/ 779085 h 1992818"/>
                    <a:gd name="connsiteX45" fmla="*/ 291293 w 373800"/>
                    <a:gd name="connsiteY45" fmla="*/ 820090 h 1992818"/>
                    <a:gd name="connsiteX46" fmla="*/ 283092 w 373800"/>
                    <a:gd name="connsiteY46" fmla="*/ 844692 h 1992818"/>
                    <a:gd name="connsiteX47" fmla="*/ 291293 w 373800"/>
                    <a:gd name="connsiteY47" fmla="*/ 856994 h 1992818"/>
                    <a:gd name="connsiteX48" fmla="*/ 295393 w 373800"/>
                    <a:gd name="connsiteY48" fmla="*/ 885697 h 1992818"/>
                    <a:gd name="connsiteX49" fmla="*/ 299494 w 373800"/>
                    <a:gd name="connsiteY49" fmla="*/ 910300 h 1992818"/>
                    <a:gd name="connsiteX50" fmla="*/ 299494 w 373800"/>
                    <a:gd name="connsiteY50" fmla="*/ 992309 h 1992818"/>
                    <a:gd name="connsiteX51" fmla="*/ 307695 w 373800"/>
                    <a:gd name="connsiteY51" fmla="*/ 1004610 h 1992818"/>
                    <a:gd name="connsiteX52" fmla="*/ 307695 w 373800"/>
                    <a:gd name="connsiteY52" fmla="*/ 1066117 h 1992818"/>
                    <a:gd name="connsiteX53" fmla="*/ 295393 w 373800"/>
                    <a:gd name="connsiteY53" fmla="*/ 1078418 h 1992818"/>
                    <a:gd name="connsiteX54" fmla="*/ 287192 w 373800"/>
                    <a:gd name="connsiteY54" fmla="*/ 1090719 h 1992818"/>
                    <a:gd name="connsiteX55" fmla="*/ 287192 w 373800"/>
                    <a:gd name="connsiteY55" fmla="*/ 1160427 h 1992818"/>
                    <a:gd name="connsiteX56" fmla="*/ 299494 w 373800"/>
                    <a:gd name="connsiteY56" fmla="*/ 1197331 h 1992818"/>
                    <a:gd name="connsiteX57" fmla="*/ 307695 w 373800"/>
                    <a:gd name="connsiteY57" fmla="*/ 1221934 h 1992818"/>
                    <a:gd name="connsiteX58" fmla="*/ 311795 w 373800"/>
                    <a:gd name="connsiteY58" fmla="*/ 1234235 h 1992818"/>
                    <a:gd name="connsiteX59" fmla="*/ 328197 w 373800"/>
                    <a:gd name="connsiteY59" fmla="*/ 1246536 h 1992818"/>
                    <a:gd name="connsiteX60" fmla="*/ 336398 w 373800"/>
                    <a:gd name="connsiteY60" fmla="*/ 1258838 h 1992818"/>
                    <a:gd name="connsiteX61" fmla="*/ 356900 w 373800"/>
                    <a:gd name="connsiteY61" fmla="*/ 1287541 h 1992818"/>
                    <a:gd name="connsiteX62" fmla="*/ 352800 w 373800"/>
                    <a:gd name="connsiteY62" fmla="*/ 1312144 h 1992818"/>
                    <a:gd name="connsiteX63" fmla="*/ 344599 w 373800"/>
                    <a:gd name="connsiteY63" fmla="*/ 1336746 h 1992818"/>
                    <a:gd name="connsiteX64" fmla="*/ 340498 w 373800"/>
                    <a:gd name="connsiteY64" fmla="*/ 1349048 h 1992818"/>
                    <a:gd name="connsiteX65" fmla="*/ 336398 w 373800"/>
                    <a:gd name="connsiteY65" fmla="*/ 1365449 h 1992818"/>
                    <a:gd name="connsiteX66" fmla="*/ 328197 w 373800"/>
                    <a:gd name="connsiteY66" fmla="*/ 1390052 h 1992818"/>
                    <a:gd name="connsiteX67" fmla="*/ 324096 w 373800"/>
                    <a:gd name="connsiteY67" fmla="*/ 1414655 h 1992818"/>
                    <a:gd name="connsiteX68" fmla="*/ 328197 w 373800"/>
                    <a:gd name="connsiteY68" fmla="*/ 1480262 h 1992818"/>
                    <a:gd name="connsiteX69" fmla="*/ 336398 w 373800"/>
                    <a:gd name="connsiteY69" fmla="*/ 1504865 h 1992818"/>
                    <a:gd name="connsiteX70" fmla="*/ 340498 w 373800"/>
                    <a:gd name="connsiteY70" fmla="*/ 1517166 h 1992818"/>
                    <a:gd name="connsiteX71" fmla="*/ 332297 w 373800"/>
                    <a:gd name="connsiteY71" fmla="*/ 1603275 h 1992818"/>
                    <a:gd name="connsiteX72" fmla="*/ 328197 w 373800"/>
                    <a:gd name="connsiteY72" fmla="*/ 1615577 h 1992818"/>
                    <a:gd name="connsiteX73" fmla="*/ 324096 w 373800"/>
                    <a:gd name="connsiteY73" fmla="*/ 1631978 h 1992818"/>
                    <a:gd name="connsiteX74" fmla="*/ 315895 w 373800"/>
                    <a:gd name="connsiteY74" fmla="*/ 1644280 h 1992818"/>
                    <a:gd name="connsiteX75" fmla="*/ 295393 w 373800"/>
                    <a:gd name="connsiteY75" fmla="*/ 1681184 h 1992818"/>
                    <a:gd name="connsiteX76" fmla="*/ 287192 w 373800"/>
                    <a:gd name="connsiteY76" fmla="*/ 1693485 h 1992818"/>
                    <a:gd name="connsiteX77" fmla="*/ 283092 w 373800"/>
                    <a:gd name="connsiteY77" fmla="*/ 1705787 h 1992818"/>
                    <a:gd name="connsiteX78" fmla="*/ 270791 w 373800"/>
                    <a:gd name="connsiteY78" fmla="*/ 1713987 h 1992818"/>
                    <a:gd name="connsiteX79" fmla="*/ 274891 w 373800"/>
                    <a:gd name="connsiteY79" fmla="*/ 1734490 h 1992818"/>
                    <a:gd name="connsiteX80" fmla="*/ 295393 w 373800"/>
                    <a:gd name="connsiteY80" fmla="*/ 1775494 h 1992818"/>
                    <a:gd name="connsiteX81" fmla="*/ 303594 w 373800"/>
                    <a:gd name="connsiteY81" fmla="*/ 1787796 h 1992818"/>
                    <a:gd name="connsiteX82" fmla="*/ 328197 w 373800"/>
                    <a:gd name="connsiteY82" fmla="*/ 1804197 h 1992818"/>
                    <a:gd name="connsiteX83" fmla="*/ 340498 w 373800"/>
                    <a:gd name="connsiteY83" fmla="*/ 1808298 h 1992818"/>
                    <a:gd name="connsiteX84" fmla="*/ 373302 w 373800"/>
                    <a:gd name="connsiteY84" fmla="*/ 1816499 h 1992818"/>
                    <a:gd name="connsiteX85" fmla="*/ 369201 w 373800"/>
                    <a:gd name="connsiteY85" fmla="*/ 1849302 h 1992818"/>
                    <a:gd name="connsiteX86" fmla="*/ 365101 w 373800"/>
                    <a:gd name="connsiteY86" fmla="*/ 1861604 h 1992818"/>
                    <a:gd name="connsiteX87" fmla="*/ 369201 w 373800"/>
                    <a:gd name="connsiteY87" fmla="*/ 1873905 h 1992818"/>
                    <a:gd name="connsiteX88" fmla="*/ 373302 w 373800"/>
                    <a:gd name="connsiteY88" fmla="*/ 1910809 h 1992818"/>
                    <a:gd name="connsiteX89" fmla="*/ 361000 w 373800"/>
                    <a:gd name="connsiteY89" fmla="*/ 1923110 h 1992818"/>
                    <a:gd name="connsiteX90" fmla="*/ 356900 w 373800"/>
                    <a:gd name="connsiteY90" fmla="*/ 1935412 h 1992818"/>
                    <a:gd name="connsiteX91" fmla="*/ 369201 w 373800"/>
                    <a:gd name="connsiteY91" fmla="*/ 1992818 h 19928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</a:cxnLst>
                  <a:rect l="l" t="t" r="r" b="b"/>
                  <a:pathLst>
                    <a:path w="373800" h="1992818">
                      <a:moveTo>
                        <a:pt x="176480" y="0"/>
                      </a:moveTo>
                      <a:cubicBezTo>
                        <a:pt x="173746" y="6834"/>
                        <a:pt x="170394" y="13452"/>
                        <a:pt x="168279" y="20502"/>
                      </a:cubicBezTo>
                      <a:cubicBezTo>
                        <a:pt x="167910" y="21732"/>
                        <a:pt x="163543" y="48974"/>
                        <a:pt x="160078" y="53306"/>
                      </a:cubicBezTo>
                      <a:cubicBezTo>
                        <a:pt x="157000" y="57154"/>
                        <a:pt x="151877" y="58773"/>
                        <a:pt x="147777" y="61507"/>
                      </a:cubicBezTo>
                      <a:cubicBezTo>
                        <a:pt x="146410" y="66974"/>
                        <a:pt x="145225" y="72490"/>
                        <a:pt x="143677" y="77909"/>
                      </a:cubicBezTo>
                      <a:cubicBezTo>
                        <a:pt x="142490" y="82065"/>
                        <a:pt x="140514" y="85991"/>
                        <a:pt x="139576" y="90210"/>
                      </a:cubicBezTo>
                      <a:cubicBezTo>
                        <a:pt x="137772" y="98326"/>
                        <a:pt x="138853" y="107216"/>
                        <a:pt x="135476" y="114813"/>
                      </a:cubicBezTo>
                      <a:cubicBezTo>
                        <a:pt x="133121" y="120112"/>
                        <a:pt x="126887" y="122659"/>
                        <a:pt x="123174" y="127114"/>
                      </a:cubicBezTo>
                      <a:cubicBezTo>
                        <a:pt x="120019" y="130900"/>
                        <a:pt x="117707" y="135315"/>
                        <a:pt x="114973" y="139415"/>
                      </a:cubicBezTo>
                      <a:cubicBezTo>
                        <a:pt x="116340" y="144882"/>
                        <a:pt x="119773" y="150225"/>
                        <a:pt x="119074" y="155817"/>
                      </a:cubicBezTo>
                      <a:cubicBezTo>
                        <a:pt x="118316" y="161882"/>
                        <a:pt x="113906" y="166912"/>
                        <a:pt x="110873" y="172219"/>
                      </a:cubicBezTo>
                      <a:cubicBezTo>
                        <a:pt x="99940" y="191352"/>
                        <a:pt x="106771" y="179055"/>
                        <a:pt x="90371" y="192721"/>
                      </a:cubicBezTo>
                      <a:cubicBezTo>
                        <a:pt x="85916" y="196433"/>
                        <a:pt x="82170" y="200922"/>
                        <a:pt x="78069" y="205022"/>
                      </a:cubicBezTo>
                      <a:cubicBezTo>
                        <a:pt x="79436" y="214590"/>
                        <a:pt x="79393" y="224468"/>
                        <a:pt x="82170" y="233726"/>
                      </a:cubicBezTo>
                      <a:cubicBezTo>
                        <a:pt x="83586" y="238446"/>
                        <a:pt x="88813" y="241352"/>
                        <a:pt x="90371" y="246027"/>
                      </a:cubicBezTo>
                      <a:cubicBezTo>
                        <a:pt x="93000" y="253914"/>
                        <a:pt x="93104" y="262429"/>
                        <a:pt x="94471" y="270630"/>
                      </a:cubicBezTo>
                      <a:cubicBezTo>
                        <a:pt x="92910" y="278434"/>
                        <a:pt x="90475" y="295024"/>
                        <a:pt x="86270" y="303433"/>
                      </a:cubicBezTo>
                      <a:cubicBezTo>
                        <a:pt x="84066" y="307841"/>
                        <a:pt x="80803" y="311634"/>
                        <a:pt x="78069" y="315735"/>
                      </a:cubicBezTo>
                      <a:cubicBezTo>
                        <a:pt x="76702" y="319835"/>
                        <a:pt x="75902" y="324170"/>
                        <a:pt x="73969" y="328036"/>
                      </a:cubicBezTo>
                      <a:cubicBezTo>
                        <a:pt x="71765" y="332444"/>
                        <a:pt x="66876" y="335535"/>
                        <a:pt x="65768" y="340337"/>
                      </a:cubicBezTo>
                      <a:cubicBezTo>
                        <a:pt x="62679" y="353722"/>
                        <a:pt x="63611" y="367744"/>
                        <a:pt x="61668" y="381342"/>
                      </a:cubicBezTo>
                      <a:cubicBezTo>
                        <a:pt x="60119" y="392184"/>
                        <a:pt x="52218" y="413788"/>
                        <a:pt x="49366" y="422346"/>
                      </a:cubicBezTo>
                      <a:lnTo>
                        <a:pt x="41165" y="446949"/>
                      </a:lnTo>
                      <a:cubicBezTo>
                        <a:pt x="5229" y="482885"/>
                        <a:pt x="49206" y="437300"/>
                        <a:pt x="20663" y="471552"/>
                      </a:cubicBezTo>
                      <a:cubicBezTo>
                        <a:pt x="16951" y="476007"/>
                        <a:pt x="12462" y="479753"/>
                        <a:pt x="8362" y="483853"/>
                      </a:cubicBezTo>
                      <a:cubicBezTo>
                        <a:pt x="918" y="506186"/>
                        <a:pt x="-3921" y="507139"/>
                        <a:pt x="4261" y="528958"/>
                      </a:cubicBezTo>
                      <a:cubicBezTo>
                        <a:pt x="5991" y="533572"/>
                        <a:pt x="8977" y="537774"/>
                        <a:pt x="12462" y="541259"/>
                      </a:cubicBezTo>
                      <a:cubicBezTo>
                        <a:pt x="15947" y="544744"/>
                        <a:pt x="20663" y="546726"/>
                        <a:pt x="24764" y="549460"/>
                      </a:cubicBezTo>
                      <a:cubicBezTo>
                        <a:pt x="25356" y="552421"/>
                        <a:pt x="29361" y="576858"/>
                        <a:pt x="32965" y="582264"/>
                      </a:cubicBezTo>
                      <a:cubicBezTo>
                        <a:pt x="36182" y="587089"/>
                        <a:pt x="41554" y="590110"/>
                        <a:pt x="45266" y="594565"/>
                      </a:cubicBezTo>
                      <a:cubicBezTo>
                        <a:pt x="48421" y="598351"/>
                        <a:pt x="49367" y="604132"/>
                        <a:pt x="53467" y="606866"/>
                      </a:cubicBezTo>
                      <a:cubicBezTo>
                        <a:pt x="58156" y="609992"/>
                        <a:pt x="64402" y="609600"/>
                        <a:pt x="69869" y="610967"/>
                      </a:cubicBezTo>
                      <a:cubicBezTo>
                        <a:pt x="94561" y="607439"/>
                        <a:pt x="102583" y="603559"/>
                        <a:pt x="127275" y="610967"/>
                      </a:cubicBezTo>
                      <a:cubicBezTo>
                        <a:pt x="131995" y="612383"/>
                        <a:pt x="135476" y="616434"/>
                        <a:pt x="139576" y="619168"/>
                      </a:cubicBezTo>
                      <a:cubicBezTo>
                        <a:pt x="144360" y="626343"/>
                        <a:pt x="149828" y="637961"/>
                        <a:pt x="160078" y="639670"/>
                      </a:cubicBezTo>
                      <a:cubicBezTo>
                        <a:pt x="164342" y="640381"/>
                        <a:pt x="168279" y="636937"/>
                        <a:pt x="172380" y="635570"/>
                      </a:cubicBezTo>
                      <a:cubicBezTo>
                        <a:pt x="187415" y="636937"/>
                        <a:pt x="202520" y="637675"/>
                        <a:pt x="217485" y="639670"/>
                      </a:cubicBezTo>
                      <a:cubicBezTo>
                        <a:pt x="223071" y="640415"/>
                        <a:pt x="228846" y="641250"/>
                        <a:pt x="233887" y="643770"/>
                      </a:cubicBezTo>
                      <a:cubicBezTo>
                        <a:pt x="242703" y="648178"/>
                        <a:pt x="251520" y="653203"/>
                        <a:pt x="258489" y="660172"/>
                      </a:cubicBezTo>
                      <a:lnTo>
                        <a:pt x="283092" y="684775"/>
                      </a:lnTo>
                      <a:cubicBezTo>
                        <a:pt x="284459" y="688875"/>
                        <a:pt x="286144" y="692883"/>
                        <a:pt x="287192" y="697076"/>
                      </a:cubicBezTo>
                      <a:cubicBezTo>
                        <a:pt x="288882" y="703837"/>
                        <a:pt x="288846" y="711052"/>
                        <a:pt x="291293" y="717578"/>
                      </a:cubicBezTo>
                      <a:cubicBezTo>
                        <a:pt x="293024" y="722193"/>
                        <a:pt x="296760" y="725779"/>
                        <a:pt x="299494" y="729880"/>
                      </a:cubicBezTo>
                      <a:cubicBezTo>
                        <a:pt x="300861" y="733980"/>
                        <a:pt x="303594" y="737859"/>
                        <a:pt x="303594" y="742181"/>
                      </a:cubicBezTo>
                      <a:cubicBezTo>
                        <a:pt x="303594" y="756618"/>
                        <a:pt x="299623" y="766398"/>
                        <a:pt x="295393" y="779085"/>
                      </a:cubicBezTo>
                      <a:cubicBezTo>
                        <a:pt x="294026" y="792753"/>
                        <a:pt x="293824" y="806589"/>
                        <a:pt x="291293" y="820090"/>
                      </a:cubicBezTo>
                      <a:cubicBezTo>
                        <a:pt x="289700" y="828586"/>
                        <a:pt x="283092" y="844692"/>
                        <a:pt x="283092" y="844692"/>
                      </a:cubicBezTo>
                      <a:cubicBezTo>
                        <a:pt x="285826" y="848793"/>
                        <a:pt x="289877" y="852274"/>
                        <a:pt x="291293" y="856994"/>
                      </a:cubicBezTo>
                      <a:cubicBezTo>
                        <a:pt x="294070" y="866251"/>
                        <a:pt x="293923" y="876145"/>
                        <a:pt x="295393" y="885697"/>
                      </a:cubicBezTo>
                      <a:cubicBezTo>
                        <a:pt x="296657" y="893914"/>
                        <a:pt x="298127" y="902099"/>
                        <a:pt x="299494" y="910300"/>
                      </a:cubicBezTo>
                      <a:cubicBezTo>
                        <a:pt x="297015" y="940042"/>
                        <a:pt x="291652" y="963558"/>
                        <a:pt x="299494" y="992309"/>
                      </a:cubicBezTo>
                      <a:cubicBezTo>
                        <a:pt x="300791" y="997063"/>
                        <a:pt x="304961" y="1000510"/>
                        <a:pt x="307695" y="1004610"/>
                      </a:cubicBezTo>
                      <a:cubicBezTo>
                        <a:pt x="315568" y="1028231"/>
                        <a:pt x="317604" y="1028957"/>
                        <a:pt x="307695" y="1066117"/>
                      </a:cubicBezTo>
                      <a:cubicBezTo>
                        <a:pt x="306201" y="1071720"/>
                        <a:pt x="299106" y="1073963"/>
                        <a:pt x="295393" y="1078418"/>
                      </a:cubicBezTo>
                      <a:cubicBezTo>
                        <a:pt x="292238" y="1082204"/>
                        <a:pt x="289926" y="1086619"/>
                        <a:pt x="287192" y="1090719"/>
                      </a:cubicBezTo>
                      <a:cubicBezTo>
                        <a:pt x="280945" y="1121956"/>
                        <a:pt x="279961" y="1117040"/>
                        <a:pt x="287192" y="1160427"/>
                      </a:cubicBezTo>
                      <a:cubicBezTo>
                        <a:pt x="287194" y="1160439"/>
                        <a:pt x="297442" y="1191174"/>
                        <a:pt x="299494" y="1197331"/>
                      </a:cubicBezTo>
                      <a:lnTo>
                        <a:pt x="307695" y="1221934"/>
                      </a:lnTo>
                      <a:cubicBezTo>
                        <a:pt x="309062" y="1226034"/>
                        <a:pt x="308337" y="1231642"/>
                        <a:pt x="311795" y="1234235"/>
                      </a:cubicBezTo>
                      <a:lnTo>
                        <a:pt x="328197" y="1246536"/>
                      </a:lnTo>
                      <a:cubicBezTo>
                        <a:pt x="330931" y="1250637"/>
                        <a:pt x="333533" y="1254828"/>
                        <a:pt x="336398" y="1258838"/>
                      </a:cubicBezTo>
                      <a:cubicBezTo>
                        <a:pt x="361828" y="1294441"/>
                        <a:pt x="337572" y="1258548"/>
                        <a:pt x="356900" y="1287541"/>
                      </a:cubicBezTo>
                      <a:cubicBezTo>
                        <a:pt x="355533" y="1295742"/>
                        <a:pt x="354816" y="1304078"/>
                        <a:pt x="352800" y="1312144"/>
                      </a:cubicBezTo>
                      <a:cubicBezTo>
                        <a:pt x="350703" y="1320530"/>
                        <a:pt x="347333" y="1328545"/>
                        <a:pt x="344599" y="1336746"/>
                      </a:cubicBezTo>
                      <a:cubicBezTo>
                        <a:pt x="343232" y="1340847"/>
                        <a:pt x="341546" y="1344855"/>
                        <a:pt x="340498" y="1349048"/>
                      </a:cubicBezTo>
                      <a:cubicBezTo>
                        <a:pt x="339131" y="1354515"/>
                        <a:pt x="338017" y="1360051"/>
                        <a:pt x="336398" y="1365449"/>
                      </a:cubicBezTo>
                      <a:cubicBezTo>
                        <a:pt x="333914" y="1373729"/>
                        <a:pt x="329618" y="1381525"/>
                        <a:pt x="328197" y="1390052"/>
                      </a:cubicBezTo>
                      <a:lnTo>
                        <a:pt x="324096" y="1414655"/>
                      </a:lnTo>
                      <a:cubicBezTo>
                        <a:pt x="325463" y="1436524"/>
                        <a:pt x="325236" y="1458551"/>
                        <a:pt x="328197" y="1480262"/>
                      </a:cubicBezTo>
                      <a:cubicBezTo>
                        <a:pt x="329365" y="1488827"/>
                        <a:pt x="333664" y="1496664"/>
                        <a:pt x="336398" y="1504865"/>
                      </a:cubicBezTo>
                      <a:lnTo>
                        <a:pt x="340498" y="1517166"/>
                      </a:lnTo>
                      <a:cubicBezTo>
                        <a:pt x="338484" y="1547382"/>
                        <a:pt x="338709" y="1574422"/>
                        <a:pt x="332297" y="1603275"/>
                      </a:cubicBezTo>
                      <a:cubicBezTo>
                        <a:pt x="331359" y="1607494"/>
                        <a:pt x="329384" y="1611421"/>
                        <a:pt x="328197" y="1615577"/>
                      </a:cubicBezTo>
                      <a:cubicBezTo>
                        <a:pt x="326649" y="1620995"/>
                        <a:pt x="326316" y="1626798"/>
                        <a:pt x="324096" y="1631978"/>
                      </a:cubicBezTo>
                      <a:cubicBezTo>
                        <a:pt x="322155" y="1636508"/>
                        <a:pt x="318629" y="1640179"/>
                        <a:pt x="315895" y="1644280"/>
                      </a:cubicBezTo>
                      <a:cubicBezTo>
                        <a:pt x="308678" y="1665931"/>
                        <a:pt x="314192" y="1652986"/>
                        <a:pt x="295393" y="1681184"/>
                      </a:cubicBezTo>
                      <a:lnTo>
                        <a:pt x="287192" y="1693485"/>
                      </a:lnTo>
                      <a:cubicBezTo>
                        <a:pt x="285825" y="1697586"/>
                        <a:pt x="285792" y="1702412"/>
                        <a:pt x="283092" y="1705787"/>
                      </a:cubicBezTo>
                      <a:cubicBezTo>
                        <a:pt x="280014" y="1709635"/>
                        <a:pt x="272145" y="1709249"/>
                        <a:pt x="270791" y="1713987"/>
                      </a:cubicBezTo>
                      <a:cubicBezTo>
                        <a:pt x="268876" y="1720688"/>
                        <a:pt x="273745" y="1727615"/>
                        <a:pt x="274891" y="1734490"/>
                      </a:cubicBezTo>
                      <a:cubicBezTo>
                        <a:pt x="280922" y="1770682"/>
                        <a:pt x="270577" y="1756883"/>
                        <a:pt x="295393" y="1775494"/>
                      </a:cubicBezTo>
                      <a:cubicBezTo>
                        <a:pt x="298127" y="1779595"/>
                        <a:pt x="299885" y="1784551"/>
                        <a:pt x="303594" y="1787796"/>
                      </a:cubicBezTo>
                      <a:cubicBezTo>
                        <a:pt x="311012" y="1794286"/>
                        <a:pt x="318847" y="1801080"/>
                        <a:pt x="328197" y="1804197"/>
                      </a:cubicBezTo>
                      <a:cubicBezTo>
                        <a:pt x="332297" y="1805564"/>
                        <a:pt x="336305" y="1807250"/>
                        <a:pt x="340498" y="1808298"/>
                      </a:cubicBezTo>
                      <a:lnTo>
                        <a:pt x="373302" y="1816499"/>
                      </a:lnTo>
                      <a:cubicBezTo>
                        <a:pt x="371935" y="1827433"/>
                        <a:pt x="371172" y="1838460"/>
                        <a:pt x="369201" y="1849302"/>
                      </a:cubicBezTo>
                      <a:cubicBezTo>
                        <a:pt x="368428" y="1853555"/>
                        <a:pt x="365101" y="1857282"/>
                        <a:pt x="365101" y="1861604"/>
                      </a:cubicBezTo>
                      <a:cubicBezTo>
                        <a:pt x="365101" y="1865926"/>
                        <a:pt x="367834" y="1869805"/>
                        <a:pt x="369201" y="1873905"/>
                      </a:cubicBezTo>
                      <a:cubicBezTo>
                        <a:pt x="370568" y="1886206"/>
                        <a:pt x="375337" y="1898600"/>
                        <a:pt x="373302" y="1910809"/>
                      </a:cubicBezTo>
                      <a:cubicBezTo>
                        <a:pt x="372349" y="1916529"/>
                        <a:pt x="364217" y="1918285"/>
                        <a:pt x="361000" y="1923110"/>
                      </a:cubicBezTo>
                      <a:cubicBezTo>
                        <a:pt x="358602" y="1926706"/>
                        <a:pt x="358267" y="1931311"/>
                        <a:pt x="356900" y="1935412"/>
                      </a:cubicBezTo>
                      <a:cubicBezTo>
                        <a:pt x="361234" y="1991765"/>
                        <a:pt x="345060" y="1980749"/>
                        <a:pt x="369201" y="1992818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  <p:sp>
              <p:nvSpPr>
                <p:cNvPr id="530" name="Forma livre 780"/>
                <p:cNvSpPr/>
                <p:nvPr/>
              </p:nvSpPr>
              <p:spPr bwMode="auto">
                <a:xfrm>
                  <a:off x="4221164" y="3751263"/>
                  <a:ext cx="190500" cy="722312"/>
                </a:xfrm>
                <a:custGeom>
                  <a:avLst/>
                  <a:gdLst>
                    <a:gd name="connsiteX0" fmla="*/ 190639 w 190639"/>
                    <a:gd name="connsiteY0" fmla="*/ 0 h 721679"/>
                    <a:gd name="connsiteX1" fmla="*/ 174237 w 190639"/>
                    <a:gd name="connsiteY1" fmla="*/ 20503 h 721679"/>
                    <a:gd name="connsiteX2" fmla="*/ 166036 w 190639"/>
                    <a:gd name="connsiteY2" fmla="*/ 32804 h 721679"/>
                    <a:gd name="connsiteX3" fmla="*/ 153734 w 190639"/>
                    <a:gd name="connsiteY3" fmla="*/ 36904 h 721679"/>
                    <a:gd name="connsiteX4" fmla="*/ 141433 w 190639"/>
                    <a:gd name="connsiteY4" fmla="*/ 45105 h 721679"/>
                    <a:gd name="connsiteX5" fmla="*/ 96328 w 190639"/>
                    <a:gd name="connsiteY5" fmla="*/ 53306 h 721679"/>
                    <a:gd name="connsiteX6" fmla="*/ 71726 w 190639"/>
                    <a:gd name="connsiteY6" fmla="*/ 61507 h 721679"/>
                    <a:gd name="connsiteX7" fmla="*/ 59424 w 190639"/>
                    <a:gd name="connsiteY7" fmla="*/ 65607 h 721679"/>
                    <a:gd name="connsiteX8" fmla="*/ 34821 w 190639"/>
                    <a:gd name="connsiteY8" fmla="*/ 86110 h 721679"/>
                    <a:gd name="connsiteX9" fmla="*/ 30721 w 190639"/>
                    <a:gd name="connsiteY9" fmla="*/ 98411 h 721679"/>
                    <a:gd name="connsiteX10" fmla="*/ 14319 w 190639"/>
                    <a:gd name="connsiteY10" fmla="*/ 123014 h 721679"/>
                    <a:gd name="connsiteX11" fmla="*/ 6118 w 190639"/>
                    <a:gd name="connsiteY11" fmla="*/ 135315 h 721679"/>
                    <a:gd name="connsiteX12" fmla="*/ 2018 w 190639"/>
                    <a:gd name="connsiteY12" fmla="*/ 147616 h 721679"/>
                    <a:gd name="connsiteX13" fmla="*/ 6118 w 190639"/>
                    <a:gd name="connsiteY13" fmla="*/ 159918 h 721679"/>
                    <a:gd name="connsiteX14" fmla="*/ 10219 w 190639"/>
                    <a:gd name="connsiteY14" fmla="*/ 200922 h 721679"/>
                    <a:gd name="connsiteX15" fmla="*/ 14319 w 190639"/>
                    <a:gd name="connsiteY15" fmla="*/ 278831 h 721679"/>
                    <a:gd name="connsiteX16" fmla="*/ 22520 w 190639"/>
                    <a:gd name="connsiteY16" fmla="*/ 291132 h 721679"/>
                    <a:gd name="connsiteX17" fmla="*/ 26621 w 190639"/>
                    <a:gd name="connsiteY17" fmla="*/ 303433 h 721679"/>
                    <a:gd name="connsiteX18" fmla="*/ 22520 w 190639"/>
                    <a:gd name="connsiteY18" fmla="*/ 315735 h 721679"/>
                    <a:gd name="connsiteX19" fmla="*/ 14319 w 190639"/>
                    <a:gd name="connsiteY19" fmla="*/ 328036 h 721679"/>
                    <a:gd name="connsiteX20" fmla="*/ 2018 w 190639"/>
                    <a:gd name="connsiteY20" fmla="*/ 356739 h 721679"/>
                    <a:gd name="connsiteX21" fmla="*/ 22520 w 190639"/>
                    <a:gd name="connsiteY21" fmla="*/ 467451 h 721679"/>
                    <a:gd name="connsiteX22" fmla="*/ 34821 w 190639"/>
                    <a:gd name="connsiteY22" fmla="*/ 516657 h 721679"/>
                    <a:gd name="connsiteX23" fmla="*/ 51223 w 190639"/>
                    <a:gd name="connsiteY23" fmla="*/ 541260 h 721679"/>
                    <a:gd name="connsiteX24" fmla="*/ 59424 w 190639"/>
                    <a:gd name="connsiteY24" fmla="*/ 553561 h 721679"/>
                    <a:gd name="connsiteX25" fmla="*/ 71726 w 190639"/>
                    <a:gd name="connsiteY25" fmla="*/ 578164 h 721679"/>
                    <a:gd name="connsiteX26" fmla="*/ 75826 w 190639"/>
                    <a:gd name="connsiteY26" fmla="*/ 590465 h 721679"/>
                    <a:gd name="connsiteX27" fmla="*/ 63525 w 190639"/>
                    <a:gd name="connsiteY27" fmla="*/ 627369 h 721679"/>
                    <a:gd name="connsiteX28" fmla="*/ 38922 w 190639"/>
                    <a:gd name="connsiteY28" fmla="*/ 643771 h 721679"/>
                    <a:gd name="connsiteX29" fmla="*/ 38922 w 190639"/>
                    <a:gd name="connsiteY29" fmla="*/ 680675 h 721679"/>
                    <a:gd name="connsiteX30" fmla="*/ 26621 w 190639"/>
                    <a:gd name="connsiteY30" fmla="*/ 692976 h 721679"/>
                    <a:gd name="connsiteX31" fmla="*/ 22520 w 190639"/>
                    <a:gd name="connsiteY31" fmla="*/ 705277 h 721679"/>
                    <a:gd name="connsiteX32" fmla="*/ 10219 w 190639"/>
                    <a:gd name="connsiteY32" fmla="*/ 721679 h 721679"/>
                    <a:gd name="connsiteX0" fmla="*/ 190639 w 190639"/>
                    <a:gd name="connsiteY0" fmla="*/ 0 h 721679"/>
                    <a:gd name="connsiteX1" fmla="*/ 174237 w 190639"/>
                    <a:gd name="connsiteY1" fmla="*/ 20503 h 721679"/>
                    <a:gd name="connsiteX2" fmla="*/ 166036 w 190639"/>
                    <a:gd name="connsiteY2" fmla="*/ 32804 h 721679"/>
                    <a:gd name="connsiteX3" fmla="*/ 153734 w 190639"/>
                    <a:gd name="connsiteY3" fmla="*/ 36904 h 721679"/>
                    <a:gd name="connsiteX4" fmla="*/ 120931 w 190639"/>
                    <a:gd name="connsiteY4" fmla="*/ 32804 h 721679"/>
                    <a:gd name="connsiteX5" fmla="*/ 96328 w 190639"/>
                    <a:gd name="connsiteY5" fmla="*/ 53306 h 721679"/>
                    <a:gd name="connsiteX6" fmla="*/ 71726 w 190639"/>
                    <a:gd name="connsiteY6" fmla="*/ 61507 h 721679"/>
                    <a:gd name="connsiteX7" fmla="*/ 59424 w 190639"/>
                    <a:gd name="connsiteY7" fmla="*/ 65607 h 721679"/>
                    <a:gd name="connsiteX8" fmla="*/ 34821 w 190639"/>
                    <a:gd name="connsiteY8" fmla="*/ 86110 h 721679"/>
                    <a:gd name="connsiteX9" fmla="*/ 30721 w 190639"/>
                    <a:gd name="connsiteY9" fmla="*/ 98411 h 721679"/>
                    <a:gd name="connsiteX10" fmla="*/ 14319 w 190639"/>
                    <a:gd name="connsiteY10" fmla="*/ 123014 h 721679"/>
                    <a:gd name="connsiteX11" fmla="*/ 6118 w 190639"/>
                    <a:gd name="connsiteY11" fmla="*/ 135315 h 721679"/>
                    <a:gd name="connsiteX12" fmla="*/ 2018 w 190639"/>
                    <a:gd name="connsiteY12" fmla="*/ 147616 h 721679"/>
                    <a:gd name="connsiteX13" fmla="*/ 6118 w 190639"/>
                    <a:gd name="connsiteY13" fmla="*/ 159918 h 721679"/>
                    <a:gd name="connsiteX14" fmla="*/ 10219 w 190639"/>
                    <a:gd name="connsiteY14" fmla="*/ 200922 h 721679"/>
                    <a:gd name="connsiteX15" fmla="*/ 14319 w 190639"/>
                    <a:gd name="connsiteY15" fmla="*/ 278831 h 721679"/>
                    <a:gd name="connsiteX16" fmla="*/ 22520 w 190639"/>
                    <a:gd name="connsiteY16" fmla="*/ 291132 h 721679"/>
                    <a:gd name="connsiteX17" fmla="*/ 26621 w 190639"/>
                    <a:gd name="connsiteY17" fmla="*/ 303433 h 721679"/>
                    <a:gd name="connsiteX18" fmla="*/ 22520 w 190639"/>
                    <a:gd name="connsiteY18" fmla="*/ 315735 h 721679"/>
                    <a:gd name="connsiteX19" fmla="*/ 14319 w 190639"/>
                    <a:gd name="connsiteY19" fmla="*/ 328036 h 721679"/>
                    <a:gd name="connsiteX20" fmla="*/ 2018 w 190639"/>
                    <a:gd name="connsiteY20" fmla="*/ 356739 h 721679"/>
                    <a:gd name="connsiteX21" fmla="*/ 22520 w 190639"/>
                    <a:gd name="connsiteY21" fmla="*/ 467451 h 721679"/>
                    <a:gd name="connsiteX22" fmla="*/ 34821 w 190639"/>
                    <a:gd name="connsiteY22" fmla="*/ 516657 h 721679"/>
                    <a:gd name="connsiteX23" fmla="*/ 51223 w 190639"/>
                    <a:gd name="connsiteY23" fmla="*/ 541260 h 721679"/>
                    <a:gd name="connsiteX24" fmla="*/ 59424 w 190639"/>
                    <a:gd name="connsiteY24" fmla="*/ 553561 h 721679"/>
                    <a:gd name="connsiteX25" fmla="*/ 71726 w 190639"/>
                    <a:gd name="connsiteY25" fmla="*/ 578164 h 721679"/>
                    <a:gd name="connsiteX26" fmla="*/ 75826 w 190639"/>
                    <a:gd name="connsiteY26" fmla="*/ 590465 h 721679"/>
                    <a:gd name="connsiteX27" fmla="*/ 63525 w 190639"/>
                    <a:gd name="connsiteY27" fmla="*/ 627369 h 721679"/>
                    <a:gd name="connsiteX28" fmla="*/ 38922 w 190639"/>
                    <a:gd name="connsiteY28" fmla="*/ 643771 h 721679"/>
                    <a:gd name="connsiteX29" fmla="*/ 38922 w 190639"/>
                    <a:gd name="connsiteY29" fmla="*/ 680675 h 721679"/>
                    <a:gd name="connsiteX30" fmla="*/ 26621 w 190639"/>
                    <a:gd name="connsiteY30" fmla="*/ 692976 h 721679"/>
                    <a:gd name="connsiteX31" fmla="*/ 22520 w 190639"/>
                    <a:gd name="connsiteY31" fmla="*/ 705277 h 721679"/>
                    <a:gd name="connsiteX32" fmla="*/ 10219 w 190639"/>
                    <a:gd name="connsiteY32" fmla="*/ 721679 h 7216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190639" h="721679">
                      <a:moveTo>
                        <a:pt x="190639" y="0"/>
                      </a:moveTo>
                      <a:cubicBezTo>
                        <a:pt x="185172" y="6834"/>
                        <a:pt x="179488" y="13501"/>
                        <a:pt x="174237" y="20503"/>
                      </a:cubicBezTo>
                      <a:cubicBezTo>
                        <a:pt x="171280" y="24445"/>
                        <a:pt x="169884" y="29726"/>
                        <a:pt x="166036" y="32804"/>
                      </a:cubicBezTo>
                      <a:cubicBezTo>
                        <a:pt x="162661" y="35504"/>
                        <a:pt x="157835" y="35537"/>
                        <a:pt x="153734" y="36904"/>
                      </a:cubicBezTo>
                      <a:cubicBezTo>
                        <a:pt x="149634" y="39638"/>
                        <a:pt x="125461" y="30863"/>
                        <a:pt x="120931" y="32804"/>
                      </a:cubicBezTo>
                      <a:cubicBezTo>
                        <a:pt x="111261" y="36948"/>
                        <a:pt x="102985" y="52355"/>
                        <a:pt x="96328" y="53306"/>
                      </a:cubicBezTo>
                      <a:lnTo>
                        <a:pt x="71726" y="61507"/>
                      </a:lnTo>
                      <a:lnTo>
                        <a:pt x="59424" y="65607"/>
                      </a:lnTo>
                      <a:cubicBezTo>
                        <a:pt x="50347" y="71658"/>
                        <a:pt x="41135" y="76638"/>
                        <a:pt x="34821" y="86110"/>
                      </a:cubicBezTo>
                      <a:cubicBezTo>
                        <a:pt x="32424" y="89706"/>
                        <a:pt x="32820" y="94633"/>
                        <a:pt x="30721" y="98411"/>
                      </a:cubicBezTo>
                      <a:cubicBezTo>
                        <a:pt x="25934" y="107027"/>
                        <a:pt x="19786" y="114813"/>
                        <a:pt x="14319" y="123014"/>
                      </a:cubicBezTo>
                      <a:lnTo>
                        <a:pt x="6118" y="135315"/>
                      </a:lnTo>
                      <a:cubicBezTo>
                        <a:pt x="4751" y="139415"/>
                        <a:pt x="2018" y="143294"/>
                        <a:pt x="2018" y="147616"/>
                      </a:cubicBezTo>
                      <a:cubicBezTo>
                        <a:pt x="2018" y="151938"/>
                        <a:pt x="5461" y="155646"/>
                        <a:pt x="6118" y="159918"/>
                      </a:cubicBezTo>
                      <a:cubicBezTo>
                        <a:pt x="8207" y="173494"/>
                        <a:pt x="9274" y="187218"/>
                        <a:pt x="10219" y="200922"/>
                      </a:cubicBezTo>
                      <a:cubicBezTo>
                        <a:pt x="12008" y="226866"/>
                        <a:pt x="10805" y="253064"/>
                        <a:pt x="14319" y="278831"/>
                      </a:cubicBezTo>
                      <a:cubicBezTo>
                        <a:pt x="14985" y="283714"/>
                        <a:pt x="20316" y="286724"/>
                        <a:pt x="22520" y="291132"/>
                      </a:cubicBezTo>
                      <a:cubicBezTo>
                        <a:pt x="24453" y="294998"/>
                        <a:pt x="25254" y="299333"/>
                        <a:pt x="26621" y="303433"/>
                      </a:cubicBezTo>
                      <a:cubicBezTo>
                        <a:pt x="25254" y="307534"/>
                        <a:pt x="24453" y="311869"/>
                        <a:pt x="22520" y="315735"/>
                      </a:cubicBezTo>
                      <a:cubicBezTo>
                        <a:pt x="20316" y="320143"/>
                        <a:pt x="16260" y="323506"/>
                        <a:pt x="14319" y="328036"/>
                      </a:cubicBezTo>
                      <a:cubicBezTo>
                        <a:pt x="-1568" y="365106"/>
                        <a:pt x="22607" y="325857"/>
                        <a:pt x="2018" y="356739"/>
                      </a:cubicBezTo>
                      <a:cubicBezTo>
                        <a:pt x="10612" y="464163"/>
                        <a:pt x="-18304" y="440237"/>
                        <a:pt x="22520" y="467451"/>
                      </a:cubicBezTo>
                      <a:cubicBezTo>
                        <a:pt x="44984" y="501149"/>
                        <a:pt x="11597" y="446984"/>
                        <a:pt x="34821" y="516657"/>
                      </a:cubicBezTo>
                      <a:cubicBezTo>
                        <a:pt x="37938" y="526008"/>
                        <a:pt x="45756" y="533059"/>
                        <a:pt x="51223" y="541260"/>
                      </a:cubicBezTo>
                      <a:cubicBezTo>
                        <a:pt x="53957" y="545360"/>
                        <a:pt x="57865" y="548886"/>
                        <a:pt x="59424" y="553561"/>
                      </a:cubicBezTo>
                      <a:cubicBezTo>
                        <a:pt x="65084" y="570537"/>
                        <a:pt x="61128" y="562266"/>
                        <a:pt x="71726" y="578164"/>
                      </a:cubicBezTo>
                      <a:cubicBezTo>
                        <a:pt x="73093" y="582264"/>
                        <a:pt x="75826" y="586143"/>
                        <a:pt x="75826" y="590465"/>
                      </a:cubicBezTo>
                      <a:cubicBezTo>
                        <a:pt x="75826" y="602123"/>
                        <a:pt x="73428" y="618704"/>
                        <a:pt x="63525" y="627369"/>
                      </a:cubicBezTo>
                      <a:cubicBezTo>
                        <a:pt x="56107" y="633859"/>
                        <a:pt x="38922" y="643771"/>
                        <a:pt x="38922" y="643771"/>
                      </a:cubicBezTo>
                      <a:cubicBezTo>
                        <a:pt x="43865" y="658600"/>
                        <a:pt x="47169" y="662119"/>
                        <a:pt x="38922" y="680675"/>
                      </a:cubicBezTo>
                      <a:cubicBezTo>
                        <a:pt x="36567" y="685974"/>
                        <a:pt x="30721" y="688876"/>
                        <a:pt x="26621" y="692976"/>
                      </a:cubicBezTo>
                      <a:cubicBezTo>
                        <a:pt x="25254" y="697076"/>
                        <a:pt x="24453" y="701411"/>
                        <a:pt x="22520" y="705277"/>
                      </a:cubicBezTo>
                      <a:cubicBezTo>
                        <a:pt x="17883" y="714552"/>
                        <a:pt x="15986" y="715912"/>
                        <a:pt x="10219" y="721679"/>
                      </a:cubicBezTo>
                    </a:path>
                  </a:pathLst>
                </a:custGeom>
                <a:ln w="28575" cmpd="sng">
                  <a:solidFill>
                    <a:srgbClr val="008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pt-BR"/>
                </a:p>
              </p:txBody>
            </p:sp>
          </p:grpSp>
        </p:grpSp>
      </p:grpSp>
      <p:grpSp>
        <p:nvGrpSpPr>
          <p:cNvPr id="9" name="Grupo 8"/>
          <p:cNvGrpSpPr/>
          <p:nvPr/>
        </p:nvGrpSpPr>
        <p:grpSpPr>
          <a:xfrm>
            <a:off x="867266" y="416859"/>
            <a:ext cx="7644075" cy="6205754"/>
            <a:chOff x="867266" y="416859"/>
            <a:chExt cx="7644075" cy="6205754"/>
          </a:xfrm>
        </p:grpSpPr>
        <p:sp>
          <p:nvSpPr>
            <p:cNvPr id="542" name="Forma livre 777"/>
            <p:cNvSpPr/>
            <p:nvPr/>
          </p:nvSpPr>
          <p:spPr bwMode="auto">
            <a:xfrm>
              <a:off x="3349626" y="4486275"/>
              <a:ext cx="476250" cy="73025"/>
            </a:xfrm>
            <a:custGeom>
              <a:avLst/>
              <a:gdLst>
                <a:gd name="connsiteX0" fmla="*/ 0 w 475652"/>
                <a:gd name="connsiteY0" fmla="*/ 8200 h 73808"/>
                <a:gd name="connsiteX1" fmla="*/ 28704 w 475652"/>
                <a:gd name="connsiteY1" fmla="*/ 12301 h 73808"/>
                <a:gd name="connsiteX2" fmla="*/ 53306 w 475652"/>
                <a:gd name="connsiteY2" fmla="*/ 20502 h 73808"/>
                <a:gd name="connsiteX3" fmla="*/ 98411 w 475652"/>
                <a:gd name="connsiteY3" fmla="*/ 16401 h 73808"/>
                <a:gd name="connsiteX4" fmla="*/ 114813 w 475652"/>
                <a:gd name="connsiteY4" fmla="*/ 12301 h 73808"/>
                <a:gd name="connsiteX5" fmla="*/ 147617 w 475652"/>
                <a:gd name="connsiteY5" fmla="*/ 8200 h 73808"/>
                <a:gd name="connsiteX6" fmla="*/ 262429 w 475652"/>
                <a:gd name="connsiteY6" fmla="*/ 0 h 73808"/>
                <a:gd name="connsiteX7" fmla="*/ 303434 w 475652"/>
                <a:gd name="connsiteY7" fmla="*/ 4100 h 73808"/>
                <a:gd name="connsiteX8" fmla="*/ 319835 w 475652"/>
                <a:gd name="connsiteY8" fmla="*/ 12301 h 73808"/>
                <a:gd name="connsiteX9" fmla="*/ 332137 w 475652"/>
                <a:gd name="connsiteY9" fmla="*/ 16401 h 73808"/>
                <a:gd name="connsiteX10" fmla="*/ 352639 w 475652"/>
                <a:gd name="connsiteY10" fmla="*/ 41004 h 73808"/>
                <a:gd name="connsiteX11" fmla="*/ 377242 w 475652"/>
                <a:gd name="connsiteY11" fmla="*/ 49205 h 73808"/>
                <a:gd name="connsiteX12" fmla="*/ 405945 w 475652"/>
                <a:gd name="connsiteY12" fmla="*/ 57406 h 73808"/>
                <a:gd name="connsiteX13" fmla="*/ 442849 w 475652"/>
                <a:gd name="connsiteY13" fmla="*/ 69707 h 73808"/>
                <a:gd name="connsiteX14" fmla="*/ 455150 w 475652"/>
                <a:gd name="connsiteY14" fmla="*/ 73808 h 73808"/>
                <a:gd name="connsiteX15" fmla="*/ 475652 w 475652"/>
                <a:gd name="connsiteY15" fmla="*/ 69707 h 7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5652" h="73808">
                  <a:moveTo>
                    <a:pt x="0" y="8200"/>
                  </a:moveTo>
                  <a:cubicBezTo>
                    <a:pt x="9568" y="9567"/>
                    <a:pt x="19286" y="10128"/>
                    <a:pt x="28704" y="12301"/>
                  </a:cubicBezTo>
                  <a:cubicBezTo>
                    <a:pt x="37127" y="14245"/>
                    <a:pt x="53306" y="20502"/>
                    <a:pt x="53306" y="20502"/>
                  </a:cubicBezTo>
                  <a:cubicBezTo>
                    <a:pt x="68341" y="19135"/>
                    <a:pt x="83446" y="18396"/>
                    <a:pt x="98411" y="16401"/>
                  </a:cubicBezTo>
                  <a:cubicBezTo>
                    <a:pt x="103997" y="15656"/>
                    <a:pt x="109254" y="13227"/>
                    <a:pt x="114813" y="12301"/>
                  </a:cubicBezTo>
                  <a:cubicBezTo>
                    <a:pt x="125683" y="10489"/>
                    <a:pt x="136635" y="9115"/>
                    <a:pt x="147617" y="8200"/>
                  </a:cubicBezTo>
                  <a:cubicBezTo>
                    <a:pt x="185853" y="5014"/>
                    <a:pt x="262429" y="0"/>
                    <a:pt x="262429" y="0"/>
                  </a:cubicBezTo>
                  <a:cubicBezTo>
                    <a:pt x="276097" y="1367"/>
                    <a:pt x="290002" y="1222"/>
                    <a:pt x="303434" y="4100"/>
                  </a:cubicBezTo>
                  <a:cubicBezTo>
                    <a:pt x="309411" y="5381"/>
                    <a:pt x="314217" y="9893"/>
                    <a:pt x="319835" y="12301"/>
                  </a:cubicBezTo>
                  <a:cubicBezTo>
                    <a:pt x="323808" y="14004"/>
                    <a:pt x="328036" y="15034"/>
                    <a:pt x="332137" y="16401"/>
                  </a:cubicBezTo>
                  <a:cubicBezTo>
                    <a:pt x="337241" y="24058"/>
                    <a:pt x="344281" y="36361"/>
                    <a:pt x="352639" y="41004"/>
                  </a:cubicBezTo>
                  <a:cubicBezTo>
                    <a:pt x="360196" y="45202"/>
                    <a:pt x="369041" y="46471"/>
                    <a:pt x="377242" y="49205"/>
                  </a:cubicBezTo>
                  <a:cubicBezTo>
                    <a:pt x="418587" y="62986"/>
                    <a:pt x="354450" y="41957"/>
                    <a:pt x="405945" y="57406"/>
                  </a:cubicBezTo>
                  <a:cubicBezTo>
                    <a:pt x="418365" y="61132"/>
                    <a:pt x="430548" y="65607"/>
                    <a:pt x="442849" y="69707"/>
                  </a:cubicBezTo>
                  <a:lnTo>
                    <a:pt x="455150" y="73808"/>
                  </a:lnTo>
                  <a:lnTo>
                    <a:pt x="475652" y="69707"/>
                  </a:lnTo>
                </a:path>
              </a:pathLst>
            </a:custGeom>
            <a:ln w="1905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543" name="Forma livre 778"/>
            <p:cNvSpPr/>
            <p:nvPr/>
          </p:nvSpPr>
          <p:spPr bwMode="auto">
            <a:xfrm>
              <a:off x="3357564" y="4670425"/>
              <a:ext cx="398462" cy="69850"/>
            </a:xfrm>
            <a:custGeom>
              <a:avLst/>
              <a:gdLst>
                <a:gd name="connsiteX0" fmla="*/ 0 w 397744"/>
                <a:gd name="connsiteY0" fmla="*/ 0 h 69707"/>
                <a:gd name="connsiteX1" fmla="*/ 32804 w 397744"/>
                <a:gd name="connsiteY1" fmla="*/ 8201 h 69707"/>
                <a:gd name="connsiteX2" fmla="*/ 57407 w 397744"/>
                <a:gd name="connsiteY2" fmla="*/ 24602 h 69707"/>
                <a:gd name="connsiteX3" fmla="*/ 73808 w 397744"/>
                <a:gd name="connsiteY3" fmla="*/ 28703 h 69707"/>
                <a:gd name="connsiteX4" fmla="*/ 98411 w 397744"/>
                <a:gd name="connsiteY4" fmla="*/ 36904 h 69707"/>
                <a:gd name="connsiteX5" fmla="*/ 192721 w 397744"/>
                <a:gd name="connsiteY5" fmla="*/ 36904 h 69707"/>
                <a:gd name="connsiteX6" fmla="*/ 205023 w 397744"/>
                <a:gd name="connsiteY6" fmla="*/ 41004 h 69707"/>
                <a:gd name="connsiteX7" fmla="*/ 213224 w 397744"/>
                <a:gd name="connsiteY7" fmla="*/ 53306 h 69707"/>
                <a:gd name="connsiteX8" fmla="*/ 225525 w 397744"/>
                <a:gd name="connsiteY8" fmla="*/ 57406 h 69707"/>
                <a:gd name="connsiteX9" fmla="*/ 241927 w 397744"/>
                <a:gd name="connsiteY9" fmla="*/ 61506 h 69707"/>
                <a:gd name="connsiteX10" fmla="*/ 270630 w 397744"/>
                <a:gd name="connsiteY10" fmla="*/ 69707 h 69707"/>
                <a:gd name="connsiteX11" fmla="*/ 311634 w 397744"/>
                <a:gd name="connsiteY11" fmla="*/ 65607 h 69707"/>
                <a:gd name="connsiteX12" fmla="*/ 340337 w 397744"/>
                <a:gd name="connsiteY12" fmla="*/ 57406 h 69707"/>
                <a:gd name="connsiteX13" fmla="*/ 344438 w 397744"/>
                <a:gd name="connsiteY13" fmla="*/ 45105 h 69707"/>
                <a:gd name="connsiteX14" fmla="*/ 356739 w 397744"/>
                <a:gd name="connsiteY14" fmla="*/ 41004 h 69707"/>
                <a:gd name="connsiteX15" fmla="*/ 397744 w 397744"/>
                <a:gd name="connsiteY15" fmla="*/ 41004 h 69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97744" h="69707">
                  <a:moveTo>
                    <a:pt x="0" y="0"/>
                  </a:moveTo>
                  <a:cubicBezTo>
                    <a:pt x="2962" y="592"/>
                    <a:pt x="27398" y="4597"/>
                    <a:pt x="32804" y="8201"/>
                  </a:cubicBezTo>
                  <a:cubicBezTo>
                    <a:pt x="58616" y="25409"/>
                    <a:pt x="31811" y="17289"/>
                    <a:pt x="57407" y="24602"/>
                  </a:cubicBezTo>
                  <a:cubicBezTo>
                    <a:pt x="62825" y="26150"/>
                    <a:pt x="68410" y="27084"/>
                    <a:pt x="73808" y="28703"/>
                  </a:cubicBezTo>
                  <a:cubicBezTo>
                    <a:pt x="82088" y="31187"/>
                    <a:pt x="98411" y="36904"/>
                    <a:pt x="98411" y="36904"/>
                  </a:cubicBezTo>
                  <a:cubicBezTo>
                    <a:pt x="147268" y="32832"/>
                    <a:pt x="145345" y="30136"/>
                    <a:pt x="192721" y="36904"/>
                  </a:cubicBezTo>
                  <a:cubicBezTo>
                    <a:pt x="197000" y="37515"/>
                    <a:pt x="200922" y="39637"/>
                    <a:pt x="205023" y="41004"/>
                  </a:cubicBezTo>
                  <a:cubicBezTo>
                    <a:pt x="207757" y="45105"/>
                    <a:pt x="209376" y="50227"/>
                    <a:pt x="213224" y="53306"/>
                  </a:cubicBezTo>
                  <a:cubicBezTo>
                    <a:pt x="216599" y="56006"/>
                    <a:pt x="221369" y="56219"/>
                    <a:pt x="225525" y="57406"/>
                  </a:cubicBezTo>
                  <a:cubicBezTo>
                    <a:pt x="230944" y="58954"/>
                    <a:pt x="236508" y="59958"/>
                    <a:pt x="241927" y="61506"/>
                  </a:cubicBezTo>
                  <a:cubicBezTo>
                    <a:pt x="283105" y="73271"/>
                    <a:pt x="219354" y="56890"/>
                    <a:pt x="270630" y="69707"/>
                  </a:cubicBezTo>
                  <a:cubicBezTo>
                    <a:pt x="284298" y="68340"/>
                    <a:pt x="298036" y="67550"/>
                    <a:pt x="311634" y="65607"/>
                  </a:cubicBezTo>
                  <a:cubicBezTo>
                    <a:pt x="320639" y="64320"/>
                    <a:pt x="331578" y="60326"/>
                    <a:pt x="340337" y="57406"/>
                  </a:cubicBezTo>
                  <a:cubicBezTo>
                    <a:pt x="341704" y="53306"/>
                    <a:pt x="341382" y="48161"/>
                    <a:pt x="344438" y="45105"/>
                  </a:cubicBezTo>
                  <a:cubicBezTo>
                    <a:pt x="347494" y="42049"/>
                    <a:pt x="352430" y="41336"/>
                    <a:pt x="356739" y="41004"/>
                  </a:cubicBezTo>
                  <a:cubicBezTo>
                    <a:pt x="370367" y="39956"/>
                    <a:pt x="384076" y="41004"/>
                    <a:pt x="397744" y="41004"/>
                  </a:cubicBezTo>
                </a:path>
              </a:pathLst>
            </a:custGeom>
            <a:ln w="1905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grpSp>
          <p:nvGrpSpPr>
            <p:cNvPr id="455" name="Grupo 11"/>
            <p:cNvGrpSpPr/>
            <p:nvPr/>
          </p:nvGrpSpPr>
          <p:grpSpPr>
            <a:xfrm>
              <a:off x="867266" y="416859"/>
              <a:ext cx="7644075" cy="6205754"/>
              <a:chOff x="867266" y="416859"/>
              <a:chExt cx="7644075" cy="6205754"/>
            </a:xfrm>
          </p:grpSpPr>
          <p:sp>
            <p:nvSpPr>
              <p:cNvPr id="456" name="TextBox 6"/>
              <p:cNvSpPr txBox="1">
                <a:spLocks noChangeArrowheads="1"/>
              </p:cNvSpPr>
              <p:nvPr/>
            </p:nvSpPr>
            <p:spPr bwMode="auto">
              <a:xfrm>
                <a:off x="6552960" y="6453336"/>
                <a:ext cx="1958381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pt-BR" sz="1100" dirty="0" smtClean="0"/>
                  <a:t>Estruturantes</a:t>
                </a:r>
                <a:endParaRPr lang="en-US" sz="1100" dirty="0"/>
              </a:p>
            </p:txBody>
          </p:sp>
          <p:cxnSp>
            <p:nvCxnSpPr>
              <p:cNvPr id="457" name="Conector reto 788"/>
              <p:cNvCxnSpPr/>
              <p:nvPr/>
            </p:nvCxnSpPr>
            <p:spPr>
              <a:xfrm>
                <a:off x="6123741" y="6543386"/>
                <a:ext cx="325437" cy="0"/>
              </a:xfrm>
              <a:prstGeom prst="line">
                <a:avLst/>
              </a:prstGeom>
              <a:ln w="381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58" name="Grupo 3"/>
              <p:cNvGrpSpPr/>
              <p:nvPr/>
            </p:nvGrpSpPr>
            <p:grpSpPr>
              <a:xfrm>
                <a:off x="867266" y="416859"/>
                <a:ext cx="5703216" cy="5965087"/>
                <a:chOff x="867266" y="416859"/>
                <a:chExt cx="5703216" cy="5965087"/>
              </a:xfrm>
            </p:grpSpPr>
            <p:sp>
              <p:nvSpPr>
                <p:cNvPr id="459" name="Forma livre 790"/>
                <p:cNvSpPr/>
                <p:nvPr/>
              </p:nvSpPr>
              <p:spPr>
                <a:xfrm>
                  <a:off x="2245659" y="416859"/>
                  <a:ext cx="225562" cy="269596"/>
                </a:xfrm>
                <a:custGeom>
                  <a:avLst/>
                  <a:gdLst>
                    <a:gd name="connsiteX0" fmla="*/ 0 w 221876"/>
                    <a:gd name="connsiteY0" fmla="*/ 0 h 275665"/>
                    <a:gd name="connsiteX1" fmla="*/ 20170 w 221876"/>
                    <a:gd name="connsiteY1" fmla="*/ 100853 h 275665"/>
                    <a:gd name="connsiteX2" fmla="*/ 33617 w 221876"/>
                    <a:gd name="connsiteY2" fmla="*/ 141194 h 275665"/>
                    <a:gd name="connsiteX3" fmla="*/ 53788 w 221876"/>
                    <a:gd name="connsiteY3" fmla="*/ 181535 h 275665"/>
                    <a:gd name="connsiteX4" fmla="*/ 73959 w 221876"/>
                    <a:gd name="connsiteY4" fmla="*/ 248770 h 275665"/>
                    <a:gd name="connsiteX5" fmla="*/ 87406 w 221876"/>
                    <a:gd name="connsiteY5" fmla="*/ 268941 h 275665"/>
                    <a:gd name="connsiteX6" fmla="*/ 107576 w 221876"/>
                    <a:gd name="connsiteY6" fmla="*/ 275665 h 275665"/>
                    <a:gd name="connsiteX7" fmla="*/ 127747 w 221876"/>
                    <a:gd name="connsiteY7" fmla="*/ 262217 h 275665"/>
                    <a:gd name="connsiteX8" fmla="*/ 181535 w 221876"/>
                    <a:gd name="connsiteY8" fmla="*/ 215153 h 275665"/>
                    <a:gd name="connsiteX9" fmla="*/ 221876 w 221876"/>
                    <a:gd name="connsiteY9" fmla="*/ 194982 h 275665"/>
                    <a:gd name="connsiteX10" fmla="*/ 221876 w 221876"/>
                    <a:gd name="connsiteY10" fmla="*/ 188259 h 275665"/>
                    <a:gd name="connsiteX0" fmla="*/ 0 w 221876"/>
                    <a:gd name="connsiteY0" fmla="*/ 0 h 275665"/>
                    <a:gd name="connsiteX1" fmla="*/ 20170 w 221876"/>
                    <a:gd name="connsiteY1" fmla="*/ 100853 h 275665"/>
                    <a:gd name="connsiteX2" fmla="*/ 33617 w 221876"/>
                    <a:gd name="connsiteY2" fmla="*/ 141194 h 275665"/>
                    <a:gd name="connsiteX3" fmla="*/ 53788 w 221876"/>
                    <a:gd name="connsiteY3" fmla="*/ 181535 h 275665"/>
                    <a:gd name="connsiteX4" fmla="*/ 73959 w 221876"/>
                    <a:gd name="connsiteY4" fmla="*/ 248770 h 275665"/>
                    <a:gd name="connsiteX5" fmla="*/ 87406 w 221876"/>
                    <a:gd name="connsiteY5" fmla="*/ 268941 h 275665"/>
                    <a:gd name="connsiteX6" fmla="*/ 107576 w 221876"/>
                    <a:gd name="connsiteY6" fmla="*/ 275665 h 275665"/>
                    <a:gd name="connsiteX7" fmla="*/ 127747 w 221876"/>
                    <a:gd name="connsiteY7" fmla="*/ 235323 h 275665"/>
                    <a:gd name="connsiteX8" fmla="*/ 181535 w 221876"/>
                    <a:gd name="connsiteY8" fmla="*/ 215153 h 275665"/>
                    <a:gd name="connsiteX9" fmla="*/ 221876 w 221876"/>
                    <a:gd name="connsiteY9" fmla="*/ 194982 h 275665"/>
                    <a:gd name="connsiteX10" fmla="*/ 221876 w 221876"/>
                    <a:gd name="connsiteY10" fmla="*/ 188259 h 275665"/>
                    <a:gd name="connsiteX0" fmla="*/ 0 w 225562"/>
                    <a:gd name="connsiteY0" fmla="*/ 0 h 275665"/>
                    <a:gd name="connsiteX1" fmla="*/ 20170 w 225562"/>
                    <a:gd name="connsiteY1" fmla="*/ 100853 h 275665"/>
                    <a:gd name="connsiteX2" fmla="*/ 33617 w 225562"/>
                    <a:gd name="connsiteY2" fmla="*/ 141194 h 275665"/>
                    <a:gd name="connsiteX3" fmla="*/ 53788 w 225562"/>
                    <a:gd name="connsiteY3" fmla="*/ 181535 h 275665"/>
                    <a:gd name="connsiteX4" fmla="*/ 73959 w 225562"/>
                    <a:gd name="connsiteY4" fmla="*/ 248770 h 275665"/>
                    <a:gd name="connsiteX5" fmla="*/ 87406 w 225562"/>
                    <a:gd name="connsiteY5" fmla="*/ 268941 h 275665"/>
                    <a:gd name="connsiteX6" fmla="*/ 107576 w 225562"/>
                    <a:gd name="connsiteY6" fmla="*/ 275665 h 275665"/>
                    <a:gd name="connsiteX7" fmla="*/ 127747 w 225562"/>
                    <a:gd name="connsiteY7" fmla="*/ 235323 h 275665"/>
                    <a:gd name="connsiteX8" fmla="*/ 172108 w 225562"/>
                    <a:gd name="connsiteY8" fmla="*/ 191586 h 275665"/>
                    <a:gd name="connsiteX9" fmla="*/ 221876 w 225562"/>
                    <a:gd name="connsiteY9" fmla="*/ 194982 h 275665"/>
                    <a:gd name="connsiteX10" fmla="*/ 221876 w 225562"/>
                    <a:gd name="connsiteY10" fmla="*/ 188259 h 275665"/>
                    <a:gd name="connsiteX0" fmla="*/ 0 w 225562"/>
                    <a:gd name="connsiteY0" fmla="*/ 0 h 275665"/>
                    <a:gd name="connsiteX1" fmla="*/ 20170 w 225562"/>
                    <a:gd name="connsiteY1" fmla="*/ 100853 h 275665"/>
                    <a:gd name="connsiteX2" fmla="*/ 33617 w 225562"/>
                    <a:gd name="connsiteY2" fmla="*/ 141194 h 275665"/>
                    <a:gd name="connsiteX3" fmla="*/ 53788 w 225562"/>
                    <a:gd name="connsiteY3" fmla="*/ 181535 h 275665"/>
                    <a:gd name="connsiteX4" fmla="*/ 73959 w 225562"/>
                    <a:gd name="connsiteY4" fmla="*/ 248770 h 275665"/>
                    <a:gd name="connsiteX5" fmla="*/ 87406 w 225562"/>
                    <a:gd name="connsiteY5" fmla="*/ 268941 h 275665"/>
                    <a:gd name="connsiteX6" fmla="*/ 107576 w 225562"/>
                    <a:gd name="connsiteY6" fmla="*/ 275665 h 275665"/>
                    <a:gd name="connsiteX7" fmla="*/ 127747 w 225562"/>
                    <a:gd name="connsiteY7" fmla="*/ 235323 h 275665"/>
                    <a:gd name="connsiteX8" fmla="*/ 172108 w 225562"/>
                    <a:gd name="connsiteY8" fmla="*/ 191586 h 275665"/>
                    <a:gd name="connsiteX9" fmla="*/ 221876 w 225562"/>
                    <a:gd name="connsiteY9" fmla="*/ 194982 h 275665"/>
                    <a:gd name="connsiteX10" fmla="*/ 221876 w 225562"/>
                    <a:gd name="connsiteY10" fmla="*/ 174119 h 275665"/>
                    <a:gd name="connsiteX0" fmla="*/ 0 w 225562"/>
                    <a:gd name="connsiteY0" fmla="*/ 0 h 269596"/>
                    <a:gd name="connsiteX1" fmla="*/ 20170 w 225562"/>
                    <a:gd name="connsiteY1" fmla="*/ 100853 h 269596"/>
                    <a:gd name="connsiteX2" fmla="*/ 33617 w 225562"/>
                    <a:gd name="connsiteY2" fmla="*/ 141194 h 269596"/>
                    <a:gd name="connsiteX3" fmla="*/ 53788 w 225562"/>
                    <a:gd name="connsiteY3" fmla="*/ 181535 h 269596"/>
                    <a:gd name="connsiteX4" fmla="*/ 73959 w 225562"/>
                    <a:gd name="connsiteY4" fmla="*/ 248770 h 269596"/>
                    <a:gd name="connsiteX5" fmla="*/ 87406 w 225562"/>
                    <a:gd name="connsiteY5" fmla="*/ 268941 h 269596"/>
                    <a:gd name="connsiteX6" fmla="*/ 93435 w 225562"/>
                    <a:gd name="connsiteY6" fmla="*/ 266238 h 269596"/>
                    <a:gd name="connsiteX7" fmla="*/ 127747 w 225562"/>
                    <a:gd name="connsiteY7" fmla="*/ 235323 h 269596"/>
                    <a:gd name="connsiteX8" fmla="*/ 172108 w 225562"/>
                    <a:gd name="connsiteY8" fmla="*/ 191586 h 269596"/>
                    <a:gd name="connsiteX9" fmla="*/ 221876 w 225562"/>
                    <a:gd name="connsiteY9" fmla="*/ 194982 h 269596"/>
                    <a:gd name="connsiteX10" fmla="*/ 221876 w 225562"/>
                    <a:gd name="connsiteY10" fmla="*/ 174119 h 269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25562" h="269596">
                      <a:moveTo>
                        <a:pt x="0" y="0"/>
                      </a:moveTo>
                      <a:cubicBezTo>
                        <a:pt x="28806" y="72014"/>
                        <a:pt x="-806" y="-11021"/>
                        <a:pt x="20170" y="100853"/>
                      </a:cubicBezTo>
                      <a:cubicBezTo>
                        <a:pt x="22782" y="114785"/>
                        <a:pt x="29135" y="127747"/>
                        <a:pt x="33617" y="141194"/>
                      </a:cubicBezTo>
                      <a:cubicBezTo>
                        <a:pt x="42896" y="169030"/>
                        <a:pt x="36410" y="155469"/>
                        <a:pt x="53788" y="181535"/>
                      </a:cubicBezTo>
                      <a:cubicBezTo>
                        <a:pt x="57546" y="196568"/>
                        <a:pt x="67412" y="238950"/>
                        <a:pt x="73959" y="248770"/>
                      </a:cubicBezTo>
                      <a:cubicBezTo>
                        <a:pt x="78441" y="255494"/>
                        <a:pt x="84160" y="266030"/>
                        <a:pt x="87406" y="268941"/>
                      </a:cubicBezTo>
                      <a:cubicBezTo>
                        <a:pt x="90652" y="271852"/>
                        <a:pt x="86712" y="263997"/>
                        <a:pt x="93435" y="266238"/>
                      </a:cubicBezTo>
                      <a:cubicBezTo>
                        <a:pt x="100159" y="261755"/>
                        <a:pt x="114635" y="247765"/>
                        <a:pt x="127747" y="235323"/>
                      </a:cubicBezTo>
                      <a:cubicBezTo>
                        <a:pt x="140859" y="222881"/>
                        <a:pt x="156420" y="198309"/>
                        <a:pt x="172108" y="191586"/>
                      </a:cubicBezTo>
                      <a:cubicBezTo>
                        <a:pt x="187796" y="184863"/>
                        <a:pt x="213581" y="197893"/>
                        <a:pt x="221876" y="194982"/>
                      </a:cubicBezTo>
                      <a:cubicBezTo>
                        <a:pt x="230171" y="192071"/>
                        <a:pt x="221876" y="176360"/>
                        <a:pt x="221876" y="174119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0" name="Forma livre 791"/>
                <p:cNvSpPr/>
                <p:nvPr/>
              </p:nvSpPr>
              <p:spPr>
                <a:xfrm>
                  <a:off x="2328421" y="937967"/>
                  <a:ext cx="127261" cy="716437"/>
                </a:xfrm>
                <a:custGeom>
                  <a:avLst/>
                  <a:gdLst>
                    <a:gd name="connsiteX0" fmla="*/ 37707 w 127261"/>
                    <a:gd name="connsiteY0" fmla="*/ 0 h 716437"/>
                    <a:gd name="connsiteX1" fmla="*/ 32993 w 127261"/>
                    <a:gd name="connsiteY1" fmla="*/ 28280 h 716437"/>
                    <a:gd name="connsiteX2" fmla="*/ 42420 w 127261"/>
                    <a:gd name="connsiteY2" fmla="*/ 117835 h 716437"/>
                    <a:gd name="connsiteX3" fmla="*/ 32993 w 127261"/>
                    <a:gd name="connsiteY3" fmla="*/ 164969 h 716437"/>
                    <a:gd name="connsiteX4" fmla="*/ 23567 w 127261"/>
                    <a:gd name="connsiteY4" fmla="*/ 179109 h 716437"/>
                    <a:gd name="connsiteX5" fmla="*/ 4713 w 127261"/>
                    <a:gd name="connsiteY5" fmla="*/ 221530 h 716437"/>
                    <a:gd name="connsiteX6" fmla="*/ 0 w 127261"/>
                    <a:gd name="connsiteY6" fmla="*/ 235670 h 716437"/>
                    <a:gd name="connsiteX7" fmla="*/ 9426 w 127261"/>
                    <a:gd name="connsiteY7" fmla="*/ 278091 h 716437"/>
                    <a:gd name="connsiteX8" fmla="*/ 14140 w 127261"/>
                    <a:gd name="connsiteY8" fmla="*/ 325225 h 716437"/>
                    <a:gd name="connsiteX9" fmla="*/ 32993 w 127261"/>
                    <a:gd name="connsiteY9" fmla="*/ 367645 h 716437"/>
                    <a:gd name="connsiteX10" fmla="*/ 51847 w 127261"/>
                    <a:gd name="connsiteY10" fmla="*/ 395926 h 716437"/>
                    <a:gd name="connsiteX11" fmla="*/ 56560 w 127261"/>
                    <a:gd name="connsiteY11" fmla="*/ 410066 h 716437"/>
                    <a:gd name="connsiteX12" fmla="*/ 75414 w 127261"/>
                    <a:gd name="connsiteY12" fmla="*/ 438346 h 716437"/>
                    <a:gd name="connsiteX13" fmla="*/ 84841 w 127261"/>
                    <a:gd name="connsiteY13" fmla="*/ 471340 h 716437"/>
                    <a:gd name="connsiteX14" fmla="*/ 94268 w 127261"/>
                    <a:gd name="connsiteY14" fmla="*/ 485480 h 716437"/>
                    <a:gd name="connsiteX15" fmla="*/ 103694 w 127261"/>
                    <a:gd name="connsiteY15" fmla="*/ 513761 h 716437"/>
                    <a:gd name="connsiteX16" fmla="*/ 108408 w 127261"/>
                    <a:gd name="connsiteY16" fmla="*/ 527901 h 716437"/>
                    <a:gd name="connsiteX17" fmla="*/ 122548 w 127261"/>
                    <a:gd name="connsiteY17" fmla="*/ 707010 h 716437"/>
                    <a:gd name="connsiteX18" fmla="*/ 127261 w 127261"/>
                    <a:gd name="connsiteY18" fmla="*/ 716437 h 716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27261" h="716437">
                      <a:moveTo>
                        <a:pt x="37707" y="0"/>
                      </a:moveTo>
                      <a:cubicBezTo>
                        <a:pt x="36136" y="9427"/>
                        <a:pt x="32993" y="18723"/>
                        <a:pt x="32993" y="28280"/>
                      </a:cubicBezTo>
                      <a:cubicBezTo>
                        <a:pt x="32993" y="66399"/>
                        <a:pt x="36881" y="84596"/>
                        <a:pt x="42420" y="117835"/>
                      </a:cubicBezTo>
                      <a:cubicBezTo>
                        <a:pt x="40682" y="130003"/>
                        <a:pt x="39576" y="151803"/>
                        <a:pt x="32993" y="164969"/>
                      </a:cubicBezTo>
                      <a:cubicBezTo>
                        <a:pt x="30460" y="170036"/>
                        <a:pt x="25868" y="173933"/>
                        <a:pt x="23567" y="179109"/>
                      </a:cubicBezTo>
                      <a:cubicBezTo>
                        <a:pt x="1134" y="229586"/>
                        <a:pt x="26045" y="189533"/>
                        <a:pt x="4713" y="221530"/>
                      </a:cubicBezTo>
                      <a:cubicBezTo>
                        <a:pt x="3142" y="226243"/>
                        <a:pt x="0" y="230702"/>
                        <a:pt x="0" y="235670"/>
                      </a:cubicBezTo>
                      <a:cubicBezTo>
                        <a:pt x="0" y="252261"/>
                        <a:pt x="4566" y="263509"/>
                        <a:pt x="9426" y="278091"/>
                      </a:cubicBezTo>
                      <a:cubicBezTo>
                        <a:pt x="10997" y="293802"/>
                        <a:pt x="11230" y="309706"/>
                        <a:pt x="14140" y="325225"/>
                      </a:cubicBezTo>
                      <a:cubicBezTo>
                        <a:pt x="21436" y="364134"/>
                        <a:pt x="20291" y="342241"/>
                        <a:pt x="32993" y="367645"/>
                      </a:cubicBezTo>
                      <a:cubicBezTo>
                        <a:pt x="46635" y="394929"/>
                        <a:pt x="25045" y="369124"/>
                        <a:pt x="51847" y="395926"/>
                      </a:cubicBezTo>
                      <a:cubicBezTo>
                        <a:pt x="53418" y="400639"/>
                        <a:pt x="54147" y="405723"/>
                        <a:pt x="56560" y="410066"/>
                      </a:cubicBezTo>
                      <a:cubicBezTo>
                        <a:pt x="62062" y="419970"/>
                        <a:pt x="75414" y="438346"/>
                        <a:pt x="75414" y="438346"/>
                      </a:cubicBezTo>
                      <a:cubicBezTo>
                        <a:pt x="76926" y="444393"/>
                        <a:pt x="81458" y="464574"/>
                        <a:pt x="84841" y="471340"/>
                      </a:cubicBezTo>
                      <a:cubicBezTo>
                        <a:pt x="87375" y="476407"/>
                        <a:pt x="91126" y="480767"/>
                        <a:pt x="94268" y="485480"/>
                      </a:cubicBezTo>
                      <a:lnTo>
                        <a:pt x="103694" y="513761"/>
                      </a:lnTo>
                      <a:lnTo>
                        <a:pt x="108408" y="527901"/>
                      </a:lnTo>
                      <a:cubicBezTo>
                        <a:pt x="109158" y="551910"/>
                        <a:pt x="98058" y="658025"/>
                        <a:pt x="122548" y="707010"/>
                      </a:cubicBezTo>
                      <a:lnTo>
                        <a:pt x="127261" y="716437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1" name="Forma livre 793"/>
                <p:cNvSpPr/>
                <p:nvPr/>
              </p:nvSpPr>
              <p:spPr>
                <a:xfrm>
                  <a:off x="1776953" y="2380268"/>
                  <a:ext cx="146115" cy="174396"/>
                </a:xfrm>
                <a:custGeom>
                  <a:avLst/>
                  <a:gdLst>
                    <a:gd name="connsiteX0" fmla="*/ 0 w 146115"/>
                    <a:gd name="connsiteY0" fmla="*/ 174396 h 174396"/>
                    <a:gd name="connsiteX1" fmla="*/ 18853 w 146115"/>
                    <a:gd name="connsiteY1" fmla="*/ 122548 h 174396"/>
                    <a:gd name="connsiteX2" fmla="*/ 47134 w 146115"/>
                    <a:gd name="connsiteY2" fmla="*/ 108408 h 174396"/>
                    <a:gd name="connsiteX3" fmla="*/ 75414 w 146115"/>
                    <a:gd name="connsiteY3" fmla="*/ 94268 h 174396"/>
                    <a:gd name="connsiteX4" fmla="*/ 89554 w 146115"/>
                    <a:gd name="connsiteY4" fmla="*/ 80128 h 174396"/>
                    <a:gd name="connsiteX5" fmla="*/ 117835 w 146115"/>
                    <a:gd name="connsiteY5" fmla="*/ 70701 h 174396"/>
                    <a:gd name="connsiteX6" fmla="*/ 131975 w 146115"/>
                    <a:gd name="connsiteY6" fmla="*/ 61274 h 174396"/>
                    <a:gd name="connsiteX7" fmla="*/ 146115 w 146115"/>
                    <a:gd name="connsiteY7" fmla="*/ 28280 h 174396"/>
                    <a:gd name="connsiteX8" fmla="*/ 141402 w 146115"/>
                    <a:gd name="connsiteY8" fmla="*/ 4713 h 174396"/>
                    <a:gd name="connsiteX9" fmla="*/ 127261 w 146115"/>
                    <a:gd name="connsiteY9" fmla="*/ 0 h 1743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6115" h="174396">
                      <a:moveTo>
                        <a:pt x="0" y="174396"/>
                      </a:moveTo>
                      <a:cubicBezTo>
                        <a:pt x="3488" y="156956"/>
                        <a:pt x="5357" y="136044"/>
                        <a:pt x="18853" y="122548"/>
                      </a:cubicBezTo>
                      <a:cubicBezTo>
                        <a:pt x="32358" y="109043"/>
                        <a:pt x="31802" y="116074"/>
                        <a:pt x="47134" y="108408"/>
                      </a:cubicBezTo>
                      <a:cubicBezTo>
                        <a:pt x="83678" y="90135"/>
                        <a:pt x="39876" y="106113"/>
                        <a:pt x="75414" y="94268"/>
                      </a:cubicBezTo>
                      <a:cubicBezTo>
                        <a:pt x="80127" y="89555"/>
                        <a:pt x="83727" y="83365"/>
                        <a:pt x="89554" y="80128"/>
                      </a:cubicBezTo>
                      <a:cubicBezTo>
                        <a:pt x="98240" y="75302"/>
                        <a:pt x="117835" y="70701"/>
                        <a:pt x="117835" y="70701"/>
                      </a:cubicBezTo>
                      <a:cubicBezTo>
                        <a:pt x="122548" y="67559"/>
                        <a:pt x="128348" y="65626"/>
                        <a:pt x="131975" y="61274"/>
                      </a:cubicBezTo>
                      <a:cubicBezTo>
                        <a:pt x="138449" y="53506"/>
                        <a:pt x="142840" y="38105"/>
                        <a:pt x="146115" y="28280"/>
                      </a:cubicBezTo>
                      <a:cubicBezTo>
                        <a:pt x="144544" y="20424"/>
                        <a:pt x="145846" y="11379"/>
                        <a:pt x="141402" y="4713"/>
                      </a:cubicBezTo>
                      <a:cubicBezTo>
                        <a:pt x="138646" y="579"/>
                        <a:pt x="127261" y="0"/>
                        <a:pt x="127261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2" name="Forma livre 794"/>
                <p:cNvSpPr/>
                <p:nvPr/>
              </p:nvSpPr>
              <p:spPr>
                <a:xfrm>
                  <a:off x="867266" y="2795047"/>
                  <a:ext cx="334652" cy="164969"/>
                </a:xfrm>
                <a:custGeom>
                  <a:avLst/>
                  <a:gdLst>
                    <a:gd name="connsiteX0" fmla="*/ 334652 w 334652"/>
                    <a:gd name="connsiteY0" fmla="*/ 0 h 164969"/>
                    <a:gd name="connsiteX1" fmla="*/ 306371 w 334652"/>
                    <a:gd name="connsiteY1" fmla="*/ 23567 h 164969"/>
                    <a:gd name="connsiteX2" fmla="*/ 315798 w 334652"/>
                    <a:gd name="connsiteY2" fmla="*/ 37708 h 164969"/>
                    <a:gd name="connsiteX3" fmla="*/ 273377 w 334652"/>
                    <a:gd name="connsiteY3" fmla="*/ 80128 h 164969"/>
                    <a:gd name="connsiteX4" fmla="*/ 254524 w 334652"/>
                    <a:gd name="connsiteY4" fmla="*/ 84842 h 164969"/>
                    <a:gd name="connsiteX5" fmla="*/ 249810 w 334652"/>
                    <a:gd name="connsiteY5" fmla="*/ 98982 h 164969"/>
                    <a:gd name="connsiteX6" fmla="*/ 221530 w 334652"/>
                    <a:gd name="connsiteY6" fmla="*/ 113122 h 164969"/>
                    <a:gd name="connsiteX7" fmla="*/ 207390 w 334652"/>
                    <a:gd name="connsiteY7" fmla="*/ 103695 h 164969"/>
                    <a:gd name="connsiteX8" fmla="*/ 188536 w 334652"/>
                    <a:gd name="connsiteY8" fmla="*/ 122549 h 164969"/>
                    <a:gd name="connsiteX9" fmla="*/ 179109 w 334652"/>
                    <a:gd name="connsiteY9" fmla="*/ 136689 h 164969"/>
                    <a:gd name="connsiteX10" fmla="*/ 150829 w 334652"/>
                    <a:gd name="connsiteY10" fmla="*/ 160256 h 164969"/>
                    <a:gd name="connsiteX11" fmla="*/ 136689 w 334652"/>
                    <a:gd name="connsiteY11" fmla="*/ 164969 h 164969"/>
                    <a:gd name="connsiteX12" fmla="*/ 127262 w 334652"/>
                    <a:gd name="connsiteY12" fmla="*/ 150829 h 164969"/>
                    <a:gd name="connsiteX13" fmla="*/ 80128 w 334652"/>
                    <a:gd name="connsiteY13" fmla="*/ 136689 h 164969"/>
                    <a:gd name="connsiteX14" fmla="*/ 65988 w 334652"/>
                    <a:gd name="connsiteY14" fmla="*/ 122549 h 164969"/>
                    <a:gd name="connsiteX15" fmla="*/ 14140 w 334652"/>
                    <a:gd name="connsiteY15" fmla="*/ 122549 h 164969"/>
                    <a:gd name="connsiteX16" fmla="*/ 0 w 334652"/>
                    <a:gd name="connsiteY16" fmla="*/ 146116 h 164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34652" h="164969">
                      <a:moveTo>
                        <a:pt x="334652" y="0"/>
                      </a:moveTo>
                      <a:cubicBezTo>
                        <a:pt x="324168" y="4194"/>
                        <a:pt x="303370" y="5557"/>
                        <a:pt x="306371" y="23567"/>
                      </a:cubicBezTo>
                      <a:cubicBezTo>
                        <a:pt x="307302" y="29155"/>
                        <a:pt x="312656" y="32994"/>
                        <a:pt x="315798" y="37708"/>
                      </a:cubicBezTo>
                      <a:cubicBezTo>
                        <a:pt x="304192" y="95736"/>
                        <a:pt x="322232" y="87108"/>
                        <a:pt x="273377" y="80128"/>
                      </a:cubicBezTo>
                      <a:cubicBezTo>
                        <a:pt x="267093" y="81699"/>
                        <a:pt x="259582" y="80795"/>
                        <a:pt x="254524" y="84842"/>
                      </a:cubicBezTo>
                      <a:cubicBezTo>
                        <a:pt x="250644" y="87946"/>
                        <a:pt x="252914" y="95102"/>
                        <a:pt x="249810" y="98982"/>
                      </a:cubicBezTo>
                      <a:cubicBezTo>
                        <a:pt x="243164" y="107289"/>
                        <a:pt x="230846" y="110017"/>
                        <a:pt x="221530" y="113122"/>
                      </a:cubicBezTo>
                      <a:cubicBezTo>
                        <a:pt x="216817" y="109980"/>
                        <a:pt x="212978" y="104626"/>
                        <a:pt x="207390" y="103695"/>
                      </a:cubicBezTo>
                      <a:cubicBezTo>
                        <a:pt x="189986" y="100795"/>
                        <a:pt x="193370" y="112880"/>
                        <a:pt x="188536" y="122549"/>
                      </a:cubicBezTo>
                      <a:cubicBezTo>
                        <a:pt x="186003" y="127616"/>
                        <a:pt x="182736" y="132337"/>
                        <a:pt x="179109" y="136689"/>
                      </a:cubicBezTo>
                      <a:cubicBezTo>
                        <a:pt x="171664" y="145623"/>
                        <a:pt x="161421" y="154960"/>
                        <a:pt x="150829" y="160256"/>
                      </a:cubicBezTo>
                      <a:cubicBezTo>
                        <a:pt x="146385" y="162478"/>
                        <a:pt x="141402" y="163398"/>
                        <a:pt x="136689" y="164969"/>
                      </a:cubicBezTo>
                      <a:cubicBezTo>
                        <a:pt x="133547" y="160256"/>
                        <a:pt x="131268" y="154835"/>
                        <a:pt x="127262" y="150829"/>
                      </a:cubicBezTo>
                      <a:cubicBezTo>
                        <a:pt x="112971" y="136538"/>
                        <a:pt x="100897" y="139656"/>
                        <a:pt x="80128" y="136689"/>
                      </a:cubicBezTo>
                      <a:cubicBezTo>
                        <a:pt x="75415" y="131976"/>
                        <a:pt x="72079" y="125256"/>
                        <a:pt x="65988" y="122549"/>
                      </a:cubicBezTo>
                      <a:cubicBezTo>
                        <a:pt x="45400" y="113398"/>
                        <a:pt x="34006" y="118575"/>
                        <a:pt x="14140" y="122549"/>
                      </a:cubicBezTo>
                      <a:cubicBezTo>
                        <a:pt x="8575" y="144810"/>
                        <a:pt x="15221" y="138505"/>
                        <a:pt x="0" y="146116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463" name="Forma livre 795"/>
                <p:cNvSpPr/>
                <p:nvPr/>
              </p:nvSpPr>
              <p:spPr>
                <a:xfrm>
                  <a:off x="1560136" y="2743200"/>
                  <a:ext cx="18854" cy="183823"/>
                </a:xfrm>
                <a:custGeom>
                  <a:avLst/>
                  <a:gdLst>
                    <a:gd name="connsiteX0" fmla="*/ 18854 w 18854"/>
                    <a:gd name="connsiteY0" fmla="*/ 0 h 183823"/>
                    <a:gd name="connsiteX1" fmla="*/ 0 w 18854"/>
                    <a:gd name="connsiteY1" fmla="*/ 37707 h 183823"/>
                    <a:gd name="connsiteX2" fmla="*/ 4713 w 18854"/>
                    <a:gd name="connsiteY2" fmla="*/ 65988 h 183823"/>
                    <a:gd name="connsiteX3" fmla="*/ 9427 w 18854"/>
                    <a:gd name="connsiteY3" fmla="*/ 131975 h 183823"/>
                    <a:gd name="connsiteX4" fmla="*/ 14140 w 18854"/>
                    <a:gd name="connsiteY4" fmla="*/ 183823 h 1838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854" h="183823">
                      <a:moveTo>
                        <a:pt x="18854" y="0"/>
                      </a:moveTo>
                      <a:cubicBezTo>
                        <a:pt x="16189" y="4441"/>
                        <a:pt x="0" y="27558"/>
                        <a:pt x="0" y="37707"/>
                      </a:cubicBezTo>
                      <a:cubicBezTo>
                        <a:pt x="0" y="47264"/>
                        <a:pt x="3142" y="56561"/>
                        <a:pt x="4713" y="65988"/>
                      </a:cubicBezTo>
                      <a:cubicBezTo>
                        <a:pt x="6284" y="87984"/>
                        <a:pt x="7118" y="110044"/>
                        <a:pt x="9427" y="131975"/>
                      </a:cubicBezTo>
                      <a:cubicBezTo>
                        <a:pt x="15989" y="194309"/>
                        <a:pt x="14140" y="112791"/>
                        <a:pt x="14140" y="183823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47" name="Forma livre 796"/>
                <p:cNvSpPr/>
                <p:nvPr/>
              </p:nvSpPr>
              <p:spPr>
                <a:xfrm>
                  <a:off x="1008668" y="2587658"/>
                  <a:ext cx="782425" cy="216555"/>
                </a:xfrm>
                <a:custGeom>
                  <a:avLst/>
                  <a:gdLst>
                    <a:gd name="connsiteX0" fmla="*/ 0 w 782425"/>
                    <a:gd name="connsiteY0" fmla="*/ 47134 h 216555"/>
                    <a:gd name="connsiteX1" fmla="*/ 23567 w 782425"/>
                    <a:gd name="connsiteY1" fmla="*/ 56561 h 216555"/>
                    <a:gd name="connsiteX2" fmla="*/ 28280 w 782425"/>
                    <a:gd name="connsiteY2" fmla="*/ 70701 h 216555"/>
                    <a:gd name="connsiteX3" fmla="*/ 42421 w 782425"/>
                    <a:gd name="connsiteY3" fmla="*/ 80128 h 216555"/>
                    <a:gd name="connsiteX4" fmla="*/ 51847 w 782425"/>
                    <a:gd name="connsiteY4" fmla="*/ 94268 h 216555"/>
                    <a:gd name="connsiteX5" fmla="*/ 61274 w 782425"/>
                    <a:gd name="connsiteY5" fmla="*/ 113121 h 216555"/>
                    <a:gd name="connsiteX6" fmla="*/ 89555 w 782425"/>
                    <a:gd name="connsiteY6" fmla="*/ 146115 h 216555"/>
                    <a:gd name="connsiteX7" fmla="*/ 98981 w 782425"/>
                    <a:gd name="connsiteY7" fmla="*/ 160255 h 216555"/>
                    <a:gd name="connsiteX8" fmla="*/ 127262 w 782425"/>
                    <a:gd name="connsiteY8" fmla="*/ 183822 h 216555"/>
                    <a:gd name="connsiteX9" fmla="*/ 136689 w 782425"/>
                    <a:gd name="connsiteY9" fmla="*/ 197963 h 216555"/>
                    <a:gd name="connsiteX10" fmla="*/ 193250 w 782425"/>
                    <a:gd name="connsiteY10" fmla="*/ 207389 h 216555"/>
                    <a:gd name="connsiteX11" fmla="*/ 259237 w 782425"/>
                    <a:gd name="connsiteY11" fmla="*/ 207389 h 216555"/>
                    <a:gd name="connsiteX12" fmla="*/ 287518 w 782425"/>
                    <a:gd name="connsiteY12" fmla="*/ 188536 h 216555"/>
                    <a:gd name="connsiteX13" fmla="*/ 301658 w 782425"/>
                    <a:gd name="connsiteY13" fmla="*/ 179109 h 216555"/>
                    <a:gd name="connsiteX14" fmla="*/ 329938 w 782425"/>
                    <a:gd name="connsiteY14" fmla="*/ 169682 h 216555"/>
                    <a:gd name="connsiteX15" fmla="*/ 344078 w 782425"/>
                    <a:gd name="connsiteY15" fmla="*/ 164969 h 216555"/>
                    <a:gd name="connsiteX16" fmla="*/ 424206 w 782425"/>
                    <a:gd name="connsiteY16" fmla="*/ 155542 h 216555"/>
                    <a:gd name="connsiteX17" fmla="*/ 438346 w 782425"/>
                    <a:gd name="connsiteY17" fmla="*/ 150829 h 216555"/>
                    <a:gd name="connsiteX18" fmla="*/ 490194 w 782425"/>
                    <a:gd name="connsiteY18" fmla="*/ 146115 h 216555"/>
                    <a:gd name="connsiteX19" fmla="*/ 542041 w 782425"/>
                    <a:gd name="connsiteY19" fmla="*/ 146115 h 216555"/>
                    <a:gd name="connsiteX20" fmla="*/ 556181 w 782425"/>
                    <a:gd name="connsiteY20" fmla="*/ 160255 h 216555"/>
                    <a:gd name="connsiteX21" fmla="*/ 593889 w 782425"/>
                    <a:gd name="connsiteY21" fmla="*/ 155542 h 216555"/>
                    <a:gd name="connsiteX22" fmla="*/ 608029 w 782425"/>
                    <a:gd name="connsiteY22" fmla="*/ 150829 h 216555"/>
                    <a:gd name="connsiteX23" fmla="*/ 617456 w 782425"/>
                    <a:gd name="connsiteY23" fmla="*/ 136688 h 216555"/>
                    <a:gd name="connsiteX24" fmla="*/ 631596 w 782425"/>
                    <a:gd name="connsiteY24" fmla="*/ 122548 h 216555"/>
                    <a:gd name="connsiteX25" fmla="*/ 659876 w 782425"/>
                    <a:gd name="connsiteY25" fmla="*/ 103695 h 216555"/>
                    <a:gd name="connsiteX26" fmla="*/ 674017 w 782425"/>
                    <a:gd name="connsiteY26" fmla="*/ 94268 h 216555"/>
                    <a:gd name="connsiteX27" fmla="*/ 688157 w 782425"/>
                    <a:gd name="connsiteY27" fmla="*/ 80128 h 216555"/>
                    <a:gd name="connsiteX28" fmla="*/ 740004 w 782425"/>
                    <a:gd name="connsiteY28" fmla="*/ 70701 h 216555"/>
                    <a:gd name="connsiteX29" fmla="*/ 754144 w 782425"/>
                    <a:gd name="connsiteY29" fmla="*/ 65987 h 216555"/>
                    <a:gd name="connsiteX30" fmla="*/ 768285 w 782425"/>
                    <a:gd name="connsiteY30" fmla="*/ 28280 h 216555"/>
                    <a:gd name="connsiteX31" fmla="*/ 772998 w 782425"/>
                    <a:gd name="connsiteY31" fmla="*/ 14140 h 216555"/>
                    <a:gd name="connsiteX32" fmla="*/ 782425 w 782425"/>
                    <a:gd name="connsiteY32" fmla="*/ 0 h 2165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</a:cxnLst>
                  <a:rect l="l" t="t" r="r" b="b"/>
                  <a:pathLst>
                    <a:path w="782425" h="216555">
                      <a:moveTo>
                        <a:pt x="0" y="47134"/>
                      </a:moveTo>
                      <a:cubicBezTo>
                        <a:pt x="7856" y="50276"/>
                        <a:pt x="17067" y="51144"/>
                        <a:pt x="23567" y="56561"/>
                      </a:cubicBezTo>
                      <a:cubicBezTo>
                        <a:pt x="27384" y="59742"/>
                        <a:pt x="25176" y="66821"/>
                        <a:pt x="28280" y="70701"/>
                      </a:cubicBezTo>
                      <a:cubicBezTo>
                        <a:pt x="31819" y="75125"/>
                        <a:pt x="37707" y="76986"/>
                        <a:pt x="42421" y="80128"/>
                      </a:cubicBezTo>
                      <a:cubicBezTo>
                        <a:pt x="45563" y="84841"/>
                        <a:pt x="49037" y="89350"/>
                        <a:pt x="51847" y="94268"/>
                      </a:cubicBezTo>
                      <a:cubicBezTo>
                        <a:pt x="55333" y="100368"/>
                        <a:pt x="57550" y="107163"/>
                        <a:pt x="61274" y="113121"/>
                      </a:cubicBezTo>
                      <a:cubicBezTo>
                        <a:pt x="78932" y="141374"/>
                        <a:pt x="70267" y="122970"/>
                        <a:pt x="89555" y="146115"/>
                      </a:cubicBezTo>
                      <a:cubicBezTo>
                        <a:pt x="93181" y="150467"/>
                        <a:pt x="95355" y="155903"/>
                        <a:pt x="98981" y="160255"/>
                      </a:cubicBezTo>
                      <a:cubicBezTo>
                        <a:pt x="110323" y="173865"/>
                        <a:pt x="113358" y="174553"/>
                        <a:pt x="127262" y="183822"/>
                      </a:cubicBezTo>
                      <a:cubicBezTo>
                        <a:pt x="130404" y="188536"/>
                        <a:pt x="134156" y="192896"/>
                        <a:pt x="136689" y="197963"/>
                      </a:cubicBezTo>
                      <a:cubicBezTo>
                        <a:pt x="151768" y="228123"/>
                        <a:pt x="119412" y="214102"/>
                        <a:pt x="193250" y="207389"/>
                      </a:cubicBezTo>
                      <a:cubicBezTo>
                        <a:pt x="215500" y="210171"/>
                        <a:pt x="237279" y="216538"/>
                        <a:pt x="259237" y="207389"/>
                      </a:cubicBezTo>
                      <a:cubicBezTo>
                        <a:pt x="269695" y="203031"/>
                        <a:pt x="278091" y="194820"/>
                        <a:pt x="287518" y="188536"/>
                      </a:cubicBezTo>
                      <a:cubicBezTo>
                        <a:pt x="292231" y="185394"/>
                        <a:pt x="296284" y="180900"/>
                        <a:pt x="301658" y="179109"/>
                      </a:cubicBezTo>
                      <a:lnTo>
                        <a:pt x="329938" y="169682"/>
                      </a:lnTo>
                      <a:cubicBezTo>
                        <a:pt x="334651" y="168111"/>
                        <a:pt x="339130" y="165419"/>
                        <a:pt x="344078" y="164969"/>
                      </a:cubicBezTo>
                      <a:cubicBezTo>
                        <a:pt x="370561" y="162561"/>
                        <a:pt x="398017" y="161361"/>
                        <a:pt x="424206" y="155542"/>
                      </a:cubicBezTo>
                      <a:cubicBezTo>
                        <a:pt x="429056" y="154464"/>
                        <a:pt x="433428" y="151532"/>
                        <a:pt x="438346" y="150829"/>
                      </a:cubicBezTo>
                      <a:cubicBezTo>
                        <a:pt x="455526" y="148375"/>
                        <a:pt x="472911" y="147686"/>
                        <a:pt x="490194" y="146115"/>
                      </a:cubicBezTo>
                      <a:cubicBezTo>
                        <a:pt x="510625" y="139305"/>
                        <a:pt x="514003" y="135920"/>
                        <a:pt x="542041" y="146115"/>
                      </a:cubicBezTo>
                      <a:cubicBezTo>
                        <a:pt x="548305" y="148393"/>
                        <a:pt x="551468" y="155542"/>
                        <a:pt x="556181" y="160255"/>
                      </a:cubicBezTo>
                      <a:cubicBezTo>
                        <a:pt x="568750" y="158684"/>
                        <a:pt x="581426" y="157808"/>
                        <a:pt x="593889" y="155542"/>
                      </a:cubicBezTo>
                      <a:cubicBezTo>
                        <a:pt x="598777" y="154653"/>
                        <a:pt x="604149" y="153933"/>
                        <a:pt x="608029" y="150829"/>
                      </a:cubicBezTo>
                      <a:cubicBezTo>
                        <a:pt x="612453" y="147290"/>
                        <a:pt x="613829" y="141040"/>
                        <a:pt x="617456" y="136688"/>
                      </a:cubicBezTo>
                      <a:cubicBezTo>
                        <a:pt x="621723" y="131567"/>
                        <a:pt x="626334" y="126640"/>
                        <a:pt x="631596" y="122548"/>
                      </a:cubicBezTo>
                      <a:cubicBezTo>
                        <a:pt x="640539" y="115592"/>
                        <a:pt x="650449" y="109979"/>
                        <a:pt x="659876" y="103695"/>
                      </a:cubicBezTo>
                      <a:cubicBezTo>
                        <a:pt x="664590" y="100553"/>
                        <a:pt x="670011" y="98274"/>
                        <a:pt x="674017" y="94268"/>
                      </a:cubicBezTo>
                      <a:cubicBezTo>
                        <a:pt x="678730" y="89555"/>
                        <a:pt x="682611" y="83826"/>
                        <a:pt x="688157" y="80128"/>
                      </a:cubicBezTo>
                      <a:cubicBezTo>
                        <a:pt x="698219" y="73420"/>
                        <a:pt x="738399" y="70902"/>
                        <a:pt x="740004" y="70701"/>
                      </a:cubicBezTo>
                      <a:cubicBezTo>
                        <a:pt x="744717" y="69130"/>
                        <a:pt x="750264" y="69091"/>
                        <a:pt x="754144" y="65987"/>
                      </a:cubicBezTo>
                      <a:cubicBezTo>
                        <a:pt x="766267" y="56288"/>
                        <a:pt x="764931" y="41694"/>
                        <a:pt x="768285" y="28280"/>
                      </a:cubicBezTo>
                      <a:cubicBezTo>
                        <a:pt x="769490" y="23460"/>
                        <a:pt x="770776" y="18584"/>
                        <a:pt x="772998" y="14140"/>
                      </a:cubicBezTo>
                      <a:cubicBezTo>
                        <a:pt x="775531" y="9073"/>
                        <a:pt x="782425" y="0"/>
                        <a:pt x="782425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49" name="Forma livre 797"/>
                <p:cNvSpPr/>
                <p:nvPr/>
              </p:nvSpPr>
              <p:spPr>
                <a:xfrm>
                  <a:off x="3186260" y="2710206"/>
                  <a:ext cx="94268" cy="400639"/>
                </a:xfrm>
                <a:custGeom>
                  <a:avLst/>
                  <a:gdLst>
                    <a:gd name="connsiteX0" fmla="*/ 84841 w 94268"/>
                    <a:gd name="connsiteY0" fmla="*/ 0 h 400639"/>
                    <a:gd name="connsiteX1" fmla="*/ 89554 w 94268"/>
                    <a:gd name="connsiteY1" fmla="*/ 32994 h 400639"/>
                    <a:gd name="connsiteX2" fmla="*/ 94268 w 94268"/>
                    <a:gd name="connsiteY2" fmla="*/ 51848 h 400639"/>
                    <a:gd name="connsiteX3" fmla="*/ 89554 w 94268"/>
                    <a:gd name="connsiteY3" fmla="*/ 127262 h 400639"/>
                    <a:gd name="connsiteX4" fmla="*/ 70701 w 94268"/>
                    <a:gd name="connsiteY4" fmla="*/ 169683 h 400639"/>
                    <a:gd name="connsiteX5" fmla="*/ 61274 w 94268"/>
                    <a:gd name="connsiteY5" fmla="*/ 207390 h 400639"/>
                    <a:gd name="connsiteX6" fmla="*/ 51847 w 94268"/>
                    <a:gd name="connsiteY6" fmla="*/ 235670 h 400639"/>
                    <a:gd name="connsiteX7" fmla="*/ 47134 w 94268"/>
                    <a:gd name="connsiteY7" fmla="*/ 249810 h 400639"/>
                    <a:gd name="connsiteX8" fmla="*/ 42420 w 94268"/>
                    <a:gd name="connsiteY8" fmla="*/ 296945 h 400639"/>
                    <a:gd name="connsiteX9" fmla="*/ 32994 w 94268"/>
                    <a:gd name="connsiteY9" fmla="*/ 325225 h 400639"/>
                    <a:gd name="connsiteX10" fmla="*/ 28280 w 94268"/>
                    <a:gd name="connsiteY10" fmla="*/ 339365 h 400639"/>
                    <a:gd name="connsiteX11" fmla="*/ 23567 w 94268"/>
                    <a:gd name="connsiteY11" fmla="*/ 353505 h 400639"/>
                    <a:gd name="connsiteX12" fmla="*/ 14140 w 94268"/>
                    <a:gd name="connsiteY12" fmla="*/ 367646 h 400639"/>
                    <a:gd name="connsiteX13" fmla="*/ 0 w 94268"/>
                    <a:gd name="connsiteY13" fmla="*/ 400639 h 4006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94268" h="400639">
                      <a:moveTo>
                        <a:pt x="84841" y="0"/>
                      </a:moveTo>
                      <a:cubicBezTo>
                        <a:pt x="86412" y="10998"/>
                        <a:pt x="87567" y="22064"/>
                        <a:pt x="89554" y="32994"/>
                      </a:cubicBezTo>
                      <a:cubicBezTo>
                        <a:pt x="90713" y="39368"/>
                        <a:pt x="94268" y="45370"/>
                        <a:pt x="94268" y="51848"/>
                      </a:cubicBezTo>
                      <a:cubicBezTo>
                        <a:pt x="94268" y="77035"/>
                        <a:pt x="92957" y="102306"/>
                        <a:pt x="89554" y="127262"/>
                      </a:cubicBezTo>
                      <a:cubicBezTo>
                        <a:pt x="84994" y="160699"/>
                        <a:pt x="81844" y="147398"/>
                        <a:pt x="70701" y="169683"/>
                      </a:cubicBezTo>
                      <a:cubicBezTo>
                        <a:pt x="64978" y="181129"/>
                        <a:pt x="64503" y="195549"/>
                        <a:pt x="61274" y="207390"/>
                      </a:cubicBezTo>
                      <a:cubicBezTo>
                        <a:pt x="58660" y="216976"/>
                        <a:pt x="54989" y="226243"/>
                        <a:pt x="51847" y="235670"/>
                      </a:cubicBezTo>
                      <a:lnTo>
                        <a:pt x="47134" y="249810"/>
                      </a:lnTo>
                      <a:cubicBezTo>
                        <a:pt x="45563" y="265522"/>
                        <a:pt x="45330" y="281425"/>
                        <a:pt x="42420" y="296945"/>
                      </a:cubicBezTo>
                      <a:cubicBezTo>
                        <a:pt x="40589" y="306711"/>
                        <a:pt x="36136" y="315798"/>
                        <a:pt x="32994" y="325225"/>
                      </a:cubicBezTo>
                      <a:lnTo>
                        <a:pt x="28280" y="339365"/>
                      </a:lnTo>
                      <a:cubicBezTo>
                        <a:pt x="26709" y="344078"/>
                        <a:pt x="26323" y="349371"/>
                        <a:pt x="23567" y="353505"/>
                      </a:cubicBezTo>
                      <a:lnTo>
                        <a:pt x="14140" y="367646"/>
                      </a:lnTo>
                      <a:cubicBezTo>
                        <a:pt x="4010" y="398034"/>
                        <a:pt x="11739" y="388900"/>
                        <a:pt x="0" y="400639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0" name="Forma livre 798"/>
                <p:cNvSpPr/>
                <p:nvPr/>
              </p:nvSpPr>
              <p:spPr>
                <a:xfrm>
                  <a:off x="1776953" y="2554664"/>
                  <a:ext cx="1291472" cy="961534"/>
                </a:xfrm>
                <a:custGeom>
                  <a:avLst/>
                  <a:gdLst>
                    <a:gd name="connsiteX0" fmla="*/ 0 w 1291472"/>
                    <a:gd name="connsiteY0" fmla="*/ 0 h 961534"/>
                    <a:gd name="connsiteX1" fmla="*/ 4713 w 1291472"/>
                    <a:gd name="connsiteY1" fmla="*/ 32994 h 961534"/>
                    <a:gd name="connsiteX2" fmla="*/ 18853 w 1291472"/>
                    <a:gd name="connsiteY2" fmla="*/ 37707 h 961534"/>
                    <a:gd name="connsiteX3" fmla="*/ 84841 w 1291472"/>
                    <a:gd name="connsiteY3" fmla="*/ 47134 h 961534"/>
                    <a:gd name="connsiteX4" fmla="*/ 94268 w 1291472"/>
                    <a:gd name="connsiteY4" fmla="*/ 80128 h 961534"/>
                    <a:gd name="connsiteX5" fmla="*/ 122548 w 1291472"/>
                    <a:gd name="connsiteY5" fmla="*/ 94268 h 961534"/>
                    <a:gd name="connsiteX6" fmla="*/ 136688 w 1291472"/>
                    <a:gd name="connsiteY6" fmla="*/ 127262 h 961534"/>
                    <a:gd name="connsiteX7" fmla="*/ 155542 w 1291472"/>
                    <a:gd name="connsiteY7" fmla="*/ 155542 h 961534"/>
                    <a:gd name="connsiteX8" fmla="*/ 164969 w 1291472"/>
                    <a:gd name="connsiteY8" fmla="*/ 183823 h 961534"/>
                    <a:gd name="connsiteX9" fmla="*/ 169682 w 1291472"/>
                    <a:gd name="connsiteY9" fmla="*/ 207390 h 961534"/>
                    <a:gd name="connsiteX10" fmla="*/ 179109 w 1291472"/>
                    <a:gd name="connsiteY10" fmla="*/ 235670 h 961534"/>
                    <a:gd name="connsiteX11" fmla="*/ 193249 w 1291472"/>
                    <a:gd name="connsiteY11" fmla="*/ 240383 h 961534"/>
                    <a:gd name="connsiteX12" fmla="*/ 212103 w 1291472"/>
                    <a:gd name="connsiteY12" fmla="*/ 259237 h 961534"/>
                    <a:gd name="connsiteX13" fmla="*/ 240383 w 1291472"/>
                    <a:gd name="connsiteY13" fmla="*/ 278091 h 961534"/>
                    <a:gd name="connsiteX14" fmla="*/ 254523 w 1291472"/>
                    <a:gd name="connsiteY14" fmla="*/ 292231 h 961534"/>
                    <a:gd name="connsiteX15" fmla="*/ 263950 w 1291472"/>
                    <a:gd name="connsiteY15" fmla="*/ 306371 h 961534"/>
                    <a:gd name="connsiteX16" fmla="*/ 278090 w 1291472"/>
                    <a:gd name="connsiteY16" fmla="*/ 315798 h 961534"/>
                    <a:gd name="connsiteX17" fmla="*/ 301657 w 1291472"/>
                    <a:gd name="connsiteY17" fmla="*/ 334651 h 961534"/>
                    <a:gd name="connsiteX18" fmla="*/ 344078 w 1291472"/>
                    <a:gd name="connsiteY18" fmla="*/ 367645 h 961534"/>
                    <a:gd name="connsiteX19" fmla="*/ 348791 w 1291472"/>
                    <a:gd name="connsiteY19" fmla="*/ 381785 h 961534"/>
                    <a:gd name="connsiteX20" fmla="*/ 367645 w 1291472"/>
                    <a:gd name="connsiteY20" fmla="*/ 466627 h 961534"/>
                    <a:gd name="connsiteX21" fmla="*/ 386499 w 1291472"/>
                    <a:gd name="connsiteY21" fmla="*/ 471340 h 961534"/>
                    <a:gd name="connsiteX22" fmla="*/ 400639 w 1291472"/>
                    <a:gd name="connsiteY22" fmla="*/ 476054 h 961534"/>
                    <a:gd name="connsiteX23" fmla="*/ 419492 w 1291472"/>
                    <a:gd name="connsiteY23" fmla="*/ 480767 h 961534"/>
                    <a:gd name="connsiteX24" fmla="*/ 447773 w 1291472"/>
                    <a:gd name="connsiteY24" fmla="*/ 490194 h 961534"/>
                    <a:gd name="connsiteX25" fmla="*/ 461913 w 1291472"/>
                    <a:gd name="connsiteY25" fmla="*/ 494907 h 961534"/>
                    <a:gd name="connsiteX26" fmla="*/ 490193 w 1291472"/>
                    <a:gd name="connsiteY26" fmla="*/ 513761 h 961534"/>
                    <a:gd name="connsiteX27" fmla="*/ 504334 w 1291472"/>
                    <a:gd name="connsiteY27" fmla="*/ 523188 h 961534"/>
                    <a:gd name="connsiteX28" fmla="*/ 527901 w 1291472"/>
                    <a:gd name="connsiteY28" fmla="*/ 551468 h 961534"/>
                    <a:gd name="connsiteX29" fmla="*/ 560894 w 1291472"/>
                    <a:gd name="connsiteY29" fmla="*/ 589175 h 961534"/>
                    <a:gd name="connsiteX30" fmla="*/ 579748 w 1291472"/>
                    <a:gd name="connsiteY30" fmla="*/ 631596 h 961534"/>
                    <a:gd name="connsiteX31" fmla="*/ 584461 w 1291472"/>
                    <a:gd name="connsiteY31" fmla="*/ 645736 h 961534"/>
                    <a:gd name="connsiteX32" fmla="*/ 612742 w 1291472"/>
                    <a:gd name="connsiteY32" fmla="*/ 674016 h 961534"/>
                    <a:gd name="connsiteX33" fmla="*/ 631595 w 1291472"/>
                    <a:gd name="connsiteY33" fmla="*/ 688157 h 961534"/>
                    <a:gd name="connsiteX34" fmla="*/ 650449 w 1291472"/>
                    <a:gd name="connsiteY34" fmla="*/ 716437 h 961534"/>
                    <a:gd name="connsiteX35" fmla="*/ 659876 w 1291472"/>
                    <a:gd name="connsiteY35" fmla="*/ 730577 h 961534"/>
                    <a:gd name="connsiteX36" fmla="*/ 669303 w 1291472"/>
                    <a:gd name="connsiteY36" fmla="*/ 744717 h 961534"/>
                    <a:gd name="connsiteX37" fmla="*/ 678729 w 1291472"/>
                    <a:gd name="connsiteY37" fmla="*/ 777711 h 961534"/>
                    <a:gd name="connsiteX38" fmla="*/ 683443 w 1291472"/>
                    <a:gd name="connsiteY38" fmla="*/ 829559 h 961534"/>
                    <a:gd name="connsiteX39" fmla="*/ 697583 w 1291472"/>
                    <a:gd name="connsiteY39" fmla="*/ 838985 h 961534"/>
                    <a:gd name="connsiteX40" fmla="*/ 725863 w 1291472"/>
                    <a:gd name="connsiteY40" fmla="*/ 848412 h 961534"/>
                    <a:gd name="connsiteX41" fmla="*/ 740004 w 1291472"/>
                    <a:gd name="connsiteY41" fmla="*/ 853126 h 961534"/>
                    <a:gd name="connsiteX42" fmla="*/ 768284 w 1291472"/>
                    <a:gd name="connsiteY42" fmla="*/ 867266 h 961534"/>
                    <a:gd name="connsiteX43" fmla="*/ 777711 w 1291472"/>
                    <a:gd name="connsiteY43" fmla="*/ 853126 h 961534"/>
                    <a:gd name="connsiteX44" fmla="*/ 787138 w 1291472"/>
                    <a:gd name="connsiteY44" fmla="*/ 824845 h 961534"/>
                    <a:gd name="connsiteX45" fmla="*/ 824845 w 1291472"/>
                    <a:gd name="connsiteY45" fmla="*/ 815418 h 961534"/>
                    <a:gd name="connsiteX46" fmla="*/ 848412 w 1291472"/>
                    <a:gd name="connsiteY46" fmla="*/ 791851 h 961534"/>
                    <a:gd name="connsiteX47" fmla="*/ 857839 w 1291472"/>
                    <a:gd name="connsiteY47" fmla="*/ 763571 h 961534"/>
                    <a:gd name="connsiteX48" fmla="*/ 853125 w 1291472"/>
                    <a:gd name="connsiteY48" fmla="*/ 740004 h 961534"/>
                    <a:gd name="connsiteX49" fmla="*/ 848412 w 1291472"/>
                    <a:gd name="connsiteY49" fmla="*/ 725864 h 961534"/>
                    <a:gd name="connsiteX50" fmla="*/ 867266 w 1291472"/>
                    <a:gd name="connsiteY50" fmla="*/ 702297 h 961534"/>
                    <a:gd name="connsiteX51" fmla="*/ 881406 w 1291472"/>
                    <a:gd name="connsiteY51" fmla="*/ 697583 h 961534"/>
                    <a:gd name="connsiteX52" fmla="*/ 895546 w 1291472"/>
                    <a:gd name="connsiteY52" fmla="*/ 688157 h 961534"/>
                    <a:gd name="connsiteX53" fmla="*/ 909686 w 1291472"/>
                    <a:gd name="connsiteY53" fmla="*/ 669303 h 961534"/>
                    <a:gd name="connsiteX54" fmla="*/ 928540 w 1291472"/>
                    <a:gd name="connsiteY54" fmla="*/ 664590 h 961534"/>
                    <a:gd name="connsiteX55" fmla="*/ 952107 w 1291472"/>
                    <a:gd name="connsiteY55" fmla="*/ 669303 h 961534"/>
                    <a:gd name="connsiteX56" fmla="*/ 985101 w 1291472"/>
                    <a:gd name="connsiteY56" fmla="*/ 683443 h 961534"/>
                    <a:gd name="connsiteX57" fmla="*/ 970960 w 1291472"/>
                    <a:gd name="connsiteY57" fmla="*/ 711724 h 961534"/>
                    <a:gd name="connsiteX58" fmla="*/ 966247 w 1291472"/>
                    <a:gd name="connsiteY58" fmla="*/ 725864 h 961534"/>
                    <a:gd name="connsiteX59" fmla="*/ 975674 w 1291472"/>
                    <a:gd name="connsiteY59" fmla="*/ 754144 h 961534"/>
                    <a:gd name="connsiteX60" fmla="*/ 980387 w 1291472"/>
                    <a:gd name="connsiteY60" fmla="*/ 796565 h 961534"/>
                    <a:gd name="connsiteX61" fmla="*/ 994527 w 1291472"/>
                    <a:gd name="connsiteY61" fmla="*/ 810705 h 961534"/>
                    <a:gd name="connsiteX62" fmla="*/ 1003954 w 1291472"/>
                    <a:gd name="connsiteY62" fmla="*/ 824845 h 961534"/>
                    <a:gd name="connsiteX63" fmla="*/ 1013381 w 1291472"/>
                    <a:gd name="connsiteY63" fmla="*/ 853126 h 961534"/>
                    <a:gd name="connsiteX64" fmla="*/ 1008668 w 1291472"/>
                    <a:gd name="connsiteY64" fmla="*/ 867266 h 961534"/>
                    <a:gd name="connsiteX65" fmla="*/ 994527 w 1291472"/>
                    <a:gd name="connsiteY65" fmla="*/ 881406 h 961534"/>
                    <a:gd name="connsiteX66" fmla="*/ 999241 w 1291472"/>
                    <a:gd name="connsiteY66" fmla="*/ 909687 h 961534"/>
                    <a:gd name="connsiteX67" fmla="*/ 1018094 w 1291472"/>
                    <a:gd name="connsiteY67" fmla="*/ 937967 h 961534"/>
                    <a:gd name="connsiteX68" fmla="*/ 1036948 w 1291472"/>
                    <a:gd name="connsiteY68" fmla="*/ 942680 h 961534"/>
                    <a:gd name="connsiteX69" fmla="*/ 1065228 w 1291472"/>
                    <a:gd name="connsiteY69" fmla="*/ 937967 h 961534"/>
                    <a:gd name="connsiteX70" fmla="*/ 1079369 w 1291472"/>
                    <a:gd name="connsiteY70" fmla="*/ 933254 h 961534"/>
                    <a:gd name="connsiteX71" fmla="*/ 1121789 w 1291472"/>
                    <a:gd name="connsiteY71" fmla="*/ 928540 h 961534"/>
                    <a:gd name="connsiteX72" fmla="*/ 1234911 w 1291472"/>
                    <a:gd name="connsiteY72" fmla="*/ 928540 h 961534"/>
                    <a:gd name="connsiteX73" fmla="*/ 1263191 w 1291472"/>
                    <a:gd name="connsiteY73" fmla="*/ 937967 h 961534"/>
                    <a:gd name="connsiteX74" fmla="*/ 1272618 w 1291472"/>
                    <a:gd name="connsiteY74" fmla="*/ 952107 h 961534"/>
                    <a:gd name="connsiteX75" fmla="*/ 1286758 w 1291472"/>
                    <a:gd name="connsiteY75" fmla="*/ 956821 h 961534"/>
                    <a:gd name="connsiteX76" fmla="*/ 1291472 w 1291472"/>
                    <a:gd name="connsiteY76" fmla="*/ 961534 h 9615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</a:cxnLst>
                  <a:rect l="l" t="t" r="r" b="b"/>
                  <a:pathLst>
                    <a:path w="1291472" h="961534">
                      <a:moveTo>
                        <a:pt x="0" y="0"/>
                      </a:moveTo>
                      <a:cubicBezTo>
                        <a:pt x="1571" y="10998"/>
                        <a:pt x="-255" y="23057"/>
                        <a:pt x="4713" y="32994"/>
                      </a:cubicBezTo>
                      <a:cubicBezTo>
                        <a:pt x="6935" y="37438"/>
                        <a:pt x="14003" y="36629"/>
                        <a:pt x="18853" y="37707"/>
                      </a:cubicBezTo>
                      <a:cubicBezTo>
                        <a:pt x="36338" y="41592"/>
                        <a:pt x="68520" y="45094"/>
                        <a:pt x="84841" y="47134"/>
                      </a:cubicBezTo>
                      <a:cubicBezTo>
                        <a:pt x="85150" y="48369"/>
                        <a:pt x="91807" y="77052"/>
                        <a:pt x="94268" y="80128"/>
                      </a:cubicBezTo>
                      <a:cubicBezTo>
                        <a:pt x="100914" y="88435"/>
                        <a:pt x="113232" y="91163"/>
                        <a:pt x="122548" y="94268"/>
                      </a:cubicBezTo>
                      <a:cubicBezTo>
                        <a:pt x="156861" y="145736"/>
                        <a:pt x="106252" y="66389"/>
                        <a:pt x="136688" y="127262"/>
                      </a:cubicBezTo>
                      <a:cubicBezTo>
                        <a:pt x="141755" y="137395"/>
                        <a:pt x="155542" y="155542"/>
                        <a:pt x="155542" y="155542"/>
                      </a:cubicBezTo>
                      <a:cubicBezTo>
                        <a:pt x="158684" y="164969"/>
                        <a:pt x="163020" y="174079"/>
                        <a:pt x="164969" y="183823"/>
                      </a:cubicBezTo>
                      <a:cubicBezTo>
                        <a:pt x="166540" y="191679"/>
                        <a:pt x="167574" y="199661"/>
                        <a:pt x="169682" y="207390"/>
                      </a:cubicBezTo>
                      <a:cubicBezTo>
                        <a:pt x="172296" y="216976"/>
                        <a:pt x="169682" y="232528"/>
                        <a:pt x="179109" y="235670"/>
                      </a:cubicBezTo>
                      <a:lnTo>
                        <a:pt x="193249" y="240383"/>
                      </a:lnTo>
                      <a:cubicBezTo>
                        <a:pt x="199534" y="246668"/>
                        <a:pt x="205163" y="253685"/>
                        <a:pt x="212103" y="259237"/>
                      </a:cubicBezTo>
                      <a:cubicBezTo>
                        <a:pt x="220950" y="266315"/>
                        <a:pt x="232372" y="270080"/>
                        <a:pt x="240383" y="278091"/>
                      </a:cubicBezTo>
                      <a:cubicBezTo>
                        <a:pt x="245096" y="282804"/>
                        <a:pt x="250256" y="287110"/>
                        <a:pt x="254523" y="292231"/>
                      </a:cubicBezTo>
                      <a:cubicBezTo>
                        <a:pt x="258150" y="296583"/>
                        <a:pt x="259944" y="302365"/>
                        <a:pt x="263950" y="306371"/>
                      </a:cubicBezTo>
                      <a:cubicBezTo>
                        <a:pt x="267956" y="310377"/>
                        <a:pt x="273377" y="312656"/>
                        <a:pt x="278090" y="315798"/>
                      </a:cubicBezTo>
                      <a:cubicBezTo>
                        <a:pt x="295509" y="341925"/>
                        <a:pt x="277551" y="321259"/>
                        <a:pt x="301657" y="334651"/>
                      </a:cubicBezTo>
                      <a:cubicBezTo>
                        <a:pt x="327027" y="348745"/>
                        <a:pt x="326902" y="350469"/>
                        <a:pt x="344078" y="367645"/>
                      </a:cubicBezTo>
                      <a:cubicBezTo>
                        <a:pt x="345649" y="372358"/>
                        <a:pt x="348242" y="376847"/>
                        <a:pt x="348791" y="381785"/>
                      </a:cubicBezTo>
                      <a:cubicBezTo>
                        <a:pt x="352062" y="411220"/>
                        <a:pt x="337336" y="449308"/>
                        <a:pt x="367645" y="466627"/>
                      </a:cubicBezTo>
                      <a:cubicBezTo>
                        <a:pt x="373270" y="469841"/>
                        <a:pt x="380270" y="469560"/>
                        <a:pt x="386499" y="471340"/>
                      </a:cubicBezTo>
                      <a:cubicBezTo>
                        <a:pt x="391276" y="472705"/>
                        <a:pt x="395862" y="474689"/>
                        <a:pt x="400639" y="476054"/>
                      </a:cubicBezTo>
                      <a:cubicBezTo>
                        <a:pt x="406867" y="477834"/>
                        <a:pt x="413287" y="478906"/>
                        <a:pt x="419492" y="480767"/>
                      </a:cubicBezTo>
                      <a:cubicBezTo>
                        <a:pt x="429010" y="483622"/>
                        <a:pt x="438346" y="487052"/>
                        <a:pt x="447773" y="490194"/>
                      </a:cubicBezTo>
                      <a:lnTo>
                        <a:pt x="461913" y="494907"/>
                      </a:lnTo>
                      <a:lnTo>
                        <a:pt x="490193" y="513761"/>
                      </a:lnTo>
                      <a:lnTo>
                        <a:pt x="504334" y="523188"/>
                      </a:lnTo>
                      <a:cubicBezTo>
                        <a:pt x="538009" y="573704"/>
                        <a:pt x="485570" y="497044"/>
                        <a:pt x="527901" y="551468"/>
                      </a:cubicBezTo>
                      <a:cubicBezTo>
                        <a:pt x="557512" y="589539"/>
                        <a:pt x="533519" y="570925"/>
                        <a:pt x="560894" y="589175"/>
                      </a:cubicBezTo>
                      <a:cubicBezTo>
                        <a:pt x="575833" y="611582"/>
                        <a:pt x="568530" y="597942"/>
                        <a:pt x="579748" y="631596"/>
                      </a:cubicBezTo>
                      <a:cubicBezTo>
                        <a:pt x="581319" y="636309"/>
                        <a:pt x="580948" y="642223"/>
                        <a:pt x="584461" y="645736"/>
                      </a:cubicBezTo>
                      <a:cubicBezTo>
                        <a:pt x="593888" y="655163"/>
                        <a:pt x="602077" y="666017"/>
                        <a:pt x="612742" y="674016"/>
                      </a:cubicBezTo>
                      <a:cubicBezTo>
                        <a:pt x="619026" y="678730"/>
                        <a:pt x="626376" y="682286"/>
                        <a:pt x="631595" y="688157"/>
                      </a:cubicBezTo>
                      <a:cubicBezTo>
                        <a:pt x="639122" y="696625"/>
                        <a:pt x="644164" y="707010"/>
                        <a:pt x="650449" y="716437"/>
                      </a:cubicBezTo>
                      <a:lnTo>
                        <a:pt x="659876" y="730577"/>
                      </a:lnTo>
                      <a:lnTo>
                        <a:pt x="669303" y="744717"/>
                      </a:lnTo>
                      <a:cubicBezTo>
                        <a:pt x="672534" y="754410"/>
                        <a:pt x="677414" y="767849"/>
                        <a:pt x="678729" y="777711"/>
                      </a:cubicBezTo>
                      <a:cubicBezTo>
                        <a:pt x="681023" y="794913"/>
                        <a:pt x="678339" y="812972"/>
                        <a:pt x="683443" y="829559"/>
                      </a:cubicBezTo>
                      <a:cubicBezTo>
                        <a:pt x="685109" y="834973"/>
                        <a:pt x="692407" y="836684"/>
                        <a:pt x="697583" y="838985"/>
                      </a:cubicBezTo>
                      <a:cubicBezTo>
                        <a:pt x="706663" y="843021"/>
                        <a:pt x="716436" y="845270"/>
                        <a:pt x="725863" y="848412"/>
                      </a:cubicBezTo>
                      <a:cubicBezTo>
                        <a:pt x="730577" y="849983"/>
                        <a:pt x="735870" y="850370"/>
                        <a:pt x="740004" y="853126"/>
                      </a:cubicBezTo>
                      <a:cubicBezTo>
                        <a:pt x="758278" y="865308"/>
                        <a:pt x="748770" y="860760"/>
                        <a:pt x="768284" y="867266"/>
                      </a:cubicBezTo>
                      <a:cubicBezTo>
                        <a:pt x="771426" y="862553"/>
                        <a:pt x="775410" y="858303"/>
                        <a:pt x="777711" y="853126"/>
                      </a:cubicBezTo>
                      <a:cubicBezTo>
                        <a:pt x="781747" y="844046"/>
                        <a:pt x="777498" y="827255"/>
                        <a:pt x="787138" y="824845"/>
                      </a:cubicBezTo>
                      <a:lnTo>
                        <a:pt x="824845" y="815418"/>
                      </a:lnTo>
                      <a:cubicBezTo>
                        <a:pt x="837746" y="806818"/>
                        <a:pt x="841796" y="806737"/>
                        <a:pt x="848412" y="791851"/>
                      </a:cubicBezTo>
                      <a:cubicBezTo>
                        <a:pt x="852448" y="782771"/>
                        <a:pt x="857839" y="763571"/>
                        <a:pt x="857839" y="763571"/>
                      </a:cubicBezTo>
                      <a:cubicBezTo>
                        <a:pt x="856268" y="755715"/>
                        <a:pt x="855068" y="747776"/>
                        <a:pt x="853125" y="740004"/>
                      </a:cubicBezTo>
                      <a:cubicBezTo>
                        <a:pt x="851920" y="735184"/>
                        <a:pt x="848412" y="730832"/>
                        <a:pt x="848412" y="725864"/>
                      </a:cubicBezTo>
                      <a:cubicBezTo>
                        <a:pt x="848412" y="712272"/>
                        <a:pt x="856408" y="707726"/>
                        <a:pt x="867266" y="702297"/>
                      </a:cubicBezTo>
                      <a:cubicBezTo>
                        <a:pt x="871710" y="700075"/>
                        <a:pt x="876962" y="699805"/>
                        <a:pt x="881406" y="697583"/>
                      </a:cubicBezTo>
                      <a:cubicBezTo>
                        <a:pt x="886473" y="695050"/>
                        <a:pt x="890833" y="691299"/>
                        <a:pt x="895546" y="688157"/>
                      </a:cubicBezTo>
                      <a:cubicBezTo>
                        <a:pt x="900259" y="681872"/>
                        <a:pt x="903294" y="673869"/>
                        <a:pt x="909686" y="669303"/>
                      </a:cubicBezTo>
                      <a:cubicBezTo>
                        <a:pt x="914957" y="665538"/>
                        <a:pt x="922062" y="664590"/>
                        <a:pt x="928540" y="664590"/>
                      </a:cubicBezTo>
                      <a:cubicBezTo>
                        <a:pt x="936551" y="664590"/>
                        <a:pt x="944335" y="667360"/>
                        <a:pt x="952107" y="669303"/>
                      </a:cubicBezTo>
                      <a:cubicBezTo>
                        <a:pt x="965978" y="672771"/>
                        <a:pt x="971610" y="676698"/>
                        <a:pt x="985101" y="683443"/>
                      </a:cubicBezTo>
                      <a:cubicBezTo>
                        <a:pt x="973250" y="718990"/>
                        <a:pt x="989238" y="675168"/>
                        <a:pt x="970960" y="711724"/>
                      </a:cubicBezTo>
                      <a:cubicBezTo>
                        <a:pt x="968738" y="716168"/>
                        <a:pt x="967818" y="721151"/>
                        <a:pt x="966247" y="725864"/>
                      </a:cubicBezTo>
                      <a:cubicBezTo>
                        <a:pt x="969389" y="735291"/>
                        <a:pt x="974577" y="744268"/>
                        <a:pt x="975674" y="754144"/>
                      </a:cubicBezTo>
                      <a:cubicBezTo>
                        <a:pt x="977245" y="768284"/>
                        <a:pt x="975888" y="783068"/>
                        <a:pt x="980387" y="796565"/>
                      </a:cubicBezTo>
                      <a:cubicBezTo>
                        <a:pt x="982495" y="802889"/>
                        <a:pt x="990260" y="805584"/>
                        <a:pt x="994527" y="810705"/>
                      </a:cubicBezTo>
                      <a:cubicBezTo>
                        <a:pt x="998154" y="815057"/>
                        <a:pt x="1001653" y="819668"/>
                        <a:pt x="1003954" y="824845"/>
                      </a:cubicBezTo>
                      <a:cubicBezTo>
                        <a:pt x="1007990" y="833925"/>
                        <a:pt x="1013381" y="853126"/>
                        <a:pt x="1013381" y="853126"/>
                      </a:cubicBezTo>
                      <a:cubicBezTo>
                        <a:pt x="1011810" y="857839"/>
                        <a:pt x="1011424" y="863132"/>
                        <a:pt x="1008668" y="867266"/>
                      </a:cubicBezTo>
                      <a:cubicBezTo>
                        <a:pt x="1004970" y="872812"/>
                        <a:pt x="995973" y="874899"/>
                        <a:pt x="994527" y="881406"/>
                      </a:cubicBezTo>
                      <a:cubicBezTo>
                        <a:pt x="992454" y="890735"/>
                        <a:pt x="997168" y="900358"/>
                        <a:pt x="999241" y="909687"/>
                      </a:cubicBezTo>
                      <a:cubicBezTo>
                        <a:pt x="1002022" y="922203"/>
                        <a:pt x="1005860" y="930977"/>
                        <a:pt x="1018094" y="937967"/>
                      </a:cubicBezTo>
                      <a:cubicBezTo>
                        <a:pt x="1023719" y="941181"/>
                        <a:pt x="1030663" y="941109"/>
                        <a:pt x="1036948" y="942680"/>
                      </a:cubicBezTo>
                      <a:cubicBezTo>
                        <a:pt x="1046375" y="941109"/>
                        <a:pt x="1055899" y="940040"/>
                        <a:pt x="1065228" y="937967"/>
                      </a:cubicBezTo>
                      <a:cubicBezTo>
                        <a:pt x="1070078" y="936889"/>
                        <a:pt x="1074468" y="934071"/>
                        <a:pt x="1079369" y="933254"/>
                      </a:cubicBezTo>
                      <a:cubicBezTo>
                        <a:pt x="1093402" y="930915"/>
                        <a:pt x="1107649" y="930111"/>
                        <a:pt x="1121789" y="928540"/>
                      </a:cubicBezTo>
                      <a:cubicBezTo>
                        <a:pt x="1167454" y="917125"/>
                        <a:pt x="1152202" y="918997"/>
                        <a:pt x="1234911" y="928540"/>
                      </a:cubicBezTo>
                      <a:cubicBezTo>
                        <a:pt x="1244782" y="929679"/>
                        <a:pt x="1263191" y="937967"/>
                        <a:pt x="1263191" y="937967"/>
                      </a:cubicBezTo>
                      <a:cubicBezTo>
                        <a:pt x="1266333" y="942680"/>
                        <a:pt x="1268195" y="948568"/>
                        <a:pt x="1272618" y="952107"/>
                      </a:cubicBezTo>
                      <a:cubicBezTo>
                        <a:pt x="1276498" y="955211"/>
                        <a:pt x="1282314" y="954599"/>
                        <a:pt x="1286758" y="956821"/>
                      </a:cubicBezTo>
                      <a:cubicBezTo>
                        <a:pt x="1288745" y="957815"/>
                        <a:pt x="1289901" y="959963"/>
                        <a:pt x="1291472" y="96153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1" name="Forma livre 799"/>
                <p:cNvSpPr/>
                <p:nvPr/>
              </p:nvSpPr>
              <p:spPr>
                <a:xfrm>
                  <a:off x="2007909" y="2992985"/>
                  <a:ext cx="113122" cy="70726"/>
                </a:xfrm>
                <a:custGeom>
                  <a:avLst/>
                  <a:gdLst>
                    <a:gd name="connsiteX0" fmla="*/ 0 w 113122"/>
                    <a:gd name="connsiteY0" fmla="*/ 70726 h 70726"/>
                    <a:gd name="connsiteX1" fmla="*/ 23567 w 113122"/>
                    <a:gd name="connsiteY1" fmla="*/ 56586 h 70726"/>
                    <a:gd name="connsiteX2" fmla="*/ 32994 w 113122"/>
                    <a:gd name="connsiteY2" fmla="*/ 37733 h 70726"/>
                    <a:gd name="connsiteX3" fmla="*/ 61275 w 113122"/>
                    <a:gd name="connsiteY3" fmla="*/ 18879 h 70726"/>
                    <a:gd name="connsiteX4" fmla="*/ 75415 w 113122"/>
                    <a:gd name="connsiteY4" fmla="*/ 9452 h 70726"/>
                    <a:gd name="connsiteX5" fmla="*/ 113122 w 113122"/>
                    <a:gd name="connsiteY5" fmla="*/ 25 h 70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3122" h="70726">
                      <a:moveTo>
                        <a:pt x="0" y="70726"/>
                      </a:moveTo>
                      <a:cubicBezTo>
                        <a:pt x="7856" y="66013"/>
                        <a:pt x="17089" y="63064"/>
                        <a:pt x="23567" y="56586"/>
                      </a:cubicBezTo>
                      <a:cubicBezTo>
                        <a:pt x="28535" y="51618"/>
                        <a:pt x="28026" y="42701"/>
                        <a:pt x="32994" y="37733"/>
                      </a:cubicBezTo>
                      <a:cubicBezTo>
                        <a:pt x="41006" y="29722"/>
                        <a:pt x="51848" y="25164"/>
                        <a:pt x="61275" y="18879"/>
                      </a:cubicBezTo>
                      <a:cubicBezTo>
                        <a:pt x="65988" y="15737"/>
                        <a:pt x="70041" y="11243"/>
                        <a:pt x="75415" y="9452"/>
                      </a:cubicBezTo>
                      <a:cubicBezTo>
                        <a:pt x="106676" y="-969"/>
                        <a:pt x="93758" y="25"/>
                        <a:pt x="113122" y="25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2" name="Forma livre 800"/>
                <p:cNvSpPr/>
                <p:nvPr/>
              </p:nvSpPr>
              <p:spPr>
                <a:xfrm>
                  <a:off x="2730037" y="3706602"/>
                  <a:ext cx="353505" cy="127262"/>
                </a:xfrm>
                <a:custGeom>
                  <a:avLst/>
                  <a:gdLst>
                    <a:gd name="connsiteX0" fmla="*/ 0 w 353505"/>
                    <a:gd name="connsiteY0" fmla="*/ 127262 h 127262"/>
                    <a:gd name="connsiteX1" fmla="*/ 9427 w 353505"/>
                    <a:gd name="connsiteY1" fmla="*/ 103695 h 127262"/>
                    <a:gd name="connsiteX2" fmla="*/ 23567 w 353505"/>
                    <a:gd name="connsiteY2" fmla="*/ 98982 h 127262"/>
                    <a:gd name="connsiteX3" fmla="*/ 61274 w 353505"/>
                    <a:gd name="connsiteY3" fmla="*/ 89555 h 127262"/>
                    <a:gd name="connsiteX4" fmla="*/ 70701 w 353505"/>
                    <a:gd name="connsiteY4" fmla="*/ 75415 h 127262"/>
                    <a:gd name="connsiteX5" fmla="*/ 98981 w 353505"/>
                    <a:gd name="connsiteY5" fmla="*/ 65988 h 127262"/>
                    <a:gd name="connsiteX6" fmla="*/ 122548 w 353505"/>
                    <a:gd name="connsiteY6" fmla="*/ 70701 h 127262"/>
                    <a:gd name="connsiteX7" fmla="*/ 131975 w 353505"/>
                    <a:gd name="connsiteY7" fmla="*/ 98982 h 127262"/>
                    <a:gd name="connsiteX8" fmla="*/ 174396 w 353505"/>
                    <a:gd name="connsiteY8" fmla="*/ 94268 h 127262"/>
                    <a:gd name="connsiteX9" fmla="*/ 179109 w 353505"/>
                    <a:gd name="connsiteY9" fmla="*/ 80128 h 127262"/>
                    <a:gd name="connsiteX10" fmla="*/ 197963 w 353505"/>
                    <a:gd name="connsiteY10" fmla="*/ 51848 h 127262"/>
                    <a:gd name="connsiteX11" fmla="*/ 212103 w 353505"/>
                    <a:gd name="connsiteY11" fmla="*/ 47134 h 127262"/>
                    <a:gd name="connsiteX12" fmla="*/ 226243 w 353505"/>
                    <a:gd name="connsiteY12" fmla="*/ 37707 h 127262"/>
                    <a:gd name="connsiteX13" fmla="*/ 282804 w 353505"/>
                    <a:gd name="connsiteY13" fmla="*/ 32994 h 127262"/>
                    <a:gd name="connsiteX14" fmla="*/ 311084 w 353505"/>
                    <a:gd name="connsiteY14" fmla="*/ 23567 h 127262"/>
                    <a:gd name="connsiteX15" fmla="*/ 339365 w 353505"/>
                    <a:gd name="connsiteY15" fmla="*/ 4714 h 127262"/>
                    <a:gd name="connsiteX16" fmla="*/ 353505 w 353505"/>
                    <a:gd name="connsiteY16" fmla="*/ 0 h 127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353505" h="127262">
                      <a:moveTo>
                        <a:pt x="0" y="127262"/>
                      </a:moveTo>
                      <a:cubicBezTo>
                        <a:pt x="3142" y="119406"/>
                        <a:pt x="4010" y="110195"/>
                        <a:pt x="9427" y="103695"/>
                      </a:cubicBezTo>
                      <a:cubicBezTo>
                        <a:pt x="12608" y="99878"/>
                        <a:pt x="18747" y="100187"/>
                        <a:pt x="23567" y="98982"/>
                      </a:cubicBezTo>
                      <a:lnTo>
                        <a:pt x="61274" y="89555"/>
                      </a:lnTo>
                      <a:cubicBezTo>
                        <a:pt x="64416" y="84842"/>
                        <a:pt x="65897" y="78417"/>
                        <a:pt x="70701" y="75415"/>
                      </a:cubicBezTo>
                      <a:cubicBezTo>
                        <a:pt x="79127" y="70149"/>
                        <a:pt x="98981" y="65988"/>
                        <a:pt x="98981" y="65988"/>
                      </a:cubicBezTo>
                      <a:cubicBezTo>
                        <a:pt x="106837" y="67559"/>
                        <a:pt x="116883" y="65036"/>
                        <a:pt x="122548" y="70701"/>
                      </a:cubicBezTo>
                      <a:cubicBezTo>
                        <a:pt x="129574" y="77727"/>
                        <a:pt x="131975" y="98982"/>
                        <a:pt x="131975" y="98982"/>
                      </a:cubicBezTo>
                      <a:cubicBezTo>
                        <a:pt x="146115" y="97411"/>
                        <a:pt x="161186" y="99552"/>
                        <a:pt x="174396" y="94268"/>
                      </a:cubicBezTo>
                      <a:cubicBezTo>
                        <a:pt x="179009" y="92423"/>
                        <a:pt x="176696" y="84471"/>
                        <a:pt x="179109" y="80128"/>
                      </a:cubicBezTo>
                      <a:cubicBezTo>
                        <a:pt x="184611" y="70224"/>
                        <a:pt x="187215" y="55431"/>
                        <a:pt x="197963" y="51848"/>
                      </a:cubicBezTo>
                      <a:cubicBezTo>
                        <a:pt x="202676" y="50277"/>
                        <a:pt x="207659" y="49356"/>
                        <a:pt x="212103" y="47134"/>
                      </a:cubicBezTo>
                      <a:cubicBezTo>
                        <a:pt x="217170" y="44600"/>
                        <a:pt x="220688" y="38818"/>
                        <a:pt x="226243" y="37707"/>
                      </a:cubicBezTo>
                      <a:cubicBezTo>
                        <a:pt x="244795" y="33997"/>
                        <a:pt x="263950" y="34565"/>
                        <a:pt x="282804" y="32994"/>
                      </a:cubicBezTo>
                      <a:cubicBezTo>
                        <a:pt x="292231" y="29852"/>
                        <a:pt x="302816" y="29079"/>
                        <a:pt x="311084" y="23567"/>
                      </a:cubicBezTo>
                      <a:cubicBezTo>
                        <a:pt x="320511" y="17283"/>
                        <a:pt x="328617" y="8297"/>
                        <a:pt x="339365" y="4714"/>
                      </a:cubicBezTo>
                      <a:lnTo>
                        <a:pt x="353505" y="0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3" name="Forma livre 801"/>
                <p:cNvSpPr/>
                <p:nvPr/>
              </p:nvSpPr>
              <p:spPr>
                <a:xfrm>
                  <a:off x="3907410" y="2460396"/>
                  <a:ext cx="169683" cy="292231"/>
                </a:xfrm>
                <a:custGeom>
                  <a:avLst/>
                  <a:gdLst>
                    <a:gd name="connsiteX0" fmla="*/ 0 w 169683"/>
                    <a:gd name="connsiteY0" fmla="*/ 292231 h 292231"/>
                    <a:gd name="connsiteX1" fmla="*/ 14141 w 169683"/>
                    <a:gd name="connsiteY1" fmla="*/ 268664 h 292231"/>
                    <a:gd name="connsiteX2" fmla="*/ 56561 w 169683"/>
                    <a:gd name="connsiteY2" fmla="*/ 245097 h 292231"/>
                    <a:gd name="connsiteX3" fmla="*/ 94268 w 169683"/>
                    <a:gd name="connsiteY3" fmla="*/ 240383 h 292231"/>
                    <a:gd name="connsiteX4" fmla="*/ 113122 w 169683"/>
                    <a:gd name="connsiteY4" fmla="*/ 216816 h 292231"/>
                    <a:gd name="connsiteX5" fmla="*/ 103695 w 169683"/>
                    <a:gd name="connsiteY5" fmla="*/ 202676 h 292231"/>
                    <a:gd name="connsiteX6" fmla="*/ 113122 w 169683"/>
                    <a:gd name="connsiteY6" fmla="*/ 127262 h 292231"/>
                    <a:gd name="connsiteX7" fmla="*/ 117835 w 169683"/>
                    <a:gd name="connsiteY7" fmla="*/ 113122 h 292231"/>
                    <a:gd name="connsiteX8" fmla="*/ 136689 w 169683"/>
                    <a:gd name="connsiteY8" fmla="*/ 84841 h 292231"/>
                    <a:gd name="connsiteX9" fmla="*/ 146116 w 169683"/>
                    <a:gd name="connsiteY9" fmla="*/ 70701 h 292231"/>
                    <a:gd name="connsiteX10" fmla="*/ 150829 w 169683"/>
                    <a:gd name="connsiteY10" fmla="*/ 51847 h 292231"/>
                    <a:gd name="connsiteX11" fmla="*/ 155543 w 169683"/>
                    <a:gd name="connsiteY11" fmla="*/ 18853 h 292231"/>
                    <a:gd name="connsiteX12" fmla="*/ 169683 w 169683"/>
                    <a:gd name="connsiteY12" fmla="*/ 0 h 292231"/>
                    <a:gd name="connsiteX0" fmla="*/ 0 w 169683"/>
                    <a:gd name="connsiteY0" fmla="*/ 292231 h 292231"/>
                    <a:gd name="connsiteX1" fmla="*/ 14141 w 169683"/>
                    <a:gd name="connsiteY1" fmla="*/ 268664 h 292231"/>
                    <a:gd name="connsiteX2" fmla="*/ 56561 w 169683"/>
                    <a:gd name="connsiteY2" fmla="*/ 245097 h 292231"/>
                    <a:gd name="connsiteX3" fmla="*/ 94268 w 169683"/>
                    <a:gd name="connsiteY3" fmla="*/ 240383 h 292231"/>
                    <a:gd name="connsiteX4" fmla="*/ 113122 w 169683"/>
                    <a:gd name="connsiteY4" fmla="*/ 216816 h 292231"/>
                    <a:gd name="connsiteX5" fmla="*/ 103695 w 169683"/>
                    <a:gd name="connsiteY5" fmla="*/ 202676 h 292231"/>
                    <a:gd name="connsiteX6" fmla="*/ 113122 w 169683"/>
                    <a:gd name="connsiteY6" fmla="*/ 127262 h 292231"/>
                    <a:gd name="connsiteX7" fmla="*/ 117835 w 169683"/>
                    <a:gd name="connsiteY7" fmla="*/ 113122 h 292231"/>
                    <a:gd name="connsiteX8" fmla="*/ 131976 w 169683"/>
                    <a:gd name="connsiteY8" fmla="*/ 75415 h 292231"/>
                    <a:gd name="connsiteX9" fmla="*/ 146116 w 169683"/>
                    <a:gd name="connsiteY9" fmla="*/ 70701 h 292231"/>
                    <a:gd name="connsiteX10" fmla="*/ 150829 w 169683"/>
                    <a:gd name="connsiteY10" fmla="*/ 51847 h 292231"/>
                    <a:gd name="connsiteX11" fmla="*/ 155543 w 169683"/>
                    <a:gd name="connsiteY11" fmla="*/ 18853 h 292231"/>
                    <a:gd name="connsiteX12" fmla="*/ 169683 w 169683"/>
                    <a:gd name="connsiteY12" fmla="*/ 0 h 292231"/>
                    <a:gd name="connsiteX0" fmla="*/ 0 w 169683"/>
                    <a:gd name="connsiteY0" fmla="*/ 292231 h 292231"/>
                    <a:gd name="connsiteX1" fmla="*/ 14141 w 169683"/>
                    <a:gd name="connsiteY1" fmla="*/ 268664 h 292231"/>
                    <a:gd name="connsiteX2" fmla="*/ 56561 w 169683"/>
                    <a:gd name="connsiteY2" fmla="*/ 245097 h 292231"/>
                    <a:gd name="connsiteX3" fmla="*/ 94268 w 169683"/>
                    <a:gd name="connsiteY3" fmla="*/ 240383 h 292231"/>
                    <a:gd name="connsiteX4" fmla="*/ 113122 w 169683"/>
                    <a:gd name="connsiteY4" fmla="*/ 216816 h 292231"/>
                    <a:gd name="connsiteX5" fmla="*/ 103695 w 169683"/>
                    <a:gd name="connsiteY5" fmla="*/ 202676 h 292231"/>
                    <a:gd name="connsiteX6" fmla="*/ 113122 w 169683"/>
                    <a:gd name="connsiteY6" fmla="*/ 127262 h 292231"/>
                    <a:gd name="connsiteX7" fmla="*/ 117835 w 169683"/>
                    <a:gd name="connsiteY7" fmla="*/ 113122 h 292231"/>
                    <a:gd name="connsiteX8" fmla="*/ 131976 w 169683"/>
                    <a:gd name="connsiteY8" fmla="*/ 75415 h 292231"/>
                    <a:gd name="connsiteX9" fmla="*/ 146116 w 169683"/>
                    <a:gd name="connsiteY9" fmla="*/ 70701 h 292231"/>
                    <a:gd name="connsiteX10" fmla="*/ 155543 w 169683"/>
                    <a:gd name="connsiteY10" fmla="*/ 18853 h 292231"/>
                    <a:gd name="connsiteX11" fmla="*/ 169683 w 169683"/>
                    <a:gd name="connsiteY11" fmla="*/ 0 h 292231"/>
                    <a:gd name="connsiteX0" fmla="*/ 0 w 169683"/>
                    <a:gd name="connsiteY0" fmla="*/ 292231 h 292231"/>
                    <a:gd name="connsiteX1" fmla="*/ 14141 w 169683"/>
                    <a:gd name="connsiteY1" fmla="*/ 268664 h 292231"/>
                    <a:gd name="connsiteX2" fmla="*/ 56561 w 169683"/>
                    <a:gd name="connsiteY2" fmla="*/ 245097 h 292231"/>
                    <a:gd name="connsiteX3" fmla="*/ 94268 w 169683"/>
                    <a:gd name="connsiteY3" fmla="*/ 240383 h 292231"/>
                    <a:gd name="connsiteX4" fmla="*/ 113122 w 169683"/>
                    <a:gd name="connsiteY4" fmla="*/ 216816 h 292231"/>
                    <a:gd name="connsiteX5" fmla="*/ 103695 w 169683"/>
                    <a:gd name="connsiteY5" fmla="*/ 202676 h 292231"/>
                    <a:gd name="connsiteX6" fmla="*/ 113122 w 169683"/>
                    <a:gd name="connsiteY6" fmla="*/ 127262 h 292231"/>
                    <a:gd name="connsiteX7" fmla="*/ 117835 w 169683"/>
                    <a:gd name="connsiteY7" fmla="*/ 113122 h 292231"/>
                    <a:gd name="connsiteX8" fmla="*/ 131976 w 169683"/>
                    <a:gd name="connsiteY8" fmla="*/ 75415 h 292231"/>
                    <a:gd name="connsiteX9" fmla="*/ 136689 w 169683"/>
                    <a:gd name="connsiteY9" fmla="*/ 47134 h 292231"/>
                    <a:gd name="connsiteX10" fmla="*/ 155543 w 169683"/>
                    <a:gd name="connsiteY10" fmla="*/ 18853 h 292231"/>
                    <a:gd name="connsiteX11" fmla="*/ 169683 w 169683"/>
                    <a:gd name="connsiteY11" fmla="*/ 0 h 292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69683" h="292231">
                      <a:moveTo>
                        <a:pt x="0" y="292231"/>
                      </a:moveTo>
                      <a:cubicBezTo>
                        <a:pt x="4714" y="284375"/>
                        <a:pt x="7663" y="275142"/>
                        <a:pt x="14141" y="268664"/>
                      </a:cubicBezTo>
                      <a:cubicBezTo>
                        <a:pt x="22842" y="259963"/>
                        <a:pt x="42071" y="247732"/>
                        <a:pt x="56561" y="245097"/>
                      </a:cubicBezTo>
                      <a:cubicBezTo>
                        <a:pt x="69024" y="242831"/>
                        <a:pt x="81699" y="241954"/>
                        <a:pt x="94268" y="240383"/>
                      </a:cubicBezTo>
                      <a:cubicBezTo>
                        <a:pt x="102531" y="234875"/>
                        <a:pt x="115399" y="230478"/>
                        <a:pt x="113122" y="216816"/>
                      </a:cubicBezTo>
                      <a:cubicBezTo>
                        <a:pt x="112191" y="211228"/>
                        <a:pt x="106837" y="207389"/>
                        <a:pt x="103695" y="202676"/>
                      </a:cubicBezTo>
                      <a:cubicBezTo>
                        <a:pt x="107349" y="158837"/>
                        <a:pt x="104368" y="157903"/>
                        <a:pt x="113122" y="127262"/>
                      </a:cubicBezTo>
                      <a:cubicBezTo>
                        <a:pt x="114487" y="122485"/>
                        <a:pt x="114693" y="121763"/>
                        <a:pt x="117835" y="113122"/>
                      </a:cubicBezTo>
                      <a:cubicBezTo>
                        <a:pt x="120977" y="104481"/>
                        <a:pt x="128834" y="86413"/>
                        <a:pt x="131976" y="75415"/>
                      </a:cubicBezTo>
                      <a:cubicBezTo>
                        <a:pt x="135118" y="64417"/>
                        <a:pt x="132761" y="56561"/>
                        <a:pt x="136689" y="47134"/>
                      </a:cubicBezTo>
                      <a:cubicBezTo>
                        <a:pt x="140617" y="37707"/>
                        <a:pt x="150044" y="26709"/>
                        <a:pt x="155543" y="18853"/>
                      </a:cubicBezTo>
                      <a:cubicBezTo>
                        <a:pt x="161042" y="10997"/>
                        <a:pt x="164248" y="5434"/>
                        <a:pt x="169683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4" name="Forma livre 802"/>
                <p:cNvSpPr/>
                <p:nvPr/>
              </p:nvSpPr>
              <p:spPr>
                <a:xfrm>
                  <a:off x="3817856" y="3049352"/>
                  <a:ext cx="160255" cy="23786"/>
                </a:xfrm>
                <a:custGeom>
                  <a:avLst/>
                  <a:gdLst>
                    <a:gd name="connsiteX0" fmla="*/ 0 w 160255"/>
                    <a:gd name="connsiteY0" fmla="*/ 23786 h 23786"/>
                    <a:gd name="connsiteX1" fmla="*/ 23567 w 160255"/>
                    <a:gd name="connsiteY1" fmla="*/ 19073 h 23786"/>
                    <a:gd name="connsiteX2" fmla="*/ 37707 w 160255"/>
                    <a:gd name="connsiteY2" fmla="*/ 14359 h 23786"/>
                    <a:gd name="connsiteX3" fmla="*/ 80128 w 160255"/>
                    <a:gd name="connsiteY3" fmla="*/ 9646 h 23786"/>
                    <a:gd name="connsiteX4" fmla="*/ 108408 w 160255"/>
                    <a:gd name="connsiteY4" fmla="*/ 219 h 23786"/>
                    <a:gd name="connsiteX5" fmla="*/ 136688 w 160255"/>
                    <a:gd name="connsiteY5" fmla="*/ 4933 h 23786"/>
                    <a:gd name="connsiteX6" fmla="*/ 160255 w 160255"/>
                    <a:gd name="connsiteY6" fmla="*/ 9646 h 23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0255" h="23786">
                      <a:moveTo>
                        <a:pt x="0" y="23786"/>
                      </a:moveTo>
                      <a:cubicBezTo>
                        <a:pt x="7856" y="22215"/>
                        <a:pt x="15795" y="21016"/>
                        <a:pt x="23567" y="19073"/>
                      </a:cubicBezTo>
                      <a:cubicBezTo>
                        <a:pt x="28387" y="17868"/>
                        <a:pt x="32806" y="15176"/>
                        <a:pt x="37707" y="14359"/>
                      </a:cubicBezTo>
                      <a:cubicBezTo>
                        <a:pt x="51741" y="12020"/>
                        <a:pt x="65988" y="11217"/>
                        <a:pt x="80128" y="9646"/>
                      </a:cubicBezTo>
                      <a:cubicBezTo>
                        <a:pt x="89555" y="6504"/>
                        <a:pt x="98607" y="-1415"/>
                        <a:pt x="108408" y="219"/>
                      </a:cubicBezTo>
                      <a:cubicBezTo>
                        <a:pt x="117835" y="1790"/>
                        <a:pt x="127359" y="2860"/>
                        <a:pt x="136688" y="4933"/>
                      </a:cubicBezTo>
                      <a:cubicBezTo>
                        <a:pt x="162367" y="10639"/>
                        <a:pt x="140449" y="9646"/>
                        <a:pt x="160255" y="9646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5" name="Forma livre 803"/>
                <p:cNvSpPr/>
                <p:nvPr/>
              </p:nvSpPr>
              <p:spPr>
                <a:xfrm>
                  <a:off x="4124227" y="3077852"/>
                  <a:ext cx="98981" cy="23567"/>
                </a:xfrm>
                <a:custGeom>
                  <a:avLst/>
                  <a:gdLst>
                    <a:gd name="connsiteX0" fmla="*/ 0 w 98981"/>
                    <a:gd name="connsiteY0" fmla="*/ 0 h 23567"/>
                    <a:gd name="connsiteX1" fmla="*/ 42420 w 98981"/>
                    <a:gd name="connsiteY1" fmla="*/ 9426 h 23567"/>
                    <a:gd name="connsiteX2" fmla="*/ 70701 w 98981"/>
                    <a:gd name="connsiteY2" fmla="*/ 18853 h 23567"/>
                    <a:gd name="connsiteX3" fmla="*/ 98981 w 98981"/>
                    <a:gd name="connsiteY3" fmla="*/ 23567 h 235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8981" h="23567">
                      <a:moveTo>
                        <a:pt x="0" y="0"/>
                      </a:moveTo>
                      <a:cubicBezTo>
                        <a:pt x="13454" y="2691"/>
                        <a:pt x="29108" y="5433"/>
                        <a:pt x="42420" y="9426"/>
                      </a:cubicBezTo>
                      <a:cubicBezTo>
                        <a:pt x="51938" y="12281"/>
                        <a:pt x="60899" y="17219"/>
                        <a:pt x="70701" y="18853"/>
                      </a:cubicBezTo>
                      <a:lnTo>
                        <a:pt x="98981" y="23567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6" name="Forma livre 804"/>
                <p:cNvSpPr/>
                <p:nvPr/>
              </p:nvSpPr>
              <p:spPr>
                <a:xfrm>
                  <a:off x="4237348" y="3082565"/>
                  <a:ext cx="103695" cy="47151"/>
                </a:xfrm>
                <a:custGeom>
                  <a:avLst/>
                  <a:gdLst>
                    <a:gd name="connsiteX0" fmla="*/ 0 w 103695"/>
                    <a:gd name="connsiteY0" fmla="*/ 0 h 47151"/>
                    <a:gd name="connsiteX1" fmla="*/ 23567 w 103695"/>
                    <a:gd name="connsiteY1" fmla="*/ 4713 h 47151"/>
                    <a:gd name="connsiteX2" fmla="*/ 51848 w 103695"/>
                    <a:gd name="connsiteY2" fmla="*/ 14140 h 47151"/>
                    <a:gd name="connsiteX3" fmla="*/ 70701 w 103695"/>
                    <a:gd name="connsiteY3" fmla="*/ 28280 h 47151"/>
                    <a:gd name="connsiteX4" fmla="*/ 84842 w 103695"/>
                    <a:gd name="connsiteY4" fmla="*/ 32994 h 47151"/>
                    <a:gd name="connsiteX5" fmla="*/ 103695 w 103695"/>
                    <a:gd name="connsiteY5" fmla="*/ 47134 h 47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3695" h="47151">
                      <a:moveTo>
                        <a:pt x="0" y="0"/>
                      </a:moveTo>
                      <a:cubicBezTo>
                        <a:pt x="7856" y="1571"/>
                        <a:pt x="15838" y="2605"/>
                        <a:pt x="23567" y="4713"/>
                      </a:cubicBezTo>
                      <a:cubicBezTo>
                        <a:pt x="33154" y="7328"/>
                        <a:pt x="51848" y="14140"/>
                        <a:pt x="51848" y="14140"/>
                      </a:cubicBezTo>
                      <a:cubicBezTo>
                        <a:pt x="58132" y="18853"/>
                        <a:pt x="63881" y="24383"/>
                        <a:pt x="70701" y="28280"/>
                      </a:cubicBezTo>
                      <a:cubicBezTo>
                        <a:pt x="75015" y="30745"/>
                        <a:pt x="80708" y="30238"/>
                        <a:pt x="84842" y="32994"/>
                      </a:cubicBezTo>
                      <a:cubicBezTo>
                        <a:pt x="107718" y="48245"/>
                        <a:pt x="90519" y="47134"/>
                        <a:pt x="103695" y="4713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7" name="Forma livre 805"/>
                <p:cNvSpPr/>
                <p:nvPr/>
              </p:nvSpPr>
              <p:spPr>
                <a:xfrm>
                  <a:off x="3973398" y="3044858"/>
                  <a:ext cx="141402" cy="28286"/>
                </a:xfrm>
                <a:custGeom>
                  <a:avLst/>
                  <a:gdLst>
                    <a:gd name="connsiteX0" fmla="*/ 0 w 141402"/>
                    <a:gd name="connsiteY0" fmla="*/ 14140 h 28286"/>
                    <a:gd name="connsiteX1" fmla="*/ 28280 w 141402"/>
                    <a:gd name="connsiteY1" fmla="*/ 9427 h 28286"/>
                    <a:gd name="connsiteX2" fmla="*/ 61274 w 141402"/>
                    <a:gd name="connsiteY2" fmla="*/ 0 h 28286"/>
                    <a:gd name="connsiteX3" fmla="*/ 89555 w 141402"/>
                    <a:gd name="connsiteY3" fmla="*/ 9427 h 28286"/>
                    <a:gd name="connsiteX4" fmla="*/ 103695 w 141402"/>
                    <a:gd name="connsiteY4" fmla="*/ 18853 h 28286"/>
                    <a:gd name="connsiteX5" fmla="*/ 117835 w 141402"/>
                    <a:gd name="connsiteY5" fmla="*/ 23567 h 28286"/>
                    <a:gd name="connsiteX6" fmla="*/ 141402 w 141402"/>
                    <a:gd name="connsiteY6" fmla="*/ 28280 h 282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1402" h="28286">
                      <a:moveTo>
                        <a:pt x="0" y="14140"/>
                      </a:moveTo>
                      <a:cubicBezTo>
                        <a:pt x="9427" y="12569"/>
                        <a:pt x="18909" y="11301"/>
                        <a:pt x="28280" y="9427"/>
                      </a:cubicBezTo>
                      <a:cubicBezTo>
                        <a:pt x="43070" y="6469"/>
                        <a:pt x="47801" y="4491"/>
                        <a:pt x="61274" y="0"/>
                      </a:cubicBezTo>
                      <a:cubicBezTo>
                        <a:pt x="70701" y="3142"/>
                        <a:pt x="81287" y="3915"/>
                        <a:pt x="89555" y="9427"/>
                      </a:cubicBezTo>
                      <a:cubicBezTo>
                        <a:pt x="94268" y="12569"/>
                        <a:pt x="98628" y="16320"/>
                        <a:pt x="103695" y="18853"/>
                      </a:cubicBezTo>
                      <a:cubicBezTo>
                        <a:pt x="108139" y="21075"/>
                        <a:pt x="113058" y="22202"/>
                        <a:pt x="117835" y="23567"/>
                      </a:cubicBezTo>
                      <a:cubicBezTo>
                        <a:pt x="135664" y="28661"/>
                        <a:pt x="130829" y="28280"/>
                        <a:pt x="141402" y="2828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8" name="Forma livre 806"/>
                <p:cNvSpPr/>
                <p:nvPr/>
              </p:nvSpPr>
              <p:spPr>
                <a:xfrm>
                  <a:off x="4755823" y="3120272"/>
                  <a:ext cx="1041662" cy="84841"/>
                </a:xfrm>
                <a:custGeom>
                  <a:avLst/>
                  <a:gdLst>
                    <a:gd name="connsiteX0" fmla="*/ 0 w 1041662"/>
                    <a:gd name="connsiteY0" fmla="*/ 4714 h 84841"/>
                    <a:gd name="connsiteX1" fmla="*/ 155542 w 1041662"/>
                    <a:gd name="connsiteY1" fmla="*/ 9427 h 84841"/>
                    <a:gd name="connsiteX2" fmla="*/ 169682 w 1041662"/>
                    <a:gd name="connsiteY2" fmla="*/ 14140 h 84841"/>
                    <a:gd name="connsiteX3" fmla="*/ 197963 w 1041662"/>
                    <a:gd name="connsiteY3" fmla="*/ 18854 h 84841"/>
                    <a:gd name="connsiteX4" fmla="*/ 235670 w 1041662"/>
                    <a:gd name="connsiteY4" fmla="*/ 28281 h 84841"/>
                    <a:gd name="connsiteX5" fmla="*/ 424206 w 1041662"/>
                    <a:gd name="connsiteY5" fmla="*/ 37707 h 84841"/>
                    <a:gd name="connsiteX6" fmla="*/ 457200 w 1041662"/>
                    <a:gd name="connsiteY6" fmla="*/ 32994 h 84841"/>
                    <a:gd name="connsiteX7" fmla="*/ 452486 w 1041662"/>
                    <a:gd name="connsiteY7" fmla="*/ 18854 h 84841"/>
                    <a:gd name="connsiteX8" fmla="*/ 471340 w 1041662"/>
                    <a:gd name="connsiteY8" fmla="*/ 0 h 84841"/>
                    <a:gd name="connsiteX9" fmla="*/ 509047 w 1041662"/>
                    <a:gd name="connsiteY9" fmla="*/ 9427 h 84841"/>
                    <a:gd name="connsiteX10" fmla="*/ 518474 w 1041662"/>
                    <a:gd name="connsiteY10" fmla="*/ 23567 h 84841"/>
                    <a:gd name="connsiteX11" fmla="*/ 532614 w 1041662"/>
                    <a:gd name="connsiteY11" fmla="*/ 28281 h 84841"/>
                    <a:gd name="connsiteX12" fmla="*/ 546754 w 1041662"/>
                    <a:gd name="connsiteY12" fmla="*/ 37707 h 84841"/>
                    <a:gd name="connsiteX13" fmla="*/ 560895 w 1041662"/>
                    <a:gd name="connsiteY13" fmla="*/ 42421 h 84841"/>
                    <a:gd name="connsiteX14" fmla="*/ 589175 w 1041662"/>
                    <a:gd name="connsiteY14" fmla="*/ 61274 h 84841"/>
                    <a:gd name="connsiteX15" fmla="*/ 603315 w 1041662"/>
                    <a:gd name="connsiteY15" fmla="*/ 70701 h 84841"/>
                    <a:gd name="connsiteX16" fmla="*/ 659876 w 1041662"/>
                    <a:gd name="connsiteY16" fmla="*/ 65988 h 84841"/>
                    <a:gd name="connsiteX17" fmla="*/ 697583 w 1041662"/>
                    <a:gd name="connsiteY17" fmla="*/ 70701 h 84841"/>
                    <a:gd name="connsiteX18" fmla="*/ 749431 w 1041662"/>
                    <a:gd name="connsiteY18" fmla="*/ 75415 h 84841"/>
                    <a:gd name="connsiteX19" fmla="*/ 862552 w 1041662"/>
                    <a:gd name="connsiteY19" fmla="*/ 70701 h 84841"/>
                    <a:gd name="connsiteX20" fmla="*/ 909686 w 1041662"/>
                    <a:gd name="connsiteY20" fmla="*/ 75415 h 84841"/>
                    <a:gd name="connsiteX21" fmla="*/ 937967 w 1041662"/>
                    <a:gd name="connsiteY21" fmla="*/ 84841 h 84841"/>
                    <a:gd name="connsiteX22" fmla="*/ 970961 w 1041662"/>
                    <a:gd name="connsiteY22" fmla="*/ 80128 h 84841"/>
                    <a:gd name="connsiteX23" fmla="*/ 985101 w 1041662"/>
                    <a:gd name="connsiteY23" fmla="*/ 75415 h 84841"/>
                    <a:gd name="connsiteX24" fmla="*/ 1018095 w 1041662"/>
                    <a:gd name="connsiteY24" fmla="*/ 65988 h 84841"/>
                    <a:gd name="connsiteX25" fmla="*/ 1041662 w 1041662"/>
                    <a:gd name="connsiteY25" fmla="*/ 84841 h 848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041662" h="84841">
                      <a:moveTo>
                        <a:pt x="0" y="4714"/>
                      </a:moveTo>
                      <a:cubicBezTo>
                        <a:pt x="51847" y="6285"/>
                        <a:pt x="103751" y="6550"/>
                        <a:pt x="155542" y="9427"/>
                      </a:cubicBezTo>
                      <a:cubicBezTo>
                        <a:pt x="160503" y="9703"/>
                        <a:pt x="164832" y="13062"/>
                        <a:pt x="169682" y="14140"/>
                      </a:cubicBezTo>
                      <a:cubicBezTo>
                        <a:pt x="179011" y="16213"/>
                        <a:pt x="188634" y="16781"/>
                        <a:pt x="197963" y="18854"/>
                      </a:cubicBezTo>
                      <a:cubicBezTo>
                        <a:pt x="228904" y="25730"/>
                        <a:pt x="192395" y="23190"/>
                        <a:pt x="235670" y="28281"/>
                      </a:cubicBezTo>
                      <a:cubicBezTo>
                        <a:pt x="294030" y="35147"/>
                        <a:pt x="371208" y="35814"/>
                        <a:pt x="424206" y="37707"/>
                      </a:cubicBezTo>
                      <a:cubicBezTo>
                        <a:pt x="435204" y="36136"/>
                        <a:pt x="447956" y="39156"/>
                        <a:pt x="457200" y="32994"/>
                      </a:cubicBezTo>
                      <a:cubicBezTo>
                        <a:pt x="461334" y="30238"/>
                        <a:pt x="452486" y="23822"/>
                        <a:pt x="452486" y="18854"/>
                      </a:cubicBezTo>
                      <a:cubicBezTo>
                        <a:pt x="452486" y="2096"/>
                        <a:pt x="458772" y="4190"/>
                        <a:pt x="471340" y="0"/>
                      </a:cubicBezTo>
                      <a:cubicBezTo>
                        <a:pt x="472511" y="234"/>
                        <a:pt x="504217" y="5563"/>
                        <a:pt x="509047" y="9427"/>
                      </a:cubicBezTo>
                      <a:cubicBezTo>
                        <a:pt x="513471" y="12966"/>
                        <a:pt x="514051" y="20028"/>
                        <a:pt x="518474" y="23567"/>
                      </a:cubicBezTo>
                      <a:cubicBezTo>
                        <a:pt x="522354" y="26671"/>
                        <a:pt x="528170" y="26059"/>
                        <a:pt x="532614" y="28281"/>
                      </a:cubicBezTo>
                      <a:cubicBezTo>
                        <a:pt x="537681" y="30814"/>
                        <a:pt x="541687" y="35174"/>
                        <a:pt x="546754" y="37707"/>
                      </a:cubicBezTo>
                      <a:cubicBezTo>
                        <a:pt x="551198" y="39929"/>
                        <a:pt x="556552" y="40008"/>
                        <a:pt x="560895" y="42421"/>
                      </a:cubicBezTo>
                      <a:cubicBezTo>
                        <a:pt x="570799" y="47923"/>
                        <a:pt x="579748" y="54990"/>
                        <a:pt x="589175" y="61274"/>
                      </a:cubicBezTo>
                      <a:lnTo>
                        <a:pt x="603315" y="70701"/>
                      </a:lnTo>
                      <a:cubicBezTo>
                        <a:pt x="622169" y="69130"/>
                        <a:pt x="640957" y="65988"/>
                        <a:pt x="659876" y="65988"/>
                      </a:cubicBezTo>
                      <a:cubicBezTo>
                        <a:pt x="672543" y="65988"/>
                        <a:pt x="684986" y="69375"/>
                        <a:pt x="697583" y="70701"/>
                      </a:cubicBezTo>
                      <a:cubicBezTo>
                        <a:pt x="714842" y="72518"/>
                        <a:pt x="732148" y="73844"/>
                        <a:pt x="749431" y="75415"/>
                      </a:cubicBezTo>
                      <a:cubicBezTo>
                        <a:pt x="787138" y="73844"/>
                        <a:pt x="824812" y="70701"/>
                        <a:pt x="862552" y="70701"/>
                      </a:cubicBezTo>
                      <a:cubicBezTo>
                        <a:pt x="878342" y="70701"/>
                        <a:pt x="894167" y="72505"/>
                        <a:pt x="909686" y="75415"/>
                      </a:cubicBezTo>
                      <a:cubicBezTo>
                        <a:pt x="919453" y="77246"/>
                        <a:pt x="937967" y="84841"/>
                        <a:pt x="937967" y="84841"/>
                      </a:cubicBezTo>
                      <a:cubicBezTo>
                        <a:pt x="948965" y="83270"/>
                        <a:pt x="960067" y="82307"/>
                        <a:pt x="970961" y="80128"/>
                      </a:cubicBezTo>
                      <a:cubicBezTo>
                        <a:pt x="975833" y="79154"/>
                        <a:pt x="980324" y="76780"/>
                        <a:pt x="985101" y="75415"/>
                      </a:cubicBezTo>
                      <a:cubicBezTo>
                        <a:pt x="1026538" y="63575"/>
                        <a:pt x="984183" y="77290"/>
                        <a:pt x="1018095" y="65988"/>
                      </a:cubicBezTo>
                      <a:cubicBezTo>
                        <a:pt x="1034719" y="82612"/>
                        <a:pt x="1026273" y="77147"/>
                        <a:pt x="1041662" y="8484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59" name="Forma livre 807"/>
                <p:cNvSpPr/>
                <p:nvPr/>
              </p:nvSpPr>
              <p:spPr>
                <a:xfrm>
                  <a:off x="4232635" y="2022049"/>
                  <a:ext cx="212103" cy="255166"/>
                </a:xfrm>
                <a:custGeom>
                  <a:avLst/>
                  <a:gdLst>
                    <a:gd name="connsiteX0" fmla="*/ 0 w 212103"/>
                    <a:gd name="connsiteY0" fmla="*/ 0 h 255166"/>
                    <a:gd name="connsiteX1" fmla="*/ 32994 w 212103"/>
                    <a:gd name="connsiteY1" fmla="*/ 4714 h 255166"/>
                    <a:gd name="connsiteX2" fmla="*/ 42421 w 212103"/>
                    <a:gd name="connsiteY2" fmla="*/ 32994 h 255166"/>
                    <a:gd name="connsiteX3" fmla="*/ 51847 w 212103"/>
                    <a:gd name="connsiteY3" fmla="*/ 70702 h 255166"/>
                    <a:gd name="connsiteX4" fmla="*/ 61274 w 212103"/>
                    <a:gd name="connsiteY4" fmla="*/ 98982 h 255166"/>
                    <a:gd name="connsiteX5" fmla="*/ 70701 w 212103"/>
                    <a:gd name="connsiteY5" fmla="*/ 113122 h 255166"/>
                    <a:gd name="connsiteX6" fmla="*/ 84841 w 212103"/>
                    <a:gd name="connsiteY6" fmla="*/ 141403 h 255166"/>
                    <a:gd name="connsiteX7" fmla="*/ 94268 w 212103"/>
                    <a:gd name="connsiteY7" fmla="*/ 160256 h 255166"/>
                    <a:gd name="connsiteX8" fmla="*/ 108408 w 212103"/>
                    <a:gd name="connsiteY8" fmla="*/ 174396 h 255166"/>
                    <a:gd name="connsiteX9" fmla="*/ 127262 w 212103"/>
                    <a:gd name="connsiteY9" fmla="*/ 202677 h 255166"/>
                    <a:gd name="connsiteX10" fmla="*/ 155542 w 212103"/>
                    <a:gd name="connsiteY10" fmla="*/ 221530 h 255166"/>
                    <a:gd name="connsiteX11" fmla="*/ 183823 w 212103"/>
                    <a:gd name="connsiteY11" fmla="*/ 240384 h 255166"/>
                    <a:gd name="connsiteX12" fmla="*/ 212103 w 212103"/>
                    <a:gd name="connsiteY12" fmla="*/ 254524 h 255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12103" h="255166">
                      <a:moveTo>
                        <a:pt x="0" y="0"/>
                      </a:moveTo>
                      <a:cubicBezTo>
                        <a:pt x="10998" y="1571"/>
                        <a:pt x="24225" y="-2107"/>
                        <a:pt x="32994" y="4714"/>
                      </a:cubicBezTo>
                      <a:cubicBezTo>
                        <a:pt x="40837" y="10814"/>
                        <a:pt x="39279" y="23567"/>
                        <a:pt x="42421" y="32994"/>
                      </a:cubicBezTo>
                      <a:cubicBezTo>
                        <a:pt x="56720" y="75893"/>
                        <a:pt x="34787" y="8148"/>
                        <a:pt x="51847" y="70702"/>
                      </a:cubicBezTo>
                      <a:cubicBezTo>
                        <a:pt x="54461" y="80288"/>
                        <a:pt x="55762" y="90714"/>
                        <a:pt x="61274" y="98982"/>
                      </a:cubicBezTo>
                      <a:lnTo>
                        <a:pt x="70701" y="113122"/>
                      </a:lnTo>
                      <a:cubicBezTo>
                        <a:pt x="79341" y="139044"/>
                        <a:pt x="70223" y="115822"/>
                        <a:pt x="84841" y="141403"/>
                      </a:cubicBezTo>
                      <a:cubicBezTo>
                        <a:pt x="88327" y="147503"/>
                        <a:pt x="90184" y="154539"/>
                        <a:pt x="94268" y="160256"/>
                      </a:cubicBezTo>
                      <a:cubicBezTo>
                        <a:pt x="98142" y="165680"/>
                        <a:pt x="104316" y="169134"/>
                        <a:pt x="108408" y="174396"/>
                      </a:cubicBezTo>
                      <a:cubicBezTo>
                        <a:pt x="115364" y="183339"/>
                        <a:pt x="117835" y="196392"/>
                        <a:pt x="127262" y="202677"/>
                      </a:cubicBezTo>
                      <a:cubicBezTo>
                        <a:pt x="136689" y="208961"/>
                        <a:pt x="147531" y="213519"/>
                        <a:pt x="155542" y="221530"/>
                      </a:cubicBezTo>
                      <a:cubicBezTo>
                        <a:pt x="173196" y="239184"/>
                        <a:pt x="163359" y="233563"/>
                        <a:pt x="183823" y="240384"/>
                      </a:cubicBezTo>
                      <a:cubicBezTo>
                        <a:pt x="196736" y="259753"/>
                        <a:pt x="187585" y="254524"/>
                        <a:pt x="212103" y="25452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0" name="Forma livre 808"/>
                <p:cNvSpPr/>
                <p:nvPr/>
              </p:nvSpPr>
              <p:spPr>
                <a:xfrm>
                  <a:off x="4425885" y="2271860"/>
                  <a:ext cx="94268" cy="75846"/>
                </a:xfrm>
                <a:custGeom>
                  <a:avLst/>
                  <a:gdLst>
                    <a:gd name="connsiteX0" fmla="*/ 0 w 94268"/>
                    <a:gd name="connsiteY0" fmla="*/ 0 h 75846"/>
                    <a:gd name="connsiteX1" fmla="*/ 18853 w 94268"/>
                    <a:gd name="connsiteY1" fmla="*/ 23567 h 75846"/>
                    <a:gd name="connsiteX2" fmla="*/ 28280 w 94268"/>
                    <a:gd name="connsiteY2" fmla="*/ 51847 h 75846"/>
                    <a:gd name="connsiteX3" fmla="*/ 70701 w 94268"/>
                    <a:gd name="connsiteY3" fmla="*/ 75414 h 75846"/>
                    <a:gd name="connsiteX4" fmla="*/ 94268 w 94268"/>
                    <a:gd name="connsiteY4" fmla="*/ 75414 h 75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268" h="75846">
                      <a:moveTo>
                        <a:pt x="0" y="0"/>
                      </a:moveTo>
                      <a:cubicBezTo>
                        <a:pt x="6284" y="7856"/>
                        <a:pt x="14036" y="14735"/>
                        <a:pt x="18853" y="23567"/>
                      </a:cubicBezTo>
                      <a:cubicBezTo>
                        <a:pt x="23611" y="32290"/>
                        <a:pt x="20012" y="46335"/>
                        <a:pt x="28280" y="51847"/>
                      </a:cubicBezTo>
                      <a:cubicBezTo>
                        <a:pt x="38871" y="58908"/>
                        <a:pt x="55382" y="73499"/>
                        <a:pt x="70701" y="75414"/>
                      </a:cubicBezTo>
                      <a:cubicBezTo>
                        <a:pt x="78496" y="76388"/>
                        <a:pt x="86412" y="75414"/>
                        <a:pt x="94268" y="7541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1" name="Forma livre 809"/>
                <p:cNvSpPr/>
                <p:nvPr/>
              </p:nvSpPr>
              <p:spPr>
                <a:xfrm>
                  <a:off x="4515439" y="2220012"/>
                  <a:ext cx="570322" cy="174510"/>
                </a:xfrm>
                <a:custGeom>
                  <a:avLst/>
                  <a:gdLst>
                    <a:gd name="connsiteX0" fmla="*/ 0 w 570322"/>
                    <a:gd name="connsiteY0" fmla="*/ 136689 h 174510"/>
                    <a:gd name="connsiteX1" fmla="*/ 42421 w 570322"/>
                    <a:gd name="connsiteY1" fmla="*/ 141402 h 174510"/>
                    <a:gd name="connsiteX2" fmla="*/ 131975 w 570322"/>
                    <a:gd name="connsiteY2" fmla="*/ 131976 h 174510"/>
                    <a:gd name="connsiteX3" fmla="*/ 183823 w 570322"/>
                    <a:gd name="connsiteY3" fmla="*/ 141402 h 174510"/>
                    <a:gd name="connsiteX4" fmla="*/ 197963 w 570322"/>
                    <a:gd name="connsiteY4" fmla="*/ 150829 h 174510"/>
                    <a:gd name="connsiteX5" fmla="*/ 221530 w 570322"/>
                    <a:gd name="connsiteY5" fmla="*/ 174396 h 174510"/>
                    <a:gd name="connsiteX6" fmla="*/ 230957 w 570322"/>
                    <a:gd name="connsiteY6" fmla="*/ 160256 h 174510"/>
                    <a:gd name="connsiteX7" fmla="*/ 254524 w 570322"/>
                    <a:gd name="connsiteY7" fmla="*/ 131976 h 174510"/>
                    <a:gd name="connsiteX8" fmla="*/ 259237 w 570322"/>
                    <a:gd name="connsiteY8" fmla="*/ 117835 h 174510"/>
                    <a:gd name="connsiteX9" fmla="*/ 301658 w 570322"/>
                    <a:gd name="connsiteY9" fmla="*/ 94268 h 174510"/>
                    <a:gd name="connsiteX10" fmla="*/ 329938 w 570322"/>
                    <a:gd name="connsiteY10" fmla="*/ 70701 h 174510"/>
                    <a:gd name="connsiteX11" fmla="*/ 344079 w 570322"/>
                    <a:gd name="connsiteY11" fmla="*/ 65988 h 174510"/>
                    <a:gd name="connsiteX12" fmla="*/ 353505 w 570322"/>
                    <a:gd name="connsiteY12" fmla="*/ 51848 h 174510"/>
                    <a:gd name="connsiteX13" fmla="*/ 377072 w 570322"/>
                    <a:gd name="connsiteY13" fmla="*/ 47134 h 174510"/>
                    <a:gd name="connsiteX14" fmla="*/ 461914 w 570322"/>
                    <a:gd name="connsiteY14" fmla="*/ 42421 h 174510"/>
                    <a:gd name="connsiteX15" fmla="*/ 476054 w 570322"/>
                    <a:gd name="connsiteY15" fmla="*/ 37708 h 174510"/>
                    <a:gd name="connsiteX16" fmla="*/ 509048 w 570322"/>
                    <a:gd name="connsiteY16" fmla="*/ 28281 h 174510"/>
                    <a:gd name="connsiteX17" fmla="*/ 523188 w 570322"/>
                    <a:gd name="connsiteY17" fmla="*/ 18854 h 174510"/>
                    <a:gd name="connsiteX18" fmla="*/ 551468 w 570322"/>
                    <a:gd name="connsiteY18" fmla="*/ 9427 h 174510"/>
                    <a:gd name="connsiteX19" fmla="*/ 570322 w 570322"/>
                    <a:gd name="connsiteY19" fmla="*/ 0 h 174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570322" h="174510">
                      <a:moveTo>
                        <a:pt x="0" y="136689"/>
                      </a:moveTo>
                      <a:cubicBezTo>
                        <a:pt x="14140" y="138260"/>
                        <a:pt x="28194" y="141402"/>
                        <a:pt x="42421" y="141402"/>
                      </a:cubicBezTo>
                      <a:cubicBezTo>
                        <a:pt x="89978" y="141402"/>
                        <a:pt x="96383" y="139094"/>
                        <a:pt x="131975" y="131976"/>
                      </a:cubicBezTo>
                      <a:cubicBezTo>
                        <a:pt x="144969" y="133600"/>
                        <a:pt x="169292" y="134137"/>
                        <a:pt x="183823" y="141402"/>
                      </a:cubicBezTo>
                      <a:cubicBezTo>
                        <a:pt x="188890" y="143935"/>
                        <a:pt x="193250" y="147687"/>
                        <a:pt x="197963" y="150829"/>
                      </a:cubicBezTo>
                      <a:cubicBezTo>
                        <a:pt x="200920" y="155265"/>
                        <a:pt x="212289" y="176244"/>
                        <a:pt x="221530" y="174396"/>
                      </a:cubicBezTo>
                      <a:cubicBezTo>
                        <a:pt x="227085" y="173285"/>
                        <a:pt x="227330" y="164608"/>
                        <a:pt x="230957" y="160256"/>
                      </a:cubicBezTo>
                      <a:cubicBezTo>
                        <a:pt x="261200" y="123965"/>
                        <a:pt x="231118" y="167083"/>
                        <a:pt x="254524" y="131976"/>
                      </a:cubicBezTo>
                      <a:cubicBezTo>
                        <a:pt x="256095" y="127262"/>
                        <a:pt x="255724" y="121348"/>
                        <a:pt x="259237" y="117835"/>
                      </a:cubicBezTo>
                      <a:cubicBezTo>
                        <a:pt x="275442" y="101630"/>
                        <a:pt x="283879" y="100195"/>
                        <a:pt x="301658" y="94268"/>
                      </a:cubicBezTo>
                      <a:cubicBezTo>
                        <a:pt x="312081" y="83845"/>
                        <a:pt x="316815" y="77262"/>
                        <a:pt x="329938" y="70701"/>
                      </a:cubicBezTo>
                      <a:cubicBezTo>
                        <a:pt x="334382" y="68479"/>
                        <a:pt x="339365" y="67559"/>
                        <a:pt x="344079" y="65988"/>
                      </a:cubicBezTo>
                      <a:cubicBezTo>
                        <a:pt x="347221" y="61275"/>
                        <a:pt x="348587" y="54659"/>
                        <a:pt x="353505" y="51848"/>
                      </a:cubicBezTo>
                      <a:cubicBezTo>
                        <a:pt x="360461" y="47873"/>
                        <a:pt x="369091" y="47828"/>
                        <a:pt x="377072" y="47134"/>
                      </a:cubicBezTo>
                      <a:cubicBezTo>
                        <a:pt x="405290" y="44680"/>
                        <a:pt x="433633" y="43992"/>
                        <a:pt x="461914" y="42421"/>
                      </a:cubicBezTo>
                      <a:cubicBezTo>
                        <a:pt x="466627" y="40850"/>
                        <a:pt x="471277" y="39073"/>
                        <a:pt x="476054" y="37708"/>
                      </a:cubicBezTo>
                      <a:cubicBezTo>
                        <a:pt x="517491" y="25868"/>
                        <a:pt x="475136" y="39583"/>
                        <a:pt x="509048" y="28281"/>
                      </a:cubicBezTo>
                      <a:cubicBezTo>
                        <a:pt x="513761" y="25139"/>
                        <a:pt x="518011" y="21155"/>
                        <a:pt x="523188" y="18854"/>
                      </a:cubicBezTo>
                      <a:cubicBezTo>
                        <a:pt x="532268" y="14818"/>
                        <a:pt x="542041" y="12569"/>
                        <a:pt x="551468" y="9427"/>
                      </a:cubicBezTo>
                      <a:cubicBezTo>
                        <a:pt x="567717" y="4011"/>
                        <a:pt x="562095" y="8227"/>
                        <a:pt x="570322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2" name="Forma livre 810"/>
                <p:cNvSpPr/>
                <p:nvPr/>
              </p:nvSpPr>
              <p:spPr>
                <a:xfrm>
                  <a:off x="4845377" y="2229439"/>
                  <a:ext cx="325225" cy="711724"/>
                </a:xfrm>
                <a:custGeom>
                  <a:avLst/>
                  <a:gdLst>
                    <a:gd name="connsiteX0" fmla="*/ 325225 w 325225"/>
                    <a:gd name="connsiteY0" fmla="*/ 0 h 711724"/>
                    <a:gd name="connsiteX1" fmla="*/ 306371 w 325225"/>
                    <a:gd name="connsiteY1" fmla="*/ 37707 h 711724"/>
                    <a:gd name="connsiteX2" fmla="*/ 315798 w 325225"/>
                    <a:gd name="connsiteY2" fmla="*/ 70701 h 711724"/>
                    <a:gd name="connsiteX3" fmla="*/ 306371 w 325225"/>
                    <a:gd name="connsiteY3" fmla="*/ 98982 h 711724"/>
                    <a:gd name="connsiteX4" fmla="*/ 278091 w 325225"/>
                    <a:gd name="connsiteY4" fmla="*/ 113122 h 711724"/>
                    <a:gd name="connsiteX5" fmla="*/ 263951 w 325225"/>
                    <a:gd name="connsiteY5" fmla="*/ 122549 h 711724"/>
                    <a:gd name="connsiteX6" fmla="*/ 249811 w 325225"/>
                    <a:gd name="connsiteY6" fmla="*/ 150829 h 711724"/>
                    <a:gd name="connsiteX7" fmla="*/ 245097 w 325225"/>
                    <a:gd name="connsiteY7" fmla="*/ 164969 h 711724"/>
                    <a:gd name="connsiteX8" fmla="*/ 249811 w 325225"/>
                    <a:gd name="connsiteY8" fmla="*/ 188536 h 711724"/>
                    <a:gd name="connsiteX9" fmla="*/ 259237 w 325225"/>
                    <a:gd name="connsiteY9" fmla="*/ 202676 h 711724"/>
                    <a:gd name="connsiteX10" fmla="*/ 263951 w 325225"/>
                    <a:gd name="connsiteY10" fmla="*/ 226243 h 711724"/>
                    <a:gd name="connsiteX11" fmla="*/ 278091 w 325225"/>
                    <a:gd name="connsiteY11" fmla="*/ 254524 h 711724"/>
                    <a:gd name="connsiteX12" fmla="*/ 282804 w 325225"/>
                    <a:gd name="connsiteY12" fmla="*/ 268664 h 711724"/>
                    <a:gd name="connsiteX13" fmla="*/ 268664 w 325225"/>
                    <a:gd name="connsiteY13" fmla="*/ 282804 h 711724"/>
                    <a:gd name="connsiteX14" fmla="*/ 259237 w 325225"/>
                    <a:gd name="connsiteY14" fmla="*/ 296945 h 711724"/>
                    <a:gd name="connsiteX15" fmla="*/ 254524 w 325225"/>
                    <a:gd name="connsiteY15" fmla="*/ 311085 h 711724"/>
                    <a:gd name="connsiteX16" fmla="*/ 212103 w 325225"/>
                    <a:gd name="connsiteY16" fmla="*/ 344079 h 711724"/>
                    <a:gd name="connsiteX17" fmla="*/ 193250 w 325225"/>
                    <a:gd name="connsiteY17" fmla="*/ 372359 h 711724"/>
                    <a:gd name="connsiteX18" fmla="*/ 179110 w 325225"/>
                    <a:gd name="connsiteY18" fmla="*/ 414780 h 711724"/>
                    <a:gd name="connsiteX19" fmla="*/ 155543 w 325225"/>
                    <a:gd name="connsiteY19" fmla="*/ 457200 h 711724"/>
                    <a:gd name="connsiteX20" fmla="*/ 113122 w 325225"/>
                    <a:gd name="connsiteY20" fmla="*/ 480767 h 711724"/>
                    <a:gd name="connsiteX21" fmla="*/ 98982 w 325225"/>
                    <a:gd name="connsiteY21" fmla="*/ 490194 h 711724"/>
                    <a:gd name="connsiteX22" fmla="*/ 70701 w 325225"/>
                    <a:gd name="connsiteY22" fmla="*/ 499621 h 711724"/>
                    <a:gd name="connsiteX23" fmla="*/ 37708 w 325225"/>
                    <a:gd name="connsiteY23" fmla="*/ 513761 h 711724"/>
                    <a:gd name="connsiteX24" fmla="*/ 0 w 325225"/>
                    <a:gd name="connsiteY24" fmla="*/ 546755 h 711724"/>
                    <a:gd name="connsiteX25" fmla="*/ 9427 w 325225"/>
                    <a:gd name="connsiteY25" fmla="*/ 560895 h 711724"/>
                    <a:gd name="connsiteX26" fmla="*/ 28281 w 325225"/>
                    <a:gd name="connsiteY26" fmla="*/ 603316 h 711724"/>
                    <a:gd name="connsiteX27" fmla="*/ 32994 w 325225"/>
                    <a:gd name="connsiteY27" fmla="*/ 617456 h 711724"/>
                    <a:gd name="connsiteX28" fmla="*/ 47134 w 325225"/>
                    <a:gd name="connsiteY28" fmla="*/ 645736 h 711724"/>
                    <a:gd name="connsiteX29" fmla="*/ 32994 w 325225"/>
                    <a:gd name="connsiteY29" fmla="*/ 692870 h 711724"/>
                    <a:gd name="connsiteX30" fmla="*/ 32994 w 325225"/>
                    <a:gd name="connsiteY30" fmla="*/ 711724 h 711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</a:cxnLst>
                  <a:rect l="l" t="t" r="r" b="b"/>
                  <a:pathLst>
                    <a:path w="325225" h="711724">
                      <a:moveTo>
                        <a:pt x="325225" y="0"/>
                      </a:moveTo>
                      <a:cubicBezTo>
                        <a:pt x="322563" y="4436"/>
                        <a:pt x="306371" y="27562"/>
                        <a:pt x="306371" y="37707"/>
                      </a:cubicBezTo>
                      <a:cubicBezTo>
                        <a:pt x="306371" y="43622"/>
                        <a:pt x="313576" y="64035"/>
                        <a:pt x="315798" y="70701"/>
                      </a:cubicBezTo>
                      <a:cubicBezTo>
                        <a:pt x="312656" y="80128"/>
                        <a:pt x="314639" y="93470"/>
                        <a:pt x="306371" y="98982"/>
                      </a:cubicBezTo>
                      <a:cubicBezTo>
                        <a:pt x="265839" y="126001"/>
                        <a:pt x="317127" y="93603"/>
                        <a:pt x="278091" y="113122"/>
                      </a:cubicBezTo>
                      <a:cubicBezTo>
                        <a:pt x="273024" y="115656"/>
                        <a:pt x="268664" y="119407"/>
                        <a:pt x="263951" y="122549"/>
                      </a:cubicBezTo>
                      <a:cubicBezTo>
                        <a:pt x="252102" y="158091"/>
                        <a:pt x="268085" y="114281"/>
                        <a:pt x="249811" y="150829"/>
                      </a:cubicBezTo>
                      <a:cubicBezTo>
                        <a:pt x="247589" y="155273"/>
                        <a:pt x="246668" y="160256"/>
                        <a:pt x="245097" y="164969"/>
                      </a:cubicBezTo>
                      <a:cubicBezTo>
                        <a:pt x="246668" y="172825"/>
                        <a:pt x="246998" y="181035"/>
                        <a:pt x="249811" y="188536"/>
                      </a:cubicBezTo>
                      <a:cubicBezTo>
                        <a:pt x="251800" y="193840"/>
                        <a:pt x="257248" y="197372"/>
                        <a:pt x="259237" y="202676"/>
                      </a:cubicBezTo>
                      <a:cubicBezTo>
                        <a:pt x="262050" y="210177"/>
                        <a:pt x="262008" y="218471"/>
                        <a:pt x="263951" y="226243"/>
                      </a:cubicBezTo>
                      <a:cubicBezTo>
                        <a:pt x="267855" y="241858"/>
                        <a:pt x="268873" y="240697"/>
                        <a:pt x="278091" y="254524"/>
                      </a:cubicBezTo>
                      <a:cubicBezTo>
                        <a:pt x="279662" y="259237"/>
                        <a:pt x="284375" y="263951"/>
                        <a:pt x="282804" y="268664"/>
                      </a:cubicBezTo>
                      <a:cubicBezTo>
                        <a:pt x="280696" y="274988"/>
                        <a:pt x="272931" y="277683"/>
                        <a:pt x="268664" y="282804"/>
                      </a:cubicBezTo>
                      <a:cubicBezTo>
                        <a:pt x="265037" y="287156"/>
                        <a:pt x="262379" y="292231"/>
                        <a:pt x="259237" y="296945"/>
                      </a:cubicBezTo>
                      <a:cubicBezTo>
                        <a:pt x="257666" y="301658"/>
                        <a:pt x="258037" y="307572"/>
                        <a:pt x="254524" y="311085"/>
                      </a:cubicBezTo>
                      <a:cubicBezTo>
                        <a:pt x="218881" y="346728"/>
                        <a:pt x="235324" y="314223"/>
                        <a:pt x="212103" y="344079"/>
                      </a:cubicBezTo>
                      <a:cubicBezTo>
                        <a:pt x="205147" y="353022"/>
                        <a:pt x="196833" y="361611"/>
                        <a:pt x="193250" y="372359"/>
                      </a:cubicBezTo>
                      <a:lnTo>
                        <a:pt x="179110" y="414780"/>
                      </a:lnTo>
                      <a:cubicBezTo>
                        <a:pt x="174199" y="429513"/>
                        <a:pt x="169431" y="447941"/>
                        <a:pt x="155543" y="457200"/>
                      </a:cubicBezTo>
                      <a:cubicBezTo>
                        <a:pt x="123128" y="478810"/>
                        <a:pt x="138011" y="472471"/>
                        <a:pt x="113122" y="480767"/>
                      </a:cubicBezTo>
                      <a:cubicBezTo>
                        <a:pt x="108409" y="483909"/>
                        <a:pt x="104159" y="487893"/>
                        <a:pt x="98982" y="490194"/>
                      </a:cubicBezTo>
                      <a:cubicBezTo>
                        <a:pt x="89902" y="494230"/>
                        <a:pt x="78969" y="494109"/>
                        <a:pt x="70701" y="499621"/>
                      </a:cubicBezTo>
                      <a:cubicBezTo>
                        <a:pt x="51171" y="512641"/>
                        <a:pt x="62057" y="507674"/>
                        <a:pt x="37708" y="513761"/>
                      </a:cubicBezTo>
                      <a:cubicBezTo>
                        <a:pt x="4714" y="535757"/>
                        <a:pt x="15712" y="523188"/>
                        <a:pt x="0" y="546755"/>
                      </a:cubicBezTo>
                      <a:cubicBezTo>
                        <a:pt x="3142" y="551468"/>
                        <a:pt x="7126" y="555718"/>
                        <a:pt x="9427" y="560895"/>
                      </a:cubicBezTo>
                      <a:cubicBezTo>
                        <a:pt x="31866" y="611380"/>
                        <a:pt x="6945" y="571312"/>
                        <a:pt x="28281" y="603316"/>
                      </a:cubicBezTo>
                      <a:cubicBezTo>
                        <a:pt x="29852" y="608029"/>
                        <a:pt x="30772" y="613012"/>
                        <a:pt x="32994" y="617456"/>
                      </a:cubicBezTo>
                      <a:cubicBezTo>
                        <a:pt x="51268" y="654004"/>
                        <a:pt x="35288" y="610195"/>
                        <a:pt x="47134" y="645736"/>
                      </a:cubicBezTo>
                      <a:cubicBezTo>
                        <a:pt x="40010" y="674233"/>
                        <a:pt x="44471" y="658440"/>
                        <a:pt x="32994" y="692870"/>
                      </a:cubicBezTo>
                      <a:cubicBezTo>
                        <a:pt x="27578" y="709118"/>
                        <a:pt x="24768" y="703497"/>
                        <a:pt x="32994" y="71172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3" name="Forma livre 811"/>
                <p:cNvSpPr/>
                <p:nvPr/>
              </p:nvSpPr>
              <p:spPr>
                <a:xfrm>
                  <a:off x="4270342" y="1362173"/>
                  <a:ext cx="259237" cy="1461155"/>
                </a:xfrm>
                <a:custGeom>
                  <a:avLst/>
                  <a:gdLst>
                    <a:gd name="connsiteX0" fmla="*/ 216817 w 259237"/>
                    <a:gd name="connsiteY0" fmla="*/ 0 h 1461155"/>
                    <a:gd name="connsiteX1" fmla="*/ 221530 w 259237"/>
                    <a:gd name="connsiteY1" fmla="*/ 23567 h 1461155"/>
                    <a:gd name="connsiteX2" fmla="*/ 240384 w 259237"/>
                    <a:gd name="connsiteY2" fmla="*/ 51848 h 1461155"/>
                    <a:gd name="connsiteX3" fmla="*/ 235670 w 259237"/>
                    <a:gd name="connsiteY3" fmla="*/ 94268 h 1461155"/>
                    <a:gd name="connsiteX4" fmla="*/ 245097 w 259237"/>
                    <a:gd name="connsiteY4" fmla="*/ 141402 h 1461155"/>
                    <a:gd name="connsiteX5" fmla="*/ 249811 w 259237"/>
                    <a:gd name="connsiteY5" fmla="*/ 169683 h 1461155"/>
                    <a:gd name="connsiteX6" fmla="*/ 254524 w 259237"/>
                    <a:gd name="connsiteY6" fmla="*/ 188536 h 1461155"/>
                    <a:gd name="connsiteX7" fmla="*/ 245097 w 259237"/>
                    <a:gd name="connsiteY7" fmla="*/ 226243 h 1461155"/>
                    <a:gd name="connsiteX8" fmla="*/ 235670 w 259237"/>
                    <a:gd name="connsiteY8" fmla="*/ 245097 h 1461155"/>
                    <a:gd name="connsiteX9" fmla="*/ 221530 w 259237"/>
                    <a:gd name="connsiteY9" fmla="*/ 292231 h 1461155"/>
                    <a:gd name="connsiteX10" fmla="*/ 212103 w 259237"/>
                    <a:gd name="connsiteY10" fmla="*/ 325225 h 1461155"/>
                    <a:gd name="connsiteX11" fmla="*/ 216817 w 259237"/>
                    <a:gd name="connsiteY11" fmla="*/ 485481 h 1461155"/>
                    <a:gd name="connsiteX12" fmla="*/ 226244 w 259237"/>
                    <a:gd name="connsiteY12" fmla="*/ 513761 h 1461155"/>
                    <a:gd name="connsiteX13" fmla="*/ 230957 w 259237"/>
                    <a:gd name="connsiteY13" fmla="*/ 527901 h 1461155"/>
                    <a:gd name="connsiteX14" fmla="*/ 226244 w 259237"/>
                    <a:gd name="connsiteY14" fmla="*/ 603316 h 1461155"/>
                    <a:gd name="connsiteX15" fmla="*/ 216817 w 259237"/>
                    <a:gd name="connsiteY15" fmla="*/ 631596 h 1461155"/>
                    <a:gd name="connsiteX16" fmla="*/ 230957 w 259237"/>
                    <a:gd name="connsiteY16" fmla="*/ 664590 h 1461155"/>
                    <a:gd name="connsiteX17" fmla="*/ 245097 w 259237"/>
                    <a:gd name="connsiteY17" fmla="*/ 692870 h 1461155"/>
                    <a:gd name="connsiteX18" fmla="*/ 259237 w 259237"/>
                    <a:gd name="connsiteY18" fmla="*/ 744718 h 1461155"/>
                    <a:gd name="connsiteX19" fmla="*/ 254524 w 259237"/>
                    <a:gd name="connsiteY19" fmla="*/ 768285 h 1461155"/>
                    <a:gd name="connsiteX20" fmla="*/ 249811 w 259237"/>
                    <a:gd name="connsiteY20" fmla="*/ 782425 h 1461155"/>
                    <a:gd name="connsiteX21" fmla="*/ 245097 w 259237"/>
                    <a:gd name="connsiteY21" fmla="*/ 853126 h 1461155"/>
                    <a:gd name="connsiteX22" fmla="*/ 221530 w 259237"/>
                    <a:gd name="connsiteY22" fmla="*/ 876693 h 1461155"/>
                    <a:gd name="connsiteX23" fmla="*/ 193250 w 259237"/>
                    <a:gd name="connsiteY23" fmla="*/ 886120 h 1461155"/>
                    <a:gd name="connsiteX24" fmla="*/ 150829 w 259237"/>
                    <a:gd name="connsiteY24" fmla="*/ 923827 h 1461155"/>
                    <a:gd name="connsiteX25" fmla="*/ 141402 w 259237"/>
                    <a:gd name="connsiteY25" fmla="*/ 937967 h 1461155"/>
                    <a:gd name="connsiteX26" fmla="*/ 136689 w 259237"/>
                    <a:gd name="connsiteY26" fmla="*/ 952107 h 1461155"/>
                    <a:gd name="connsiteX27" fmla="*/ 122549 w 259237"/>
                    <a:gd name="connsiteY27" fmla="*/ 961534 h 1461155"/>
                    <a:gd name="connsiteX28" fmla="*/ 113122 w 259237"/>
                    <a:gd name="connsiteY28" fmla="*/ 975674 h 1461155"/>
                    <a:gd name="connsiteX29" fmla="*/ 98982 w 259237"/>
                    <a:gd name="connsiteY29" fmla="*/ 985101 h 1461155"/>
                    <a:gd name="connsiteX30" fmla="*/ 89555 w 259237"/>
                    <a:gd name="connsiteY30" fmla="*/ 1013382 h 1461155"/>
                    <a:gd name="connsiteX31" fmla="*/ 80128 w 259237"/>
                    <a:gd name="connsiteY31" fmla="*/ 1041662 h 1461155"/>
                    <a:gd name="connsiteX32" fmla="*/ 75415 w 259237"/>
                    <a:gd name="connsiteY32" fmla="*/ 1055802 h 1461155"/>
                    <a:gd name="connsiteX33" fmla="*/ 70701 w 259237"/>
                    <a:gd name="connsiteY33" fmla="*/ 1074656 h 1461155"/>
                    <a:gd name="connsiteX34" fmla="*/ 75415 w 259237"/>
                    <a:gd name="connsiteY34" fmla="*/ 1183064 h 1461155"/>
                    <a:gd name="connsiteX35" fmla="*/ 65988 w 259237"/>
                    <a:gd name="connsiteY35" fmla="*/ 1267905 h 1461155"/>
                    <a:gd name="connsiteX36" fmla="*/ 61274 w 259237"/>
                    <a:gd name="connsiteY36" fmla="*/ 1305613 h 1461155"/>
                    <a:gd name="connsiteX37" fmla="*/ 51848 w 259237"/>
                    <a:gd name="connsiteY37" fmla="*/ 1338606 h 1461155"/>
                    <a:gd name="connsiteX38" fmla="*/ 47134 w 259237"/>
                    <a:gd name="connsiteY38" fmla="*/ 1362173 h 1461155"/>
                    <a:gd name="connsiteX39" fmla="*/ 37707 w 259237"/>
                    <a:gd name="connsiteY39" fmla="*/ 1390454 h 1461155"/>
                    <a:gd name="connsiteX40" fmla="*/ 28281 w 259237"/>
                    <a:gd name="connsiteY40" fmla="*/ 1423448 h 1461155"/>
                    <a:gd name="connsiteX41" fmla="*/ 0 w 259237"/>
                    <a:gd name="connsiteY41" fmla="*/ 1461155 h 14611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259237" h="1461155">
                      <a:moveTo>
                        <a:pt x="216817" y="0"/>
                      </a:moveTo>
                      <a:cubicBezTo>
                        <a:pt x="218388" y="7856"/>
                        <a:pt x="218215" y="16274"/>
                        <a:pt x="221530" y="23567"/>
                      </a:cubicBezTo>
                      <a:cubicBezTo>
                        <a:pt x="226218" y="33881"/>
                        <a:pt x="240384" y="51848"/>
                        <a:pt x="240384" y="51848"/>
                      </a:cubicBezTo>
                      <a:cubicBezTo>
                        <a:pt x="238813" y="65988"/>
                        <a:pt x="235670" y="80041"/>
                        <a:pt x="235670" y="94268"/>
                      </a:cubicBezTo>
                      <a:cubicBezTo>
                        <a:pt x="235670" y="135392"/>
                        <a:pt x="239293" y="115286"/>
                        <a:pt x="245097" y="141402"/>
                      </a:cubicBezTo>
                      <a:cubicBezTo>
                        <a:pt x="247170" y="150731"/>
                        <a:pt x="247937" y="160312"/>
                        <a:pt x="249811" y="169683"/>
                      </a:cubicBezTo>
                      <a:cubicBezTo>
                        <a:pt x="251081" y="176035"/>
                        <a:pt x="252953" y="182252"/>
                        <a:pt x="254524" y="188536"/>
                      </a:cubicBezTo>
                      <a:cubicBezTo>
                        <a:pt x="251756" y="202375"/>
                        <a:pt x="250534" y="213557"/>
                        <a:pt x="245097" y="226243"/>
                      </a:cubicBezTo>
                      <a:cubicBezTo>
                        <a:pt x="242329" y="232701"/>
                        <a:pt x="238279" y="238573"/>
                        <a:pt x="235670" y="245097"/>
                      </a:cubicBezTo>
                      <a:cubicBezTo>
                        <a:pt x="224476" y="273084"/>
                        <a:pt x="228472" y="267936"/>
                        <a:pt x="221530" y="292231"/>
                      </a:cubicBezTo>
                      <a:cubicBezTo>
                        <a:pt x="208009" y="339554"/>
                        <a:pt x="226836" y="266297"/>
                        <a:pt x="212103" y="325225"/>
                      </a:cubicBezTo>
                      <a:cubicBezTo>
                        <a:pt x="213674" y="378644"/>
                        <a:pt x="212820" y="432189"/>
                        <a:pt x="216817" y="485481"/>
                      </a:cubicBezTo>
                      <a:cubicBezTo>
                        <a:pt x="217560" y="495390"/>
                        <a:pt x="223102" y="504334"/>
                        <a:pt x="226244" y="513761"/>
                      </a:cubicBezTo>
                      <a:lnTo>
                        <a:pt x="230957" y="527901"/>
                      </a:lnTo>
                      <a:cubicBezTo>
                        <a:pt x="229386" y="553039"/>
                        <a:pt x="229647" y="578360"/>
                        <a:pt x="226244" y="603316"/>
                      </a:cubicBezTo>
                      <a:cubicBezTo>
                        <a:pt x="224901" y="613162"/>
                        <a:pt x="216817" y="631596"/>
                        <a:pt x="216817" y="631596"/>
                      </a:cubicBezTo>
                      <a:cubicBezTo>
                        <a:pt x="226626" y="670835"/>
                        <a:pt x="214682" y="632040"/>
                        <a:pt x="230957" y="664590"/>
                      </a:cubicBezTo>
                      <a:cubicBezTo>
                        <a:pt x="250471" y="703618"/>
                        <a:pt x="218080" y="652346"/>
                        <a:pt x="245097" y="692870"/>
                      </a:cubicBezTo>
                      <a:cubicBezTo>
                        <a:pt x="255729" y="735398"/>
                        <a:pt x="250427" y="718287"/>
                        <a:pt x="259237" y="744718"/>
                      </a:cubicBezTo>
                      <a:cubicBezTo>
                        <a:pt x="257666" y="752574"/>
                        <a:pt x="256467" y="760513"/>
                        <a:pt x="254524" y="768285"/>
                      </a:cubicBezTo>
                      <a:cubicBezTo>
                        <a:pt x="253319" y="773105"/>
                        <a:pt x="250360" y="777487"/>
                        <a:pt x="249811" y="782425"/>
                      </a:cubicBezTo>
                      <a:cubicBezTo>
                        <a:pt x="247203" y="805900"/>
                        <a:pt x="248980" y="829828"/>
                        <a:pt x="245097" y="853126"/>
                      </a:cubicBezTo>
                      <a:cubicBezTo>
                        <a:pt x="243463" y="862929"/>
                        <a:pt x="229448" y="873174"/>
                        <a:pt x="221530" y="876693"/>
                      </a:cubicBezTo>
                      <a:cubicBezTo>
                        <a:pt x="212450" y="880729"/>
                        <a:pt x="193250" y="886120"/>
                        <a:pt x="193250" y="886120"/>
                      </a:cubicBezTo>
                      <a:cubicBezTo>
                        <a:pt x="160963" y="918406"/>
                        <a:pt x="176061" y="907005"/>
                        <a:pt x="150829" y="923827"/>
                      </a:cubicBezTo>
                      <a:cubicBezTo>
                        <a:pt x="147687" y="928540"/>
                        <a:pt x="143935" y="932900"/>
                        <a:pt x="141402" y="937967"/>
                      </a:cubicBezTo>
                      <a:cubicBezTo>
                        <a:pt x="139180" y="942411"/>
                        <a:pt x="139793" y="948227"/>
                        <a:pt x="136689" y="952107"/>
                      </a:cubicBezTo>
                      <a:cubicBezTo>
                        <a:pt x="133150" y="956531"/>
                        <a:pt x="127262" y="958392"/>
                        <a:pt x="122549" y="961534"/>
                      </a:cubicBezTo>
                      <a:cubicBezTo>
                        <a:pt x="119407" y="966247"/>
                        <a:pt x="117128" y="971668"/>
                        <a:pt x="113122" y="975674"/>
                      </a:cubicBezTo>
                      <a:cubicBezTo>
                        <a:pt x="109116" y="979680"/>
                        <a:pt x="101984" y="980297"/>
                        <a:pt x="98982" y="985101"/>
                      </a:cubicBezTo>
                      <a:cubicBezTo>
                        <a:pt x="93716" y="993528"/>
                        <a:pt x="92697" y="1003955"/>
                        <a:pt x="89555" y="1013382"/>
                      </a:cubicBezTo>
                      <a:lnTo>
                        <a:pt x="80128" y="1041662"/>
                      </a:lnTo>
                      <a:cubicBezTo>
                        <a:pt x="78557" y="1046375"/>
                        <a:pt x="76620" y="1050982"/>
                        <a:pt x="75415" y="1055802"/>
                      </a:cubicBezTo>
                      <a:lnTo>
                        <a:pt x="70701" y="1074656"/>
                      </a:lnTo>
                      <a:cubicBezTo>
                        <a:pt x="72272" y="1110792"/>
                        <a:pt x="75415" y="1146894"/>
                        <a:pt x="75415" y="1183064"/>
                      </a:cubicBezTo>
                      <a:cubicBezTo>
                        <a:pt x="75415" y="1243588"/>
                        <a:pt x="77109" y="1234541"/>
                        <a:pt x="65988" y="1267905"/>
                      </a:cubicBezTo>
                      <a:cubicBezTo>
                        <a:pt x="64417" y="1280474"/>
                        <a:pt x="63357" y="1293118"/>
                        <a:pt x="61274" y="1305613"/>
                      </a:cubicBezTo>
                      <a:cubicBezTo>
                        <a:pt x="56867" y="1332056"/>
                        <a:pt x="57451" y="1316196"/>
                        <a:pt x="51848" y="1338606"/>
                      </a:cubicBezTo>
                      <a:cubicBezTo>
                        <a:pt x="49905" y="1346378"/>
                        <a:pt x="49242" y="1354444"/>
                        <a:pt x="47134" y="1362173"/>
                      </a:cubicBezTo>
                      <a:cubicBezTo>
                        <a:pt x="44519" y="1371760"/>
                        <a:pt x="40117" y="1380814"/>
                        <a:pt x="37707" y="1390454"/>
                      </a:cubicBezTo>
                      <a:cubicBezTo>
                        <a:pt x="36598" y="1394889"/>
                        <a:pt x="31353" y="1417918"/>
                        <a:pt x="28281" y="1423448"/>
                      </a:cubicBezTo>
                      <a:cubicBezTo>
                        <a:pt x="14958" y="1447429"/>
                        <a:pt x="14302" y="1446853"/>
                        <a:pt x="0" y="1461155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4" name="Forma livre 812"/>
                <p:cNvSpPr/>
                <p:nvPr/>
              </p:nvSpPr>
              <p:spPr>
                <a:xfrm>
                  <a:off x="4331616" y="1348033"/>
                  <a:ext cx="1602557" cy="631596"/>
                </a:xfrm>
                <a:custGeom>
                  <a:avLst/>
                  <a:gdLst>
                    <a:gd name="connsiteX0" fmla="*/ 0 w 1602557"/>
                    <a:gd name="connsiteY0" fmla="*/ 42421 h 631596"/>
                    <a:gd name="connsiteX1" fmla="*/ 28281 w 1602557"/>
                    <a:gd name="connsiteY1" fmla="*/ 37707 h 631596"/>
                    <a:gd name="connsiteX2" fmla="*/ 56561 w 1602557"/>
                    <a:gd name="connsiteY2" fmla="*/ 28280 h 631596"/>
                    <a:gd name="connsiteX3" fmla="*/ 164970 w 1602557"/>
                    <a:gd name="connsiteY3" fmla="*/ 23567 h 631596"/>
                    <a:gd name="connsiteX4" fmla="*/ 207390 w 1602557"/>
                    <a:gd name="connsiteY4" fmla="*/ 4713 h 631596"/>
                    <a:gd name="connsiteX5" fmla="*/ 221530 w 1602557"/>
                    <a:gd name="connsiteY5" fmla="*/ 0 h 631596"/>
                    <a:gd name="connsiteX6" fmla="*/ 235671 w 1602557"/>
                    <a:gd name="connsiteY6" fmla="*/ 4713 h 631596"/>
                    <a:gd name="connsiteX7" fmla="*/ 240384 w 1602557"/>
                    <a:gd name="connsiteY7" fmla="*/ 18854 h 631596"/>
                    <a:gd name="connsiteX8" fmla="*/ 254524 w 1602557"/>
                    <a:gd name="connsiteY8" fmla="*/ 32994 h 631596"/>
                    <a:gd name="connsiteX9" fmla="*/ 259238 w 1602557"/>
                    <a:gd name="connsiteY9" fmla="*/ 47134 h 631596"/>
                    <a:gd name="connsiteX10" fmla="*/ 301658 w 1602557"/>
                    <a:gd name="connsiteY10" fmla="*/ 65988 h 631596"/>
                    <a:gd name="connsiteX11" fmla="*/ 329939 w 1602557"/>
                    <a:gd name="connsiteY11" fmla="*/ 75414 h 631596"/>
                    <a:gd name="connsiteX12" fmla="*/ 344079 w 1602557"/>
                    <a:gd name="connsiteY12" fmla="*/ 80128 h 631596"/>
                    <a:gd name="connsiteX13" fmla="*/ 386499 w 1602557"/>
                    <a:gd name="connsiteY13" fmla="*/ 84841 h 631596"/>
                    <a:gd name="connsiteX14" fmla="*/ 400640 w 1602557"/>
                    <a:gd name="connsiteY14" fmla="*/ 89555 h 631596"/>
                    <a:gd name="connsiteX15" fmla="*/ 405353 w 1602557"/>
                    <a:gd name="connsiteY15" fmla="*/ 103695 h 631596"/>
                    <a:gd name="connsiteX16" fmla="*/ 414780 w 1602557"/>
                    <a:gd name="connsiteY16" fmla="*/ 117835 h 631596"/>
                    <a:gd name="connsiteX17" fmla="*/ 419493 w 1602557"/>
                    <a:gd name="connsiteY17" fmla="*/ 141402 h 631596"/>
                    <a:gd name="connsiteX18" fmla="*/ 433633 w 1602557"/>
                    <a:gd name="connsiteY18" fmla="*/ 174396 h 631596"/>
                    <a:gd name="connsiteX19" fmla="*/ 452487 w 1602557"/>
                    <a:gd name="connsiteY19" fmla="*/ 202676 h 631596"/>
                    <a:gd name="connsiteX20" fmla="*/ 457200 w 1602557"/>
                    <a:gd name="connsiteY20" fmla="*/ 216816 h 631596"/>
                    <a:gd name="connsiteX21" fmla="*/ 466627 w 1602557"/>
                    <a:gd name="connsiteY21" fmla="*/ 235670 h 631596"/>
                    <a:gd name="connsiteX22" fmla="*/ 471341 w 1602557"/>
                    <a:gd name="connsiteY22" fmla="*/ 259237 h 631596"/>
                    <a:gd name="connsiteX23" fmla="*/ 485481 w 1602557"/>
                    <a:gd name="connsiteY23" fmla="*/ 348792 h 631596"/>
                    <a:gd name="connsiteX24" fmla="*/ 499621 w 1602557"/>
                    <a:gd name="connsiteY24" fmla="*/ 362932 h 631596"/>
                    <a:gd name="connsiteX25" fmla="*/ 518475 w 1602557"/>
                    <a:gd name="connsiteY25" fmla="*/ 386499 h 631596"/>
                    <a:gd name="connsiteX26" fmla="*/ 546755 w 1602557"/>
                    <a:gd name="connsiteY26" fmla="*/ 395926 h 631596"/>
                    <a:gd name="connsiteX27" fmla="*/ 560895 w 1602557"/>
                    <a:gd name="connsiteY27" fmla="*/ 424206 h 631596"/>
                    <a:gd name="connsiteX28" fmla="*/ 570322 w 1602557"/>
                    <a:gd name="connsiteY28" fmla="*/ 452487 h 631596"/>
                    <a:gd name="connsiteX29" fmla="*/ 579749 w 1602557"/>
                    <a:gd name="connsiteY29" fmla="*/ 466627 h 631596"/>
                    <a:gd name="connsiteX30" fmla="*/ 622170 w 1602557"/>
                    <a:gd name="connsiteY30" fmla="*/ 490194 h 631596"/>
                    <a:gd name="connsiteX31" fmla="*/ 683444 w 1602557"/>
                    <a:gd name="connsiteY31" fmla="*/ 499621 h 631596"/>
                    <a:gd name="connsiteX32" fmla="*/ 702297 w 1602557"/>
                    <a:gd name="connsiteY32" fmla="*/ 513761 h 631596"/>
                    <a:gd name="connsiteX33" fmla="*/ 711724 w 1602557"/>
                    <a:gd name="connsiteY33" fmla="*/ 527901 h 631596"/>
                    <a:gd name="connsiteX34" fmla="*/ 740005 w 1602557"/>
                    <a:gd name="connsiteY34" fmla="*/ 546755 h 631596"/>
                    <a:gd name="connsiteX35" fmla="*/ 754145 w 1602557"/>
                    <a:gd name="connsiteY35" fmla="*/ 556181 h 631596"/>
                    <a:gd name="connsiteX36" fmla="*/ 768285 w 1602557"/>
                    <a:gd name="connsiteY36" fmla="*/ 565608 h 631596"/>
                    <a:gd name="connsiteX37" fmla="*/ 820132 w 1602557"/>
                    <a:gd name="connsiteY37" fmla="*/ 579748 h 631596"/>
                    <a:gd name="connsiteX38" fmla="*/ 834273 w 1602557"/>
                    <a:gd name="connsiteY38" fmla="*/ 589175 h 631596"/>
                    <a:gd name="connsiteX39" fmla="*/ 862553 w 1602557"/>
                    <a:gd name="connsiteY39" fmla="*/ 598602 h 631596"/>
                    <a:gd name="connsiteX40" fmla="*/ 876693 w 1602557"/>
                    <a:gd name="connsiteY40" fmla="*/ 608029 h 631596"/>
                    <a:gd name="connsiteX41" fmla="*/ 919114 w 1602557"/>
                    <a:gd name="connsiteY41" fmla="*/ 622169 h 631596"/>
                    <a:gd name="connsiteX42" fmla="*/ 933254 w 1602557"/>
                    <a:gd name="connsiteY42" fmla="*/ 626882 h 631596"/>
                    <a:gd name="connsiteX43" fmla="*/ 947394 w 1602557"/>
                    <a:gd name="connsiteY43" fmla="*/ 631596 h 631596"/>
                    <a:gd name="connsiteX44" fmla="*/ 1018095 w 1602557"/>
                    <a:gd name="connsiteY44" fmla="*/ 626882 h 631596"/>
                    <a:gd name="connsiteX45" fmla="*/ 1032236 w 1602557"/>
                    <a:gd name="connsiteY45" fmla="*/ 617456 h 631596"/>
                    <a:gd name="connsiteX46" fmla="*/ 1046376 w 1602557"/>
                    <a:gd name="connsiteY46" fmla="*/ 579748 h 631596"/>
                    <a:gd name="connsiteX47" fmla="*/ 1074656 w 1602557"/>
                    <a:gd name="connsiteY47" fmla="*/ 551468 h 631596"/>
                    <a:gd name="connsiteX48" fmla="*/ 1093510 w 1602557"/>
                    <a:gd name="connsiteY48" fmla="*/ 527901 h 631596"/>
                    <a:gd name="connsiteX49" fmla="*/ 1112363 w 1602557"/>
                    <a:gd name="connsiteY49" fmla="*/ 509047 h 631596"/>
                    <a:gd name="connsiteX50" fmla="*/ 1150071 w 1602557"/>
                    <a:gd name="connsiteY50" fmla="*/ 476054 h 631596"/>
                    <a:gd name="connsiteX51" fmla="*/ 1178351 w 1602557"/>
                    <a:gd name="connsiteY51" fmla="*/ 466627 h 631596"/>
                    <a:gd name="connsiteX52" fmla="*/ 1192491 w 1602557"/>
                    <a:gd name="connsiteY52" fmla="*/ 461913 h 631596"/>
                    <a:gd name="connsiteX53" fmla="*/ 1220772 w 1602557"/>
                    <a:gd name="connsiteY53" fmla="*/ 447773 h 631596"/>
                    <a:gd name="connsiteX54" fmla="*/ 1249052 w 1602557"/>
                    <a:gd name="connsiteY54" fmla="*/ 424206 h 631596"/>
                    <a:gd name="connsiteX55" fmla="*/ 1258479 w 1602557"/>
                    <a:gd name="connsiteY55" fmla="*/ 410066 h 631596"/>
                    <a:gd name="connsiteX56" fmla="*/ 1286759 w 1602557"/>
                    <a:gd name="connsiteY56" fmla="*/ 414779 h 631596"/>
                    <a:gd name="connsiteX57" fmla="*/ 1300899 w 1602557"/>
                    <a:gd name="connsiteY57" fmla="*/ 419493 h 631596"/>
                    <a:gd name="connsiteX58" fmla="*/ 1338607 w 1602557"/>
                    <a:gd name="connsiteY58" fmla="*/ 414779 h 631596"/>
                    <a:gd name="connsiteX59" fmla="*/ 1366887 w 1602557"/>
                    <a:gd name="connsiteY59" fmla="*/ 419493 h 631596"/>
                    <a:gd name="connsiteX60" fmla="*/ 1381027 w 1602557"/>
                    <a:gd name="connsiteY60" fmla="*/ 424206 h 631596"/>
                    <a:gd name="connsiteX61" fmla="*/ 1428161 w 1602557"/>
                    <a:gd name="connsiteY61" fmla="*/ 414779 h 631596"/>
                    <a:gd name="connsiteX62" fmla="*/ 1602557 w 1602557"/>
                    <a:gd name="connsiteY62" fmla="*/ 410066 h 631596"/>
                    <a:gd name="connsiteX0" fmla="*/ 0 w 1602557"/>
                    <a:gd name="connsiteY0" fmla="*/ 42421 h 631596"/>
                    <a:gd name="connsiteX1" fmla="*/ 28281 w 1602557"/>
                    <a:gd name="connsiteY1" fmla="*/ 37707 h 631596"/>
                    <a:gd name="connsiteX2" fmla="*/ 56561 w 1602557"/>
                    <a:gd name="connsiteY2" fmla="*/ 28280 h 631596"/>
                    <a:gd name="connsiteX3" fmla="*/ 164970 w 1602557"/>
                    <a:gd name="connsiteY3" fmla="*/ 23567 h 631596"/>
                    <a:gd name="connsiteX4" fmla="*/ 207390 w 1602557"/>
                    <a:gd name="connsiteY4" fmla="*/ 4713 h 631596"/>
                    <a:gd name="connsiteX5" fmla="*/ 221530 w 1602557"/>
                    <a:gd name="connsiteY5" fmla="*/ 0 h 631596"/>
                    <a:gd name="connsiteX6" fmla="*/ 235671 w 1602557"/>
                    <a:gd name="connsiteY6" fmla="*/ 4713 h 631596"/>
                    <a:gd name="connsiteX7" fmla="*/ 240384 w 1602557"/>
                    <a:gd name="connsiteY7" fmla="*/ 18854 h 631596"/>
                    <a:gd name="connsiteX8" fmla="*/ 254524 w 1602557"/>
                    <a:gd name="connsiteY8" fmla="*/ 32994 h 631596"/>
                    <a:gd name="connsiteX9" fmla="*/ 301658 w 1602557"/>
                    <a:gd name="connsiteY9" fmla="*/ 65988 h 631596"/>
                    <a:gd name="connsiteX10" fmla="*/ 329939 w 1602557"/>
                    <a:gd name="connsiteY10" fmla="*/ 75414 h 631596"/>
                    <a:gd name="connsiteX11" fmla="*/ 344079 w 1602557"/>
                    <a:gd name="connsiteY11" fmla="*/ 80128 h 631596"/>
                    <a:gd name="connsiteX12" fmla="*/ 386499 w 1602557"/>
                    <a:gd name="connsiteY12" fmla="*/ 84841 h 631596"/>
                    <a:gd name="connsiteX13" fmla="*/ 400640 w 1602557"/>
                    <a:gd name="connsiteY13" fmla="*/ 89555 h 631596"/>
                    <a:gd name="connsiteX14" fmla="*/ 405353 w 1602557"/>
                    <a:gd name="connsiteY14" fmla="*/ 103695 h 631596"/>
                    <a:gd name="connsiteX15" fmla="*/ 414780 w 1602557"/>
                    <a:gd name="connsiteY15" fmla="*/ 117835 h 631596"/>
                    <a:gd name="connsiteX16" fmla="*/ 419493 w 1602557"/>
                    <a:gd name="connsiteY16" fmla="*/ 141402 h 631596"/>
                    <a:gd name="connsiteX17" fmla="*/ 433633 w 1602557"/>
                    <a:gd name="connsiteY17" fmla="*/ 174396 h 631596"/>
                    <a:gd name="connsiteX18" fmla="*/ 452487 w 1602557"/>
                    <a:gd name="connsiteY18" fmla="*/ 202676 h 631596"/>
                    <a:gd name="connsiteX19" fmla="*/ 457200 w 1602557"/>
                    <a:gd name="connsiteY19" fmla="*/ 216816 h 631596"/>
                    <a:gd name="connsiteX20" fmla="*/ 466627 w 1602557"/>
                    <a:gd name="connsiteY20" fmla="*/ 235670 h 631596"/>
                    <a:gd name="connsiteX21" fmla="*/ 471341 w 1602557"/>
                    <a:gd name="connsiteY21" fmla="*/ 259237 h 631596"/>
                    <a:gd name="connsiteX22" fmla="*/ 485481 w 1602557"/>
                    <a:gd name="connsiteY22" fmla="*/ 348792 h 631596"/>
                    <a:gd name="connsiteX23" fmla="*/ 499621 w 1602557"/>
                    <a:gd name="connsiteY23" fmla="*/ 362932 h 631596"/>
                    <a:gd name="connsiteX24" fmla="*/ 518475 w 1602557"/>
                    <a:gd name="connsiteY24" fmla="*/ 386499 h 631596"/>
                    <a:gd name="connsiteX25" fmla="*/ 546755 w 1602557"/>
                    <a:gd name="connsiteY25" fmla="*/ 395926 h 631596"/>
                    <a:gd name="connsiteX26" fmla="*/ 560895 w 1602557"/>
                    <a:gd name="connsiteY26" fmla="*/ 424206 h 631596"/>
                    <a:gd name="connsiteX27" fmla="*/ 570322 w 1602557"/>
                    <a:gd name="connsiteY27" fmla="*/ 452487 h 631596"/>
                    <a:gd name="connsiteX28" fmla="*/ 579749 w 1602557"/>
                    <a:gd name="connsiteY28" fmla="*/ 466627 h 631596"/>
                    <a:gd name="connsiteX29" fmla="*/ 622170 w 1602557"/>
                    <a:gd name="connsiteY29" fmla="*/ 490194 h 631596"/>
                    <a:gd name="connsiteX30" fmla="*/ 683444 w 1602557"/>
                    <a:gd name="connsiteY30" fmla="*/ 499621 h 631596"/>
                    <a:gd name="connsiteX31" fmla="*/ 702297 w 1602557"/>
                    <a:gd name="connsiteY31" fmla="*/ 513761 h 631596"/>
                    <a:gd name="connsiteX32" fmla="*/ 711724 w 1602557"/>
                    <a:gd name="connsiteY32" fmla="*/ 527901 h 631596"/>
                    <a:gd name="connsiteX33" fmla="*/ 740005 w 1602557"/>
                    <a:gd name="connsiteY33" fmla="*/ 546755 h 631596"/>
                    <a:gd name="connsiteX34" fmla="*/ 754145 w 1602557"/>
                    <a:gd name="connsiteY34" fmla="*/ 556181 h 631596"/>
                    <a:gd name="connsiteX35" fmla="*/ 768285 w 1602557"/>
                    <a:gd name="connsiteY35" fmla="*/ 565608 h 631596"/>
                    <a:gd name="connsiteX36" fmla="*/ 820132 w 1602557"/>
                    <a:gd name="connsiteY36" fmla="*/ 579748 h 631596"/>
                    <a:gd name="connsiteX37" fmla="*/ 834273 w 1602557"/>
                    <a:gd name="connsiteY37" fmla="*/ 589175 h 631596"/>
                    <a:gd name="connsiteX38" fmla="*/ 862553 w 1602557"/>
                    <a:gd name="connsiteY38" fmla="*/ 598602 h 631596"/>
                    <a:gd name="connsiteX39" fmla="*/ 876693 w 1602557"/>
                    <a:gd name="connsiteY39" fmla="*/ 608029 h 631596"/>
                    <a:gd name="connsiteX40" fmla="*/ 919114 w 1602557"/>
                    <a:gd name="connsiteY40" fmla="*/ 622169 h 631596"/>
                    <a:gd name="connsiteX41" fmla="*/ 933254 w 1602557"/>
                    <a:gd name="connsiteY41" fmla="*/ 626882 h 631596"/>
                    <a:gd name="connsiteX42" fmla="*/ 947394 w 1602557"/>
                    <a:gd name="connsiteY42" fmla="*/ 631596 h 631596"/>
                    <a:gd name="connsiteX43" fmla="*/ 1018095 w 1602557"/>
                    <a:gd name="connsiteY43" fmla="*/ 626882 h 631596"/>
                    <a:gd name="connsiteX44" fmla="*/ 1032236 w 1602557"/>
                    <a:gd name="connsiteY44" fmla="*/ 617456 h 631596"/>
                    <a:gd name="connsiteX45" fmla="*/ 1046376 w 1602557"/>
                    <a:gd name="connsiteY45" fmla="*/ 579748 h 631596"/>
                    <a:gd name="connsiteX46" fmla="*/ 1074656 w 1602557"/>
                    <a:gd name="connsiteY46" fmla="*/ 551468 h 631596"/>
                    <a:gd name="connsiteX47" fmla="*/ 1093510 w 1602557"/>
                    <a:gd name="connsiteY47" fmla="*/ 527901 h 631596"/>
                    <a:gd name="connsiteX48" fmla="*/ 1112363 w 1602557"/>
                    <a:gd name="connsiteY48" fmla="*/ 509047 h 631596"/>
                    <a:gd name="connsiteX49" fmla="*/ 1150071 w 1602557"/>
                    <a:gd name="connsiteY49" fmla="*/ 476054 h 631596"/>
                    <a:gd name="connsiteX50" fmla="*/ 1178351 w 1602557"/>
                    <a:gd name="connsiteY50" fmla="*/ 466627 h 631596"/>
                    <a:gd name="connsiteX51" fmla="*/ 1192491 w 1602557"/>
                    <a:gd name="connsiteY51" fmla="*/ 461913 h 631596"/>
                    <a:gd name="connsiteX52" fmla="*/ 1220772 w 1602557"/>
                    <a:gd name="connsiteY52" fmla="*/ 447773 h 631596"/>
                    <a:gd name="connsiteX53" fmla="*/ 1249052 w 1602557"/>
                    <a:gd name="connsiteY53" fmla="*/ 424206 h 631596"/>
                    <a:gd name="connsiteX54" fmla="*/ 1258479 w 1602557"/>
                    <a:gd name="connsiteY54" fmla="*/ 410066 h 631596"/>
                    <a:gd name="connsiteX55" fmla="*/ 1286759 w 1602557"/>
                    <a:gd name="connsiteY55" fmla="*/ 414779 h 631596"/>
                    <a:gd name="connsiteX56" fmla="*/ 1300899 w 1602557"/>
                    <a:gd name="connsiteY56" fmla="*/ 419493 h 631596"/>
                    <a:gd name="connsiteX57" fmla="*/ 1338607 w 1602557"/>
                    <a:gd name="connsiteY57" fmla="*/ 414779 h 631596"/>
                    <a:gd name="connsiteX58" fmla="*/ 1366887 w 1602557"/>
                    <a:gd name="connsiteY58" fmla="*/ 419493 h 631596"/>
                    <a:gd name="connsiteX59" fmla="*/ 1381027 w 1602557"/>
                    <a:gd name="connsiteY59" fmla="*/ 424206 h 631596"/>
                    <a:gd name="connsiteX60" fmla="*/ 1428161 w 1602557"/>
                    <a:gd name="connsiteY60" fmla="*/ 414779 h 631596"/>
                    <a:gd name="connsiteX61" fmla="*/ 1602557 w 1602557"/>
                    <a:gd name="connsiteY61" fmla="*/ 410066 h 631596"/>
                    <a:gd name="connsiteX0" fmla="*/ 0 w 1602557"/>
                    <a:gd name="connsiteY0" fmla="*/ 42421 h 631596"/>
                    <a:gd name="connsiteX1" fmla="*/ 28281 w 1602557"/>
                    <a:gd name="connsiteY1" fmla="*/ 37707 h 631596"/>
                    <a:gd name="connsiteX2" fmla="*/ 56561 w 1602557"/>
                    <a:gd name="connsiteY2" fmla="*/ 28280 h 631596"/>
                    <a:gd name="connsiteX3" fmla="*/ 164970 w 1602557"/>
                    <a:gd name="connsiteY3" fmla="*/ 23567 h 631596"/>
                    <a:gd name="connsiteX4" fmla="*/ 207390 w 1602557"/>
                    <a:gd name="connsiteY4" fmla="*/ 4713 h 631596"/>
                    <a:gd name="connsiteX5" fmla="*/ 221530 w 1602557"/>
                    <a:gd name="connsiteY5" fmla="*/ 0 h 631596"/>
                    <a:gd name="connsiteX6" fmla="*/ 235671 w 1602557"/>
                    <a:gd name="connsiteY6" fmla="*/ 4713 h 631596"/>
                    <a:gd name="connsiteX7" fmla="*/ 240384 w 1602557"/>
                    <a:gd name="connsiteY7" fmla="*/ 18854 h 631596"/>
                    <a:gd name="connsiteX8" fmla="*/ 301658 w 1602557"/>
                    <a:gd name="connsiteY8" fmla="*/ 65988 h 631596"/>
                    <a:gd name="connsiteX9" fmla="*/ 329939 w 1602557"/>
                    <a:gd name="connsiteY9" fmla="*/ 75414 h 631596"/>
                    <a:gd name="connsiteX10" fmla="*/ 344079 w 1602557"/>
                    <a:gd name="connsiteY10" fmla="*/ 80128 h 631596"/>
                    <a:gd name="connsiteX11" fmla="*/ 386499 w 1602557"/>
                    <a:gd name="connsiteY11" fmla="*/ 84841 h 631596"/>
                    <a:gd name="connsiteX12" fmla="*/ 400640 w 1602557"/>
                    <a:gd name="connsiteY12" fmla="*/ 89555 h 631596"/>
                    <a:gd name="connsiteX13" fmla="*/ 405353 w 1602557"/>
                    <a:gd name="connsiteY13" fmla="*/ 103695 h 631596"/>
                    <a:gd name="connsiteX14" fmla="*/ 414780 w 1602557"/>
                    <a:gd name="connsiteY14" fmla="*/ 117835 h 631596"/>
                    <a:gd name="connsiteX15" fmla="*/ 419493 w 1602557"/>
                    <a:gd name="connsiteY15" fmla="*/ 141402 h 631596"/>
                    <a:gd name="connsiteX16" fmla="*/ 433633 w 1602557"/>
                    <a:gd name="connsiteY16" fmla="*/ 174396 h 631596"/>
                    <a:gd name="connsiteX17" fmla="*/ 452487 w 1602557"/>
                    <a:gd name="connsiteY17" fmla="*/ 202676 h 631596"/>
                    <a:gd name="connsiteX18" fmla="*/ 457200 w 1602557"/>
                    <a:gd name="connsiteY18" fmla="*/ 216816 h 631596"/>
                    <a:gd name="connsiteX19" fmla="*/ 466627 w 1602557"/>
                    <a:gd name="connsiteY19" fmla="*/ 235670 h 631596"/>
                    <a:gd name="connsiteX20" fmla="*/ 471341 w 1602557"/>
                    <a:gd name="connsiteY20" fmla="*/ 259237 h 631596"/>
                    <a:gd name="connsiteX21" fmla="*/ 485481 w 1602557"/>
                    <a:gd name="connsiteY21" fmla="*/ 348792 h 631596"/>
                    <a:gd name="connsiteX22" fmla="*/ 499621 w 1602557"/>
                    <a:gd name="connsiteY22" fmla="*/ 362932 h 631596"/>
                    <a:gd name="connsiteX23" fmla="*/ 518475 w 1602557"/>
                    <a:gd name="connsiteY23" fmla="*/ 386499 h 631596"/>
                    <a:gd name="connsiteX24" fmla="*/ 546755 w 1602557"/>
                    <a:gd name="connsiteY24" fmla="*/ 395926 h 631596"/>
                    <a:gd name="connsiteX25" fmla="*/ 560895 w 1602557"/>
                    <a:gd name="connsiteY25" fmla="*/ 424206 h 631596"/>
                    <a:gd name="connsiteX26" fmla="*/ 570322 w 1602557"/>
                    <a:gd name="connsiteY26" fmla="*/ 452487 h 631596"/>
                    <a:gd name="connsiteX27" fmla="*/ 579749 w 1602557"/>
                    <a:gd name="connsiteY27" fmla="*/ 466627 h 631596"/>
                    <a:gd name="connsiteX28" fmla="*/ 622170 w 1602557"/>
                    <a:gd name="connsiteY28" fmla="*/ 490194 h 631596"/>
                    <a:gd name="connsiteX29" fmla="*/ 683444 w 1602557"/>
                    <a:gd name="connsiteY29" fmla="*/ 499621 h 631596"/>
                    <a:gd name="connsiteX30" fmla="*/ 702297 w 1602557"/>
                    <a:gd name="connsiteY30" fmla="*/ 513761 h 631596"/>
                    <a:gd name="connsiteX31" fmla="*/ 711724 w 1602557"/>
                    <a:gd name="connsiteY31" fmla="*/ 527901 h 631596"/>
                    <a:gd name="connsiteX32" fmla="*/ 740005 w 1602557"/>
                    <a:gd name="connsiteY32" fmla="*/ 546755 h 631596"/>
                    <a:gd name="connsiteX33" fmla="*/ 754145 w 1602557"/>
                    <a:gd name="connsiteY33" fmla="*/ 556181 h 631596"/>
                    <a:gd name="connsiteX34" fmla="*/ 768285 w 1602557"/>
                    <a:gd name="connsiteY34" fmla="*/ 565608 h 631596"/>
                    <a:gd name="connsiteX35" fmla="*/ 820132 w 1602557"/>
                    <a:gd name="connsiteY35" fmla="*/ 579748 h 631596"/>
                    <a:gd name="connsiteX36" fmla="*/ 834273 w 1602557"/>
                    <a:gd name="connsiteY36" fmla="*/ 589175 h 631596"/>
                    <a:gd name="connsiteX37" fmla="*/ 862553 w 1602557"/>
                    <a:gd name="connsiteY37" fmla="*/ 598602 h 631596"/>
                    <a:gd name="connsiteX38" fmla="*/ 876693 w 1602557"/>
                    <a:gd name="connsiteY38" fmla="*/ 608029 h 631596"/>
                    <a:gd name="connsiteX39" fmla="*/ 919114 w 1602557"/>
                    <a:gd name="connsiteY39" fmla="*/ 622169 h 631596"/>
                    <a:gd name="connsiteX40" fmla="*/ 933254 w 1602557"/>
                    <a:gd name="connsiteY40" fmla="*/ 626882 h 631596"/>
                    <a:gd name="connsiteX41" fmla="*/ 947394 w 1602557"/>
                    <a:gd name="connsiteY41" fmla="*/ 631596 h 631596"/>
                    <a:gd name="connsiteX42" fmla="*/ 1018095 w 1602557"/>
                    <a:gd name="connsiteY42" fmla="*/ 626882 h 631596"/>
                    <a:gd name="connsiteX43" fmla="*/ 1032236 w 1602557"/>
                    <a:gd name="connsiteY43" fmla="*/ 617456 h 631596"/>
                    <a:gd name="connsiteX44" fmla="*/ 1046376 w 1602557"/>
                    <a:gd name="connsiteY44" fmla="*/ 579748 h 631596"/>
                    <a:gd name="connsiteX45" fmla="*/ 1074656 w 1602557"/>
                    <a:gd name="connsiteY45" fmla="*/ 551468 h 631596"/>
                    <a:gd name="connsiteX46" fmla="*/ 1093510 w 1602557"/>
                    <a:gd name="connsiteY46" fmla="*/ 527901 h 631596"/>
                    <a:gd name="connsiteX47" fmla="*/ 1112363 w 1602557"/>
                    <a:gd name="connsiteY47" fmla="*/ 509047 h 631596"/>
                    <a:gd name="connsiteX48" fmla="*/ 1150071 w 1602557"/>
                    <a:gd name="connsiteY48" fmla="*/ 476054 h 631596"/>
                    <a:gd name="connsiteX49" fmla="*/ 1178351 w 1602557"/>
                    <a:gd name="connsiteY49" fmla="*/ 466627 h 631596"/>
                    <a:gd name="connsiteX50" fmla="*/ 1192491 w 1602557"/>
                    <a:gd name="connsiteY50" fmla="*/ 461913 h 631596"/>
                    <a:gd name="connsiteX51" fmla="*/ 1220772 w 1602557"/>
                    <a:gd name="connsiteY51" fmla="*/ 447773 h 631596"/>
                    <a:gd name="connsiteX52" fmla="*/ 1249052 w 1602557"/>
                    <a:gd name="connsiteY52" fmla="*/ 424206 h 631596"/>
                    <a:gd name="connsiteX53" fmla="*/ 1258479 w 1602557"/>
                    <a:gd name="connsiteY53" fmla="*/ 410066 h 631596"/>
                    <a:gd name="connsiteX54" fmla="*/ 1286759 w 1602557"/>
                    <a:gd name="connsiteY54" fmla="*/ 414779 h 631596"/>
                    <a:gd name="connsiteX55" fmla="*/ 1300899 w 1602557"/>
                    <a:gd name="connsiteY55" fmla="*/ 419493 h 631596"/>
                    <a:gd name="connsiteX56" fmla="*/ 1338607 w 1602557"/>
                    <a:gd name="connsiteY56" fmla="*/ 414779 h 631596"/>
                    <a:gd name="connsiteX57" fmla="*/ 1366887 w 1602557"/>
                    <a:gd name="connsiteY57" fmla="*/ 419493 h 631596"/>
                    <a:gd name="connsiteX58" fmla="*/ 1381027 w 1602557"/>
                    <a:gd name="connsiteY58" fmla="*/ 424206 h 631596"/>
                    <a:gd name="connsiteX59" fmla="*/ 1428161 w 1602557"/>
                    <a:gd name="connsiteY59" fmla="*/ 414779 h 631596"/>
                    <a:gd name="connsiteX60" fmla="*/ 1602557 w 1602557"/>
                    <a:gd name="connsiteY60" fmla="*/ 410066 h 631596"/>
                    <a:gd name="connsiteX0" fmla="*/ 0 w 1602557"/>
                    <a:gd name="connsiteY0" fmla="*/ 42421 h 631596"/>
                    <a:gd name="connsiteX1" fmla="*/ 28281 w 1602557"/>
                    <a:gd name="connsiteY1" fmla="*/ 37707 h 631596"/>
                    <a:gd name="connsiteX2" fmla="*/ 56561 w 1602557"/>
                    <a:gd name="connsiteY2" fmla="*/ 28280 h 631596"/>
                    <a:gd name="connsiteX3" fmla="*/ 164970 w 1602557"/>
                    <a:gd name="connsiteY3" fmla="*/ 23567 h 631596"/>
                    <a:gd name="connsiteX4" fmla="*/ 207390 w 1602557"/>
                    <a:gd name="connsiteY4" fmla="*/ 4713 h 631596"/>
                    <a:gd name="connsiteX5" fmla="*/ 221530 w 1602557"/>
                    <a:gd name="connsiteY5" fmla="*/ 0 h 631596"/>
                    <a:gd name="connsiteX6" fmla="*/ 235671 w 1602557"/>
                    <a:gd name="connsiteY6" fmla="*/ 4713 h 631596"/>
                    <a:gd name="connsiteX7" fmla="*/ 240384 w 1602557"/>
                    <a:gd name="connsiteY7" fmla="*/ 18854 h 631596"/>
                    <a:gd name="connsiteX8" fmla="*/ 329939 w 1602557"/>
                    <a:gd name="connsiteY8" fmla="*/ 75414 h 631596"/>
                    <a:gd name="connsiteX9" fmla="*/ 344079 w 1602557"/>
                    <a:gd name="connsiteY9" fmla="*/ 80128 h 631596"/>
                    <a:gd name="connsiteX10" fmla="*/ 386499 w 1602557"/>
                    <a:gd name="connsiteY10" fmla="*/ 84841 h 631596"/>
                    <a:gd name="connsiteX11" fmla="*/ 400640 w 1602557"/>
                    <a:gd name="connsiteY11" fmla="*/ 89555 h 631596"/>
                    <a:gd name="connsiteX12" fmla="*/ 405353 w 1602557"/>
                    <a:gd name="connsiteY12" fmla="*/ 103695 h 631596"/>
                    <a:gd name="connsiteX13" fmla="*/ 414780 w 1602557"/>
                    <a:gd name="connsiteY13" fmla="*/ 117835 h 631596"/>
                    <a:gd name="connsiteX14" fmla="*/ 419493 w 1602557"/>
                    <a:gd name="connsiteY14" fmla="*/ 141402 h 631596"/>
                    <a:gd name="connsiteX15" fmla="*/ 433633 w 1602557"/>
                    <a:gd name="connsiteY15" fmla="*/ 174396 h 631596"/>
                    <a:gd name="connsiteX16" fmla="*/ 452487 w 1602557"/>
                    <a:gd name="connsiteY16" fmla="*/ 202676 h 631596"/>
                    <a:gd name="connsiteX17" fmla="*/ 457200 w 1602557"/>
                    <a:gd name="connsiteY17" fmla="*/ 216816 h 631596"/>
                    <a:gd name="connsiteX18" fmla="*/ 466627 w 1602557"/>
                    <a:gd name="connsiteY18" fmla="*/ 235670 h 631596"/>
                    <a:gd name="connsiteX19" fmla="*/ 471341 w 1602557"/>
                    <a:gd name="connsiteY19" fmla="*/ 259237 h 631596"/>
                    <a:gd name="connsiteX20" fmla="*/ 485481 w 1602557"/>
                    <a:gd name="connsiteY20" fmla="*/ 348792 h 631596"/>
                    <a:gd name="connsiteX21" fmla="*/ 499621 w 1602557"/>
                    <a:gd name="connsiteY21" fmla="*/ 362932 h 631596"/>
                    <a:gd name="connsiteX22" fmla="*/ 518475 w 1602557"/>
                    <a:gd name="connsiteY22" fmla="*/ 386499 h 631596"/>
                    <a:gd name="connsiteX23" fmla="*/ 546755 w 1602557"/>
                    <a:gd name="connsiteY23" fmla="*/ 395926 h 631596"/>
                    <a:gd name="connsiteX24" fmla="*/ 560895 w 1602557"/>
                    <a:gd name="connsiteY24" fmla="*/ 424206 h 631596"/>
                    <a:gd name="connsiteX25" fmla="*/ 570322 w 1602557"/>
                    <a:gd name="connsiteY25" fmla="*/ 452487 h 631596"/>
                    <a:gd name="connsiteX26" fmla="*/ 579749 w 1602557"/>
                    <a:gd name="connsiteY26" fmla="*/ 466627 h 631596"/>
                    <a:gd name="connsiteX27" fmla="*/ 622170 w 1602557"/>
                    <a:gd name="connsiteY27" fmla="*/ 490194 h 631596"/>
                    <a:gd name="connsiteX28" fmla="*/ 683444 w 1602557"/>
                    <a:gd name="connsiteY28" fmla="*/ 499621 h 631596"/>
                    <a:gd name="connsiteX29" fmla="*/ 702297 w 1602557"/>
                    <a:gd name="connsiteY29" fmla="*/ 513761 h 631596"/>
                    <a:gd name="connsiteX30" fmla="*/ 711724 w 1602557"/>
                    <a:gd name="connsiteY30" fmla="*/ 527901 h 631596"/>
                    <a:gd name="connsiteX31" fmla="*/ 740005 w 1602557"/>
                    <a:gd name="connsiteY31" fmla="*/ 546755 h 631596"/>
                    <a:gd name="connsiteX32" fmla="*/ 754145 w 1602557"/>
                    <a:gd name="connsiteY32" fmla="*/ 556181 h 631596"/>
                    <a:gd name="connsiteX33" fmla="*/ 768285 w 1602557"/>
                    <a:gd name="connsiteY33" fmla="*/ 565608 h 631596"/>
                    <a:gd name="connsiteX34" fmla="*/ 820132 w 1602557"/>
                    <a:gd name="connsiteY34" fmla="*/ 579748 h 631596"/>
                    <a:gd name="connsiteX35" fmla="*/ 834273 w 1602557"/>
                    <a:gd name="connsiteY35" fmla="*/ 589175 h 631596"/>
                    <a:gd name="connsiteX36" fmla="*/ 862553 w 1602557"/>
                    <a:gd name="connsiteY36" fmla="*/ 598602 h 631596"/>
                    <a:gd name="connsiteX37" fmla="*/ 876693 w 1602557"/>
                    <a:gd name="connsiteY37" fmla="*/ 608029 h 631596"/>
                    <a:gd name="connsiteX38" fmla="*/ 919114 w 1602557"/>
                    <a:gd name="connsiteY38" fmla="*/ 622169 h 631596"/>
                    <a:gd name="connsiteX39" fmla="*/ 933254 w 1602557"/>
                    <a:gd name="connsiteY39" fmla="*/ 626882 h 631596"/>
                    <a:gd name="connsiteX40" fmla="*/ 947394 w 1602557"/>
                    <a:gd name="connsiteY40" fmla="*/ 631596 h 631596"/>
                    <a:gd name="connsiteX41" fmla="*/ 1018095 w 1602557"/>
                    <a:gd name="connsiteY41" fmla="*/ 626882 h 631596"/>
                    <a:gd name="connsiteX42" fmla="*/ 1032236 w 1602557"/>
                    <a:gd name="connsiteY42" fmla="*/ 617456 h 631596"/>
                    <a:gd name="connsiteX43" fmla="*/ 1046376 w 1602557"/>
                    <a:gd name="connsiteY43" fmla="*/ 579748 h 631596"/>
                    <a:gd name="connsiteX44" fmla="*/ 1074656 w 1602557"/>
                    <a:gd name="connsiteY44" fmla="*/ 551468 h 631596"/>
                    <a:gd name="connsiteX45" fmla="*/ 1093510 w 1602557"/>
                    <a:gd name="connsiteY45" fmla="*/ 527901 h 631596"/>
                    <a:gd name="connsiteX46" fmla="*/ 1112363 w 1602557"/>
                    <a:gd name="connsiteY46" fmla="*/ 509047 h 631596"/>
                    <a:gd name="connsiteX47" fmla="*/ 1150071 w 1602557"/>
                    <a:gd name="connsiteY47" fmla="*/ 476054 h 631596"/>
                    <a:gd name="connsiteX48" fmla="*/ 1178351 w 1602557"/>
                    <a:gd name="connsiteY48" fmla="*/ 466627 h 631596"/>
                    <a:gd name="connsiteX49" fmla="*/ 1192491 w 1602557"/>
                    <a:gd name="connsiteY49" fmla="*/ 461913 h 631596"/>
                    <a:gd name="connsiteX50" fmla="*/ 1220772 w 1602557"/>
                    <a:gd name="connsiteY50" fmla="*/ 447773 h 631596"/>
                    <a:gd name="connsiteX51" fmla="*/ 1249052 w 1602557"/>
                    <a:gd name="connsiteY51" fmla="*/ 424206 h 631596"/>
                    <a:gd name="connsiteX52" fmla="*/ 1258479 w 1602557"/>
                    <a:gd name="connsiteY52" fmla="*/ 410066 h 631596"/>
                    <a:gd name="connsiteX53" fmla="*/ 1286759 w 1602557"/>
                    <a:gd name="connsiteY53" fmla="*/ 414779 h 631596"/>
                    <a:gd name="connsiteX54" fmla="*/ 1300899 w 1602557"/>
                    <a:gd name="connsiteY54" fmla="*/ 419493 h 631596"/>
                    <a:gd name="connsiteX55" fmla="*/ 1338607 w 1602557"/>
                    <a:gd name="connsiteY55" fmla="*/ 414779 h 631596"/>
                    <a:gd name="connsiteX56" fmla="*/ 1366887 w 1602557"/>
                    <a:gd name="connsiteY56" fmla="*/ 419493 h 631596"/>
                    <a:gd name="connsiteX57" fmla="*/ 1381027 w 1602557"/>
                    <a:gd name="connsiteY57" fmla="*/ 424206 h 631596"/>
                    <a:gd name="connsiteX58" fmla="*/ 1428161 w 1602557"/>
                    <a:gd name="connsiteY58" fmla="*/ 414779 h 631596"/>
                    <a:gd name="connsiteX59" fmla="*/ 1602557 w 1602557"/>
                    <a:gd name="connsiteY59" fmla="*/ 410066 h 631596"/>
                    <a:gd name="connsiteX0" fmla="*/ 0 w 1602557"/>
                    <a:gd name="connsiteY0" fmla="*/ 42421 h 631596"/>
                    <a:gd name="connsiteX1" fmla="*/ 28281 w 1602557"/>
                    <a:gd name="connsiteY1" fmla="*/ 37707 h 631596"/>
                    <a:gd name="connsiteX2" fmla="*/ 56561 w 1602557"/>
                    <a:gd name="connsiteY2" fmla="*/ 28280 h 631596"/>
                    <a:gd name="connsiteX3" fmla="*/ 164970 w 1602557"/>
                    <a:gd name="connsiteY3" fmla="*/ 23567 h 631596"/>
                    <a:gd name="connsiteX4" fmla="*/ 207390 w 1602557"/>
                    <a:gd name="connsiteY4" fmla="*/ 4713 h 631596"/>
                    <a:gd name="connsiteX5" fmla="*/ 221530 w 1602557"/>
                    <a:gd name="connsiteY5" fmla="*/ 0 h 631596"/>
                    <a:gd name="connsiteX6" fmla="*/ 235671 w 1602557"/>
                    <a:gd name="connsiteY6" fmla="*/ 4713 h 631596"/>
                    <a:gd name="connsiteX7" fmla="*/ 282804 w 1602557"/>
                    <a:gd name="connsiteY7" fmla="*/ 37708 h 631596"/>
                    <a:gd name="connsiteX8" fmla="*/ 329939 w 1602557"/>
                    <a:gd name="connsiteY8" fmla="*/ 75414 h 631596"/>
                    <a:gd name="connsiteX9" fmla="*/ 344079 w 1602557"/>
                    <a:gd name="connsiteY9" fmla="*/ 80128 h 631596"/>
                    <a:gd name="connsiteX10" fmla="*/ 386499 w 1602557"/>
                    <a:gd name="connsiteY10" fmla="*/ 84841 h 631596"/>
                    <a:gd name="connsiteX11" fmla="*/ 400640 w 1602557"/>
                    <a:gd name="connsiteY11" fmla="*/ 89555 h 631596"/>
                    <a:gd name="connsiteX12" fmla="*/ 405353 w 1602557"/>
                    <a:gd name="connsiteY12" fmla="*/ 103695 h 631596"/>
                    <a:gd name="connsiteX13" fmla="*/ 414780 w 1602557"/>
                    <a:gd name="connsiteY13" fmla="*/ 117835 h 631596"/>
                    <a:gd name="connsiteX14" fmla="*/ 419493 w 1602557"/>
                    <a:gd name="connsiteY14" fmla="*/ 141402 h 631596"/>
                    <a:gd name="connsiteX15" fmla="*/ 433633 w 1602557"/>
                    <a:gd name="connsiteY15" fmla="*/ 174396 h 631596"/>
                    <a:gd name="connsiteX16" fmla="*/ 452487 w 1602557"/>
                    <a:gd name="connsiteY16" fmla="*/ 202676 h 631596"/>
                    <a:gd name="connsiteX17" fmla="*/ 457200 w 1602557"/>
                    <a:gd name="connsiteY17" fmla="*/ 216816 h 631596"/>
                    <a:gd name="connsiteX18" fmla="*/ 466627 w 1602557"/>
                    <a:gd name="connsiteY18" fmla="*/ 235670 h 631596"/>
                    <a:gd name="connsiteX19" fmla="*/ 471341 w 1602557"/>
                    <a:gd name="connsiteY19" fmla="*/ 259237 h 631596"/>
                    <a:gd name="connsiteX20" fmla="*/ 485481 w 1602557"/>
                    <a:gd name="connsiteY20" fmla="*/ 348792 h 631596"/>
                    <a:gd name="connsiteX21" fmla="*/ 499621 w 1602557"/>
                    <a:gd name="connsiteY21" fmla="*/ 362932 h 631596"/>
                    <a:gd name="connsiteX22" fmla="*/ 518475 w 1602557"/>
                    <a:gd name="connsiteY22" fmla="*/ 386499 h 631596"/>
                    <a:gd name="connsiteX23" fmla="*/ 546755 w 1602557"/>
                    <a:gd name="connsiteY23" fmla="*/ 395926 h 631596"/>
                    <a:gd name="connsiteX24" fmla="*/ 560895 w 1602557"/>
                    <a:gd name="connsiteY24" fmla="*/ 424206 h 631596"/>
                    <a:gd name="connsiteX25" fmla="*/ 570322 w 1602557"/>
                    <a:gd name="connsiteY25" fmla="*/ 452487 h 631596"/>
                    <a:gd name="connsiteX26" fmla="*/ 579749 w 1602557"/>
                    <a:gd name="connsiteY26" fmla="*/ 466627 h 631596"/>
                    <a:gd name="connsiteX27" fmla="*/ 622170 w 1602557"/>
                    <a:gd name="connsiteY27" fmla="*/ 490194 h 631596"/>
                    <a:gd name="connsiteX28" fmla="*/ 683444 w 1602557"/>
                    <a:gd name="connsiteY28" fmla="*/ 499621 h 631596"/>
                    <a:gd name="connsiteX29" fmla="*/ 702297 w 1602557"/>
                    <a:gd name="connsiteY29" fmla="*/ 513761 h 631596"/>
                    <a:gd name="connsiteX30" fmla="*/ 711724 w 1602557"/>
                    <a:gd name="connsiteY30" fmla="*/ 527901 h 631596"/>
                    <a:gd name="connsiteX31" fmla="*/ 740005 w 1602557"/>
                    <a:gd name="connsiteY31" fmla="*/ 546755 h 631596"/>
                    <a:gd name="connsiteX32" fmla="*/ 754145 w 1602557"/>
                    <a:gd name="connsiteY32" fmla="*/ 556181 h 631596"/>
                    <a:gd name="connsiteX33" fmla="*/ 768285 w 1602557"/>
                    <a:gd name="connsiteY33" fmla="*/ 565608 h 631596"/>
                    <a:gd name="connsiteX34" fmla="*/ 820132 w 1602557"/>
                    <a:gd name="connsiteY34" fmla="*/ 579748 h 631596"/>
                    <a:gd name="connsiteX35" fmla="*/ 834273 w 1602557"/>
                    <a:gd name="connsiteY35" fmla="*/ 589175 h 631596"/>
                    <a:gd name="connsiteX36" fmla="*/ 862553 w 1602557"/>
                    <a:gd name="connsiteY36" fmla="*/ 598602 h 631596"/>
                    <a:gd name="connsiteX37" fmla="*/ 876693 w 1602557"/>
                    <a:gd name="connsiteY37" fmla="*/ 608029 h 631596"/>
                    <a:gd name="connsiteX38" fmla="*/ 919114 w 1602557"/>
                    <a:gd name="connsiteY38" fmla="*/ 622169 h 631596"/>
                    <a:gd name="connsiteX39" fmla="*/ 933254 w 1602557"/>
                    <a:gd name="connsiteY39" fmla="*/ 626882 h 631596"/>
                    <a:gd name="connsiteX40" fmla="*/ 947394 w 1602557"/>
                    <a:gd name="connsiteY40" fmla="*/ 631596 h 631596"/>
                    <a:gd name="connsiteX41" fmla="*/ 1018095 w 1602557"/>
                    <a:gd name="connsiteY41" fmla="*/ 626882 h 631596"/>
                    <a:gd name="connsiteX42" fmla="*/ 1032236 w 1602557"/>
                    <a:gd name="connsiteY42" fmla="*/ 617456 h 631596"/>
                    <a:gd name="connsiteX43" fmla="*/ 1046376 w 1602557"/>
                    <a:gd name="connsiteY43" fmla="*/ 579748 h 631596"/>
                    <a:gd name="connsiteX44" fmla="*/ 1074656 w 1602557"/>
                    <a:gd name="connsiteY44" fmla="*/ 551468 h 631596"/>
                    <a:gd name="connsiteX45" fmla="*/ 1093510 w 1602557"/>
                    <a:gd name="connsiteY45" fmla="*/ 527901 h 631596"/>
                    <a:gd name="connsiteX46" fmla="*/ 1112363 w 1602557"/>
                    <a:gd name="connsiteY46" fmla="*/ 509047 h 631596"/>
                    <a:gd name="connsiteX47" fmla="*/ 1150071 w 1602557"/>
                    <a:gd name="connsiteY47" fmla="*/ 476054 h 631596"/>
                    <a:gd name="connsiteX48" fmla="*/ 1178351 w 1602557"/>
                    <a:gd name="connsiteY48" fmla="*/ 466627 h 631596"/>
                    <a:gd name="connsiteX49" fmla="*/ 1192491 w 1602557"/>
                    <a:gd name="connsiteY49" fmla="*/ 461913 h 631596"/>
                    <a:gd name="connsiteX50" fmla="*/ 1220772 w 1602557"/>
                    <a:gd name="connsiteY50" fmla="*/ 447773 h 631596"/>
                    <a:gd name="connsiteX51" fmla="*/ 1249052 w 1602557"/>
                    <a:gd name="connsiteY51" fmla="*/ 424206 h 631596"/>
                    <a:gd name="connsiteX52" fmla="*/ 1258479 w 1602557"/>
                    <a:gd name="connsiteY52" fmla="*/ 410066 h 631596"/>
                    <a:gd name="connsiteX53" fmla="*/ 1286759 w 1602557"/>
                    <a:gd name="connsiteY53" fmla="*/ 414779 h 631596"/>
                    <a:gd name="connsiteX54" fmla="*/ 1300899 w 1602557"/>
                    <a:gd name="connsiteY54" fmla="*/ 419493 h 631596"/>
                    <a:gd name="connsiteX55" fmla="*/ 1338607 w 1602557"/>
                    <a:gd name="connsiteY55" fmla="*/ 414779 h 631596"/>
                    <a:gd name="connsiteX56" fmla="*/ 1366887 w 1602557"/>
                    <a:gd name="connsiteY56" fmla="*/ 419493 h 631596"/>
                    <a:gd name="connsiteX57" fmla="*/ 1381027 w 1602557"/>
                    <a:gd name="connsiteY57" fmla="*/ 424206 h 631596"/>
                    <a:gd name="connsiteX58" fmla="*/ 1428161 w 1602557"/>
                    <a:gd name="connsiteY58" fmla="*/ 414779 h 631596"/>
                    <a:gd name="connsiteX59" fmla="*/ 1602557 w 1602557"/>
                    <a:gd name="connsiteY59" fmla="*/ 410066 h 6315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1602557" h="631596">
                      <a:moveTo>
                        <a:pt x="0" y="42421"/>
                      </a:moveTo>
                      <a:cubicBezTo>
                        <a:pt x="9427" y="40850"/>
                        <a:pt x="19009" y="40025"/>
                        <a:pt x="28281" y="37707"/>
                      </a:cubicBezTo>
                      <a:cubicBezTo>
                        <a:pt x="37921" y="35297"/>
                        <a:pt x="46634" y="28712"/>
                        <a:pt x="56561" y="28280"/>
                      </a:cubicBezTo>
                      <a:lnTo>
                        <a:pt x="164970" y="23567"/>
                      </a:lnTo>
                      <a:cubicBezTo>
                        <a:pt x="187377" y="8628"/>
                        <a:pt x="173737" y="15931"/>
                        <a:pt x="207390" y="4713"/>
                      </a:cubicBezTo>
                      <a:lnTo>
                        <a:pt x="221530" y="0"/>
                      </a:lnTo>
                      <a:cubicBezTo>
                        <a:pt x="226244" y="1571"/>
                        <a:pt x="225459" y="-1572"/>
                        <a:pt x="235671" y="4713"/>
                      </a:cubicBezTo>
                      <a:cubicBezTo>
                        <a:pt x="245883" y="10998"/>
                        <a:pt x="267093" y="25925"/>
                        <a:pt x="282804" y="37708"/>
                      </a:cubicBezTo>
                      <a:cubicBezTo>
                        <a:pt x="298515" y="49491"/>
                        <a:pt x="319727" y="68344"/>
                        <a:pt x="329939" y="75414"/>
                      </a:cubicBezTo>
                      <a:cubicBezTo>
                        <a:pt x="340151" y="82484"/>
                        <a:pt x="339141" y="79579"/>
                        <a:pt x="344079" y="80128"/>
                      </a:cubicBezTo>
                      <a:lnTo>
                        <a:pt x="386499" y="84841"/>
                      </a:lnTo>
                      <a:cubicBezTo>
                        <a:pt x="391213" y="86412"/>
                        <a:pt x="397127" y="86042"/>
                        <a:pt x="400640" y="89555"/>
                      </a:cubicBezTo>
                      <a:cubicBezTo>
                        <a:pt x="404153" y="93068"/>
                        <a:pt x="403131" y="99251"/>
                        <a:pt x="405353" y="103695"/>
                      </a:cubicBezTo>
                      <a:cubicBezTo>
                        <a:pt x="407886" y="108762"/>
                        <a:pt x="411638" y="113122"/>
                        <a:pt x="414780" y="117835"/>
                      </a:cubicBezTo>
                      <a:cubicBezTo>
                        <a:pt x="416351" y="125691"/>
                        <a:pt x="417550" y="133630"/>
                        <a:pt x="419493" y="141402"/>
                      </a:cubicBezTo>
                      <a:cubicBezTo>
                        <a:pt x="422278" y="152542"/>
                        <a:pt x="427856" y="164767"/>
                        <a:pt x="433633" y="174396"/>
                      </a:cubicBezTo>
                      <a:cubicBezTo>
                        <a:pt x="439462" y="184111"/>
                        <a:pt x="452487" y="202676"/>
                        <a:pt x="452487" y="202676"/>
                      </a:cubicBezTo>
                      <a:cubicBezTo>
                        <a:pt x="454058" y="207389"/>
                        <a:pt x="455243" y="212249"/>
                        <a:pt x="457200" y="216816"/>
                      </a:cubicBezTo>
                      <a:cubicBezTo>
                        <a:pt x="459968" y="223274"/>
                        <a:pt x="464405" y="229004"/>
                        <a:pt x="466627" y="235670"/>
                      </a:cubicBezTo>
                      <a:cubicBezTo>
                        <a:pt x="469160" y="243270"/>
                        <a:pt x="469770" y="251381"/>
                        <a:pt x="471341" y="259237"/>
                      </a:cubicBezTo>
                      <a:cubicBezTo>
                        <a:pt x="471352" y="259378"/>
                        <a:pt x="472227" y="335538"/>
                        <a:pt x="485481" y="348792"/>
                      </a:cubicBezTo>
                      <a:lnTo>
                        <a:pt x="499621" y="362932"/>
                      </a:lnTo>
                      <a:cubicBezTo>
                        <a:pt x="504733" y="378265"/>
                        <a:pt x="501790" y="379083"/>
                        <a:pt x="518475" y="386499"/>
                      </a:cubicBezTo>
                      <a:cubicBezTo>
                        <a:pt x="527555" y="390535"/>
                        <a:pt x="546755" y="395926"/>
                        <a:pt x="546755" y="395926"/>
                      </a:cubicBezTo>
                      <a:cubicBezTo>
                        <a:pt x="563952" y="447510"/>
                        <a:pt x="536523" y="369367"/>
                        <a:pt x="560895" y="424206"/>
                      </a:cubicBezTo>
                      <a:cubicBezTo>
                        <a:pt x="564931" y="433287"/>
                        <a:pt x="564810" y="444219"/>
                        <a:pt x="570322" y="452487"/>
                      </a:cubicBezTo>
                      <a:cubicBezTo>
                        <a:pt x="573464" y="457200"/>
                        <a:pt x="575486" y="462897"/>
                        <a:pt x="579749" y="466627"/>
                      </a:cubicBezTo>
                      <a:cubicBezTo>
                        <a:pt x="590301" y="475860"/>
                        <a:pt x="606869" y="487325"/>
                        <a:pt x="622170" y="490194"/>
                      </a:cubicBezTo>
                      <a:cubicBezTo>
                        <a:pt x="642481" y="494002"/>
                        <a:pt x="663019" y="496479"/>
                        <a:pt x="683444" y="499621"/>
                      </a:cubicBezTo>
                      <a:cubicBezTo>
                        <a:pt x="689728" y="504334"/>
                        <a:pt x="696742" y="508206"/>
                        <a:pt x="702297" y="513761"/>
                      </a:cubicBezTo>
                      <a:cubicBezTo>
                        <a:pt x="706303" y="517767"/>
                        <a:pt x="707461" y="524171"/>
                        <a:pt x="711724" y="527901"/>
                      </a:cubicBezTo>
                      <a:cubicBezTo>
                        <a:pt x="720251" y="535362"/>
                        <a:pt x="730578" y="540470"/>
                        <a:pt x="740005" y="546755"/>
                      </a:cubicBezTo>
                      <a:lnTo>
                        <a:pt x="754145" y="556181"/>
                      </a:lnTo>
                      <a:cubicBezTo>
                        <a:pt x="758858" y="559323"/>
                        <a:pt x="762789" y="564234"/>
                        <a:pt x="768285" y="565608"/>
                      </a:cubicBezTo>
                      <a:cubicBezTo>
                        <a:pt x="810812" y="576240"/>
                        <a:pt x="793701" y="570938"/>
                        <a:pt x="820132" y="579748"/>
                      </a:cubicBezTo>
                      <a:cubicBezTo>
                        <a:pt x="824846" y="582890"/>
                        <a:pt x="829096" y="586874"/>
                        <a:pt x="834273" y="589175"/>
                      </a:cubicBezTo>
                      <a:cubicBezTo>
                        <a:pt x="843353" y="593211"/>
                        <a:pt x="862553" y="598602"/>
                        <a:pt x="862553" y="598602"/>
                      </a:cubicBezTo>
                      <a:cubicBezTo>
                        <a:pt x="867266" y="601744"/>
                        <a:pt x="871516" y="605728"/>
                        <a:pt x="876693" y="608029"/>
                      </a:cubicBezTo>
                      <a:cubicBezTo>
                        <a:pt x="876700" y="608032"/>
                        <a:pt x="912040" y="619811"/>
                        <a:pt x="919114" y="622169"/>
                      </a:cubicBezTo>
                      <a:lnTo>
                        <a:pt x="933254" y="626882"/>
                      </a:lnTo>
                      <a:lnTo>
                        <a:pt x="947394" y="631596"/>
                      </a:lnTo>
                      <a:cubicBezTo>
                        <a:pt x="970961" y="630025"/>
                        <a:pt x="994797" y="630765"/>
                        <a:pt x="1018095" y="626882"/>
                      </a:cubicBezTo>
                      <a:cubicBezTo>
                        <a:pt x="1023683" y="625951"/>
                        <a:pt x="1029425" y="622374"/>
                        <a:pt x="1032236" y="617456"/>
                      </a:cubicBezTo>
                      <a:cubicBezTo>
                        <a:pt x="1056582" y="574853"/>
                        <a:pt x="1019408" y="610088"/>
                        <a:pt x="1046376" y="579748"/>
                      </a:cubicBezTo>
                      <a:cubicBezTo>
                        <a:pt x="1055233" y="569784"/>
                        <a:pt x="1074656" y="551468"/>
                        <a:pt x="1074656" y="551468"/>
                      </a:cubicBezTo>
                      <a:cubicBezTo>
                        <a:pt x="1086506" y="515924"/>
                        <a:pt x="1069143" y="558361"/>
                        <a:pt x="1093510" y="527901"/>
                      </a:cubicBezTo>
                      <a:cubicBezTo>
                        <a:pt x="1111792" y="505048"/>
                        <a:pt x="1081511" y="519332"/>
                        <a:pt x="1112363" y="509047"/>
                      </a:cubicBezTo>
                      <a:cubicBezTo>
                        <a:pt x="1123362" y="492550"/>
                        <a:pt x="1126503" y="483910"/>
                        <a:pt x="1150071" y="476054"/>
                      </a:cubicBezTo>
                      <a:lnTo>
                        <a:pt x="1178351" y="466627"/>
                      </a:lnTo>
                      <a:cubicBezTo>
                        <a:pt x="1183064" y="465056"/>
                        <a:pt x="1188357" y="464669"/>
                        <a:pt x="1192491" y="461913"/>
                      </a:cubicBezTo>
                      <a:cubicBezTo>
                        <a:pt x="1233021" y="434895"/>
                        <a:pt x="1181735" y="467292"/>
                        <a:pt x="1220772" y="447773"/>
                      </a:cubicBezTo>
                      <a:cubicBezTo>
                        <a:pt x="1231365" y="442476"/>
                        <a:pt x="1241606" y="433141"/>
                        <a:pt x="1249052" y="424206"/>
                      </a:cubicBezTo>
                      <a:cubicBezTo>
                        <a:pt x="1252679" y="419854"/>
                        <a:pt x="1255337" y="414779"/>
                        <a:pt x="1258479" y="410066"/>
                      </a:cubicBezTo>
                      <a:cubicBezTo>
                        <a:pt x="1267906" y="411637"/>
                        <a:pt x="1277430" y="412706"/>
                        <a:pt x="1286759" y="414779"/>
                      </a:cubicBezTo>
                      <a:cubicBezTo>
                        <a:pt x="1291609" y="415857"/>
                        <a:pt x="1295931" y="419493"/>
                        <a:pt x="1300899" y="419493"/>
                      </a:cubicBezTo>
                      <a:cubicBezTo>
                        <a:pt x="1313566" y="419493"/>
                        <a:pt x="1326038" y="416350"/>
                        <a:pt x="1338607" y="414779"/>
                      </a:cubicBezTo>
                      <a:cubicBezTo>
                        <a:pt x="1348034" y="416350"/>
                        <a:pt x="1357558" y="417420"/>
                        <a:pt x="1366887" y="419493"/>
                      </a:cubicBezTo>
                      <a:cubicBezTo>
                        <a:pt x="1371737" y="420571"/>
                        <a:pt x="1376059" y="424206"/>
                        <a:pt x="1381027" y="424206"/>
                      </a:cubicBezTo>
                      <a:cubicBezTo>
                        <a:pt x="1440862" y="424206"/>
                        <a:pt x="1382980" y="417895"/>
                        <a:pt x="1428161" y="414779"/>
                      </a:cubicBezTo>
                      <a:cubicBezTo>
                        <a:pt x="1507423" y="409313"/>
                        <a:pt x="1534222" y="410066"/>
                        <a:pt x="1602557" y="410066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5" name="Forma livre 813"/>
                <p:cNvSpPr/>
                <p:nvPr/>
              </p:nvSpPr>
              <p:spPr>
                <a:xfrm>
                  <a:off x="4864231" y="1720392"/>
                  <a:ext cx="1706251" cy="801278"/>
                </a:xfrm>
                <a:custGeom>
                  <a:avLst/>
                  <a:gdLst>
                    <a:gd name="connsiteX0" fmla="*/ 0 w 1706251"/>
                    <a:gd name="connsiteY0" fmla="*/ 37707 h 801278"/>
                    <a:gd name="connsiteX1" fmla="*/ 23567 w 1706251"/>
                    <a:gd name="connsiteY1" fmla="*/ 28280 h 801278"/>
                    <a:gd name="connsiteX2" fmla="*/ 51847 w 1706251"/>
                    <a:gd name="connsiteY2" fmla="*/ 18853 h 801278"/>
                    <a:gd name="connsiteX3" fmla="*/ 80128 w 1706251"/>
                    <a:gd name="connsiteY3" fmla="*/ 0 h 801278"/>
                    <a:gd name="connsiteX4" fmla="*/ 94268 w 1706251"/>
                    <a:gd name="connsiteY4" fmla="*/ 9427 h 801278"/>
                    <a:gd name="connsiteX5" fmla="*/ 127262 w 1706251"/>
                    <a:gd name="connsiteY5" fmla="*/ 18853 h 801278"/>
                    <a:gd name="connsiteX6" fmla="*/ 131975 w 1706251"/>
                    <a:gd name="connsiteY6" fmla="*/ 42420 h 801278"/>
                    <a:gd name="connsiteX7" fmla="*/ 141402 w 1706251"/>
                    <a:gd name="connsiteY7" fmla="*/ 70701 h 801278"/>
                    <a:gd name="connsiteX8" fmla="*/ 150829 w 1706251"/>
                    <a:gd name="connsiteY8" fmla="*/ 141402 h 801278"/>
                    <a:gd name="connsiteX9" fmla="*/ 160256 w 1706251"/>
                    <a:gd name="connsiteY9" fmla="*/ 155542 h 801278"/>
                    <a:gd name="connsiteX10" fmla="*/ 155542 w 1706251"/>
                    <a:gd name="connsiteY10" fmla="*/ 202676 h 801278"/>
                    <a:gd name="connsiteX11" fmla="*/ 150829 w 1706251"/>
                    <a:gd name="connsiteY11" fmla="*/ 221530 h 801278"/>
                    <a:gd name="connsiteX12" fmla="*/ 146115 w 1706251"/>
                    <a:gd name="connsiteY12" fmla="*/ 245097 h 801278"/>
                    <a:gd name="connsiteX13" fmla="*/ 136689 w 1706251"/>
                    <a:gd name="connsiteY13" fmla="*/ 287517 h 801278"/>
                    <a:gd name="connsiteX14" fmla="*/ 155542 w 1706251"/>
                    <a:gd name="connsiteY14" fmla="*/ 311084 h 801278"/>
                    <a:gd name="connsiteX15" fmla="*/ 160256 w 1706251"/>
                    <a:gd name="connsiteY15" fmla="*/ 325224 h 801278"/>
                    <a:gd name="connsiteX16" fmla="*/ 174396 w 1706251"/>
                    <a:gd name="connsiteY16" fmla="*/ 353505 h 801278"/>
                    <a:gd name="connsiteX17" fmla="*/ 183823 w 1706251"/>
                    <a:gd name="connsiteY17" fmla="*/ 395926 h 801278"/>
                    <a:gd name="connsiteX18" fmla="*/ 193249 w 1706251"/>
                    <a:gd name="connsiteY18" fmla="*/ 410066 h 801278"/>
                    <a:gd name="connsiteX19" fmla="*/ 207390 w 1706251"/>
                    <a:gd name="connsiteY19" fmla="*/ 438346 h 801278"/>
                    <a:gd name="connsiteX20" fmla="*/ 216816 w 1706251"/>
                    <a:gd name="connsiteY20" fmla="*/ 466627 h 801278"/>
                    <a:gd name="connsiteX21" fmla="*/ 221530 w 1706251"/>
                    <a:gd name="connsiteY21" fmla="*/ 480767 h 801278"/>
                    <a:gd name="connsiteX22" fmla="*/ 226243 w 1706251"/>
                    <a:gd name="connsiteY22" fmla="*/ 499620 h 801278"/>
                    <a:gd name="connsiteX23" fmla="*/ 240383 w 1706251"/>
                    <a:gd name="connsiteY23" fmla="*/ 504334 h 801278"/>
                    <a:gd name="connsiteX24" fmla="*/ 301658 w 1706251"/>
                    <a:gd name="connsiteY24" fmla="*/ 509047 h 801278"/>
                    <a:gd name="connsiteX25" fmla="*/ 329938 w 1706251"/>
                    <a:gd name="connsiteY25" fmla="*/ 518474 h 801278"/>
                    <a:gd name="connsiteX26" fmla="*/ 344078 w 1706251"/>
                    <a:gd name="connsiteY26" fmla="*/ 523187 h 801278"/>
                    <a:gd name="connsiteX27" fmla="*/ 358218 w 1706251"/>
                    <a:gd name="connsiteY27" fmla="*/ 532614 h 801278"/>
                    <a:gd name="connsiteX28" fmla="*/ 372359 w 1706251"/>
                    <a:gd name="connsiteY28" fmla="*/ 546754 h 801278"/>
                    <a:gd name="connsiteX29" fmla="*/ 400639 w 1706251"/>
                    <a:gd name="connsiteY29" fmla="*/ 556181 h 801278"/>
                    <a:gd name="connsiteX30" fmla="*/ 414779 w 1706251"/>
                    <a:gd name="connsiteY30" fmla="*/ 565608 h 801278"/>
                    <a:gd name="connsiteX31" fmla="*/ 433633 w 1706251"/>
                    <a:gd name="connsiteY31" fmla="*/ 570321 h 801278"/>
                    <a:gd name="connsiteX32" fmla="*/ 494907 w 1706251"/>
                    <a:gd name="connsiteY32" fmla="*/ 579748 h 801278"/>
                    <a:gd name="connsiteX33" fmla="*/ 608029 w 1706251"/>
                    <a:gd name="connsiteY33" fmla="*/ 575035 h 801278"/>
                    <a:gd name="connsiteX34" fmla="*/ 631596 w 1706251"/>
                    <a:gd name="connsiteY34" fmla="*/ 579748 h 801278"/>
                    <a:gd name="connsiteX35" fmla="*/ 659876 w 1706251"/>
                    <a:gd name="connsiteY35" fmla="*/ 589175 h 801278"/>
                    <a:gd name="connsiteX36" fmla="*/ 730577 w 1706251"/>
                    <a:gd name="connsiteY36" fmla="*/ 603315 h 801278"/>
                    <a:gd name="connsiteX37" fmla="*/ 740004 w 1706251"/>
                    <a:gd name="connsiteY37" fmla="*/ 617455 h 801278"/>
                    <a:gd name="connsiteX38" fmla="*/ 768284 w 1706251"/>
                    <a:gd name="connsiteY38" fmla="*/ 636309 h 801278"/>
                    <a:gd name="connsiteX39" fmla="*/ 796565 w 1706251"/>
                    <a:gd name="connsiteY39" fmla="*/ 664589 h 801278"/>
                    <a:gd name="connsiteX40" fmla="*/ 824845 w 1706251"/>
                    <a:gd name="connsiteY40" fmla="*/ 683443 h 801278"/>
                    <a:gd name="connsiteX41" fmla="*/ 857839 w 1706251"/>
                    <a:gd name="connsiteY41" fmla="*/ 716437 h 801278"/>
                    <a:gd name="connsiteX42" fmla="*/ 867266 w 1706251"/>
                    <a:gd name="connsiteY42" fmla="*/ 730577 h 801278"/>
                    <a:gd name="connsiteX43" fmla="*/ 881406 w 1706251"/>
                    <a:gd name="connsiteY43" fmla="*/ 735290 h 801278"/>
                    <a:gd name="connsiteX44" fmla="*/ 895546 w 1706251"/>
                    <a:gd name="connsiteY44" fmla="*/ 744717 h 801278"/>
                    <a:gd name="connsiteX45" fmla="*/ 923827 w 1706251"/>
                    <a:gd name="connsiteY45" fmla="*/ 758857 h 801278"/>
                    <a:gd name="connsiteX46" fmla="*/ 956821 w 1706251"/>
                    <a:gd name="connsiteY46" fmla="*/ 754144 h 801278"/>
                    <a:gd name="connsiteX47" fmla="*/ 970961 w 1706251"/>
                    <a:gd name="connsiteY47" fmla="*/ 744717 h 801278"/>
                    <a:gd name="connsiteX48" fmla="*/ 1084082 w 1706251"/>
                    <a:gd name="connsiteY48" fmla="*/ 749431 h 801278"/>
                    <a:gd name="connsiteX49" fmla="*/ 1135930 w 1706251"/>
                    <a:gd name="connsiteY49" fmla="*/ 744717 h 801278"/>
                    <a:gd name="connsiteX50" fmla="*/ 1150070 w 1706251"/>
                    <a:gd name="connsiteY50" fmla="*/ 740004 h 801278"/>
                    <a:gd name="connsiteX51" fmla="*/ 1244338 w 1706251"/>
                    <a:gd name="connsiteY51" fmla="*/ 744717 h 801278"/>
                    <a:gd name="connsiteX52" fmla="*/ 1277332 w 1706251"/>
                    <a:gd name="connsiteY52" fmla="*/ 754144 h 801278"/>
                    <a:gd name="connsiteX53" fmla="*/ 1296185 w 1706251"/>
                    <a:gd name="connsiteY53" fmla="*/ 768284 h 801278"/>
                    <a:gd name="connsiteX54" fmla="*/ 1315039 w 1706251"/>
                    <a:gd name="connsiteY54" fmla="*/ 777711 h 801278"/>
                    <a:gd name="connsiteX55" fmla="*/ 1324466 w 1706251"/>
                    <a:gd name="connsiteY55" fmla="*/ 791851 h 801278"/>
                    <a:gd name="connsiteX56" fmla="*/ 1352746 w 1706251"/>
                    <a:gd name="connsiteY56" fmla="*/ 801278 h 801278"/>
                    <a:gd name="connsiteX57" fmla="*/ 1404594 w 1706251"/>
                    <a:gd name="connsiteY57" fmla="*/ 796565 h 801278"/>
                    <a:gd name="connsiteX58" fmla="*/ 1423447 w 1706251"/>
                    <a:gd name="connsiteY58" fmla="*/ 791851 h 801278"/>
                    <a:gd name="connsiteX59" fmla="*/ 1503575 w 1706251"/>
                    <a:gd name="connsiteY59" fmla="*/ 787138 h 801278"/>
                    <a:gd name="connsiteX60" fmla="*/ 1536569 w 1706251"/>
                    <a:gd name="connsiteY60" fmla="*/ 782424 h 801278"/>
                    <a:gd name="connsiteX61" fmla="*/ 1569563 w 1706251"/>
                    <a:gd name="connsiteY61" fmla="*/ 772998 h 801278"/>
                    <a:gd name="connsiteX62" fmla="*/ 1654404 w 1706251"/>
                    <a:gd name="connsiteY62" fmla="*/ 768284 h 801278"/>
                    <a:gd name="connsiteX63" fmla="*/ 1692111 w 1706251"/>
                    <a:gd name="connsiteY63" fmla="*/ 758857 h 801278"/>
                    <a:gd name="connsiteX64" fmla="*/ 1706251 w 1706251"/>
                    <a:gd name="connsiteY64" fmla="*/ 754144 h 8012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1706251" h="801278">
                      <a:moveTo>
                        <a:pt x="0" y="37707"/>
                      </a:moveTo>
                      <a:cubicBezTo>
                        <a:pt x="7856" y="34565"/>
                        <a:pt x="15616" y="31172"/>
                        <a:pt x="23567" y="28280"/>
                      </a:cubicBezTo>
                      <a:cubicBezTo>
                        <a:pt x="32905" y="24884"/>
                        <a:pt x="43579" y="24365"/>
                        <a:pt x="51847" y="18853"/>
                      </a:cubicBezTo>
                      <a:lnTo>
                        <a:pt x="80128" y="0"/>
                      </a:lnTo>
                      <a:cubicBezTo>
                        <a:pt x="84841" y="3142"/>
                        <a:pt x="89201" y="6894"/>
                        <a:pt x="94268" y="9427"/>
                      </a:cubicBezTo>
                      <a:cubicBezTo>
                        <a:pt x="101029" y="12808"/>
                        <a:pt x="121222" y="17343"/>
                        <a:pt x="127262" y="18853"/>
                      </a:cubicBezTo>
                      <a:cubicBezTo>
                        <a:pt x="128833" y="26709"/>
                        <a:pt x="129867" y="34691"/>
                        <a:pt x="131975" y="42420"/>
                      </a:cubicBezTo>
                      <a:cubicBezTo>
                        <a:pt x="134590" y="52007"/>
                        <a:pt x="141402" y="70701"/>
                        <a:pt x="141402" y="70701"/>
                      </a:cubicBezTo>
                      <a:cubicBezTo>
                        <a:pt x="141667" y="72821"/>
                        <a:pt x="149433" y="136749"/>
                        <a:pt x="150829" y="141402"/>
                      </a:cubicBezTo>
                      <a:cubicBezTo>
                        <a:pt x="152457" y="146828"/>
                        <a:pt x="157114" y="150829"/>
                        <a:pt x="160256" y="155542"/>
                      </a:cubicBezTo>
                      <a:cubicBezTo>
                        <a:pt x="158685" y="171253"/>
                        <a:pt x="157775" y="187045"/>
                        <a:pt x="155542" y="202676"/>
                      </a:cubicBezTo>
                      <a:cubicBezTo>
                        <a:pt x="154626" y="209089"/>
                        <a:pt x="152234" y="215206"/>
                        <a:pt x="150829" y="221530"/>
                      </a:cubicBezTo>
                      <a:cubicBezTo>
                        <a:pt x="149091" y="229351"/>
                        <a:pt x="147548" y="237215"/>
                        <a:pt x="146115" y="245097"/>
                      </a:cubicBezTo>
                      <a:cubicBezTo>
                        <a:pt x="139478" y="281600"/>
                        <a:pt x="145000" y="262583"/>
                        <a:pt x="136689" y="287517"/>
                      </a:cubicBezTo>
                      <a:cubicBezTo>
                        <a:pt x="148534" y="323056"/>
                        <a:pt x="131178" y="280630"/>
                        <a:pt x="155542" y="311084"/>
                      </a:cubicBezTo>
                      <a:cubicBezTo>
                        <a:pt x="158646" y="314964"/>
                        <a:pt x="158034" y="320780"/>
                        <a:pt x="160256" y="325224"/>
                      </a:cubicBezTo>
                      <a:cubicBezTo>
                        <a:pt x="178530" y="361773"/>
                        <a:pt x="162547" y="317964"/>
                        <a:pt x="174396" y="353505"/>
                      </a:cubicBezTo>
                      <a:cubicBezTo>
                        <a:pt x="176207" y="364373"/>
                        <a:pt x="178020" y="384320"/>
                        <a:pt x="183823" y="395926"/>
                      </a:cubicBezTo>
                      <a:cubicBezTo>
                        <a:pt x="186356" y="400993"/>
                        <a:pt x="190716" y="404999"/>
                        <a:pt x="193249" y="410066"/>
                      </a:cubicBezTo>
                      <a:cubicBezTo>
                        <a:pt x="212759" y="449086"/>
                        <a:pt x="180380" y="397832"/>
                        <a:pt x="207390" y="438346"/>
                      </a:cubicBezTo>
                      <a:lnTo>
                        <a:pt x="216816" y="466627"/>
                      </a:lnTo>
                      <a:cubicBezTo>
                        <a:pt x="218387" y="471340"/>
                        <a:pt x="220325" y="475947"/>
                        <a:pt x="221530" y="480767"/>
                      </a:cubicBezTo>
                      <a:cubicBezTo>
                        <a:pt x="223101" y="487051"/>
                        <a:pt x="222196" y="494562"/>
                        <a:pt x="226243" y="499620"/>
                      </a:cubicBezTo>
                      <a:cubicBezTo>
                        <a:pt x="229347" y="503500"/>
                        <a:pt x="235453" y="503718"/>
                        <a:pt x="240383" y="504334"/>
                      </a:cubicBezTo>
                      <a:cubicBezTo>
                        <a:pt x="260710" y="506875"/>
                        <a:pt x="281233" y="507476"/>
                        <a:pt x="301658" y="509047"/>
                      </a:cubicBezTo>
                      <a:lnTo>
                        <a:pt x="329938" y="518474"/>
                      </a:lnTo>
                      <a:lnTo>
                        <a:pt x="344078" y="523187"/>
                      </a:lnTo>
                      <a:cubicBezTo>
                        <a:pt x="348791" y="526329"/>
                        <a:pt x="353866" y="528988"/>
                        <a:pt x="358218" y="532614"/>
                      </a:cubicBezTo>
                      <a:cubicBezTo>
                        <a:pt x="363339" y="536881"/>
                        <a:pt x="366532" y="543517"/>
                        <a:pt x="372359" y="546754"/>
                      </a:cubicBezTo>
                      <a:cubicBezTo>
                        <a:pt x="381045" y="551580"/>
                        <a:pt x="400639" y="556181"/>
                        <a:pt x="400639" y="556181"/>
                      </a:cubicBezTo>
                      <a:cubicBezTo>
                        <a:pt x="405352" y="559323"/>
                        <a:pt x="409572" y="563377"/>
                        <a:pt x="414779" y="565608"/>
                      </a:cubicBezTo>
                      <a:cubicBezTo>
                        <a:pt x="420733" y="568160"/>
                        <a:pt x="427404" y="568541"/>
                        <a:pt x="433633" y="570321"/>
                      </a:cubicBezTo>
                      <a:cubicBezTo>
                        <a:pt x="470225" y="580776"/>
                        <a:pt x="419081" y="572166"/>
                        <a:pt x="494907" y="579748"/>
                      </a:cubicBezTo>
                      <a:cubicBezTo>
                        <a:pt x="532614" y="578177"/>
                        <a:pt x="570289" y="575035"/>
                        <a:pt x="608029" y="575035"/>
                      </a:cubicBezTo>
                      <a:cubicBezTo>
                        <a:pt x="616040" y="575035"/>
                        <a:pt x="623867" y="577640"/>
                        <a:pt x="631596" y="579748"/>
                      </a:cubicBezTo>
                      <a:cubicBezTo>
                        <a:pt x="641182" y="582362"/>
                        <a:pt x="659876" y="589175"/>
                        <a:pt x="659876" y="589175"/>
                      </a:cubicBezTo>
                      <a:cubicBezTo>
                        <a:pt x="699651" y="615693"/>
                        <a:pt x="635327" y="576102"/>
                        <a:pt x="730577" y="603315"/>
                      </a:cubicBezTo>
                      <a:cubicBezTo>
                        <a:pt x="736024" y="604871"/>
                        <a:pt x="735741" y="613725"/>
                        <a:pt x="740004" y="617455"/>
                      </a:cubicBezTo>
                      <a:cubicBezTo>
                        <a:pt x="748530" y="624916"/>
                        <a:pt x="761486" y="627245"/>
                        <a:pt x="768284" y="636309"/>
                      </a:cubicBezTo>
                      <a:cubicBezTo>
                        <a:pt x="795387" y="672445"/>
                        <a:pt x="768993" y="641612"/>
                        <a:pt x="796565" y="664589"/>
                      </a:cubicBezTo>
                      <a:cubicBezTo>
                        <a:pt x="820104" y="684205"/>
                        <a:pt x="799994" y="675160"/>
                        <a:pt x="824845" y="683443"/>
                      </a:cubicBezTo>
                      <a:cubicBezTo>
                        <a:pt x="846455" y="715857"/>
                        <a:pt x="832951" y="708140"/>
                        <a:pt x="857839" y="716437"/>
                      </a:cubicBezTo>
                      <a:cubicBezTo>
                        <a:pt x="860981" y="721150"/>
                        <a:pt x="862842" y="727038"/>
                        <a:pt x="867266" y="730577"/>
                      </a:cubicBezTo>
                      <a:cubicBezTo>
                        <a:pt x="871146" y="733681"/>
                        <a:pt x="876962" y="733068"/>
                        <a:pt x="881406" y="735290"/>
                      </a:cubicBezTo>
                      <a:cubicBezTo>
                        <a:pt x="886473" y="737823"/>
                        <a:pt x="890479" y="742184"/>
                        <a:pt x="895546" y="744717"/>
                      </a:cubicBezTo>
                      <a:cubicBezTo>
                        <a:pt x="934583" y="764236"/>
                        <a:pt x="883297" y="731839"/>
                        <a:pt x="923827" y="758857"/>
                      </a:cubicBezTo>
                      <a:cubicBezTo>
                        <a:pt x="934825" y="757286"/>
                        <a:pt x="946180" y="757336"/>
                        <a:pt x="956821" y="754144"/>
                      </a:cubicBezTo>
                      <a:cubicBezTo>
                        <a:pt x="962247" y="752516"/>
                        <a:pt x="965300" y="744927"/>
                        <a:pt x="970961" y="744717"/>
                      </a:cubicBezTo>
                      <a:lnTo>
                        <a:pt x="1084082" y="749431"/>
                      </a:lnTo>
                      <a:cubicBezTo>
                        <a:pt x="1101365" y="747860"/>
                        <a:pt x="1118750" y="747171"/>
                        <a:pt x="1135930" y="744717"/>
                      </a:cubicBezTo>
                      <a:cubicBezTo>
                        <a:pt x="1140848" y="744014"/>
                        <a:pt x="1145102" y="740004"/>
                        <a:pt x="1150070" y="740004"/>
                      </a:cubicBezTo>
                      <a:cubicBezTo>
                        <a:pt x="1181532" y="740004"/>
                        <a:pt x="1212915" y="743146"/>
                        <a:pt x="1244338" y="744717"/>
                      </a:cubicBezTo>
                      <a:cubicBezTo>
                        <a:pt x="1248415" y="745736"/>
                        <a:pt x="1272075" y="751140"/>
                        <a:pt x="1277332" y="754144"/>
                      </a:cubicBezTo>
                      <a:cubicBezTo>
                        <a:pt x="1284152" y="758041"/>
                        <a:pt x="1289524" y="764121"/>
                        <a:pt x="1296185" y="768284"/>
                      </a:cubicBezTo>
                      <a:cubicBezTo>
                        <a:pt x="1302143" y="772008"/>
                        <a:pt x="1308754" y="774569"/>
                        <a:pt x="1315039" y="777711"/>
                      </a:cubicBezTo>
                      <a:cubicBezTo>
                        <a:pt x="1318181" y="782424"/>
                        <a:pt x="1319662" y="788849"/>
                        <a:pt x="1324466" y="791851"/>
                      </a:cubicBezTo>
                      <a:cubicBezTo>
                        <a:pt x="1332892" y="797117"/>
                        <a:pt x="1352746" y="801278"/>
                        <a:pt x="1352746" y="801278"/>
                      </a:cubicBezTo>
                      <a:cubicBezTo>
                        <a:pt x="1370029" y="799707"/>
                        <a:pt x="1387392" y="798859"/>
                        <a:pt x="1404594" y="796565"/>
                      </a:cubicBezTo>
                      <a:cubicBezTo>
                        <a:pt x="1411015" y="795709"/>
                        <a:pt x="1416998" y="792465"/>
                        <a:pt x="1423447" y="791851"/>
                      </a:cubicBezTo>
                      <a:cubicBezTo>
                        <a:pt x="1450082" y="789314"/>
                        <a:pt x="1476866" y="788709"/>
                        <a:pt x="1503575" y="787138"/>
                      </a:cubicBezTo>
                      <a:cubicBezTo>
                        <a:pt x="1514573" y="785567"/>
                        <a:pt x="1525675" y="784603"/>
                        <a:pt x="1536569" y="782424"/>
                      </a:cubicBezTo>
                      <a:cubicBezTo>
                        <a:pt x="1555170" y="778704"/>
                        <a:pt x="1548086" y="774950"/>
                        <a:pt x="1569563" y="772998"/>
                      </a:cubicBezTo>
                      <a:cubicBezTo>
                        <a:pt x="1597771" y="770434"/>
                        <a:pt x="1626124" y="769855"/>
                        <a:pt x="1654404" y="768284"/>
                      </a:cubicBezTo>
                      <a:cubicBezTo>
                        <a:pt x="1686726" y="757511"/>
                        <a:pt x="1646609" y="770233"/>
                        <a:pt x="1692111" y="758857"/>
                      </a:cubicBezTo>
                      <a:cubicBezTo>
                        <a:pt x="1696931" y="757652"/>
                        <a:pt x="1706251" y="754144"/>
                        <a:pt x="1706251" y="75414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6" name="Forma livre 814"/>
                <p:cNvSpPr/>
                <p:nvPr/>
              </p:nvSpPr>
              <p:spPr>
                <a:xfrm>
                  <a:off x="5651802" y="1902239"/>
                  <a:ext cx="862119" cy="1272549"/>
                </a:xfrm>
                <a:custGeom>
                  <a:avLst/>
                  <a:gdLst>
                    <a:gd name="connsiteX0" fmla="*/ 655163 w 655163"/>
                    <a:gd name="connsiteY0" fmla="*/ 204652 h 675992"/>
                    <a:gd name="connsiteX1" fmla="*/ 598602 w 655163"/>
                    <a:gd name="connsiteY1" fmla="*/ 199938 h 675992"/>
                    <a:gd name="connsiteX2" fmla="*/ 584462 w 655163"/>
                    <a:gd name="connsiteY2" fmla="*/ 195225 h 675992"/>
                    <a:gd name="connsiteX3" fmla="*/ 565608 w 655163"/>
                    <a:gd name="connsiteY3" fmla="*/ 190512 h 675992"/>
                    <a:gd name="connsiteX4" fmla="*/ 551468 w 655163"/>
                    <a:gd name="connsiteY4" fmla="*/ 185798 h 675992"/>
                    <a:gd name="connsiteX5" fmla="*/ 443060 w 655163"/>
                    <a:gd name="connsiteY5" fmla="*/ 181085 h 675992"/>
                    <a:gd name="connsiteX6" fmla="*/ 400639 w 655163"/>
                    <a:gd name="connsiteY6" fmla="*/ 162231 h 675992"/>
                    <a:gd name="connsiteX7" fmla="*/ 386499 w 655163"/>
                    <a:gd name="connsiteY7" fmla="*/ 148091 h 675992"/>
                    <a:gd name="connsiteX8" fmla="*/ 372359 w 655163"/>
                    <a:gd name="connsiteY8" fmla="*/ 143377 h 675992"/>
                    <a:gd name="connsiteX9" fmla="*/ 358218 w 655163"/>
                    <a:gd name="connsiteY9" fmla="*/ 133951 h 675992"/>
                    <a:gd name="connsiteX10" fmla="*/ 344078 w 655163"/>
                    <a:gd name="connsiteY10" fmla="*/ 129237 h 675992"/>
                    <a:gd name="connsiteX11" fmla="*/ 315798 w 655163"/>
                    <a:gd name="connsiteY11" fmla="*/ 105670 h 675992"/>
                    <a:gd name="connsiteX12" fmla="*/ 306371 w 655163"/>
                    <a:gd name="connsiteY12" fmla="*/ 77390 h 675992"/>
                    <a:gd name="connsiteX13" fmla="*/ 301657 w 655163"/>
                    <a:gd name="connsiteY13" fmla="*/ 63250 h 675992"/>
                    <a:gd name="connsiteX14" fmla="*/ 292231 w 655163"/>
                    <a:gd name="connsiteY14" fmla="*/ 49109 h 675992"/>
                    <a:gd name="connsiteX15" fmla="*/ 287517 w 655163"/>
                    <a:gd name="connsiteY15" fmla="*/ 34969 h 675992"/>
                    <a:gd name="connsiteX16" fmla="*/ 263950 w 655163"/>
                    <a:gd name="connsiteY16" fmla="*/ 6689 h 675992"/>
                    <a:gd name="connsiteX17" fmla="*/ 249810 w 655163"/>
                    <a:gd name="connsiteY17" fmla="*/ 1975 h 675992"/>
                    <a:gd name="connsiteX18" fmla="*/ 179109 w 655163"/>
                    <a:gd name="connsiteY18" fmla="*/ 6689 h 675992"/>
                    <a:gd name="connsiteX19" fmla="*/ 197963 w 655163"/>
                    <a:gd name="connsiteY19" fmla="*/ 34969 h 675992"/>
                    <a:gd name="connsiteX20" fmla="*/ 193249 w 655163"/>
                    <a:gd name="connsiteY20" fmla="*/ 77390 h 675992"/>
                    <a:gd name="connsiteX21" fmla="*/ 179109 w 655163"/>
                    <a:gd name="connsiteY21" fmla="*/ 86817 h 675992"/>
                    <a:gd name="connsiteX22" fmla="*/ 169682 w 655163"/>
                    <a:gd name="connsiteY22" fmla="*/ 100957 h 675992"/>
                    <a:gd name="connsiteX23" fmla="*/ 164969 w 655163"/>
                    <a:gd name="connsiteY23" fmla="*/ 115097 h 675992"/>
                    <a:gd name="connsiteX24" fmla="*/ 141402 w 655163"/>
                    <a:gd name="connsiteY24" fmla="*/ 143377 h 675992"/>
                    <a:gd name="connsiteX25" fmla="*/ 127262 w 655163"/>
                    <a:gd name="connsiteY25" fmla="*/ 171658 h 675992"/>
                    <a:gd name="connsiteX26" fmla="*/ 108408 w 655163"/>
                    <a:gd name="connsiteY26" fmla="*/ 199938 h 675992"/>
                    <a:gd name="connsiteX27" fmla="*/ 98981 w 655163"/>
                    <a:gd name="connsiteY27" fmla="*/ 247072 h 675992"/>
                    <a:gd name="connsiteX28" fmla="*/ 80128 w 655163"/>
                    <a:gd name="connsiteY28" fmla="*/ 275353 h 675992"/>
                    <a:gd name="connsiteX29" fmla="*/ 70701 w 655163"/>
                    <a:gd name="connsiteY29" fmla="*/ 289493 h 675992"/>
                    <a:gd name="connsiteX30" fmla="*/ 84841 w 655163"/>
                    <a:gd name="connsiteY30" fmla="*/ 360194 h 675992"/>
                    <a:gd name="connsiteX31" fmla="*/ 94268 w 655163"/>
                    <a:gd name="connsiteY31" fmla="*/ 374334 h 675992"/>
                    <a:gd name="connsiteX32" fmla="*/ 98981 w 655163"/>
                    <a:gd name="connsiteY32" fmla="*/ 388474 h 675992"/>
                    <a:gd name="connsiteX33" fmla="*/ 75414 w 655163"/>
                    <a:gd name="connsiteY33" fmla="*/ 440322 h 675992"/>
                    <a:gd name="connsiteX34" fmla="*/ 61274 w 655163"/>
                    <a:gd name="connsiteY34" fmla="*/ 449749 h 675992"/>
                    <a:gd name="connsiteX35" fmla="*/ 42420 w 655163"/>
                    <a:gd name="connsiteY35" fmla="*/ 478029 h 675992"/>
                    <a:gd name="connsiteX36" fmla="*/ 32994 w 655163"/>
                    <a:gd name="connsiteY36" fmla="*/ 515736 h 675992"/>
                    <a:gd name="connsiteX37" fmla="*/ 23567 w 655163"/>
                    <a:gd name="connsiteY37" fmla="*/ 548730 h 675992"/>
                    <a:gd name="connsiteX38" fmla="*/ 14140 w 655163"/>
                    <a:gd name="connsiteY38" fmla="*/ 591151 h 675992"/>
                    <a:gd name="connsiteX39" fmla="*/ 4713 w 655163"/>
                    <a:gd name="connsiteY39" fmla="*/ 605291 h 675992"/>
                    <a:gd name="connsiteX40" fmla="*/ 0 w 655163"/>
                    <a:gd name="connsiteY40" fmla="*/ 619431 h 675992"/>
                    <a:gd name="connsiteX41" fmla="*/ 4713 w 655163"/>
                    <a:gd name="connsiteY41" fmla="*/ 675992 h 675992"/>
                    <a:gd name="connsiteX0" fmla="*/ 842854 w 842854"/>
                    <a:gd name="connsiteY0" fmla="*/ 204652 h 752967"/>
                    <a:gd name="connsiteX1" fmla="*/ 786293 w 842854"/>
                    <a:gd name="connsiteY1" fmla="*/ 199938 h 752967"/>
                    <a:gd name="connsiteX2" fmla="*/ 772153 w 842854"/>
                    <a:gd name="connsiteY2" fmla="*/ 195225 h 752967"/>
                    <a:gd name="connsiteX3" fmla="*/ 753299 w 842854"/>
                    <a:gd name="connsiteY3" fmla="*/ 190512 h 752967"/>
                    <a:gd name="connsiteX4" fmla="*/ 739159 w 842854"/>
                    <a:gd name="connsiteY4" fmla="*/ 185798 h 752967"/>
                    <a:gd name="connsiteX5" fmla="*/ 630751 w 842854"/>
                    <a:gd name="connsiteY5" fmla="*/ 181085 h 752967"/>
                    <a:gd name="connsiteX6" fmla="*/ 588330 w 842854"/>
                    <a:gd name="connsiteY6" fmla="*/ 162231 h 752967"/>
                    <a:gd name="connsiteX7" fmla="*/ 574190 w 842854"/>
                    <a:gd name="connsiteY7" fmla="*/ 148091 h 752967"/>
                    <a:gd name="connsiteX8" fmla="*/ 560050 w 842854"/>
                    <a:gd name="connsiteY8" fmla="*/ 143377 h 752967"/>
                    <a:gd name="connsiteX9" fmla="*/ 545909 w 842854"/>
                    <a:gd name="connsiteY9" fmla="*/ 133951 h 752967"/>
                    <a:gd name="connsiteX10" fmla="*/ 531769 w 842854"/>
                    <a:gd name="connsiteY10" fmla="*/ 129237 h 752967"/>
                    <a:gd name="connsiteX11" fmla="*/ 503489 w 842854"/>
                    <a:gd name="connsiteY11" fmla="*/ 105670 h 752967"/>
                    <a:gd name="connsiteX12" fmla="*/ 494062 w 842854"/>
                    <a:gd name="connsiteY12" fmla="*/ 77390 h 752967"/>
                    <a:gd name="connsiteX13" fmla="*/ 489348 w 842854"/>
                    <a:gd name="connsiteY13" fmla="*/ 63250 h 752967"/>
                    <a:gd name="connsiteX14" fmla="*/ 479922 w 842854"/>
                    <a:gd name="connsiteY14" fmla="*/ 49109 h 752967"/>
                    <a:gd name="connsiteX15" fmla="*/ 475208 w 842854"/>
                    <a:gd name="connsiteY15" fmla="*/ 34969 h 752967"/>
                    <a:gd name="connsiteX16" fmla="*/ 451641 w 842854"/>
                    <a:gd name="connsiteY16" fmla="*/ 6689 h 752967"/>
                    <a:gd name="connsiteX17" fmla="*/ 437501 w 842854"/>
                    <a:gd name="connsiteY17" fmla="*/ 1975 h 752967"/>
                    <a:gd name="connsiteX18" fmla="*/ 366800 w 842854"/>
                    <a:gd name="connsiteY18" fmla="*/ 6689 h 752967"/>
                    <a:gd name="connsiteX19" fmla="*/ 385654 w 842854"/>
                    <a:gd name="connsiteY19" fmla="*/ 34969 h 752967"/>
                    <a:gd name="connsiteX20" fmla="*/ 380940 w 842854"/>
                    <a:gd name="connsiteY20" fmla="*/ 77390 h 752967"/>
                    <a:gd name="connsiteX21" fmla="*/ 366800 w 842854"/>
                    <a:gd name="connsiteY21" fmla="*/ 86817 h 752967"/>
                    <a:gd name="connsiteX22" fmla="*/ 357373 w 842854"/>
                    <a:gd name="connsiteY22" fmla="*/ 100957 h 752967"/>
                    <a:gd name="connsiteX23" fmla="*/ 352660 w 842854"/>
                    <a:gd name="connsiteY23" fmla="*/ 115097 h 752967"/>
                    <a:gd name="connsiteX24" fmla="*/ 329093 w 842854"/>
                    <a:gd name="connsiteY24" fmla="*/ 143377 h 752967"/>
                    <a:gd name="connsiteX25" fmla="*/ 314953 w 842854"/>
                    <a:gd name="connsiteY25" fmla="*/ 171658 h 752967"/>
                    <a:gd name="connsiteX26" fmla="*/ 296099 w 842854"/>
                    <a:gd name="connsiteY26" fmla="*/ 199938 h 752967"/>
                    <a:gd name="connsiteX27" fmla="*/ 286672 w 842854"/>
                    <a:gd name="connsiteY27" fmla="*/ 247072 h 752967"/>
                    <a:gd name="connsiteX28" fmla="*/ 267819 w 842854"/>
                    <a:gd name="connsiteY28" fmla="*/ 275353 h 752967"/>
                    <a:gd name="connsiteX29" fmla="*/ 258392 w 842854"/>
                    <a:gd name="connsiteY29" fmla="*/ 289493 h 752967"/>
                    <a:gd name="connsiteX30" fmla="*/ 272532 w 842854"/>
                    <a:gd name="connsiteY30" fmla="*/ 360194 h 752967"/>
                    <a:gd name="connsiteX31" fmla="*/ 281959 w 842854"/>
                    <a:gd name="connsiteY31" fmla="*/ 374334 h 752967"/>
                    <a:gd name="connsiteX32" fmla="*/ 286672 w 842854"/>
                    <a:gd name="connsiteY32" fmla="*/ 388474 h 752967"/>
                    <a:gd name="connsiteX33" fmla="*/ 263105 w 842854"/>
                    <a:gd name="connsiteY33" fmla="*/ 440322 h 752967"/>
                    <a:gd name="connsiteX34" fmla="*/ 248965 w 842854"/>
                    <a:gd name="connsiteY34" fmla="*/ 449749 h 752967"/>
                    <a:gd name="connsiteX35" fmla="*/ 230111 w 842854"/>
                    <a:gd name="connsiteY35" fmla="*/ 478029 h 752967"/>
                    <a:gd name="connsiteX36" fmla="*/ 220685 w 842854"/>
                    <a:gd name="connsiteY36" fmla="*/ 515736 h 752967"/>
                    <a:gd name="connsiteX37" fmla="*/ 211258 w 842854"/>
                    <a:gd name="connsiteY37" fmla="*/ 548730 h 752967"/>
                    <a:gd name="connsiteX38" fmla="*/ 201831 w 842854"/>
                    <a:gd name="connsiteY38" fmla="*/ 591151 h 752967"/>
                    <a:gd name="connsiteX39" fmla="*/ 192404 w 842854"/>
                    <a:gd name="connsiteY39" fmla="*/ 605291 h 752967"/>
                    <a:gd name="connsiteX40" fmla="*/ 187691 w 842854"/>
                    <a:gd name="connsiteY40" fmla="*/ 619431 h 752967"/>
                    <a:gd name="connsiteX41" fmla="*/ 0 w 842854"/>
                    <a:gd name="connsiteY41" fmla="*/ 752967 h 752967"/>
                    <a:gd name="connsiteX0" fmla="*/ 746652 w 746652"/>
                    <a:gd name="connsiteY0" fmla="*/ 204652 h 1272549"/>
                    <a:gd name="connsiteX1" fmla="*/ 690091 w 746652"/>
                    <a:gd name="connsiteY1" fmla="*/ 199938 h 1272549"/>
                    <a:gd name="connsiteX2" fmla="*/ 675951 w 746652"/>
                    <a:gd name="connsiteY2" fmla="*/ 195225 h 1272549"/>
                    <a:gd name="connsiteX3" fmla="*/ 657097 w 746652"/>
                    <a:gd name="connsiteY3" fmla="*/ 190512 h 1272549"/>
                    <a:gd name="connsiteX4" fmla="*/ 642957 w 746652"/>
                    <a:gd name="connsiteY4" fmla="*/ 185798 h 1272549"/>
                    <a:gd name="connsiteX5" fmla="*/ 534549 w 746652"/>
                    <a:gd name="connsiteY5" fmla="*/ 181085 h 1272549"/>
                    <a:gd name="connsiteX6" fmla="*/ 492128 w 746652"/>
                    <a:gd name="connsiteY6" fmla="*/ 162231 h 1272549"/>
                    <a:gd name="connsiteX7" fmla="*/ 477988 w 746652"/>
                    <a:gd name="connsiteY7" fmla="*/ 148091 h 1272549"/>
                    <a:gd name="connsiteX8" fmla="*/ 463848 w 746652"/>
                    <a:gd name="connsiteY8" fmla="*/ 143377 h 1272549"/>
                    <a:gd name="connsiteX9" fmla="*/ 449707 w 746652"/>
                    <a:gd name="connsiteY9" fmla="*/ 133951 h 1272549"/>
                    <a:gd name="connsiteX10" fmla="*/ 435567 w 746652"/>
                    <a:gd name="connsiteY10" fmla="*/ 129237 h 1272549"/>
                    <a:gd name="connsiteX11" fmla="*/ 407287 w 746652"/>
                    <a:gd name="connsiteY11" fmla="*/ 105670 h 1272549"/>
                    <a:gd name="connsiteX12" fmla="*/ 397860 w 746652"/>
                    <a:gd name="connsiteY12" fmla="*/ 77390 h 1272549"/>
                    <a:gd name="connsiteX13" fmla="*/ 393146 w 746652"/>
                    <a:gd name="connsiteY13" fmla="*/ 63250 h 1272549"/>
                    <a:gd name="connsiteX14" fmla="*/ 383720 w 746652"/>
                    <a:gd name="connsiteY14" fmla="*/ 49109 h 1272549"/>
                    <a:gd name="connsiteX15" fmla="*/ 379006 w 746652"/>
                    <a:gd name="connsiteY15" fmla="*/ 34969 h 1272549"/>
                    <a:gd name="connsiteX16" fmla="*/ 355439 w 746652"/>
                    <a:gd name="connsiteY16" fmla="*/ 6689 h 1272549"/>
                    <a:gd name="connsiteX17" fmla="*/ 341299 w 746652"/>
                    <a:gd name="connsiteY17" fmla="*/ 1975 h 1272549"/>
                    <a:gd name="connsiteX18" fmla="*/ 270598 w 746652"/>
                    <a:gd name="connsiteY18" fmla="*/ 6689 h 1272549"/>
                    <a:gd name="connsiteX19" fmla="*/ 289452 w 746652"/>
                    <a:gd name="connsiteY19" fmla="*/ 34969 h 1272549"/>
                    <a:gd name="connsiteX20" fmla="*/ 284738 w 746652"/>
                    <a:gd name="connsiteY20" fmla="*/ 77390 h 1272549"/>
                    <a:gd name="connsiteX21" fmla="*/ 270598 w 746652"/>
                    <a:gd name="connsiteY21" fmla="*/ 86817 h 1272549"/>
                    <a:gd name="connsiteX22" fmla="*/ 261171 w 746652"/>
                    <a:gd name="connsiteY22" fmla="*/ 100957 h 1272549"/>
                    <a:gd name="connsiteX23" fmla="*/ 256458 w 746652"/>
                    <a:gd name="connsiteY23" fmla="*/ 115097 h 1272549"/>
                    <a:gd name="connsiteX24" fmla="*/ 232891 w 746652"/>
                    <a:gd name="connsiteY24" fmla="*/ 143377 h 1272549"/>
                    <a:gd name="connsiteX25" fmla="*/ 218751 w 746652"/>
                    <a:gd name="connsiteY25" fmla="*/ 171658 h 1272549"/>
                    <a:gd name="connsiteX26" fmla="*/ 199897 w 746652"/>
                    <a:gd name="connsiteY26" fmla="*/ 199938 h 1272549"/>
                    <a:gd name="connsiteX27" fmla="*/ 190470 w 746652"/>
                    <a:gd name="connsiteY27" fmla="*/ 247072 h 1272549"/>
                    <a:gd name="connsiteX28" fmla="*/ 171617 w 746652"/>
                    <a:gd name="connsiteY28" fmla="*/ 275353 h 1272549"/>
                    <a:gd name="connsiteX29" fmla="*/ 162190 w 746652"/>
                    <a:gd name="connsiteY29" fmla="*/ 289493 h 1272549"/>
                    <a:gd name="connsiteX30" fmla="*/ 176330 w 746652"/>
                    <a:gd name="connsiteY30" fmla="*/ 360194 h 1272549"/>
                    <a:gd name="connsiteX31" fmla="*/ 185757 w 746652"/>
                    <a:gd name="connsiteY31" fmla="*/ 374334 h 1272549"/>
                    <a:gd name="connsiteX32" fmla="*/ 190470 w 746652"/>
                    <a:gd name="connsiteY32" fmla="*/ 388474 h 1272549"/>
                    <a:gd name="connsiteX33" fmla="*/ 166903 w 746652"/>
                    <a:gd name="connsiteY33" fmla="*/ 440322 h 1272549"/>
                    <a:gd name="connsiteX34" fmla="*/ 152763 w 746652"/>
                    <a:gd name="connsiteY34" fmla="*/ 449749 h 1272549"/>
                    <a:gd name="connsiteX35" fmla="*/ 133909 w 746652"/>
                    <a:gd name="connsiteY35" fmla="*/ 478029 h 1272549"/>
                    <a:gd name="connsiteX36" fmla="*/ 124483 w 746652"/>
                    <a:gd name="connsiteY36" fmla="*/ 515736 h 1272549"/>
                    <a:gd name="connsiteX37" fmla="*/ 115056 w 746652"/>
                    <a:gd name="connsiteY37" fmla="*/ 548730 h 1272549"/>
                    <a:gd name="connsiteX38" fmla="*/ 105629 w 746652"/>
                    <a:gd name="connsiteY38" fmla="*/ 591151 h 1272549"/>
                    <a:gd name="connsiteX39" fmla="*/ 96202 w 746652"/>
                    <a:gd name="connsiteY39" fmla="*/ 605291 h 1272549"/>
                    <a:gd name="connsiteX40" fmla="*/ 91489 w 746652"/>
                    <a:gd name="connsiteY40" fmla="*/ 619431 h 1272549"/>
                    <a:gd name="connsiteX41" fmla="*/ 0 w 746652"/>
                    <a:gd name="connsiteY41" fmla="*/ 1272549 h 1272549"/>
                    <a:gd name="connsiteX0" fmla="*/ 866807 w 866807"/>
                    <a:gd name="connsiteY0" fmla="*/ 204652 h 1272549"/>
                    <a:gd name="connsiteX1" fmla="*/ 810246 w 866807"/>
                    <a:gd name="connsiteY1" fmla="*/ 199938 h 1272549"/>
                    <a:gd name="connsiteX2" fmla="*/ 796106 w 866807"/>
                    <a:gd name="connsiteY2" fmla="*/ 195225 h 1272549"/>
                    <a:gd name="connsiteX3" fmla="*/ 777252 w 866807"/>
                    <a:gd name="connsiteY3" fmla="*/ 190512 h 1272549"/>
                    <a:gd name="connsiteX4" fmla="*/ 763112 w 866807"/>
                    <a:gd name="connsiteY4" fmla="*/ 185798 h 1272549"/>
                    <a:gd name="connsiteX5" fmla="*/ 654704 w 866807"/>
                    <a:gd name="connsiteY5" fmla="*/ 181085 h 1272549"/>
                    <a:gd name="connsiteX6" fmla="*/ 612283 w 866807"/>
                    <a:gd name="connsiteY6" fmla="*/ 162231 h 1272549"/>
                    <a:gd name="connsiteX7" fmla="*/ 598143 w 866807"/>
                    <a:gd name="connsiteY7" fmla="*/ 148091 h 1272549"/>
                    <a:gd name="connsiteX8" fmla="*/ 584003 w 866807"/>
                    <a:gd name="connsiteY8" fmla="*/ 143377 h 1272549"/>
                    <a:gd name="connsiteX9" fmla="*/ 569862 w 866807"/>
                    <a:gd name="connsiteY9" fmla="*/ 133951 h 1272549"/>
                    <a:gd name="connsiteX10" fmla="*/ 555722 w 866807"/>
                    <a:gd name="connsiteY10" fmla="*/ 129237 h 1272549"/>
                    <a:gd name="connsiteX11" fmla="*/ 527442 w 866807"/>
                    <a:gd name="connsiteY11" fmla="*/ 105670 h 1272549"/>
                    <a:gd name="connsiteX12" fmla="*/ 518015 w 866807"/>
                    <a:gd name="connsiteY12" fmla="*/ 77390 h 1272549"/>
                    <a:gd name="connsiteX13" fmla="*/ 513301 w 866807"/>
                    <a:gd name="connsiteY13" fmla="*/ 63250 h 1272549"/>
                    <a:gd name="connsiteX14" fmla="*/ 503875 w 866807"/>
                    <a:gd name="connsiteY14" fmla="*/ 49109 h 1272549"/>
                    <a:gd name="connsiteX15" fmla="*/ 499161 w 866807"/>
                    <a:gd name="connsiteY15" fmla="*/ 34969 h 1272549"/>
                    <a:gd name="connsiteX16" fmla="*/ 475594 w 866807"/>
                    <a:gd name="connsiteY16" fmla="*/ 6689 h 1272549"/>
                    <a:gd name="connsiteX17" fmla="*/ 461454 w 866807"/>
                    <a:gd name="connsiteY17" fmla="*/ 1975 h 1272549"/>
                    <a:gd name="connsiteX18" fmla="*/ 390753 w 866807"/>
                    <a:gd name="connsiteY18" fmla="*/ 6689 h 1272549"/>
                    <a:gd name="connsiteX19" fmla="*/ 409607 w 866807"/>
                    <a:gd name="connsiteY19" fmla="*/ 34969 h 1272549"/>
                    <a:gd name="connsiteX20" fmla="*/ 404893 w 866807"/>
                    <a:gd name="connsiteY20" fmla="*/ 77390 h 1272549"/>
                    <a:gd name="connsiteX21" fmla="*/ 390753 w 866807"/>
                    <a:gd name="connsiteY21" fmla="*/ 86817 h 1272549"/>
                    <a:gd name="connsiteX22" fmla="*/ 381326 w 866807"/>
                    <a:gd name="connsiteY22" fmla="*/ 100957 h 1272549"/>
                    <a:gd name="connsiteX23" fmla="*/ 376613 w 866807"/>
                    <a:gd name="connsiteY23" fmla="*/ 115097 h 1272549"/>
                    <a:gd name="connsiteX24" fmla="*/ 353046 w 866807"/>
                    <a:gd name="connsiteY24" fmla="*/ 143377 h 1272549"/>
                    <a:gd name="connsiteX25" fmla="*/ 338906 w 866807"/>
                    <a:gd name="connsiteY25" fmla="*/ 171658 h 1272549"/>
                    <a:gd name="connsiteX26" fmla="*/ 320052 w 866807"/>
                    <a:gd name="connsiteY26" fmla="*/ 199938 h 1272549"/>
                    <a:gd name="connsiteX27" fmla="*/ 310625 w 866807"/>
                    <a:gd name="connsiteY27" fmla="*/ 247072 h 1272549"/>
                    <a:gd name="connsiteX28" fmla="*/ 291772 w 866807"/>
                    <a:gd name="connsiteY28" fmla="*/ 275353 h 1272549"/>
                    <a:gd name="connsiteX29" fmla="*/ 282345 w 866807"/>
                    <a:gd name="connsiteY29" fmla="*/ 289493 h 1272549"/>
                    <a:gd name="connsiteX30" fmla="*/ 296485 w 866807"/>
                    <a:gd name="connsiteY30" fmla="*/ 360194 h 1272549"/>
                    <a:gd name="connsiteX31" fmla="*/ 305912 w 866807"/>
                    <a:gd name="connsiteY31" fmla="*/ 374334 h 1272549"/>
                    <a:gd name="connsiteX32" fmla="*/ 310625 w 866807"/>
                    <a:gd name="connsiteY32" fmla="*/ 388474 h 1272549"/>
                    <a:gd name="connsiteX33" fmla="*/ 287058 w 866807"/>
                    <a:gd name="connsiteY33" fmla="*/ 440322 h 1272549"/>
                    <a:gd name="connsiteX34" fmla="*/ 272918 w 866807"/>
                    <a:gd name="connsiteY34" fmla="*/ 449749 h 1272549"/>
                    <a:gd name="connsiteX35" fmla="*/ 254064 w 866807"/>
                    <a:gd name="connsiteY35" fmla="*/ 478029 h 1272549"/>
                    <a:gd name="connsiteX36" fmla="*/ 244638 w 866807"/>
                    <a:gd name="connsiteY36" fmla="*/ 515736 h 1272549"/>
                    <a:gd name="connsiteX37" fmla="*/ 235211 w 866807"/>
                    <a:gd name="connsiteY37" fmla="*/ 548730 h 1272549"/>
                    <a:gd name="connsiteX38" fmla="*/ 225784 w 866807"/>
                    <a:gd name="connsiteY38" fmla="*/ 591151 h 1272549"/>
                    <a:gd name="connsiteX39" fmla="*/ 216357 w 866807"/>
                    <a:gd name="connsiteY39" fmla="*/ 605291 h 1272549"/>
                    <a:gd name="connsiteX40" fmla="*/ 0 w 866807"/>
                    <a:gd name="connsiteY40" fmla="*/ 773381 h 1272549"/>
                    <a:gd name="connsiteX41" fmla="*/ 120155 w 866807"/>
                    <a:gd name="connsiteY41" fmla="*/ 1272549 h 1272549"/>
                    <a:gd name="connsiteX0" fmla="*/ 866807 w 866807"/>
                    <a:gd name="connsiteY0" fmla="*/ 204652 h 1272549"/>
                    <a:gd name="connsiteX1" fmla="*/ 810246 w 866807"/>
                    <a:gd name="connsiteY1" fmla="*/ 199938 h 1272549"/>
                    <a:gd name="connsiteX2" fmla="*/ 796106 w 866807"/>
                    <a:gd name="connsiteY2" fmla="*/ 195225 h 1272549"/>
                    <a:gd name="connsiteX3" fmla="*/ 777252 w 866807"/>
                    <a:gd name="connsiteY3" fmla="*/ 190512 h 1272549"/>
                    <a:gd name="connsiteX4" fmla="*/ 763112 w 866807"/>
                    <a:gd name="connsiteY4" fmla="*/ 185798 h 1272549"/>
                    <a:gd name="connsiteX5" fmla="*/ 654704 w 866807"/>
                    <a:gd name="connsiteY5" fmla="*/ 181085 h 1272549"/>
                    <a:gd name="connsiteX6" fmla="*/ 612283 w 866807"/>
                    <a:gd name="connsiteY6" fmla="*/ 162231 h 1272549"/>
                    <a:gd name="connsiteX7" fmla="*/ 598143 w 866807"/>
                    <a:gd name="connsiteY7" fmla="*/ 148091 h 1272549"/>
                    <a:gd name="connsiteX8" fmla="*/ 584003 w 866807"/>
                    <a:gd name="connsiteY8" fmla="*/ 143377 h 1272549"/>
                    <a:gd name="connsiteX9" fmla="*/ 569862 w 866807"/>
                    <a:gd name="connsiteY9" fmla="*/ 133951 h 1272549"/>
                    <a:gd name="connsiteX10" fmla="*/ 555722 w 866807"/>
                    <a:gd name="connsiteY10" fmla="*/ 129237 h 1272549"/>
                    <a:gd name="connsiteX11" fmla="*/ 527442 w 866807"/>
                    <a:gd name="connsiteY11" fmla="*/ 105670 h 1272549"/>
                    <a:gd name="connsiteX12" fmla="*/ 518015 w 866807"/>
                    <a:gd name="connsiteY12" fmla="*/ 77390 h 1272549"/>
                    <a:gd name="connsiteX13" fmla="*/ 513301 w 866807"/>
                    <a:gd name="connsiteY13" fmla="*/ 63250 h 1272549"/>
                    <a:gd name="connsiteX14" fmla="*/ 503875 w 866807"/>
                    <a:gd name="connsiteY14" fmla="*/ 49109 h 1272549"/>
                    <a:gd name="connsiteX15" fmla="*/ 499161 w 866807"/>
                    <a:gd name="connsiteY15" fmla="*/ 34969 h 1272549"/>
                    <a:gd name="connsiteX16" fmla="*/ 475594 w 866807"/>
                    <a:gd name="connsiteY16" fmla="*/ 6689 h 1272549"/>
                    <a:gd name="connsiteX17" fmla="*/ 461454 w 866807"/>
                    <a:gd name="connsiteY17" fmla="*/ 1975 h 1272549"/>
                    <a:gd name="connsiteX18" fmla="*/ 390753 w 866807"/>
                    <a:gd name="connsiteY18" fmla="*/ 6689 h 1272549"/>
                    <a:gd name="connsiteX19" fmla="*/ 409607 w 866807"/>
                    <a:gd name="connsiteY19" fmla="*/ 34969 h 1272549"/>
                    <a:gd name="connsiteX20" fmla="*/ 404893 w 866807"/>
                    <a:gd name="connsiteY20" fmla="*/ 77390 h 1272549"/>
                    <a:gd name="connsiteX21" fmla="*/ 390753 w 866807"/>
                    <a:gd name="connsiteY21" fmla="*/ 86817 h 1272549"/>
                    <a:gd name="connsiteX22" fmla="*/ 381326 w 866807"/>
                    <a:gd name="connsiteY22" fmla="*/ 100957 h 1272549"/>
                    <a:gd name="connsiteX23" fmla="*/ 376613 w 866807"/>
                    <a:gd name="connsiteY23" fmla="*/ 115097 h 1272549"/>
                    <a:gd name="connsiteX24" fmla="*/ 353046 w 866807"/>
                    <a:gd name="connsiteY24" fmla="*/ 143377 h 1272549"/>
                    <a:gd name="connsiteX25" fmla="*/ 338906 w 866807"/>
                    <a:gd name="connsiteY25" fmla="*/ 171658 h 1272549"/>
                    <a:gd name="connsiteX26" fmla="*/ 320052 w 866807"/>
                    <a:gd name="connsiteY26" fmla="*/ 199938 h 1272549"/>
                    <a:gd name="connsiteX27" fmla="*/ 310625 w 866807"/>
                    <a:gd name="connsiteY27" fmla="*/ 247072 h 1272549"/>
                    <a:gd name="connsiteX28" fmla="*/ 291772 w 866807"/>
                    <a:gd name="connsiteY28" fmla="*/ 275353 h 1272549"/>
                    <a:gd name="connsiteX29" fmla="*/ 282345 w 866807"/>
                    <a:gd name="connsiteY29" fmla="*/ 289493 h 1272549"/>
                    <a:gd name="connsiteX30" fmla="*/ 296485 w 866807"/>
                    <a:gd name="connsiteY30" fmla="*/ 360194 h 1272549"/>
                    <a:gd name="connsiteX31" fmla="*/ 305912 w 866807"/>
                    <a:gd name="connsiteY31" fmla="*/ 374334 h 1272549"/>
                    <a:gd name="connsiteX32" fmla="*/ 310625 w 866807"/>
                    <a:gd name="connsiteY32" fmla="*/ 388474 h 1272549"/>
                    <a:gd name="connsiteX33" fmla="*/ 287058 w 866807"/>
                    <a:gd name="connsiteY33" fmla="*/ 440322 h 1272549"/>
                    <a:gd name="connsiteX34" fmla="*/ 272918 w 866807"/>
                    <a:gd name="connsiteY34" fmla="*/ 449749 h 1272549"/>
                    <a:gd name="connsiteX35" fmla="*/ 254064 w 866807"/>
                    <a:gd name="connsiteY35" fmla="*/ 478029 h 1272549"/>
                    <a:gd name="connsiteX36" fmla="*/ 244638 w 866807"/>
                    <a:gd name="connsiteY36" fmla="*/ 515736 h 1272549"/>
                    <a:gd name="connsiteX37" fmla="*/ 235211 w 866807"/>
                    <a:gd name="connsiteY37" fmla="*/ 548730 h 1272549"/>
                    <a:gd name="connsiteX38" fmla="*/ 225784 w 866807"/>
                    <a:gd name="connsiteY38" fmla="*/ 591151 h 1272549"/>
                    <a:gd name="connsiteX39" fmla="*/ 216357 w 866807"/>
                    <a:gd name="connsiteY39" fmla="*/ 605291 h 1272549"/>
                    <a:gd name="connsiteX40" fmla="*/ 0 w 866807"/>
                    <a:gd name="connsiteY40" fmla="*/ 792625 h 1272549"/>
                    <a:gd name="connsiteX41" fmla="*/ 120155 w 866807"/>
                    <a:gd name="connsiteY41" fmla="*/ 1272549 h 1272549"/>
                    <a:gd name="connsiteX0" fmla="*/ 789846 w 789846"/>
                    <a:gd name="connsiteY0" fmla="*/ 204652 h 1272549"/>
                    <a:gd name="connsiteX1" fmla="*/ 733285 w 789846"/>
                    <a:gd name="connsiteY1" fmla="*/ 199938 h 1272549"/>
                    <a:gd name="connsiteX2" fmla="*/ 719145 w 789846"/>
                    <a:gd name="connsiteY2" fmla="*/ 195225 h 1272549"/>
                    <a:gd name="connsiteX3" fmla="*/ 700291 w 789846"/>
                    <a:gd name="connsiteY3" fmla="*/ 190512 h 1272549"/>
                    <a:gd name="connsiteX4" fmla="*/ 686151 w 789846"/>
                    <a:gd name="connsiteY4" fmla="*/ 185798 h 1272549"/>
                    <a:gd name="connsiteX5" fmla="*/ 577743 w 789846"/>
                    <a:gd name="connsiteY5" fmla="*/ 181085 h 1272549"/>
                    <a:gd name="connsiteX6" fmla="*/ 535322 w 789846"/>
                    <a:gd name="connsiteY6" fmla="*/ 162231 h 1272549"/>
                    <a:gd name="connsiteX7" fmla="*/ 521182 w 789846"/>
                    <a:gd name="connsiteY7" fmla="*/ 148091 h 1272549"/>
                    <a:gd name="connsiteX8" fmla="*/ 507042 w 789846"/>
                    <a:gd name="connsiteY8" fmla="*/ 143377 h 1272549"/>
                    <a:gd name="connsiteX9" fmla="*/ 492901 w 789846"/>
                    <a:gd name="connsiteY9" fmla="*/ 133951 h 1272549"/>
                    <a:gd name="connsiteX10" fmla="*/ 478761 w 789846"/>
                    <a:gd name="connsiteY10" fmla="*/ 129237 h 1272549"/>
                    <a:gd name="connsiteX11" fmla="*/ 450481 w 789846"/>
                    <a:gd name="connsiteY11" fmla="*/ 105670 h 1272549"/>
                    <a:gd name="connsiteX12" fmla="*/ 441054 w 789846"/>
                    <a:gd name="connsiteY12" fmla="*/ 77390 h 1272549"/>
                    <a:gd name="connsiteX13" fmla="*/ 436340 w 789846"/>
                    <a:gd name="connsiteY13" fmla="*/ 63250 h 1272549"/>
                    <a:gd name="connsiteX14" fmla="*/ 426914 w 789846"/>
                    <a:gd name="connsiteY14" fmla="*/ 49109 h 1272549"/>
                    <a:gd name="connsiteX15" fmla="*/ 422200 w 789846"/>
                    <a:gd name="connsiteY15" fmla="*/ 34969 h 1272549"/>
                    <a:gd name="connsiteX16" fmla="*/ 398633 w 789846"/>
                    <a:gd name="connsiteY16" fmla="*/ 6689 h 1272549"/>
                    <a:gd name="connsiteX17" fmla="*/ 384493 w 789846"/>
                    <a:gd name="connsiteY17" fmla="*/ 1975 h 1272549"/>
                    <a:gd name="connsiteX18" fmla="*/ 313792 w 789846"/>
                    <a:gd name="connsiteY18" fmla="*/ 6689 h 1272549"/>
                    <a:gd name="connsiteX19" fmla="*/ 332646 w 789846"/>
                    <a:gd name="connsiteY19" fmla="*/ 34969 h 1272549"/>
                    <a:gd name="connsiteX20" fmla="*/ 327932 w 789846"/>
                    <a:gd name="connsiteY20" fmla="*/ 77390 h 1272549"/>
                    <a:gd name="connsiteX21" fmla="*/ 313792 w 789846"/>
                    <a:gd name="connsiteY21" fmla="*/ 86817 h 1272549"/>
                    <a:gd name="connsiteX22" fmla="*/ 304365 w 789846"/>
                    <a:gd name="connsiteY22" fmla="*/ 100957 h 1272549"/>
                    <a:gd name="connsiteX23" fmla="*/ 299652 w 789846"/>
                    <a:gd name="connsiteY23" fmla="*/ 115097 h 1272549"/>
                    <a:gd name="connsiteX24" fmla="*/ 276085 w 789846"/>
                    <a:gd name="connsiteY24" fmla="*/ 143377 h 1272549"/>
                    <a:gd name="connsiteX25" fmla="*/ 261945 w 789846"/>
                    <a:gd name="connsiteY25" fmla="*/ 171658 h 1272549"/>
                    <a:gd name="connsiteX26" fmla="*/ 243091 w 789846"/>
                    <a:gd name="connsiteY26" fmla="*/ 199938 h 1272549"/>
                    <a:gd name="connsiteX27" fmla="*/ 233664 w 789846"/>
                    <a:gd name="connsiteY27" fmla="*/ 247072 h 1272549"/>
                    <a:gd name="connsiteX28" fmla="*/ 214811 w 789846"/>
                    <a:gd name="connsiteY28" fmla="*/ 275353 h 1272549"/>
                    <a:gd name="connsiteX29" fmla="*/ 205384 w 789846"/>
                    <a:gd name="connsiteY29" fmla="*/ 289493 h 1272549"/>
                    <a:gd name="connsiteX30" fmla="*/ 219524 w 789846"/>
                    <a:gd name="connsiteY30" fmla="*/ 360194 h 1272549"/>
                    <a:gd name="connsiteX31" fmla="*/ 228951 w 789846"/>
                    <a:gd name="connsiteY31" fmla="*/ 374334 h 1272549"/>
                    <a:gd name="connsiteX32" fmla="*/ 233664 w 789846"/>
                    <a:gd name="connsiteY32" fmla="*/ 388474 h 1272549"/>
                    <a:gd name="connsiteX33" fmla="*/ 210097 w 789846"/>
                    <a:gd name="connsiteY33" fmla="*/ 440322 h 1272549"/>
                    <a:gd name="connsiteX34" fmla="*/ 195957 w 789846"/>
                    <a:gd name="connsiteY34" fmla="*/ 449749 h 1272549"/>
                    <a:gd name="connsiteX35" fmla="*/ 177103 w 789846"/>
                    <a:gd name="connsiteY35" fmla="*/ 478029 h 1272549"/>
                    <a:gd name="connsiteX36" fmla="*/ 167677 w 789846"/>
                    <a:gd name="connsiteY36" fmla="*/ 515736 h 1272549"/>
                    <a:gd name="connsiteX37" fmla="*/ 158250 w 789846"/>
                    <a:gd name="connsiteY37" fmla="*/ 548730 h 1272549"/>
                    <a:gd name="connsiteX38" fmla="*/ 148823 w 789846"/>
                    <a:gd name="connsiteY38" fmla="*/ 591151 h 1272549"/>
                    <a:gd name="connsiteX39" fmla="*/ 139396 w 789846"/>
                    <a:gd name="connsiteY39" fmla="*/ 605291 h 1272549"/>
                    <a:gd name="connsiteX40" fmla="*/ 0 w 789846"/>
                    <a:gd name="connsiteY40" fmla="*/ 1100526 h 1272549"/>
                    <a:gd name="connsiteX41" fmla="*/ 43194 w 789846"/>
                    <a:gd name="connsiteY41" fmla="*/ 1272549 h 1272549"/>
                    <a:gd name="connsiteX0" fmla="*/ 862119 w 862119"/>
                    <a:gd name="connsiteY0" fmla="*/ 204652 h 1272549"/>
                    <a:gd name="connsiteX1" fmla="*/ 805558 w 862119"/>
                    <a:gd name="connsiteY1" fmla="*/ 199938 h 1272549"/>
                    <a:gd name="connsiteX2" fmla="*/ 791418 w 862119"/>
                    <a:gd name="connsiteY2" fmla="*/ 195225 h 1272549"/>
                    <a:gd name="connsiteX3" fmla="*/ 772564 w 862119"/>
                    <a:gd name="connsiteY3" fmla="*/ 190512 h 1272549"/>
                    <a:gd name="connsiteX4" fmla="*/ 758424 w 862119"/>
                    <a:gd name="connsiteY4" fmla="*/ 185798 h 1272549"/>
                    <a:gd name="connsiteX5" fmla="*/ 650016 w 862119"/>
                    <a:gd name="connsiteY5" fmla="*/ 181085 h 1272549"/>
                    <a:gd name="connsiteX6" fmla="*/ 607595 w 862119"/>
                    <a:gd name="connsiteY6" fmla="*/ 162231 h 1272549"/>
                    <a:gd name="connsiteX7" fmla="*/ 593455 w 862119"/>
                    <a:gd name="connsiteY7" fmla="*/ 148091 h 1272549"/>
                    <a:gd name="connsiteX8" fmla="*/ 579315 w 862119"/>
                    <a:gd name="connsiteY8" fmla="*/ 143377 h 1272549"/>
                    <a:gd name="connsiteX9" fmla="*/ 565174 w 862119"/>
                    <a:gd name="connsiteY9" fmla="*/ 133951 h 1272549"/>
                    <a:gd name="connsiteX10" fmla="*/ 551034 w 862119"/>
                    <a:gd name="connsiteY10" fmla="*/ 129237 h 1272549"/>
                    <a:gd name="connsiteX11" fmla="*/ 522754 w 862119"/>
                    <a:gd name="connsiteY11" fmla="*/ 105670 h 1272549"/>
                    <a:gd name="connsiteX12" fmla="*/ 513327 w 862119"/>
                    <a:gd name="connsiteY12" fmla="*/ 77390 h 1272549"/>
                    <a:gd name="connsiteX13" fmla="*/ 508613 w 862119"/>
                    <a:gd name="connsiteY13" fmla="*/ 63250 h 1272549"/>
                    <a:gd name="connsiteX14" fmla="*/ 499187 w 862119"/>
                    <a:gd name="connsiteY14" fmla="*/ 49109 h 1272549"/>
                    <a:gd name="connsiteX15" fmla="*/ 494473 w 862119"/>
                    <a:gd name="connsiteY15" fmla="*/ 34969 h 1272549"/>
                    <a:gd name="connsiteX16" fmla="*/ 470906 w 862119"/>
                    <a:gd name="connsiteY16" fmla="*/ 6689 h 1272549"/>
                    <a:gd name="connsiteX17" fmla="*/ 456766 w 862119"/>
                    <a:gd name="connsiteY17" fmla="*/ 1975 h 1272549"/>
                    <a:gd name="connsiteX18" fmla="*/ 386065 w 862119"/>
                    <a:gd name="connsiteY18" fmla="*/ 6689 h 1272549"/>
                    <a:gd name="connsiteX19" fmla="*/ 404919 w 862119"/>
                    <a:gd name="connsiteY19" fmla="*/ 34969 h 1272549"/>
                    <a:gd name="connsiteX20" fmla="*/ 400205 w 862119"/>
                    <a:gd name="connsiteY20" fmla="*/ 77390 h 1272549"/>
                    <a:gd name="connsiteX21" fmla="*/ 386065 w 862119"/>
                    <a:gd name="connsiteY21" fmla="*/ 86817 h 1272549"/>
                    <a:gd name="connsiteX22" fmla="*/ 376638 w 862119"/>
                    <a:gd name="connsiteY22" fmla="*/ 100957 h 1272549"/>
                    <a:gd name="connsiteX23" fmla="*/ 371925 w 862119"/>
                    <a:gd name="connsiteY23" fmla="*/ 115097 h 1272549"/>
                    <a:gd name="connsiteX24" fmla="*/ 348358 w 862119"/>
                    <a:gd name="connsiteY24" fmla="*/ 143377 h 1272549"/>
                    <a:gd name="connsiteX25" fmla="*/ 334218 w 862119"/>
                    <a:gd name="connsiteY25" fmla="*/ 171658 h 1272549"/>
                    <a:gd name="connsiteX26" fmla="*/ 315364 w 862119"/>
                    <a:gd name="connsiteY26" fmla="*/ 199938 h 1272549"/>
                    <a:gd name="connsiteX27" fmla="*/ 305937 w 862119"/>
                    <a:gd name="connsiteY27" fmla="*/ 247072 h 1272549"/>
                    <a:gd name="connsiteX28" fmla="*/ 287084 w 862119"/>
                    <a:gd name="connsiteY28" fmla="*/ 275353 h 1272549"/>
                    <a:gd name="connsiteX29" fmla="*/ 277657 w 862119"/>
                    <a:gd name="connsiteY29" fmla="*/ 289493 h 1272549"/>
                    <a:gd name="connsiteX30" fmla="*/ 291797 w 862119"/>
                    <a:gd name="connsiteY30" fmla="*/ 360194 h 1272549"/>
                    <a:gd name="connsiteX31" fmla="*/ 301224 w 862119"/>
                    <a:gd name="connsiteY31" fmla="*/ 374334 h 1272549"/>
                    <a:gd name="connsiteX32" fmla="*/ 305937 w 862119"/>
                    <a:gd name="connsiteY32" fmla="*/ 388474 h 1272549"/>
                    <a:gd name="connsiteX33" fmla="*/ 282370 w 862119"/>
                    <a:gd name="connsiteY33" fmla="*/ 440322 h 1272549"/>
                    <a:gd name="connsiteX34" fmla="*/ 268230 w 862119"/>
                    <a:gd name="connsiteY34" fmla="*/ 449749 h 1272549"/>
                    <a:gd name="connsiteX35" fmla="*/ 249376 w 862119"/>
                    <a:gd name="connsiteY35" fmla="*/ 478029 h 1272549"/>
                    <a:gd name="connsiteX36" fmla="*/ 239950 w 862119"/>
                    <a:gd name="connsiteY36" fmla="*/ 515736 h 1272549"/>
                    <a:gd name="connsiteX37" fmla="*/ 230523 w 862119"/>
                    <a:gd name="connsiteY37" fmla="*/ 548730 h 1272549"/>
                    <a:gd name="connsiteX38" fmla="*/ 221096 w 862119"/>
                    <a:gd name="connsiteY38" fmla="*/ 591151 h 1272549"/>
                    <a:gd name="connsiteX39" fmla="*/ 24 w 862119"/>
                    <a:gd name="connsiteY39" fmla="*/ 1009410 h 1272549"/>
                    <a:gd name="connsiteX40" fmla="*/ 72273 w 862119"/>
                    <a:gd name="connsiteY40" fmla="*/ 1100526 h 1272549"/>
                    <a:gd name="connsiteX41" fmla="*/ 115467 w 862119"/>
                    <a:gd name="connsiteY41" fmla="*/ 1272549 h 1272549"/>
                    <a:gd name="connsiteX0" fmla="*/ 862119 w 862119"/>
                    <a:gd name="connsiteY0" fmla="*/ 204652 h 1272549"/>
                    <a:gd name="connsiteX1" fmla="*/ 805558 w 862119"/>
                    <a:gd name="connsiteY1" fmla="*/ 199938 h 1272549"/>
                    <a:gd name="connsiteX2" fmla="*/ 791418 w 862119"/>
                    <a:gd name="connsiteY2" fmla="*/ 195225 h 1272549"/>
                    <a:gd name="connsiteX3" fmla="*/ 772564 w 862119"/>
                    <a:gd name="connsiteY3" fmla="*/ 190512 h 1272549"/>
                    <a:gd name="connsiteX4" fmla="*/ 758424 w 862119"/>
                    <a:gd name="connsiteY4" fmla="*/ 185798 h 1272549"/>
                    <a:gd name="connsiteX5" fmla="*/ 650016 w 862119"/>
                    <a:gd name="connsiteY5" fmla="*/ 181085 h 1272549"/>
                    <a:gd name="connsiteX6" fmla="*/ 607595 w 862119"/>
                    <a:gd name="connsiteY6" fmla="*/ 162231 h 1272549"/>
                    <a:gd name="connsiteX7" fmla="*/ 593455 w 862119"/>
                    <a:gd name="connsiteY7" fmla="*/ 148091 h 1272549"/>
                    <a:gd name="connsiteX8" fmla="*/ 579315 w 862119"/>
                    <a:gd name="connsiteY8" fmla="*/ 143377 h 1272549"/>
                    <a:gd name="connsiteX9" fmla="*/ 565174 w 862119"/>
                    <a:gd name="connsiteY9" fmla="*/ 133951 h 1272549"/>
                    <a:gd name="connsiteX10" fmla="*/ 551034 w 862119"/>
                    <a:gd name="connsiteY10" fmla="*/ 129237 h 1272549"/>
                    <a:gd name="connsiteX11" fmla="*/ 522754 w 862119"/>
                    <a:gd name="connsiteY11" fmla="*/ 105670 h 1272549"/>
                    <a:gd name="connsiteX12" fmla="*/ 513327 w 862119"/>
                    <a:gd name="connsiteY12" fmla="*/ 77390 h 1272549"/>
                    <a:gd name="connsiteX13" fmla="*/ 508613 w 862119"/>
                    <a:gd name="connsiteY13" fmla="*/ 63250 h 1272549"/>
                    <a:gd name="connsiteX14" fmla="*/ 499187 w 862119"/>
                    <a:gd name="connsiteY14" fmla="*/ 49109 h 1272549"/>
                    <a:gd name="connsiteX15" fmla="*/ 494473 w 862119"/>
                    <a:gd name="connsiteY15" fmla="*/ 34969 h 1272549"/>
                    <a:gd name="connsiteX16" fmla="*/ 470906 w 862119"/>
                    <a:gd name="connsiteY16" fmla="*/ 6689 h 1272549"/>
                    <a:gd name="connsiteX17" fmla="*/ 456766 w 862119"/>
                    <a:gd name="connsiteY17" fmla="*/ 1975 h 1272549"/>
                    <a:gd name="connsiteX18" fmla="*/ 386065 w 862119"/>
                    <a:gd name="connsiteY18" fmla="*/ 6689 h 1272549"/>
                    <a:gd name="connsiteX19" fmla="*/ 404919 w 862119"/>
                    <a:gd name="connsiteY19" fmla="*/ 34969 h 1272549"/>
                    <a:gd name="connsiteX20" fmla="*/ 400205 w 862119"/>
                    <a:gd name="connsiteY20" fmla="*/ 77390 h 1272549"/>
                    <a:gd name="connsiteX21" fmla="*/ 386065 w 862119"/>
                    <a:gd name="connsiteY21" fmla="*/ 86817 h 1272549"/>
                    <a:gd name="connsiteX22" fmla="*/ 376638 w 862119"/>
                    <a:gd name="connsiteY22" fmla="*/ 100957 h 1272549"/>
                    <a:gd name="connsiteX23" fmla="*/ 371925 w 862119"/>
                    <a:gd name="connsiteY23" fmla="*/ 115097 h 1272549"/>
                    <a:gd name="connsiteX24" fmla="*/ 348358 w 862119"/>
                    <a:gd name="connsiteY24" fmla="*/ 143377 h 1272549"/>
                    <a:gd name="connsiteX25" fmla="*/ 334218 w 862119"/>
                    <a:gd name="connsiteY25" fmla="*/ 171658 h 1272549"/>
                    <a:gd name="connsiteX26" fmla="*/ 315364 w 862119"/>
                    <a:gd name="connsiteY26" fmla="*/ 199938 h 1272549"/>
                    <a:gd name="connsiteX27" fmla="*/ 305937 w 862119"/>
                    <a:gd name="connsiteY27" fmla="*/ 247072 h 1272549"/>
                    <a:gd name="connsiteX28" fmla="*/ 287084 w 862119"/>
                    <a:gd name="connsiteY28" fmla="*/ 275353 h 1272549"/>
                    <a:gd name="connsiteX29" fmla="*/ 277657 w 862119"/>
                    <a:gd name="connsiteY29" fmla="*/ 289493 h 1272549"/>
                    <a:gd name="connsiteX30" fmla="*/ 291797 w 862119"/>
                    <a:gd name="connsiteY30" fmla="*/ 360194 h 1272549"/>
                    <a:gd name="connsiteX31" fmla="*/ 301224 w 862119"/>
                    <a:gd name="connsiteY31" fmla="*/ 374334 h 1272549"/>
                    <a:gd name="connsiteX32" fmla="*/ 305937 w 862119"/>
                    <a:gd name="connsiteY32" fmla="*/ 388474 h 1272549"/>
                    <a:gd name="connsiteX33" fmla="*/ 282370 w 862119"/>
                    <a:gd name="connsiteY33" fmla="*/ 440322 h 1272549"/>
                    <a:gd name="connsiteX34" fmla="*/ 268230 w 862119"/>
                    <a:gd name="connsiteY34" fmla="*/ 449749 h 1272549"/>
                    <a:gd name="connsiteX35" fmla="*/ 249376 w 862119"/>
                    <a:gd name="connsiteY35" fmla="*/ 478029 h 1272549"/>
                    <a:gd name="connsiteX36" fmla="*/ 239950 w 862119"/>
                    <a:gd name="connsiteY36" fmla="*/ 515736 h 1272549"/>
                    <a:gd name="connsiteX37" fmla="*/ 230523 w 862119"/>
                    <a:gd name="connsiteY37" fmla="*/ 548730 h 1272549"/>
                    <a:gd name="connsiteX38" fmla="*/ 67172 w 862119"/>
                    <a:gd name="connsiteY38" fmla="*/ 783589 h 1272549"/>
                    <a:gd name="connsiteX39" fmla="*/ 24 w 862119"/>
                    <a:gd name="connsiteY39" fmla="*/ 1009410 h 1272549"/>
                    <a:gd name="connsiteX40" fmla="*/ 72273 w 862119"/>
                    <a:gd name="connsiteY40" fmla="*/ 1100526 h 1272549"/>
                    <a:gd name="connsiteX41" fmla="*/ 115467 w 862119"/>
                    <a:gd name="connsiteY41" fmla="*/ 1272549 h 1272549"/>
                    <a:gd name="connsiteX0" fmla="*/ 862119 w 862119"/>
                    <a:gd name="connsiteY0" fmla="*/ 204652 h 1272549"/>
                    <a:gd name="connsiteX1" fmla="*/ 805558 w 862119"/>
                    <a:gd name="connsiteY1" fmla="*/ 199938 h 1272549"/>
                    <a:gd name="connsiteX2" fmla="*/ 791418 w 862119"/>
                    <a:gd name="connsiteY2" fmla="*/ 195225 h 1272549"/>
                    <a:gd name="connsiteX3" fmla="*/ 772564 w 862119"/>
                    <a:gd name="connsiteY3" fmla="*/ 190512 h 1272549"/>
                    <a:gd name="connsiteX4" fmla="*/ 758424 w 862119"/>
                    <a:gd name="connsiteY4" fmla="*/ 185798 h 1272549"/>
                    <a:gd name="connsiteX5" fmla="*/ 650016 w 862119"/>
                    <a:gd name="connsiteY5" fmla="*/ 181085 h 1272549"/>
                    <a:gd name="connsiteX6" fmla="*/ 607595 w 862119"/>
                    <a:gd name="connsiteY6" fmla="*/ 162231 h 1272549"/>
                    <a:gd name="connsiteX7" fmla="*/ 593455 w 862119"/>
                    <a:gd name="connsiteY7" fmla="*/ 148091 h 1272549"/>
                    <a:gd name="connsiteX8" fmla="*/ 579315 w 862119"/>
                    <a:gd name="connsiteY8" fmla="*/ 143377 h 1272549"/>
                    <a:gd name="connsiteX9" fmla="*/ 565174 w 862119"/>
                    <a:gd name="connsiteY9" fmla="*/ 133951 h 1272549"/>
                    <a:gd name="connsiteX10" fmla="*/ 551034 w 862119"/>
                    <a:gd name="connsiteY10" fmla="*/ 129237 h 1272549"/>
                    <a:gd name="connsiteX11" fmla="*/ 522754 w 862119"/>
                    <a:gd name="connsiteY11" fmla="*/ 105670 h 1272549"/>
                    <a:gd name="connsiteX12" fmla="*/ 513327 w 862119"/>
                    <a:gd name="connsiteY12" fmla="*/ 77390 h 1272549"/>
                    <a:gd name="connsiteX13" fmla="*/ 508613 w 862119"/>
                    <a:gd name="connsiteY13" fmla="*/ 63250 h 1272549"/>
                    <a:gd name="connsiteX14" fmla="*/ 499187 w 862119"/>
                    <a:gd name="connsiteY14" fmla="*/ 49109 h 1272549"/>
                    <a:gd name="connsiteX15" fmla="*/ 494473 w 862119"/>
                    <a:gd name="connsiteY15" fmla="*/ 34969 h 1272549"/>
                    <a:gd name="connsiteX16" fmla="*/ 470906 w 862119"/>
                    <a:gd name="connsiteY16" fmla="*/ 6689 h 1272549"/>
                    <a:gd name="connsiteX17" fmla="*/ 456766 w 862119"/>
                    <a:gd name="connsiteY17" fmla="*/ 1975 h 1272549"/>
                    <a:gd name="connsiteX18" fmla="*/ 386065 w 862119"/>
                    <a:gd name="connsiteY18" fmla="*/ 6689 h 1272549"/>
                    <a:gd name="connsiteX19" fmla="*/ 404919 w 862119"/>
                    <a:gd name="connsiteY19" fmla="*/ 34969 h 1272549"/>
                    <a:gd name="connsiteX20" fmla="*/ 400205 w 862119"/>
                    <a:gd name="connsiteY20" fmla="*/ 77390 h 1272549"/>
                    <a:gd name="connsiteX21" fmla="*/ 386065 w 862119"/>
                    <a:gd name="connsiteY21" fmla="*/ 86817 h 1272549"/>
                    <a:gd name="connsiteX22" fmla="*/ 376638 w 862119"/>
                    <a:gd name="connsiteY22" fmla="*/ 100957 h 1272549"/>
                    <a:gd name="connsiteX23" fmla="*/ 371925 w 862119"/>
                    <a:gd name="connsiteY23" fmla="*/ 115097 h 1272549"/>
                    <a:gd name="connsiteX24" fmla="*/ 348358 w 862119"/>
                    <a:gd name="connsiteY24" fmla="*/ 143377 h 1272549"/>
                    <a:gd name="connsiteX25" fmla="*/ 334218 w 862119"/>
                    <a:gd name="connsiteY25" fmla="*/ 171658 h 1272549"/>
                    <a:gd name="connsiteX26" fmla="*/ 315364 w 862119"/>
                    <a:gd name="connsiteY26" fmla="*/ 199938 h 1272549"/>
                    <a:gd name="connsiteX27" fmla="*/ 305937 w 862119"/>
                    <a:gd name="connsiteY27" fmla="*/ 247072 h 1272549"/>
                    <a:gd name="connsiteX28" fmla="*/ 287084 w 862119"/>
                    <a:gd name="connsiteY28" fmla="*/ 275353 h 1272549"/>
                    <a:gd name="connsiteX29" fmla="*/ 277657 w 862119"/>
                    <a:gd name="connsiteY29" fmla="*/ 289493 h 1272549"/>
                    <a:gd name="connsiteX30" fmla="*/ 291797 w 862119"/>
                    <a:gd name="connsiteY30" fmla="*/ 360194 h 1272549"/>
                    <a:gd name="connsiteX31" fmla="*/ 301224 w 862119"/>
                    <a:gd name="connsiteY31" fmla="*/ 374334 h 1272549"/>
                    <a:gd name="connsiteX32" fmla="*/ 305937 w 862119"/>
                    <a:gd name="connsiteY32" fmla="*/ 388474 h 1272549"/>
                    <a:gd name="connsiteX33" fmla="*/ 282370 w 862119"/>
                    <a:gd name="connsiteY33" fmla="*/ 440322 h 1272549"/>
                    <a:gd name="connsiteX34" fmla="*/ 268230 w 862119"/>
                    <a:gd name="connsiteY34" fmla="*/ 449749 h 1272549"/>
                    <a:gd name="connsiteX35" fmla="*/ 249376 w 862119"/>
                    <a:gd name="connsiteY35" fmla="*/ 478029 h 1272549"/>
                    <a:gd name="connsiteX36" fmla="*/ 239950 w 862119"/>
                    <a:gd name="connsiteY36" fmla="*/ 515736 h 1272549"/>
                    <a:gd name="connsiteX37" fmla="*/ 172802 w 862119"/>
                    <a:gd name="connsiteY37" fmla="*/ 702680 h 1272549"/>
                    <a:gd name="connsiteX38" fmla="*/ 67172 w 862119"/>
                    <a:gd name="connsiteY38" fmla="*/ 783589 h 1272549"/>
                    <a:gd name="connsiteX39" fmla="*/ 24 w 862119"/>
                    <a:gd name="connsiteY39" fmla="*/ 1009410 h 1272549"/>
                    <a:gd name="connsiteX40" fmla="*/ 72273 w 862119"/>
                    <a:gd name="connsiteY40" fmla="*/ 1100526 h 1272549"/>
                    <a:gd name="connsiteX41" fmla="*/ 115467 w 862119"/>
                    <a:gd name="connsiteY41" fmla="*/ 1272549 h 12725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</a:cxnLst>
                  <a:rect l="l" t="t" r="r" b="b"/>
                  <a:pathLst>
                    <a:path w="862119" h="1272549">
                      <a:moveTo>
                        <a:pt x="862119" y="204652"/>
                      </a:moveTo>
                      <a:cubicBezTo>
                        <a:pt x="843265" y="203081"/>
                        <a:pt x="824311" y="202438"/>
                        <a:pt x="805558" y="199938"/>
                      </a:cubicBezTo>
                      <a:cubicBezTo>
                        <a:pt x="800633" y="199281"/>
                        <a:pt x="796195" y="196590"/>
                        <a:pt x="791418" y="195225"/>
                      </a:cubicBezTo>
                      <a:cubicBezTo>
                        <a:pt x="785189" y="193445"/>
                        <a:pt x="778793" y="192292"/>
                        <a:pt x="772564" y="190512"/>
                      </a:cubicBezTo>
                      <a:cubicBezTo>
                        <a:pt x="767787" y="189147"/>
                        <a:pt x="763378" y="186179"/>
                        <a:pt x="758424" y="185798"/>
                      </a:cubicBezTo>
                      <a:cubicBezTo>
                        <a:pt x="722360" y="183024"/>
                        <a:pt x="686152" y="182656"/>
                        <a:pt x="650016" y="181085"/>
                      </a:cubicBezTo>
                      <a:cubicBezTo>
                        <a:pt x="629462" y="174234"/>
                        <a:pt x="622534" y="174681"/>
                        <a:pt x="607595" y="162231"/>
                      </a:cubicBezTo>
                      <a:cubicBezTo>
                        <a:pt x="602474" y="157964"/>
                        <a:pt x="599001" y="151789"/>
                        <a:pt x="593455" y="148091"/>
                      </a:cubicBezTo>
                      <a:cubicBezTo>
                        <a:pt x="589321" y="145335"/>
                        <a:pt x="583759" y="145599"/>
                        <a:pt x="579315" y="143377"/>
                      </a:cubicBezTo>
                      <a:cubicBezTo>
                        <a:pt x="574248" y="140844"/>
                        <a:pt x="570241" y="136484"/>
                        <a:pt x="565174" y="133951"/>
                      </a:cubicBezTo>
                      <a:cubicBezTo>
                        <a:pt x="560730" y="131729"/>
                        <a:pt x="555478" y="131459"/>
                        <a:pt x="551034" y="129237"/>
                      </a:cubicBezTo>
                      <a:cubicBezTo>
                        <a:pt x="537910" y="122675"/>
                        <a:pt x="533178" y="116094"/>
                        <a:pt x="522754" y="105670"/>
                      </a:cubicBezTo>
                      <a:lnTo>
                        <a:pt x="513327" y="77390"/>
                      </a:lnTo>
                      <a:cubicBezTo>
                        <a:pt x="511756" y="72677"/>
                        <a:pt x="511369" y="67384"/>
                        <a:pt x="508613" y="63250"/>
                      </a:cubicBezTo>
                      <a:cubicBezTo>
                        <a:pt x="505471" y="58536"/>
                        <a:pt x="501720" y="54176"/>
                        <a:pt x="499187" y="49109"/>
                      </a:cubicBezTo>
                      <a:cubicBezTo>
                        <a:pt x="496965" y="44665"/>
                        <a:pt x="496695" y="39413"/>
                        <a:pt x="494473" y="34969"/>
                      </a:cubicBezTo>
                      <a:cubicBezTo>
                        <a:pt x="490125" y="26274"/>
                        <a:pt x="478724" y="11901"/>
                        <a:pt x="470906" y="6689"/>
                      </a:cubicBezTo>
                      <a:cubicBezTo>
                        <a:pt x="466772" y="3933"/>
                        <a:pt x="461479" y="3546"/>
                        <a:pt x="456766" y="1975"/>
                      </a:cubicBezTo>
                      <a:cubicBezTo>
                        <a:pt x="433199" y="3546"/>
                        <a:pt x="405992" y="-5992"/>
                        <a:pt x="386065" y="6689"/>
                      </a:cubicBezTo>
                      <a:cubicBezTo>
                        <a:pt x="376507" y="12772"/>
                        <a:pt x="404919" y="34969"/>
                        <a:pt x="404919" y="34969"/>
                      </a:cubicBezTo>
                      <a:cubicBezTo>
                        <a:pt x="403348" y="49109"/>
                        <a:pt x="405067" y="64019"/>
                        <a:pt x="400205" y="77390"/>
                      </a:cubicBezTo>
                      <a:cubicBezTo>
                        <a:pt x="398269" y="82714"/>
                        <a:pt x="390071" y="82811"/>
                        <a:pt x="386065" y="86817"/>
                      </a:cubicBezTo>
                      <a:cubicBezTo>
                        <a:pt x="382059" y="90823"/>
                        <a:pt x="379780" y="96244"/>
                        <a:pt x="376638" y="100957"/>
                      </a:cubicBezTo>
                      <a:cubicBezTo>
                        <a:pt x="375067" y="105670"/>
                        <a:pt x="374147" y="110653"/>
                        <a:pt x="371925" y="115097"/>
                      </a:cubicBezTo>
                      <a:cubicBezTo>
                        <a:pt x="365363" y="128220"/>
                        <a:pt x="358781" y="132954"/>
                        <a:pt x="348358" y="143377"/>
                      </a:cubicBezTo>
                      <a:cubicBezTo>
                        <a:pt x="336510" y="178919"/>
                        <a:pt x="352491" y="135112"/>
                        <a:pt x="334218" y="171658"/>
                      </a:cubicBezTo>
                      <a:cubicBezTo>
                        <a:pt x="320577" y="198941"/>
                        <a:pt x="342166" y="173136"/>
                        <a:pt x="315364" y="199938"/>
                      </a:cubicBezTo>
                      <a:cubicBezTo>
                        <a:pt x="314771" y="203495"/>
                        <a:pt x="309455" y="240036"/>
                        <a:pt x="305937" y="247072"/>
                      </a:cubicBezTo>
                      <a:cubicBezTo>
                        <a:pt x="300870" y="257206"/>
                        <a:pt x="293368" y="265926"/>
                        <a:pt x="287084" y="275353"/>
                      </a:cubicBezTo>
                      <a:lnTo>
                        <a:pt x="277657" y="289493"/>
                      </a:lnTo>
                      <a:cubicBezTo>
                        <a:pt x="279478" y="302242"/>
                        <a:pt x="285184" y="350276"/>
                        <a:pt x="291797" y="360194"/>
                      </a:cubicBezTo>
                      <a:lnTo>
                        <a:pt x="301224" y="374334"/>
                      </a:lnTo>
                      <a:cubicBezTo>
                        <a:pt x="302795" y="379047"/>
                        <a:pt x="305937" y="383506"/>
                        <a:pt x="305937" y="388474"/>
                      </a:cubicBezTo>
                      <a:cubicBezTo>
                        <a:pt x="305937" y="404800"/>
                        <a:pt x="295860" y="431328"/>
                        <a:pt x="282370" y="440322"/>
                      </a:cubicBezTo>
                      <a:lnTo>
                        <a:pt x="268230" y="449749"/>
                      </a:lnTo>
                      <a:cubicBezTo>
                        <a:pt x="261945" y="459176"/>
                        <a:pt x="252124" y="467038"/>
                        <a:pt x="249376" y="478029"/>
                      </a:cubicBezTo>
                      <a:cubicBezTo>
                        <a:pt x="246234" y="490598"/>
                        <a:pt x="252712" y="478294"/>
                        <a:pt x="239950" y="515736"/>
                      </a:cubicBezTo>
                      <a:cubicBezTo>
                        <a:pt x="227188" y="553178"/>
                        <a:pt x="201598" y="658038"/>
                        <a:pt x="172802" y="702680"/>
                      </a:cubicBezTo>
                      <a:cubicBezTo>
                        <a:pt x="144006" y="747322"/>
                        <a:pt x="95968" y="732467"/>
                        <a:pt x="67172" y="783589"/>
                      </a:cubicBezTo>
                      <a:cubicBezTo>
                        <a:pt x="38376" y="834711"/>
                        <a:pt x="3166" y="1004697"/>
                        <a:pt x="24" y="1009410"/>
                      </a:cubicBezTo>
                      <a:cubicBezTo>
                        <a:pt x="-1547" y="1014123"/>
                        <a:pt x="72273" y="1095558"/>
                        <a:pt x="72273" y="1100526"/>
                      </a:cubicBezTo>
                      <a:cubicBezTo>
                        <a:pt x="72273" y="1119445"/>
                        <a:pt x="115467" y="1272549"/>
                        <a:pt x="115467" y="1272549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7" name="Forma livre 815"/>
                <p:cNvSpPr/>
                <p:nvPr/>
              </p:nvSpPr>
              <p:spPr>
                <a:xfrm>
                  <a:off x="4911365" y="1753386"/>
                  <a:ext cx="1060515" cy="1390453"/>
                </a:xfrm>
                <a:custGeom>
                  <a:avLst/>
                  <a:gdLst>
                    <a:gd name="connsiteX0" fmla="*/ 1060515 w 1060515"/>
                    <a:gd name="connsiteY0" fmla="*/ 0 h 1390453"/>
                    <a:gd name="connsiteX1" fmla="*/ 1036948 w 1060515"/>
                    <a:gd name="connsiteY1" fmla="*/ 14140 h 1390453"/>
                    <a:gd name="connsiteX2" fmla="*/ 1018095 w 1060515"/>
                    <a:gd name="connsiteY2" fmla="*/ 18853 h 1390453"/>
                    <a:gd name="connsiteX3" fmla="*/ 975674 w 1060515"/>
                    <a:gd name="connsiteY3" fmla="*/ 51847 h 1390453"/>
                    <a:gd name="connsiteX4" fmla="*/ 956821 w 1060515"/>
                    <a:gd name="connsiteY4" fmla="*/ 80127 h 1390453"/>
                    <a:gd name="connsiteX5" fmla="*/ 947394 w 1060515"/>
                    <a:gd name="connsiteY5" fmla="*/ 108408 h 1390453"/>
                    <a:gd name="connsiteX6" fmla="*/ 928540 w 1060515"/>
                    <a:gd name="connsiteY6" fmla="*/ 136688 h 1390453"/>
                    <a:gd name="connsiteX7" fmla="*/ 900260 w 1060515"/>
                    <a:gd name="connsiteY7" fmla="*/ 193249 h 1390453"/>
                    <a:gd name="connsiteX8" fmla="*/ 871979 w 1060515"/>
                    <a:gd name="connsiteY8" fmla="*/ 212103 h 1390453"/>
                    <a:gd name="connsiteX9" fmla="*/ 862553 w 1060515"/>
                    <a:gd name="connsiteY9" fmla="*/ 226243 h 1390453"/>
                    <a:gd name="connsiteX10" fmla="*/ 857839 w 1060515"/>
                    <a:gd name="connsiteY10" fmla="*/ 240383 h 1390453"/>
                    <a:gd name="connsiteX11" fmla="*/ 838986 w 1060515"/>
                    <a:gd name="connsiteY11" fmla="*/ 268663 h 1390453"/>
                    <a:gd name="connsiteX12" fmla="*/ 829559 w 1060515"/>
                    <a:gd name="connsiteY12" fmla="*/ 282804 h 1390453"/>
                    <a:gd name="connsiteX13" fmla="*/ 815419 w 1060515"/>
                    <a:gd name="connsiteY13" fmla="*/ 296944 h 1390453"/>
                    <a:gd name="connsiteX14" fmla="*/ 805992 w 1060515"/>
                    <a:gd name="connsiteY14" fmla="*/ 325224 h 1390453"/>
                    <a:gd name="connsiteX15" fmla="*/ 801278 w 1060515"/>
                    <a:gd name="connsiteY15" fmla="*/ 339365 h 1390453"/>
                    <a:gd name="connsiteX16" fmla="*/ 782425 w 1060515"/>
                    <a:gd name="connsiteY16" fmla="*/ 367645 h 1390453"/>
                    <a:gd name="connsiteX17" fmla="*/ 772998 w 1060515"/>
                    <a:gd name="connsiteY17" fmla="*/ 381785 h 1390453"/>
                    <a:gd name="connsiteX18" fmla="*/ 758858 w 1060515"/>
                    <a:gd name="connsiteY18" fmla="*/ 391212 h 1390453"/>
                    <a:gd name="connsiteX19" fmla="*/ 740004 w 1060515"/>
                    <a:gd name="connsiteY19" fmla="*/ 419492 h 1390453"/>
                    <a:gd name="connsiteX20" fmla="*/ 730577 w 1060515"/>
                    <a:gd name="connsiteY20" fmla="*/ 433633 h 1390453"/>
                    <a:gd name="connsiteX21" fmla="*/ 716437 w 1060515"/>
                    <a:gd name="connsiteY21" fmla="*/ 443059 h 1390453"/>
                    <a:gd name="connsiteX22" fmla="*/ 692870 w 1060515"/>
                    <a:gd name="connsiteY22" fmla="*/ 485480 h 1390453"/>
                    <a:gd name="connsiteX23" fmla="*/ 683443 w 1060515"/>
                    <a:gd name="connsiteY23" fmla="*/ 499620 h 1390453"/>
                    <a:gd name="connsiteX24" fmla="*/ 669303 w 1060515"/>
                    <a:gd name="connsiteY24" fmla="*/ 509047 h 1390453"/>
                    <a:gd name="connsiteX25" fmla="*/ 645736 w 1060515"/>
                    <a:gd name="connsiteY25" fmla="*/ 527901 h 1390453"/>
                    <a:gd name="connsiteX26" fmla="*/ 617456 w 1060515"/>
                    <a:gd name="connsiteY26" fmla="*/ 546754 h 1390453"/>
                    <a:gd name="connsiteX27" fmla="*/ 598602 w 1060515"/>
                    <a:gd name="connsiteY27" fmla="*/ 575035 h 1390453"/>
                    <a:gd name="connsiteX28" fmla="*/ 584462 w 1060515"/>
                    <a:gd name="connsiteY28" fmla="*/ 612742 h 1390453"/>
                    <a:gd name="connsiteX29" fmla="*/ 570322 w 1060515"/>
                    <a:gd name="connsiteY29" fmla="*/ 650449 h 1390453"/>
                    <a:gd name="connsiteX30" fmla="*/ 523188 w 1060515"/>
                    <a:gd name="connsiteY30" fmla="*/ 664589 h 1390453"/>
                    <a:gd name="connsiteX31" fmla="*/ 504334 w 1060515"/>
                    <a:gd name="connsiteY31" fmla="*/ 692870 h 1390453"/>
                    <a:gd name="connsiteX32" fmla="*/ 494907 w 1060515"/>
                    <a:gd name="connsiteY32" fmla="*/ 707010 h 1390453"/>
                    <a:gd name="connsiteX33" fmla="*/ 480767 w 1060515"/>
                    <a:gd name="connsiteY33" fmla="*/ 735290 h 1390453"/>
                    <a:gd name="connsiteX34" fmla="*/ 476054 w 1060515"/>
                    <a:gd name="connsiteY34" fmla="*/ 749430 h 1390453"/>
                    <a:gd name="connsiteX35" fmla="*/ 461913 w 1060515"/>
                    <a:gd name="connsiteY35" fmla="*/ 758857 h 1390453"/>
                    <a:gd name="connsiteX36" fmla="*/ 452487 w 1060515"/>
                    <a:gd name="connsiteY36" fmla="*/ 787138 h 1390453"/>
                    <a:gd name="connsiteX37" fmla="*/ 433633 w 1060515"/>
                    <a:gd name="connsiteY37" fmla="*/ 815418 h 1390453"/>
                    <a:gd name="connsiteX38" fmla="*/ 419493 w 1060515"/>
                    <a:gd name="connsiteY38" fmla="*/ 820132 h 1390453"/>
                    <a:gd name="connsiteX39" fmla="*/ 405353 w 1060515"/>
                    <a:gd name="connsiteY39" fmla="*/ 848412 h 1390453"/>
                    <a:gd name="connsiteX40" fmla="*/ 391212 w 1060515"/>
                    <a:gd name="connsiteY40" fmla="*/ 876692 h 1390453"/>
                    <a:gd name="connsiteX41" fmla="*/ 386499 w 1060515"/>
                    <a:gd name="connsiteY41" fmla="*/ 890833 h 1390453"/>
                    <a:gd name="connsiteX42" fmla="*/ 362932 w 1060515"/>
                    <a:gd name="connsiteY42" fmla="*/ 919113 h 1390453"/>
                    <a:gd name="connsiteX43" fmla="*/ 348792 w 1060515"/>
                    <a:gd name="connsiteY43" fmla="*/ 928540 h 1390453"/>
                    <a:gd name="connsiteX44" fmla="*/ 334651 w 1060515"/>
                    <a:gd name="connsiteY44" fmla="*/ 956820 h 1390453"/>
                    <a:gd name="connsiteX45" fmla="*/ 320511 w 1060515"/>
                    <a:gd name="connsiteY45" fmla="*/ 970960 h 1390453"/>
                    <a:gd name="connsiteX46" fmla="*/ 296944 w 1060515"/>
                    <a:gd name="connsiteY46" fmla="*/ 994527 h 1390453"/>
                    <a:gd name="connsiteX47" fmla="*/ 278091 w 1060515"/>
                    <a:gd name="connsiteY47" fmla="*/ 1022808 h 1390453"/>
                    <a:gd name="connsiteX48" fmla="*/ 263950 w 1060515"/>
                    <a:gd name="connsiteY48" fmla="*/ 1036948 h 1390453"/>
                    <a:gd name="connsiteX49" fmla="*/ 230957 w 1060515"/>
                    <a:gd name="connsiteY49" fmla="*/ 1074655 h 1390453"/>
                    <a:gd name="connsiteX50" fmla="*/ 197963 w 1060515"/>
                    <a:gd name="connsiteY50" fmla="*/ 1112362 h 1390453"/>
                    <a:gd name="connsiteX51" fmla="*/ 164969 w 1060515"/>
                    <a:gd name="connsiteY51" fmla="*/ 1154783 h 1390453"/>
                    <a:gd name="connsiteX52" fmla="*/ 155542 w 1060515"/>
                    <a:gd name="connsiteY52" fmla="*/ 1168923 h 1390453"/>
                    <a:gd name="connsiteX53" fmla="*/ 127262 w 1060515"/>
                    <a:gd name="connsiteY53" fmla="*/ 1187777 h 1390453"/>
                    <a:gd name="connsiteX54" fmla="*/ 108408 w 1060515"/>
                    <a:gd name="connsiteY54" fmla="*/ 1216057 h 1390453"/>
                    <a:gd name="connsiteX55" fmla="*/ 94268 w 1060515"/>
                    <a:gd name="connsiteY55" fmla="*/ 1230198 h 1390453"/>
                    <a:gd name="connsiteX56" fmla="*/ 61274 w 1060515"/>
                    <a:gd name="connsiteY56" fmla="*/ 1267905 h 1390453"/>
                    <a:gd name="connsiteX57" fmla="*/ 51847 w 1060515"/>
                    <a:gd name="connsiteY57" fmla="*/ 1282045 h 1390453"/>
                    <a:gd name="connsiteX58" fmla="*/ 37707 w 1060515"/>
                    <a:gd name="connsiteY58" fmla="*/ 1296185 h 1390453"/>
                    <a:gd name="connsiteX59" fmla="*/ 23567 w 1060515"/>
                    <a:gd name="connsiteY59" fmla="*/ 1338606 h 1390453"/>
                    <a:gd name="connsiteX60" fmla="*/ 18854 w 1060515"/>
                    <a:gd name="connsiteY60" fmla="*/ 1352746 h 1390453"/>
                    <a:gd name="connsiteX61" fmla="*/ 9427 w 1060515"/>
                    <a:gd name="connsiteY61" fmla="*/ 1366886 h 1390453"/>
                    <a:gd name="connsiteX62" fmla="*/ 4713 w 1060515"/>
                    <a:gd name="connsiteY62" fmla="*/ 1381026 h 1390453"/>
                    <a:gd name="connsiteX63" fmla="*/ 0 w 1060515"/>
                    <a:gd name="connsiteY63" fmla="*/ 1390453 h 139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1060515" h="1390453">
                      <a:moveTo>
                        <a:pt x="1060515" y="0"/>
                      </a:moveTo>
                      <a:cubicBezTo>
                        <a:pt x="1052659" y="4713"/>
                        <a:pt x="1045320" y="10419"/>
                        <a:pt x="1036948" y="14140"/>
                      </a:cubicBezTo>
                      <a:cubicBezTo>
                        <a:pt x="1031029" y="16771"/>
                        <a:pt x="1023889" y="15956"/>
                        <a:pt x="1018095" y="18853"/>
                      </a:cubicBezTo>
                      <a:cubicBezTo>
                        <a:pt x="1005135" y="25333"/>
                        <a:pt x="985549" y="39151"/>
                        <a:pt x="975674" y="51847"/>
                      </a:cubicBezTo>
                      <a:cubicBezTo>
                        <a:pt x="968718" y="60790"/>
                        <a:pt x="960404" y="69379"/>
                        <a:pt x="956821" y="80127"/>
                      </a:cubicBezTo>
                      <a:cubicBezTo>
                        <a:pt x="953679" y="89554"/>
                        <a:pt x="952906" y="100140"/>
                        <a:pt x="947394" y="108408"/>
                      </a:cubicBezTo>
                      <a:lnTo>
                        <a:pt x="928540" y="136688"/>
                      </a:lnTo>
                      <a:cubicBezTo>
                        <a:pt x="923163" y="152819"/>
                        <a:pt x="915923" y="182807"/>
                        <a:pt x="900260" y="193249"/>
                      </a:cubicBezTo>
                      <a:lnTo>
                        <a:pt x="871979" y="212103"/>
                      </a:lnTo>
                      <a:cubicBezTo>
                        <a:pt x="868837" y="216816"/>
                        <a:pt x="865086" y="221176"/>
                        <a:pt x="862553" y="226243"/>
                      </a:cubicBezTo>
                      <a:cubicBezTo>
                        <a:pt x="860331" y="230687"/>
                        <a:pt x="860252" y="236040"/>
                        <a:pt x="857839" y="240383"/>
                      </a:cubicBezTo>
                      <a:cubicBezTo>
                        <a:pt x="852337" y="250287"/>
                        <a:pt x="845270" y="259236"/>
                        <a:pt x="838986" y="268663"/>
                      </a:cubicBezTo>
                      <a:cubicBezTo>
                        <a:pt x="835844" y="273377"/>
                        <a:pt x="833565" y="278798"/>
                        <a:pt x="829559" y="282804"/>
                      </a:cubicBezTo>
                      <a:lnTo>
                        <a:pt x="815419" y="296944"/>
                      </a:lnTo>
                      <a:lnTo>
                        <a:pt x="805992" y="325224"/>
                      </a:lnTo>
                      <a:cubicBezTo>
                        <a:pt x="804421" y="329938"/>
                        <a:pt x="804034" y="335231"/>
                        <a:pt x="801278" y="339365"/>
                      </a:cubicBezTo>
                      <a:lnTo>
                        <a:pt x="782425" y="367645"/>
                      </a:lnTo>
                      <a:cubicBezTo>
                        <a:pt x="779283" y="372358"/>
                        <a:pt x="777711" y="378643"/>
                        <a:pt x="772998" y="381785"/>
                      </a:cubicBezTo>
                      <a:lnTo>
                        <a:pt x="758858" y="391212"/>
                      </a:lnTo>
                      <a:lnTo>
                        <a:pt x="740004" y="419492"/>
                      </a:lnTo>
                      <a:cubicBezTo>
                        <a:pt x="736862" y="424206"/>
                        <a:pt x="735291" y="430491"/>
                        <a:pt x="730577" y="433633"/>
                      </a:cubicBezTo>
                      <a:lnTo>
                        <a:pt x="716437" y="443059"/>
                      </a:lnTo>
                      <a:cubicBezTo>
                        <a:pt x="708142" y="467948"/>
                        <a:pt x="714480" y="453066"/>
                        <a:pt x="692870" y="485480"/>
                      </a:cubicBezTo>
                      <a:cubicBezTo>
                        <a:pt x="689728" y="490193"/>
                        <a:pt x="688156" y="496478"/>
                        <a:pt x="683443" y="499620"/>
                      </a:cubicBezTo>
                      <a:lnTo>
                        <a:pt x="669303" y="509047"/>
                      </a:lnTo>
                      <a:cubicBezTo>
                        <a:pt x="648220" y="540670"/>
                        <a:pt x="673056" y="509687"/>
                        <a:pt x="645736" y="527901"/>
                      </a:cubicBezTo>
                      <a:cubicBezTo>
                        <a:pt x="610434" y="551437"/>
                        <a:pt x="651075" y="535549"/>
                        <a:pt x="617456" y="546754"/>
                      </a:cubicBezTo>
                      <a:cubicBezTo>
                        <a:pt x="611171" y="556181"/>
                        <a:pt x="602810" y="564516"/>
                        <a:pt x="598602" y="575035"/>
                      </a:cubicBezTo>
                      <a:cubicBezTo>
                        <a:pt x="595716" y="582251"/>
                        <a:pt x="586926" y="602886"/>
                        <a:pt x="584462" y="612742"/>
                      </a:cubicBezTo>
                      <a:cubicBezTo>
                        <a:pt x="579966" y="630724"/>
                        <a:pt x="583252" y="637519"/>
                        <a:pt x="570322" y="650449"/>
                      </a:cubicBezTo>
                      <a:cubicBezTo>
                        <a:pt x="556032" y="664739"/>
                        <a:pt x="543954" y="661623"/>
                        <a:pt x="523188" y="664589"/>
                      </a:cubicBezTo>
                      <a:lnTo>
                        <a:pt x="504334" y="692870"/>
                      </a:lnTo>
                      <a:lnTo>
                        <a:pt x="494907" y="707010"/>
                      </a:lnTo>
                      <a:cubicBezTo>
                        <a:pt x="483061" y="742551"/>
                        <a:pt x="499041" y="698742"/>
                        <a:pt x="480767" y="735290"/>
                      </a:cubicBezTo>
                      <a:cubicBezTo>
                        <a:pt x="478545" y="739734"/>
                        <a:pt x="479158" y="745550"/>
                        <a:pt x="476054" y="749430"/>
                      </a:cubicBezTo>
                      <a:cubicBezTo>
                        <a:pt x="472515" y="753854"/>
                        <a:pt x="466627" y="755715"/>
                        <a:pt x="461913" y="758857"/>
                      </a:cubicBezTo>
                      <a:lnTo>
                        <a:pt x="452487" y="787138"/>
                      </a:lnTo>
                      <a:cubicBezTo>
                        <a:pt x="447546" y="801962"/>
                        <a:pt x="448763" y="805331"/>
                        <a:pt x="433633" y="815418"/>
                      </a:cubicBezTo>
                      <a:cubicBezTo>
                        <a:pt x="429499" y="818174"/>
                        <a:pt x="424206" y="818561"/>
                        <a:pt x="419493" y="820132"/>
                      </a:cubicBezTo>
                      <a:cubicBezTo>
                        <a:pt x="407644" y="855674"/>
                        <a:pt x="423627" y="811864"/>
                        <a:pt x="405353" y="848412"/>
                      </a:cubicBezTo>
                      <a:cubicBezTo>
                        <a:pt x="385843" y="887432"/>
                        <a:pt x="418222" y="836178"/>
                        <a:pt x="391212" y="876692"/>
                      </a:cubicBezTo>
                      <a:cubicBezTo>
                        <a:pt x="389641" y="881406"/>
                        <a:pt x="388721" y="886389"/>
                        <a:pt x="386499" y="890833"/>
                      </a:cubicBezTo>
                      <a:cubicBezTo>
                        <a:pt x="381203" y="901425"/>
                        <a:pt x="371866" y="911668"/>
                        <a:pt x="362932" y="919113"/>
                      </a:cubicBezTo>
                      <a:cubicBezTo>
                        <a:pt x="358580" y="922740"/>
                        <a:pt x="353505" y="925398"/>
                        <a:pt x="348792" y="928540"/>
                      </a:cubicBezTo>
                      <a:cubicBezTo>
                        <a:pt x="344067" y="942712"/>
                        <a:pt x="344803" y="944637"/>
                        <a:pt x="334651" y="956820"/>
                      </a:cubicBezTo>
                      <a:cubicBezTo>
                        <a:pt x="330384" y="961941"/>
                        <a:pt x="324778" y="965839"/>
                        <a:pt x="320511" y="970960"/>
                      </a:cubicBezTo>
                      <a:cubicBezTo>
                        <a:pt x="300872" y="994527"/>
                        <a:pt x="322867" y="977246"/>
                        <a:pt x="296944" y="994527"/>
                      </a:cubicBezTo>
                      <a:cubicBezTo>
                        <a:pt x="290660" y="1003954"/>
                        <a:pt x="286103" y="1014797"/>
                        <a:pt x="278091" y="1022808"/>
                      </a:cubicBezTo>
                      <a:cubicBezTo>
                        <a:pt x="273377" y="1027521"/>
                        <a:pt x="268043" y="1031686"/>
                        <a:pt x="263950" y="1036948"/>
                      </a:cubicBezTo>
                      <a:cubicBezTo>
                        <a:pt x="234339" y="1075019"/>
                        <a:pt x="258332" y="1056405"/>
                        <a:pt x="230957" y="1074655"/>
                      </a:cubicBezTo>
                      <a:cubicBezTo>
                        <a:pt x="208961" y="1107649"/>
                        <a:pt x="221530" y="1096652"/>
                        <a:pt x="197963" y="1112362"/>
                      </a:cubicBezTo>
                      <a:cubicBezTo>
                        <a:pt x="150314" y="1183835"/>
                        <a:pt x="201886" y="1110483"/>
                        <a:pt x="164969" y="1154783"/>
                      </a:cubicBezTo>
                      <a:cubicBezTo>
                        <a:pt x="161342" y="1159135"/>
                        <a:pt x="159805" y="1165193"/>
                        <a:pt x="155542" y="1168923"/>
                      </a:cubicBezTo>
                      <a:cubicBezTo>
                        <a:pt x="147016" y="1176384"/>
                        <a:pt x="127262" y="1187777"/>
                        <a:pt x="127262" y="1187777"/>
                      </a:cubicBezTo>
                      <a:cubicBezTo>
                        <a:pt x="120977" y="1197204"/>
                        <a:pt x="116419" y="1208046"/>
                        <a:pt x="108408" y="1216057"/>
                      </a:cubicBezTo>
                      <a:cubicBezTo>
                        <a:pt x="103695" y="1220771"/>
                        <a:pt x="98360" y="1224936"/>
                        <a:pt x="94268" y="1230198"/>
                      </a:cubicBezTo>
                      <a:cubicBezTo>
                        <a:pt x="64659" y="1268266"/>
                        <a:pt x="88647" y="1249656"/>
                        <a:pt x="61274" y="1267905"/>
                      </a:cubicBezTo>
                      <a:cubicBezTo>
                        <a:pt x="58132" y="1272618"/>
                        <a:pt x="55474" y="1277693"/>
                        <a:pt x="51847" y="1282045"/>
                      </a:cubicBezTo>
                      <a:cubicBezTo>
                        <a:pt x="47580" y="1287166"/>
                        <a:pt x="40944" y="1290358"/>
                        <a:pt x="37707" y="1296185"/>
                      </a:cubicBezTo>
                      <a:cubicBezTo>
                        <a:pt x="37705" y="1296188"/>
                        <a:pt x="25924" y="1331534"/>
                        <a:pt x="23567" y="1338606"/>
                      </a:cubicBezTo>
                      <a:cubicBezTo>
                        <a:pt x="21996" y="1343319"/>
                        <a:pt x="21610" y="1348612"/>
                        <a:pt x="18854" y="1352746"/>
                      </a:cubicBezTo>
                      <a:cubicBezTo>
                        <a:pt x="15712" y="1357459"/>
                        <a:pt x="11961" y="1361819"/>
                        <a:pt x="9427" y="1366886"/>
                      </a:cubicBezTo>
                      <a:cubicBezTo>
                        <a:pt x="7205" y="1371330"/>
                        <a:pt x="6558" y="1376413"/>
                        <a:pt x="4713" y="1381026"/>
                      </a:cubicBezTo>
                      <a:cubicBezTo>
                        <a:pt x="3408" y="1384288"/>
                        <a:pt x="1571" y="1387311"/>
                        <a:pt x="0" y="1390453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8" name="Forma livre 816"/>
                <p:cNvSpPr/>
                <p:nvPr/>
              </p:nvSpPr>
              <p:spPr>
                <a:xfrm>
                  <a:off x="3195687" y="3676454"/>
                  <a:ext cx="1550709" cy="254523"/>
                </a:xfrm>
                <a:custGeom>
                  <a:avLst/>
                  <a:gdLst>
                    <a:gd name="connsiteX0" fmla="*/ 0 w 1550709"/>
                    <a:gd name="connsiteY0" fmla="*/ 56560 h 254523"/>
                    <a:gd name="connsiteX1" fmla="*/ 9426 w 1550709"/>
                    <a:gd name="connsiteY1" fmla="*/ 32993 h 254523"/>
                    <a:gd name="connsiteX2" fmla="*/ 37707 w 1550709"/>
                    <a:gd name="connsiteY2" fmla="*/ 14140 h 254523"/>
                    <a:gd name="connsiteX3" fmla="*/ 65987 w 1550709"/>
                    <a:gd name="connsiteY3" fmla="*/ 0 h 254523"/>
                    <a:gd name="connsiteX4" fmla="*/ 98981 w 1550709"/>
                    <a:gd name="connsiteY4" fmla="*/ 4713 h 254523"/>
                    <a:gd name="connsiteX5" fmla="*/ 117835 w 1550709"/>
                    <a:gd name="connsiteY5" fmla="*/ 9426 h 254523"/>
                    <a:gd name="connsiteX6" fmla="*/ 131975 w 1550709"/>
                    <a:gd name="connsiteY6" fmla="*/ 14140 h 254523"/>
                    <a:gd name="connsiteX7" fmla="*/ 197962 w 1550709"/>
                    <a:gd name="connsiteY7" fmla="*/ 18853 h 254523"/>
                    <a:gd name="connsiteX8" fmla="*/ 212103 w 1550709"/>
                    <a:gd name="connsiteY8" fmla="*/ 23567 h 254523"/>
                    <a:gd name="connsiteX9" fmla="*/ 226243 w 1550709"/>
                    <a:gd name="connsiteY9" fmla="*/ 32993 h 254523"/>
                    <a:gd name="connsiteX10" fmla="*/ 254523 w 1550709"/>
                    <a:gd name="connsiteY10" fmla="*/ 42420 h 254523"/>
                    <a:gd name="connsiteX11" fmla="*/ 287517 w 1550709"/>
                    <a:gd name="connsiteY11" fmla="*/ 37707 h 254523"/>
                    <a:gd name="connsiteX12" fmla="*/ 315798 w 1550709"/>
                    <a:gd name="connsiteY12" fmla="*/ 9426 h 254523"/>
                    <a:gd name="connsiteX13" fmla="*/ 372358 w 1550709"/>
                    <a:gd name="connsiteY13" fmla="*/ 14140 h 254523"/>
                    <a:gd name="connsiteX14" fmla="*/ 391212 w 1550709"/>
                    <a:gd name="connsiteY14" fmla="*/ 18853 h 254523"/>
                    <a:gd name="connsiteX15" fmla="*/ 443059 w 1550709"/>
                    <a:gd name="connsiteY15" fmla="*/ 23567 h 254523"/>
                    <a:gd name="connsiteX16" fmla="*/ 471340 w 1550709"/>
                    <a:gd name="connsiteY16" fmla="*/ 42420 h 254523"/>
                    <a:gd name="connsiteX17" fmla="*/ 485480 w 1550709"/>
                    <a:gd name="connsiteY17" fmla="*/ 51847 h 254523"/>
                    <a:gd name="connsiteX18" fmla="*/ 499620 w 1550709"/>
                    <a:gd name="connsiteY18" fmla="*/ 56560 h 254523"/>
                    <a:gd name="connsiteX19" fmla="*/ 513760 w 1550709"/>
                    <a:gd name="connsiteY19" fmla="*/ 65987 h 254523"/>
                    <a:gd name="connsiteX20" fmla="*/ 565608 w 1550709"/>
                    <a:gd name="connsiteY20" fmla="*/ 75414 h 254523"/>
                    <a:gd name="connsiteX21" fmla="*/ 579748 w 1550709"/>
                    <a:gd name="connsiteY21" fmla="*/ 84841 h 254523"/>
                    <a:gd name="connsiteX22" fmla="*/ 688156 w 1550709"/>
                    <a:gd name="connsiteY22" fmla="*/ 94268 h 254523"/>
                    <a:gd name="connsiteX23" fmla="*/ 716437 w 1550709"/>
                    <a:gd name="connsiteY23" fmla="*/ 80127 h 254523"/>
                    <a:gd name="connsiteX24" fmla="*/ 763571 w 1550709"/>
                    <a:gd name="connsiteY24" fmla="*/ 70701 h 254523"/>
                    <a:gd name="connsiteX25" fmla="*/ 843699 w 1550709"/>
                    <a:gd name="connsiteY25" fmla="*/ 80127 h 254523"/>
                    <a:gd name="connsiteX26" fmla="*/ 857839 w 1550709"/>
                    <a:gd name="connsiteY26" fmla="*/ 89554 h 254523"/>
                    <a:gd name="connsiteX27" fmla="*/ 886119 w 1550709"/>
                    <a:gd name="connsiteY27" fmla="*/ 98981 h 254523"/>
                    <a:gd name="connsiteX28" fmla="*/ 994527 w 1550709"/>
                    <a:gd name="connsiteY28" fmla="*/ 94268 h 254523"/>
                    <a:gd name="connsiteX29" fmla="*/ 1022808 w 1550709"/>
                    <a:gd name="connsiteY29" fmla="*/ 84841 h 254523"/>
                    <a:gd name="connsiteX30" fmla="*/ 1036948 w 1550709"/>
                    <a:gd name="connsiteY30" fmla="*/ 80127 h 254523"/>
                    <a:gd name="connsiteX31" fmla="*/ 1069942 w 1550709"/>
                    <a:gd name="connsiteY31" fmla="*/ 70701 h 254523"/>
                    <a:gd name="connsiteX32" fmla="*/ 1220771 w 1550709"/>
                    <a:gd name="connsiteY32" fmla="*/ 84841 h 254523"/>
                    <a:gd name="connsiteX33" fmla="*/ 1277332 w 1550709"/>
                    <a:gd name="connsiteY33" fmla="*/ 103694 h 254523"/>
                    <a:gd name="connsiteX34" fmla="*/ 1291472 w 1550709"/>
                    <a:gd name="connsiteY34" fmla="*/ 108408 h 254523"/>
                    <a:gd name="connsiteX35" fmla="*/ 1305612 w 1550709"/>
                    <a:gd name="connsiteY35" fmla="*/ 113121 h 254523"/>
                    <a:gd name="connsiteX36" fmla="*/ 1319752 w 1550709"/>
                    <a:gd name="connsiteY36" fmla="*/ 127261 h 254523"/>
                    <a:gd name="connsiteX37" fmla="*/ 1329179 w 1550709"/>
                    <a:gd name="connsiteY37" fmla="*/ 141402 h 254523"/>
                    <a:gd name="connsiteX38" fmla="*/ 1385740 w 1550709"/>
                    <a:gd name="connsiteY38" fmla="*/ 146115 h 254523"/>
                    <a:gd name="connsiteX39" fmla="*/ 1395167 w 1550709"/>
                    <a:gd name="connsiteY39" fmla="*/ 160255 h 254523"/>
                    <a:gd name="connsiteX40" fmla="*/ 1399880 w 1550709"/>
                    <a:gd name="connsiteY40" fmla="*/ 174395 h 254523"/>
                    <a:gd name="connsiteX41" fmla="*/ 1414020 w 1550709"/>
                    <a:gd name="connsiteY41" fmla="*/ 188536 h 254523"/>
                    <a:gd name="connsiteX42" fmla="*/ 1475294 w 1550709"/>
                    <a:gd name="connsiteY42" fmla="*/ 212103 h 254523"/>
                    <a:gd name="connsiteX43" fmla="*/ 1489435 w 1550709"/>
                    <a:gd name="connsiteY43" fmla="*/ 216816 h 254523"/>
                    <a:gd name="connsiteX44" fmla="*/ 1508288 w 1550709"/>
                    <a:gd name="connsiteY44" fmla="*/ 221530 h 254523"/>
                    <a:gd name="connsiteX45" fmla="*/ 1522428 w 1550709"/>
                    <a:gd name="connsiteY45" fmla="*/ 230956 h 254523"/>
                    <a:gd name="connsiteX46" fmla="*/ 1536569 w 1550709"/>
                    <a:gd name="connsiteY46" fmla="*/ 245097 h 254523"/>
                    <a:gd name="connsiteX47" fmla="*/ 1550709 w 1550709"/>
                    <a:gd name="connsiteY47" fmla="*/ 254523 h 254523"/>
                    <a:gd name="connsiteX0" fmla="*/ 0 w 1550709"/>
                    <a:gd name="connsiteY0" fmla="*/ 56560 h 254523"/>
                    <a:gd name="connsiteX1" fmla="*/ 9426 w 1550709"/>
                    <a:gd name="connsiteY1" fmla="*/ 32993 h 254523"/>
                    <a:gd name="connsiteX2" fmla="*/ 37707 w 1550709"/>
                    <a:gd name="connsiteY2" fmla="*/ 14140 h 254523"/>
                    <a:gd name="connsiteX3" fmla="*/ 65987 w 1550709"/>
                    <a:gd name="connsiteY3" fmla="*/ 0 h 254523"/>
                    <a:gd name="connsiteX4" fmla="*/ 98981 w 1550709"/>
                    <a:gd name="connsiteY4" fmla="*/ 4713 h 254523"/>
                    <a:gd name="connsiteX5" fmla="*/ 117835 w 1550709"/>
                    <a:gd name="connsiteY5" fmla="*/ 9426 h 254523"/>
                    <a:gd name="connsiteX6" fmla="*/ 131975 w 1550709"/>
                    <a:gd name="connsiteY6" fmla="*/ 14140 h 254523"/>
                    <a:gd name="connsiteX7" fmla="*/ 197962 w 1550709"/>
                    <a:gd name="connsiteY7" fmla="*/ 18853 h 254523"/>
                    <a:gd name="connsiteX8" fmla="*/ 212103 w 1550709"/>
                    <a:gd name="connsiteY8" fmla="*/ 23567 h 254523"/>
                    <a:gd name="connsiteX9" fmla="*/ 226243 w 1550709"/>
                    <a:gd name="connsiteY9" fmla="*/ 32993 h 254523"/>
                    <a:gd name="connsiteX10" fmla="*/ 254523 w 1550709"/>
                    <a:gd name="connsiteY10" fmla="*/ 42420 h 254523"/>
                    <a:gd name="connsiteX11" fmla="*/ 287517 w 1550709"/>
                    <a:gd name="connsiteY11" fmla="*/ 37707 h 254523"/>
                    <a:gd name="connsiteX12" fmla="*/ 315798 w 1550709"/>
                    <a:gd name="connsiteY12" fmla="*/ 9426 h 254523"/>
                    <a:gd name="connsiteX13" fmla="*/ 372358 w 1550709"/>
                    <a:gd name="connsiteY13" fmla="*/ 14140 h 254523"/>
                    <a:gd name="connsiteX14" fmla="*/ 391212 w 1550709"/>
                    <a:gd name="connsiteY14" fmla="*/ 18853 h 254523"/>
                    <a:gd name="connsiteX15" fmla="*/ 443059 w 1550709"/>
                    <a:gd name="connsiteY15" fmla="*/ 23567 h 254523"/>
                    <a:gd name="connsiteX16" fmla="*/ 471340 w 1550709"/>
                    <a:gd name="connsiteY16" fmla="*/ 42420 h 254523"/>
                    <a:gd name="connsiteX17" fmla="*/ 485480 w 1550709"/>
                    <a:gd name="connsiteY17" fmla="*/ 51847 h 254523"/>
                    <a:gd name="connsiteX18" fmla="*/ 499620 w 1550709"/>
                    <a:gd name="connsiteY18" fmla="*/ 56560 h 254523"/>
                    <a:gd name="connsiteX19" fmla="*/ 513760 w 1550709"/>
                    <a:gd name="connsiteY19" fmla="*/ 65987 h 254523"/>
                    <a:gd name="connsiteX20" fmla="*/ 565608 w 1550709"/>
                    <a:gd name="connsiteY20" fmla="*/ 75414 h 254523"/>
                    <a:gd name="connsiteX21" fmla="*/ 617456 w 1550709"/>
                    <a:gd name="connsiteY21" fmla="*/ 75414 h 254523"/>
                    <a:gd name="connsiteX22" fmla="*/ 688156 w 1550709"/>
                    <a:gd name="connsiteY22" fmla="*/ 94268 h 254523"/>
                    <a:gd name="connsiteX23" fmla="*/ 716437 w 1550709"/>
                    <a:gd name="connsiteY23" fmla="*/ 80127 h 254523"/>
                    <a:gd name="connsiteX24" fmla="*/ 763571 w 1550709"/>
                    <a:gd name="connsiteY24" fmla="*/ 70701 h 254523"/>
                    <a:gd name="connsiteX25" fmla="*/ 843699 w 1550709"/>
                    <a:gd name="connsiteY25" fmla="*/ 80127 h 254523"/>
                    <a:gd name="connsiteX26" fmla="*/ 857839 w 1550709"/>
                    <a:gd name="connsiteY26" fmla="*/ 89554 h 254523"/>
                    <a:gd name="connsiteX27" fmla="*/ 886119 w 1550709"/>
                    <a:gd name="connsiteY27" fmla="*/ 98981 h 254523"/>
                    <a:gd name="connsiteX28" fmla="*/ 994527 w 1550709"/>
                    <a:gd name="connsiteY28" fmla="*/ 94268 h 254523"/>
                    <a:gd name="connsiteX29" fmla="*/ 1022808 w 1550709"/>
                    <a:gd name="connsiteY29" fmla="*/ 84841 h 254523"/>
                    <a:gd name="connsiteX30" fmla="*/ 1036948 w 1550709"/>
                    <a:gd name="connsiteY30" fmla="*/ 80127 h 254523"/>
                    <a:gd name="connsiteX31" fmla="*/ 1069942 w 1550709"/>
                    <a:gd name="connsiteY31" fmla="*/ 70701 h 254523"/>
                    <a:gd name="connsiteX32" fmla="*/ 1220771 w 1550709"/>
                    <a:gd name="connsiteY32" fmla="*/ 84841 h 254523"/>
                    <a:gd name="connsiteX33" fmla="*/ 1277332 w 1550709"/>
                    <a:gd name="connsiteY33" fmla="*/ 103694 h 254523"/>
                    <a:gd name="connsiteX34" fmla="*/ 1291472 w 1550709"/>
                    <a:gd name="connsiteY34" fmla="*/ 108408 h 254523"/>
                    <a:gd name="connsiteX35" fmla="*/ 1305612 w 1550709"/>
                    <a:gd name="connsiteY35" fmla="*/ 113121 h 254523"/>
                    <a:gd name="connsiteX36" fmla="*/ 1319752 w 1550709"/>
                    <a:gd name="connsiteY36" fmla="*/ 127261 h 254523"/>
                    <a:gd name="connsiteX37" fmla="*/ 1329179 w 1550709"/>
                    <a:gd name="connsiteY37" fmla="*/ 141402 h 254523"/>
                    <a:gd name="connsiteX38" fmla="*/ 1385740 w 1550709"/>
                    <a:gd name="connsiteY38" fmla="*/ 146115 h 254523"/>
                    <a:gd name="connsiteX39" fmla="*/ 1395167 w 1550709"/>
                    <a:gd name="connsiteY39" fmla="*/ 160255 h 254523"/>
                    <a:gd name="connsiteX40" fmla="*/ 1399880 w 1550709"/>
                    <a:gd name="connsiteY40" fmla="*/ 174395 h 254523"/>
                    <a:gd name="connsiteX41" fmla="*/ 1414020 w 1550709"/>
                    <a:gd name="connsiteY41" fmla="*/ 188536 h 254523"/>
                    <a:gd name="connsiteX42" fmla="*/ 1475294 w 1550709"/>
                    <a:gd name="connsiteY42" fmla="*/ 212103 h 254523"/>
                    <a:gd name="connsiteX43" fmla="*/ 1489435 w 1550709"/>
                    <a:gd name="connsiteY43" fmla="*/ 216816 h 254523"/>
                    <a:gd name="connsiteX44" fmla="*/ 1508288 w 1550709"/>
                    <a:gd name="connsiteY44" fmla="*/ 221530 h 254523"/>
                    <a:gd name="connsiteX45" fmla="*/ 1522428 w 1550709"/>
                    <a:gd name="connsiteY45" fmla="*/ 230956 h 254523"/>
                    <a:gd name="connsiteX46" fmla="*/ 1536569 w 1550709"/>
                    <a:gd name="connsiteY46" fmla="*/ 245097 h 254523"/>
                    <a:gd name="connsiteX47" fmla="*/ 1550709 w 1550709"/>
                    <a:gd name="connsiteY47" fmla="*/ 254523 h 254523"/>
                    <a:gd name="connsiteX0" fmla="*/ 0 w 1550709"/>
                    <a:gd name="connsiteY0" fmla="*/ 56560 h 254523"/>
                    <a:gd name="connsiteX1" fmla="*/ 9426 w 1550709"/>
                    <a:gd name="connsiteY1" fmla="*/ 32993 h 254523"/>
                    <a:gd name="connsiteX2" fmla="*/ 37707 w 1550709"/>
                    <a:gd name="connsiteY2" fmla="*/ 14140 h 254523"/>
                    <a:gd name="connsiteX3" fmla="*/ 65987 w 1550709"/>
                    <a:gd name="connsiteY3" fmla="*/ 0 h 254523"/>
                    <a:gd name="connsiteX4" fmla="*/ 98981 w 1550709"/>
                    <a:gd name="connsiteY4" fmla="*/ 4713 h 254523"/>
                    <a:gd name="connsiteX5" fmla="*/ 117835 w 1550709"/>
                    <a:gd name="connsiteY5" fmla="*/ 9426 h 254523"/>
                    <a:gd name="connsiteX6" fmla="*/ 131975 w 1550709"/>
                    <a:gd name="connsiteY6" fmla="*/ 14140 h 254523"/>
                    <a:gd name="connsiteX7" fmla="*/ 197962 w 1550709"/>
                    <a:gd name="connsiteY7" fmla="*/ 18853 h 254523"/>
                    <a:gd name="connsiteX8" fmla="*/ 212103 w 1550709"/>
                    <a:gd name="connsiteY8" fmla="*/ 23567 h 254523"/>
                    <a:gd name="connsiteX9" fmla="*/ 226243 w 1550709"/>
                    <a:gd name="connsiteY9" fmla="*/ 32993 h 254523"/>
                    <a:gd name="connsiteX10" fmla="*/ 254523 w 1550709"/>
                    <a:gd name="connsiteY10" fmla="*/ 42420 h 254523"/>
                    <a:gd name="connsiteX11" fmla="*/ 287517 w 1550709"/>
                    <a:gd name="connsiteY11" fmla="*/ 37707 h 254523"/>
                    <a:gd name="connsiteX12" fmla="*/ 315798 w 1550709"/>
                    <a:gd name="connsiteY12" fmla="*/ 9426 h 254523"/>
                    <a:gd name="connsiteX13" fmla="*/ 372358 w 1550709"/>
                    <a:gd name="connsiteY13" fmla="*/ 14140 h 254523"/>
                    <a:gd name="connsiteX14" fmla="*/ 391212 w 1550709"/>
                    <a:gd name="connsiteY14" fmla="*/ 18853 h 254523"/>
                    <a:gd name="connsiteX15" fmla="*/ 443059 w 1550709"/>
                    <a:gd name="connsiteY15" fmla="*/ 23567 h 254523"/>
                    <a:gd name="connsiteX16" fmla="*/ 471340 w 1550709"/>
                    <a:gd name="connsiteY16" fmla="*/ 42420 h 254523"/>
                    <a:gd name="connsiteX17" fmla="*/ 485480 w 1550709"/>
                    <a:gd name="connsiteY17" fmla="*/ 51847 h 254523"/>
                    <a:gd name="connsiteX18" fmla="*/ 499620 w 1550709"/>
                    <a:gd name="connsiteY18" fmla="*/ 56560 h 254523"/>
                    <a:gd name="connsiteX19" fmla="*/ 513760 w 1550709"/>
                    <a:gd name="connsiteY19" fmla="*/ 65987 h 254523"/>
                    <a:gd name="connsiteX20" fmla="*/ 565608 w 1550709"/>
                    <a:gd name="connsiteY20" fmla="*/ 75414 h 254523"/>
                    <a:gd name="connsiteX21" fmla="*/ 617456 w 1550709"/>
                    <a:gd name="connsiteY21" fmla="*/ 75414 h 254523"/>
                    <a:gd name="connsiteX22" fmla="*/ 688156 w 1550709"/>
                    <a:gd name="connsiteY22" fmla="*/ 94268 h 254523"/>
                    <a:gd name="connsiteX23" fmla="*/ 716437 w 1550709"/>
                    <a:gd name="connsiteY23" fmla="*/ 80127 h 254523"/>
                    <a:gd name="connsiteX24" fmla="*/ 763571 w 1550709"/>
                    <a:gd name="connsiteY24" fmla="*/ 70701 h 254523"/>
                    <a:gd name="connsiteX25" fmla="*/ 843699 w 1550709"/>
                    <a:gd name="connsiteY25" fmla="*/ 80127 h 254523"/>
                    <a:gd name="connsiteX26" fmla="*/ 857839 w 1550709"/>
                    <a:gd name="connsiteY26" fmla="*/ 89554 h 254523"/>
                    <a:gd name="connsiteX27" fmla="*/ 886119 w 1550709"/>
                    <a:gd name="connsiteY27" fmla="*/ 98981 h 254523"/>
                    <a:gd name="connsiteX28" fmla="*/ 994527 w 1550709"/>
                    <a:gd name="connsiteY28" fmla="*/ 94268 h 254523"/>
                    <a:gd name="connsiteX29" fmla="*/ 1022808 w 1550709"/>
                    <a:gd name="connsiteY29" fmla="*/ 84841 h 254523"/>
                    <a:gd name="connsiteX30" fmla="*/ 1036948 w 1550709"/>
                    <a:gd name="connsiteY30" fmla="*/ 80127 h 254523"/>
                    <a:gd name="connsiteX31" fmla="*/ 1069942 w 1550709"/>
                    <a:gd name="connsiteY31" fmla="*/ 70701 h 254523"/>
                    <a:gd name="connsiteX32" fmla="*/ 1220771 w 1550709"/>
                    <a:gd name="connsiteY32" fmla="*/ 84841 h 254523"/>
                    <a:gd name="connsiteX33" fmla="*/ 1277332 w 1550709"/>
                    <a:gd name="connsiteY33" fmla="*/ 103694 h 254523"/>
                    <a:gd name="connsiteX34" fmla="*/ 1291472 w 1550709"/>
                    <a:gd name="connsiteY34" fmla="*/ 108408 h 254523"/>
                    <a:gd name="connsiteX35" fmla="*/ 1305612 w 1550709"/>
                    <a:gd name="connsiteY35" fmla="*/ 113121 h 254523"/>
                    <a:gd name="connsiteX36" fmla="*/ 1319752 w 1550709"/>
                    <a:gd name="connsiteY36" fmla="*/ 127261 h 254523"/>
                    <a:gd name="connsiteX37" fmla="*/ 1329179 w 1550709"/>
                    <a:gd name="connsiteY37" fmla="*/ 141402 h 254523"/>
                    <a:gd name="connsiteX38" fmla="*/ 1385740 w 1550709"/>
                    <a:gd name="connsiteY38" fmla="*/ 146115 h 254523"/>
                    <a:gd name="connsiteX39" fmla="*/ 1395167 w 1550709"/>
                    <a:gd name="connsiteY39" fmla="*/ 160255 h 254523"/>
                    <a:gd name="connsiteX40" fmla="*/ 1399880 w 1550709"/>
                    <a:gd name="connsiteY40" fmla="*/ 174395 h 254523"/>
                    <a:gd name="connsiteX41" fmla="*/ 1414020 w 1550709"/>
                    <a:gd name="connsiteY41" fmla="*/ 188536 h 254523"/>
                    <a:gd name="connsiteX42" fmla="*/ 1475294 w 1550709"/>
                    <a:gd name="connsiteY42" fmla="*/ 212103 h 254523"/>
                    <a:gd name="connsiteX43" fmla="*/ 1489435 w 1550709"/>
                    <a:gd name="connsiteY43" fmla="*/ 216816 h 254523"/>
                    <a:gd name="connsiteX44" fmla="*/ 1508288 w 1550709"/>
                    <a:gd name="connsiteY44" fmla="*/ 221530 h 254523"/>
                    <a:gd name="connsiteX45" fmla="*/ 1522428 w 1550709"/>
                    <a:gd name="connsiteY45" fmla="*/ 230956 h 254523"/>
                    <a:gd name="connsiteX46" fmla="*/ 1536569 w 1550709"/>
                    <a:gd name="connsiteY46" fmla="*/ 245097 h 254523"/>
                    <a:gd name="connsiteX47" fmla="*/ 1550709 w 1550709"/>
                    <a:gd name="connsiteY47" fmla="*/ 254523 h 254523"/>
                    <a:gd name="connsiteX0" fmla="*/ 0 w 1550709"/>
                    <a:gd name="connsiteY0" fmla="*/ 56560 h 254523"/>
                    <a:gd name="connsiteX1" fmla="*/ 9426 w 1550709"/>
                    <a:gd name="connsiteY1" fmla="*/ 32993 h 254523"/>
                    <a:gd name="connsiteX2" fmla="*/ 37707 w 1550709"/>
                    <a:gd name="connsiteY2" fmla="*/ 14140 h 254523"/>
                    <a:gd name="connsiteX3" fmla="*/ 65987 w 1550709"/>
                    <a:gd name="connsiteY3" fmla="*/ 0 h 254523"/>
                    <a:gd name="connsiteX4" fmla="*/ 98981 w 1550709"/>
                    <a:gd name="connsiteY4" fmla="*/ 4713 h 254523"/>
                    <a:gd name="connsiteX5" fmla="*/ 117835 w 1550709"/>
                    <a:gd name="connsiteY5" fmla="*/ 9426 h 254523"/>
                    <a:gd name="connsiteX6" fmla="*/ 131975 w 1550709"/>
                    <a:gd name="connsiteY6" fmla="*/ 14140 h 254523"/>
                    <a:gd name="connsiteX7" fmla="*/ 197962 w 1550709"/>
                    <a:gd name="connsiteY7" fmla="*/ 18853 h 254523"/>
                    <a:gd name="connsiteX8" fmla="*/ 212103 w 1550709"/>
                    <a:gd name="connsiteY8" fmla="*/ 23567 h 254523"/>
                    <a:gd name="connsiteX9" fmla="*/ 226243 w 1550709"/>
                    <a:gd name="connsiteY9" fmla="*/ 32993 h 254523"/>
                    <a:gd name="connsiteX10" fmla="*/ 254523 w 1550709"/>
                    <a:gd name="connsiteY10" fmla="*/ 42420 h 254523"/>
                    <a:gd name="connsiteX11" fmla="*/ 287517 w 1550709"/>
                    <a:gd name="connsiteY11" fmla="*/ 37707 h 254523"/>
                    <a:gd name="connsiteX12" fmla="*/ 315798 w 1550709"/>
                    <a:gd name="connsiteY12" fmla="*/ 9426 h 254523"/>
                    <a:gd name="connsiteX13" fmla="*/ 372358 w 1550709"/>
                    <a:gd name="connsiteY13" fmla="*/ 14140 h 254523"/>
                    <a:gd name="connsiteX14" fmla="*/ 391212 w 1550709"/>
                    <a:gd name="connsiteY14" fmla="*/ 18853 h 254523"/>
                    <a:gd name="connsiteX15" fmla="*/ 443059 w 1550709"/>
                    <a:gd name="connsiteY15" fmla="*/ 23567 h 254523"/>
                    <a:gd name="connsiteX16" fmla="*/ 471340 w 1550709"/>
                    <a:gd name="connsiteY16" fmla="*/ 42420 h 254523"/>
                    <a:gd name="connsiteX17" fmla="*/ 485480 w 1550709"/>
                    <a:gd name="connsiteY17" fmla="*/ 51847 h 254523"/>
                    <a:gd name="connsiteX18" fmla="*/ 499620 w 1550709"/>
                    <a:gd name="connsiteY18" fmla="*/ 56560 h 254523"/>
                    <a:gd name="connsiteX19" fmla="*/ 513760 w 1550709"/>
                    <a:gd name="connsiteY19" fmla="*/ 65987 h 254523"/>
                    <a:gd name="connsiteX20" fmla="*/ 565608 w 1550709"/>
                    <a:gd name="connsiteY20" fmla="*/ 75414 h 254523"/>
                    <a:gd name="connsiteX21" fmla="*/ 617456 w 1550709"/>
                    <a:gd name="connsiteY21" fmla="*/ 75414 h 254523"/>
                    <a:gd name="connsiteX22" fmla="*/ 688156 w 1550709"/>
                    <a:gd name="connsiteY22" fmla="*/ 94268 h 254523"/>
                    <a:gd name="connsiteX23" fmla="*/ 716437 w 1550709"/>
                    <a:gd name="connsiteY23" fmla="*/ 80127 h 254523"/>
                    <a:gd name="connsiteX24" fmla="*/ 763571 w 1550709"/>
                    <a:gd name="connsiteY24" fmla="*/ 70701 h 254523"/>
                    <a:gd name="connsiteX25" fmla="*/ 843699 w 1550709"/>
                    <a:gd name="connsiteY25" fmla="*/ 80127 h 254523"/>
                    <a:gd name="connsiteX26" fmla="*/ 857839 w 1550709"/>
                    <a:gd name="connsiteY26" fmla="*/ 89554 h 254523"/>
                    <a:gd name="connsiteX27" fmla="*/ 886119 w 1550709"/>
                    <a:gd name="connsiteY27" fmla="*/ 98981 h 254523"/>
                    <a:gd name="connsiteX28" fmla="*/ 994527 w 1550709"/>
                    <a:gd name="connsiteY28" fmla="*/ 94268 h 254523"/>
                    <a:gd name="connsiteX29" fmla="*/ 1022808 w 1550709"/>
                    <a:gd name="connsiteY29" fmla="*/ 84841 h 254523"/>
                    <a:gd name="connsiteX30" fmla="*/ 1036948 w 1550709"/>
                    <a:gd name="connsiteY30" fmla="*/ 80127 h 254523"/>
                    <a:gd name="connsiteX31" fmla="*/ 1131216 w 1550709"/>
                    <a:gd name="connsiteY31" fmla="*/ 56561 h 254523"/>
                    <a:gd name="connsiteX32" fmla="*/ 1220771 w 1550709"/>
                    <a:gd name="connsiteY32" fmla="*/ 84841 h 254523"/>
                    <a:gd name="connsiteX33" fmla="*/ 1277332 w 1550709"/>
                    <a:gd name="connsiteY33" fmla="*/ 103694 h 254523"/>
                    <a:gd name="connsiteX34" fmla="*/ 1291472 w 1550709"/>
                    <a:gd name="connsiteY34" fmla="*/ 108408 h 254523"/>
                    <a:gd name="connsiteX35" fmla="*/ 1305612 w 1550709"/>
                    <a:gd name="connsiteY35" fmla="*/ 113121 h 254523"/>
                    <a:gd name="connsiteX36" fmla="*/ 1319752 w 1550709"/>
                    <a:gd name="connsiteY36" fmla="*/ 127261 h 254523"/>
                    <a:gd name="connsiteX37" fmla="*/ 1329179 w 1550709"/>
                    <a:gd name="connsiteY37" fmla="*/ 141402 h 254523"/>
                    <a:gd name="connsiteX38" fmla="*/ 1385740 w 1550709"/>
                    <a:gd name="connsiteY38" fmla="*/ 146115 h 254523"/>
                    <a:gd name="connsiteX39" fmla="*/ 1395167 w 1550709"/>
                    <a:gd name="connsiteY39" fmla="*/ 160255 h 254523"/>
                    <a:gd name="connsiteX40" fmla="*/ 1399880 w 1550709"/>
                    <a:gd name="connsiteY40" fmla="*/ 174395 h 254523"/>
                    <a:gd name="connsiteX41" fmla="*/ 1414020 w 1550709"/>
                    <a:gd name="connsiteY41" fmla="*/ 188536 h 254523"/>
                    <a:gd name="connsiteX42" fmla="*/ 1475294 w 1550709"/>
                    <a:gd name="connsiteY42" fmla="*/ 212103 h 254523"/>
                    <a:gd name="connsiteX43" fmla="*/ 1489435 w 1550709"/>
                    <a:gd name="connsiteY43" fmla="*/ 216816 h 254523"/>
                    <a:gd name="connsiteX44" fmla="*/ 1508288 w 1550709"/>
                    <a:gd name="connsiteY44" fmla="*/ 221530 h 254523"/>
                    <a:gd name="connsiteX45" fmla="*/ 1522428 w 1550709"/>
                    <a:gd name="connsiteY45" fmla="*/ 230956 h 254523"/>
                    <a:gd name="connsiteX46" fmla="*/ 1536569 w 1550709"/>
                    <a:gd name="connsiteY46" fmla="*/ 245097 h 254523"/>
                    <a:gd name="connsiteX47" fmla="*/ 1550709 w 1550709"/>
                    <a:gd name="connsiteY47" fmla="*/ 254523 h 2545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550709" h="254523">
                      <a:moveTo>
                        <a:pt x="0" y="56560"/>
                      </a:moveTo>
                      <a:cubicBezTo>
                        <a:pt x="3142" y="48704"/>
                        <a:pt x="3805" y="39317"/>
                        <a:pt x="9426" y="32993"/>
                      </a:cubicBezTo>
                      <a:cubicBezTo>
                        <a:pt x="16953" y="24525"/>
                        <a:pt x="28280" y="20424"/>
                        <a:pt x="37707" y="14140"/>
                      </a:cubicBezTo>
                      <a:cubicBezTo>
                        <a:pt x="55983" y="1956"/>
                        <a:pt x="46471" y="6505"/>
                        <a:pt x="65987" y="0"/>
                      </a:cubicBezTo>
                      <a:cubicBezTo>
                        <a:pt x="76985" y="1571"/>
                        <a:pt x="88051" y="2726"/>
                        <a:pt x="98981" y="4713"/>
                      </a:cubicBezTo>
                      <a:cubicBezTo>
                        <a:pt x="105355" y="5872"/>
                        <a:pt x="111606" y="7646"/>
                        <a:pt x="117835" y="9426"/>
                      </a:cubicBezTo>
                      <a:cubicBezTo>
                        <a:pt x="122612" y="10791"/>
                        <a:pt x="127041" y="13559"/>
                        <a:pt x="131975" y="14140"/>
                      </a:cubicBezTo>
                      <a:cubicBezTo>
                        <a:pt x="153876" y="16717"/>
                        <a:pt x="175966" y="17282"/>
                        <a:pt x="197962" y="18853"/>
                      </a:cubicBezTo>
                      <a:cubicBezTo>
                        <a:pt x="202676" y="20424"/>
                        <a:pt x="207659" y="21345"/>
                        <a:pt x="212103" y="23567"/>
                      </a:cubicBezTo>
                      <a:cubicBezTo>
                        <a:pt x="217170" y="26100"/>
                        <a:pt x="221067" y="30692"/>
                        <a:pt x="226243" y="32993"/>
                      </a:cubicBezTo>
                      <a:cubicBezTo>
                        <a:pt x="235323" y="37029"/>
                        <a:pt x="254523" y="42420"/>
                        <a:pt x="254523" y="42420"/>
                      </a:cubicBezTo>
                      <a:cubicBezTo>
                        <a:pt x="265521" y="40849"/>
                        <a:pt x="277735" y="42974"/>
                        <a:pt x="287517" y="37707"/>
                      </a:cubicBezTo>
                      <a:cubicBezTo>
                        <a:pt x="299255" y="31386"/>
                        <a:pt x="315798" y="9426"/>
                        <a:pt x="315798" y="9426"/>
                      </a:cubicBezTo>
                      <a:cubicBezTo>
                        <a:pt x="334651" y="10997"/>
                        <a:pt x="353585" y="11793"/>
                        <a:pt x="372358" y="14140"/>
                      </a:cubicBezTo>
                      <a:cubicBezTo>
                        <a:pt x="378786" y="14944"/>
                        <a:pt x="384791" y="17997"/>
                        <a:pt x="391212" y="18853"/>
                      </a:cubicBezTo>
                      <a:cubicBezTo>
                        <a:pt x="408413" y="21147"/>
                        <a:pt x="425777" y="21996"/>
                        <a:pt x="443059" y="23567"/>
                      </a:cubicBezTo>
                      <a:lnTo>
                        <a:pt x="471340" y="42420"/>
                      </a:lnTo>
                      <a:cubicBezTo>
                        <a:pt x="476053" y="45562"/>
                        <a:pt x="480106" y="50056"/>
                        <a:pt x="485480" y="51847"/>
                      </a:cubicBezTo>
                      <a:lnTo>
                        <a:pt x="499620" y="56560"/>
                      </a:lnTo>
                      <a:cubicBezTo>
                        <a:pt x="504333" y="59702"/>
                        <a:pt x="508693" y="63454"/>
                        <a:pt x="513760" y="65987"/>
                      </a:cubicBezTo>
                      <a:cubicBezTo>
                        <a:pt x="528293" y="73254"/>
                        <a:pt x="552605" y="73789"/>
                        <a:pt x="565608" y="75414"/>
                      </a:cubicBezTo>
                      <a:cubicBezTo>
                        <a:pt x="570321" y="78556"/>
                        <a:pt x="611996" y="73903"/>
                        <a:pt x="617456" y="75414"/>
                      </a:cubicBezTo>
                      <a:cubicBezTo>
                        <a:pt x="679562" y="92605"/>
                        <a:pt x="554828" y="100934"/>
                        <a:pt x="688156" y="94268"/>
                      </a:cubicBezTo>
                      <a:cubicBezTo>
                        <a:pt x="723704" y="82418"/>
                        <a:pt x="679884" y="98404"/>
                        <a:pt x="716437" y="80127"/>
                      </a:cubicBezTo>
                      <a:cubicBezTo>
                        <a:pt x="729598" y="73546"/>
                        <a:pt x="751415" y="72437"/>
                        <a:pt x="763571" y="70701"/>
                      </a:cubicBezTo>
                      <a:cubicBezTo>
                        <a:pt x="773986" y="71445"/>
                        <a:pt x="822275" y="69416"/>
                        <a:pt x="843699" y="80127"/>
                      </a:cubicBezTo>
                      <a:cubicBezTo>
                        <a:pt x="848766" y="82660"/>
                        <a:pt x="852662" y="87253"/>
                        <a:pt x="857839" y="89554"/>
                      </a:cubicBezTo>
                      <a:cubicBezTo>
                        <a:pt x="866919" y="93590"/>
                        <a:pt x="886119" y="98981"/>
                        <a:pt x="886119" y="98981"/>
                      </a:cubicBezTo>
                      <a:cubicBezTo>
                        <a:pt x="922255" y="97410"/>
                        <a:pt x="958549" y="97990"/>
                        <a:pt x="994527" y="94268"/>
                      </a:cubicBezTo>
                      <a:cubicBezTo>
                        <a:pt x="1004411" y="93246"/>
                        <a:pt x="1013381" y="87983"/>
                        <a:pt x="1022808" y="84841"/>
                      </a:cubicBezTo>
                      <a:cubicBezTo>
                        <a:pt x="1027521" y="83270"/>
                        <a:pt x="1018880" y="84840"/>
                        <a:pt x="1036948" y="80127"/>
                      </a:cubicBezTo>
                      <a:cubicBezTo>
                        <a:pt x="1055016" y="75414"/>
                        <a:pt x="1110930" y="63322"/>
                        <a:pt x="1131216" y="56561"/>
                      </a:cubicBezTo>
                      <a:cubicBezTo>
                        <a:pt x="1263701" y="61656"/>
                        <a:pt x="1196418" y="76986"/>
                        <a:pt x="1220771" y="84841"/>
                      </a:cubicBezTo>
                      <a:cubicBezTo>
                        <a:pt x="1245124" y="92697"/>
                        <a:pt x="1258478" y="97410"/>
                        <a:pt x="1277332" y="103694"/>
                      </a:cubicBezTo>
                      <a:lnTo>
                        <a:pt x="1291472" y="108408"/>
                      </a:lnTo>
                      <a:lnTo>
                        <a:pt x="1305612" y="113121"/>
                      </a:lnTo>
                      <a:cubicBezTo>
                        <a:pt x="1310325" y="117834"/>
                        <a:pt x="1315485" y="122140"/>
                        <a:pt x="1319752" y="127261"/>
                      </a:cubicBezTo>
                      <a:cubicBezTo>
                        <a:pt x="1323379" y="131613"/>
                        <a:pt x="1323732" y="139846"/>
                        <a:pt x="1329179" y="141402"/>
                      </a:cubicBezTo>
                      <a:cubicBezTo>
                        <a:pt x="1347370" y="146600"/>
                        <a:pt x="1366886" y="144544"/>
                        <a:pt x="1385740" y="146115"/>
                      </a:cubicBezTo>
                      <a:cubicBezTo>
                        <a:pt x="1388882" y="150828"/>
                        <a:pt x="1392634" y="155188"/>
                        <a:pt x="1395167" y="160255"/>
                      </a:cubicBezTo>
                      <a:cubicBezTo>
                        <a:pt x="1397389" y="164699"/>
                        <a:pt x="1397124" y="170261"/>
                        <a:pt x="1399880" y="174395"/>
                      </a:cubicBezTo>
                      <a:cubicBezTo>
                        <a:pt x="1403577" y="179941"/>
                        <a:pt x="1408758" y="184444"/>
                        <a:pt x="1414020" y="188536"/>
                      </a:cubicBezTo>
                      <a:cubicBezTo>
                        <a:pt x="1444976" y="212613"/>
                        <a:pt x="1437527" y="206707"/>
                        <a:pt x="1475294" y="212103"/>
                      </a:cubicBezTo>
                      <a:cubicBezTo>
                        <a:pt x="1480008" y="213674"/>
                        <a:pt x="1484658" y="215451"/>
                        <a:pt x="1489435" y="216816"/>
                      </a:cubicBezTo>
                      <a:cubicBezTo>
                        <a:pt x="1495664" y="218596"/>
                        <a:pt x="1502334" y="218978"/>
                        <a:pt x="1508288" y="221530"/>
                      </a:cubicBezTo>
                      <a:cubicBezTo>
                        <a:pt x="1513495" y="223761"/>
                        <a:pt x="1518076" y="227330"/>
                        <a:pt x="1522428" y="230956"/>
                      </a:cubicBezTo>
                      <a:cubicBezTo>
                        <a:pt x="1527549" y="235223"/>
                        <a:pt x="1531448" y="240830"/>
                        <a:pt x="1536569" y="245097"/>
                      </a:cubicBezTo>
                      <a:cubicBezTo>
                        <a:pt x="1540921" y="248723"/>
                        <a:pt x="1550709" y="254523"/>
                        <a:pt x="1550709" y="254523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69" name="Forma livre 817"/>
                <p:cNvSpPr/>
                <p:nvPr/>
              </p:nvSpPr>
              <p:spPr>
                <a:xfrm>
                  <a:off x="4732256" y="3921551"/>
                  <a:ext cx="193249" cy="0"/>
                </a:xfrm>
                <a:custGeom>
                  <a:avLst/>
                  <a:gdLst>
                    <a:gd name="connsiteX0" fmla="*/ 0 w 193249"/>
                    <a:gd name="connsiteY0" fmla="*/ 0 h 0"/>
                    <a:gd name="connsiteX1" fmla="*/ 193249 w 193249"/>
                    <a:gd name="connsiteY1" fmla="*/ 0 h 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3249">
                      <a:moveTo>
                        <a:pt x="0" y="0"/>
                      </a:moveTo>
                      <a:lnTo>
                        <a:pt x="193249" y="0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0" name="Forma livre 818"/>
                <p:cNvSpPr/>
                <p:nvPr/>
              </p:nvSpPr>
              <p:spPr>
                <a:xfrm>
                  <a:off x="4916078" y="3761295"/>
                  <a:ext cx="589176" cy="164969"/>
                </a:xfrm>
                <a:custGeom>
                  <a:avLst/>
                  <a:gdLst>
                    <a:gd name="connsiteX0" fmla="*/ 0 w 589176"/>
                    <a:gd name="connsiteY0" fmla="*/ 164969 h 164969"/>
                    <a:gd name="connsiteX1" fmla="*/ 23567 w 589176"/>
                    <a:gd name="connsiteY1" fmla="*/ 155542 h 164969"/>
                    <a:gd name="connsiteX2" fmla="*/ 70701 w 589176"/>
                    <a:gd name="connsiteY2" fmla="*/ 131975 h 164969"/>
                    <a:gd name="connsiteX3" fmla="*/ 136689 w 589176"/>
                    <a:gd name="connsiteY3" fmla="*/ 136689 h 164969"/>
                    <a:gd name="connsiteX4" fmla="*/ 169683 w 589176"/>
                    <a:gd name="connsiteY4" fmla="*/ 155542 h 164969"/>
                    <a:gd name="connsiteX5" fmla="*/ 202677 w 589176"/>
                    <a:gd name="connsiteY5" fmla="*/ 141402 h 164969"/>
                    <a:gd name="connsiteX6" fmla="*/ 207390 w 589176"/>
                    <a:gd name="connsiteY6" fmla="*/ 127262 h 164969"/>
                    <a:gd name="connsiteX7" fmla="*/ 212103 w 589176"/>
                    <a:gd name="connsiteY7" fmla="*/ 103695 h 164969"/>
                    <a:gd name="connsiteX8" fmla="*/ 287518 w 589176"/>
                    <a:gd name="connsiteY8" fmla="*/ 89554 h 164969"/>
                    <a:gd name="connsiteX9" fmla="*/ 301658 w 589176"/>
                    <a:gd name="connsiteY9" fmla="*/ 80128 h 164969"/>
                    <a:gd name="connsiteX10" fmla="*/ 315798 w 589176"/>
                    <a:gd name="connsiteY10" fmla="*/ 65987 h 164969"/>
                    <a:gd name="connsiteX11" fmla="*/ 344079 w 589176"/>
                    <a:gd name="connsiteY11" fmla="*/ 56561 h 164969"/>
                    <a:gd name="connsiteX12" fmla="*/ 391213 w 589176"/>
                    <a:gd name="connsiteY12" fmla="*/ 47134 h 164969"/>
                    <a:gd name="connsiteX13" fmla="*/ 405353 w 589176"/>
                    <a:gd name="connsiteY13" fmla="*/ 42420 h 164969"/>
                    <a:gd name="connsiteX14" fmla="*/ 457200 w 589176"/>
                    <a:gd name="connsiteY14" fmla="*/ 32994 h 164969"/>
                    <a:gd name="connsiteX15" fmla="*/ 476054 w 589176"/>
                    <a:gd name="connsiteY15" fmla="*/ 37707 h 164969"/>
                    <a:gd name="connsiteX16" fmla="*/ 490194 w 589176"/>
                    <a:gd name="connsiteY16" fmla="*/ 47134 h 164969"/>
                    <a:gd name="connsiteX17" fmla="*/ 504334 w 589176"/>
                    <a:gd name="connsiteY17" fmla="*/ 51847 h 164969"/>
                    <a:gd name="connsiteX18" fmla="*/ 513761 w 589176"/>
                    <a:gd name="connsiteY18" fmla="*/ 37707 h 164969"/>
                    <a:gd name="connsiteX19" fmla="*/ 518475 w 589176"/>
                    <a:gd name="connsiteY19" fmla="*/ 9427 h 164969"/>
                    <a:gd name="connsiteX20" fmla="*/ 546755 w 589176"/>
                    <a:gd name="connsiteY20" fmla="*/ 0 h 164969"/>
                    <a:gd name="connsiteX21" fmla="*/ 589176 w 589176"/>
                    <a:gd name="connsiteY21" fmla="*/ 4713 h 1649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89176" h="164969">
                      <a:moveTo>
                        <a:pt x="0" y="164969"/>
                      </a:moveTo>
                      <a:cubicBezTo>
                        <a:pt x="7856" y="161827"/>
                        <a:pt x="16139" y="159593"/>
                        <a:pt x="23567" y="155542"/>
                      </a:cubicBezTo>
                      <a:cubicBezTo>
                        <a:pt x="71052" y="129642"/>
                        <a:pt x="32959" y="141412"/>
                        <a:pt x="70701" y="131975"/>
                      </a:cubicBezTo>
                      <a:cubicBezTo>
                        <a:pt x="92697" y="133546"/>
                        <a:pt x="114937" y="133064"/>
                        <a:pt x="136689" y="136689"/>
                      </a:cubicBezTo>
                      <a:cubicBezTo>
                        <a:pt x="144666" y="138018"/>
                        <a:pt x="162551" y="150787"/>
                        <a:pt x="169683" y="155542"/>
                      </a:cubicBezTo>
                      <a:cubicBezTo>
                        <a:pt x="181004" y="152712"/>
                        <a:pt x="194539" y="151574"/>
                        <a:pt x="202677" y="141402"/>
                      </a:cubicBezTo>
                      <a:cubicBezTo>
                        <a:pt x="205781" y="137522"/>
                        <a:pt x="206185" y="132082"/>
                        <a:pt x="207390" y="127262"/>
                      </a:cubicBezTo>
                      <a:cubicBezTo>
                        <a:pt x="209333" y="119490"/>
                        <a:pt x="206438" y="109360"/>
                        <a:pt x="212103" y="103695"/>
                      </a:cubicBezTo>
                      <a:cubicBezTo>
                        <a:pt x="223318" y="92480"/>
                        <a:pt x="281416" y="90164"/>
                        <a:pt x="287518" y="89554"/>
                      </a:cubicBezTo>
                      <a:cubicBezTo>
                        <a:pt x="292231" y="86412"/>
                        <a:pt x="297306" y="83754"/>
                        <a:pt x="301658" y="80128"/>
                      </a:cubicBezTo>
                      <a:cubicBezTo>
                        <a:pt x="306779" y="75861"/>
                        <a:pt x="309971" y="69224"/>
                        <a:pt x="315798" y="65987"/>
                      </a:cubicBezTo>
                      <a:cubicBezTo>
                        <a:pt x="324484" y="61161"/>
                        <a:pt x="334652" y="59703"/>
                        <a:pt x="344079" y="56561"/>
                      </a:cubicBezTo>
                      <a:cubicBezTo>
                        <a:pt x="368766" y="48332"/>
                        <a:pt x="353285" y="52552"/>
                        <a:pt x="391213" y="47134"/>
                      </a:cubicBezTo>
                      <a:cubicBezTo>
                        <a:pt x="395926" y="45563"/>
                        <a:pt x="400533" y="43625"/>
                        <a:pt x="405353" y="42420"/>
                      </a:cubicBezTo>
                      <a:cubicBezTo>
                        <a:pt x="418523" y="39127"/>
                        <a:pt x="444599" y="35094"/>
                        <a:pt x="457200" y="32994"/>
                      </a:cubicBezTo>
                      <a:cubicBezTo>
                        <a:pt x="463485" y="34565"/>
                        <a:pt x="470100" y="35155"/>
                        <a:pt x="476054" y="37707"/>
                      </a:cubicBezTo>
                      <a:cubicBezTo>
                        <a:pt x="481261" y="39938"/>
                        <a:pt x="485127" y="44601"/>
                        <a:pt x="490194" y="47134"/>
                      </a:cubicBezTo>
                      <a:cubicBezTo>
                        <a:pt x="494638" y="49356"/>
                        <a:pt x="499621" y="50276"/>
                        <a:pt x="504334" y="51847"/>
                      </a:cubicBezTo>
                      <a:cubicBezTo>
                        <a:pt x="507476" y="47134"/>
                        <a:pt x="511970" y="43081"/>
                        <a:pt x="513761" y="37707"/>
                      </a:cubicBezTo>
                      <a:cubicBezTo>
                        <a:pt x="516783" y="28641"/>
                        <a:pt x="512182" y="16619"/>
                        <a:pt x="518475" y="9427"/>
                      </a:cubicBezTo>
                      <a:cubicBezTo>
                        <a:pt x="525018" y="1949"/>
                        <a:pt x="546755" y="0"/>
                        <a:pt x="546755" y="0"/>
                      </a:cubicBezTo>
                      <a:lnTo>
                        <a:pt x="589176" y="4713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1" name="Forma livre 819"/>
                <p:cNvSpPr/>
                <p:nvPr/>
              </p:nvSpPr>
              <p:spPr>
                <a:xfrm>
                  <a:off x="5495827" y="3756581"/>
                  <a:ext cx="315798" cy="70726"/>
                </a:xfrm>
                <a:custGeom>
                  <a:avLst/>
                  <a:gdLst>
                    <a:gd name="connsiteX0" fmla="*/ 0 w 315798"/>
                    <a:gd name="connsiteY0" fmla="*/ 4714 h 70726"/>
                    <a:gd name="connsiteX1" fmla="*/ 28280 w 315798"/>
                    <a:gd name="connsiteY1" fmla="*/ 9427 h 70726"/>
                    <a:gd name="connsiteX2" fmla="*/ 32994 w 315798"/>
                    <a:gd name="connsiteY2" fmla="*/ 23567 h 70726"/>
                    <a:gd name="connsiteX3" fmla="*/ 47134 w 315798"/>
                    <a:gd name="connsiteY3" fmla="*/ 28281 h 70726"/>
                    <a:gd name="connsiteX4" fmla="*/ 94268 w 315798"/>
                    <a:gd name="connsiteY4" fmla="*/ 23567 h 70726"/>
                    <a:gd name="connsiteX5" fmla="*/ 108408 w 315798"/>
                    <a:gd name="connsiteY5" fmla="*/ 14141 h 70726"/>
                    <a:gd name="connsiteX6" fmla="*/ 136688 w 315798"/>
                    <a:gd name="connsiteY6" fmla="*/ 4714 h 70726"/>
                    <a:gd name="connsiteX7" fmla="*/ 150829 w 315798"/>
                    <a:gd name="connsiteY7" fmla="*/ 0 h 70726"/>
                    <a:gd name="connsiteX8" fmla="*/ 221530 w 315798"/>
                    <a:gd name="connsiteY8" fmla="*/ 4714 h 70726"/>
                    <a:gd name="connsiteX9" fmla="*/ 235670 w 315798"/>
                    <a:gd name="connsiteY9" fmla="*/ 9427 h 70726"/>
                    <a:gd name="connsiteX10" fmla="*/ 240383 w 315798"/>
                    <a:gd name="connsiteY10" fmla="*/ 23567 h 70726"/>
                    <a:gd name="connsiteX11" fmla="*/ 254524 w 315798"/>
                    <a:gd name="connsiteY11" fmla="*/ 37708 h 70726"/>
                    <a:gd name="connsiteX12" fmla="*/ 263950 w 315798"/>
                    <a:gd name="connsiteY12" fmla="*/ 51848 h 70726"/>
                    <a:gd name="connsiteX13" fmla="*/ 278091 w 315798"/>
                    <a:gd name="connsiteY13" fmla="*/ 61275 h 70726"/>
                    <a:gd name="connsiteX14" fmla="*/ 315798 w 315798"/>
                    <a:gd name="connsiteY14" fmla="*/ 70701 h 707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15798" h="70726">
                      <a:moveTo>
                        <a:pt x="0" y="4714"/>
                      </a:moveTo>
                      <a:cubicBezTo>
                        <a:pt x="9427" y="6285"/>
                        <a:pt x="19982" y="4686"/>
                        <a:pt x="28280" y="9427"/>
                      </a:cubicBezTo>
                      <a:cubicBezTo>
                        <a:pt x="32594" y="11892"/>
                        <a:pt x="29481" y="20054"/>
                        <a:pt x="32994" y="23567"/>
                      </a:cubicBezTo>
                      <a:cubicBezTo>
                        <a:pt x="36507" y="27080"/>
                        <a:pt x="42421" y="26710"/>
                        <a:pt x="47134" y="28281"/>
                      </a:cubicBezTo>
                      <a:cubicBezTo>
                        <a:pt x="62845" y="26710"/>
                        <a:pt x="78883" y="27117"/>
                        <a:pt x="94268" y="23567"/>
                      </a:cubicBezTo>
                      <a:cubicBezTo>
                        <a:pt x="99788" y="22293"/>
                        <a:pt x="103232" y="16442"/>
                        <a:pt x="108408" y="14141"/>
                      </a:cubicBezTo>
                      <a:cubicBezTo>
                        <a:pt x="117488" y="10105"/>
                        <a:pt x="127261" y="7856"/>
                        <a:pt x="136688" y="4714"/>
                      </a:cubicBezTo>
                      <a:lnTo>
                        <a:pt x="150829" y="0"/>
                      </a:lnTo>
                      <a:cubicBezTo>
                        <a:pt x="174396" y="1571"/>
                        <a:pt x="198055" y="2106"/>
                        <a:pt x="221530" y="4714"/>
                      </a:cubicBezTo>
                      <a:cubicBezTo>
                        <a:pt x="226468" y="5263"/>
                        <a:pt x="232157" y="5914"/>
                        <a:pt x="235670" y="9427"/>
                      </a:cubicBezTo>
                      <a:cubicBezTo>
                        <a:pt x="239183" y="12940"/>
                        <a:pt x="237627" y="19433"/>
                        <a:pt x="240383" y="23567"/>
                      </a:cubicBezTo>
                      <a:cubicBezTo>
                        <a:pt x="244081" y="29114"/>
                        <a:pt x="250257" y="32587"/>
                        <a:pt x="254524" y="37708"/>
                      </a:cubicBezTo>
                      <a:cubicBezTo>
                        <a:pt x="258150" y="42060"/>
                        <a:pt x="259945" y="47843"/>
                        <a:pt x="263950" y="51848"/>
                      </a:cubicBezTo>
                      <a:cubicBezTo>
                        <a:pt x="267956" y="55854"/>
                        <a:pt x="272914" y="58974"/>
                        <a:pt x="278091" y="61275"/>
                      </a:cubicBezTo>
                      <a:cubicBezTo>
                        <a:pt x="301536" y="71695"/>
                        <a:pt x="298906" y="70701"/>
                        <a:pt x="315798" y="7070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2" name="Forma livre 820"/>
                <p:cNvSpPr/>
                <p:nvPr/>
              </p:nvSpPr>
              <p:spPr>
                <a:xfrm>
                  <a:off x="5806911" y="3826702"/>
                  <a:ext cx="98982" cy="28861"/>
                </a:xfrm>
                <a:custGeom>
                  <a:avLst/>
                  <a:gdLst>
                    <a:gd name="connsiteX0" fmla="*/ 0 w 98982"/>
                    <a:gd name="connsiteY0" fmla="*/ 5294 h 28861"/>
                    <a:gd name="connsiteX1" fmla="*/ 51848 w 98982"/>
                    <a:gd name="connsiteY1" fmla="*/ 19434 h 28861"/>
                    <a:gd name="connsiteX2" fmla="*/ 65988 w 98982"/>
                    <a:gd name="connsiteY2" fmla="*/ 24147 h 28861"/>
                    <a:gd name="connsiteX3" fmla="*/ 80128 w 98982"/>
                    <a:gd name="connsiteY3" fmla="*/ 28861 h 28861"/>
                    <a:gd name="connsiteX4" fmla="*/ 89555 w 98982"/>
                    <a:gd name="connsiteY4" fmla="*/ 14721 h 28861"/>
                    <a:gd name="connsiteX5" fmla="*/ 94268 w 98982"/>
                    <a:gd name="connsiteY5" fmla="*/ 580 h 28861"/>
                    <a:gd name="connsiteX6" fmla="*/ 98982 w 98982"/>
                    <a:gd name="connsiteY6" fmla="*/ 580 h 28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8982" h="28861">
                      <a:moveTo>
                        <a:pt x="0" y="5294"/>
                      </a:moveTo>
                      <a:cubicBezTo>
                        <a:pt x="33313" y="11956"/>
                        <a:pt x="15965" y="7473"/>
                        <a:pt x="51848" y="19434"/>
                      </a:cubicBezTo>
                      <a:lnTo>
                        <a:pt x="65988" y="24147"/>
                      </a:lnTo>
                      <a:lnTo>
                        <a:pt x="80128" y="28861"/>
                      </a:lnTo>
                      <a:cubicBezTo>
                        <a:pt x="83270" y="24148"/>
                        <a:pt x="87022" y="19788"/>
                        <a:pt x="89555" y="14721"/>
                      </a:cubicBezTo>
                      <a:cubicBezTo>
                        <a:pt x="91777" y="10277"/>
                        <a:pt x="91512" y="4714"/>
                        <a:pt x="94268" y="580"/>
                      </a:cubicBezTo>
                      <a:cubicBezTo>
                        <a:pt x="95140" y="-727"/>
                        <a:pt x="97411" y="580"/>
                        <a:pt x="98982" y="58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3" name="Forma livre 821"/>
                <p:cNvSpPr/>
                <p:nvPr/>
              </p:nvSpPr>
              <p:spPr>
                <a:xfrm>
                  <a:off x="4410872" y="3124986"/>
                  <a:ext cx="392085" cy="641022"/>
                </a:xfrm>
                <a:custGeom>
                  <a:avLst/>
                  <a:gdLst>
                    <a:gd name="connsiteX0" fmla="*/ 392085 w 392085"/>
                    <a:gd name="connsiteY0" fmla="*/ 0 h 641022"/>
                    <a:gd name="connsiteX1" fmla="*/ 377944 w 392085"/>
                    <a:gd name="connsiteY1" fmla="*/ 51847 h 641022"/>
                    <a:gd name="connsiteX2" fmla="*/ 368518 w 392085"/>
                    <a:gd name="connsiteY2" fmla="*/ 70701 h 641022"/>
                    <a:gd name="connsiteX3" fmla="*/ 349664 w 392085"/>
                    <a:gd name="connsiteY3" fmla="*/ 113121 h 641022"/>
                    <a:gd name="connsiteX4" fmla="*/ 344951 w 392085"/>
                    <a:gd name="connsiteY4" fmla="*/ 136688 h 641022"/>
                    <a:gd name="connsiteX5" fmla="*/ 340237 w 392085"/>
                    <a:gd name="connsiteY5" fmla="*/ 164969 h 641022"/>
                    <a:gd name="connsiteX6" fmla="*/ 335524 w 392085"/>
                    <a:gd name="connsiteY6" fmla="*/ 179109 h 641022"/>
                    <a:gd name="connsiteX7" fmla="*/ 330810 w 392085"/>
                    <a:gd name="connsiteY7" fmla="*/ 197962 h 641022"/>
                    <a:gd name="connsiteX8" fmla="*/ 326097 w 392085"/>
                    <a:gd name="connsiteY8" fmla="*/ 235670 h 641022"/>
                    <a:gd name="connsiteX9" fmla="*/ 316670 w 392085"/>
                    <a:gd name="connsiteY9" fmla="*/ 263950 h 641022"/>
                    <a:gd name="connsiteX10" fmla="*/ 307243 w 392085"/>
                    <a:gd name="connsiteY10" fmla="*/ 292230 h 641022"/>
                    <a:gd name="connsiteX11" fmla="*/ 297817 w 392085"/>
                    <a:gd name="connsiteY11" fmla="*/ 320511 h 641022"/>
                    <a:gd name="connsiteX12" fmla="*/ 278963 w 392085"/>
                    <a:gd name="connsiteY12" fmla="*/ 348791 h 641022"/>
                    <a:gd name="connsiteX13" fmla="*/ 269536 w 392085"/>
                    <a:gd name="connsiteY13" fmla="*/ 362932 h 641022"/>
                    <a:gd name="connsiteX14" fmla="*/ 260109 w 392085"/>
                    <a:gd name="connsiteY14" fmla="*/ 395925 h 641022"/>
                    <a:gd name="connsiteX15" fmla="*/ 245969 w 392085"/>
                    <a:gd name="connsiteY15" fmla="*/ 424206 h 641022"/>
                    <a:gd name="connsiteX16" fmla="*/ 217689 w 392085"/>
                    <a:gd name="connsiteY16" fmla="*/ 443059 h 641022"/>
                    <a:gd name="connsiteX17" fmla="*/ 203549 w 392085"/>
                    <a:gd name="connsiteY17" fmla="*/ 452486 h 641022"/>
                    <a:gd name="connsiteX18" fmla="*/ 189408 w 392085"/>
                    <a:gd name="connsiteY18" fmla="*/ 461913 h 641022"/>
                    <a:gd name="connsiteX19" fmla="*/ 184695 w 392085"/>
                    <a:gd name="connsiteY19" fmla="*/ 476053 h 641022"/>
                    <a:gd name="connsiteX20" fmla="*/ 156415 w 392085"/>
                    <a:gd name="connsiteY20" fmla="*/ 504334 h 641022"/>
                    <a:gd name="connsiteX21" fmla="*/ 156415 w 392085"/>
                    <a:gd name="connsiteY21" fmla="*/ 565608 h 641022"/>
                    <a:gd name="connsiteX22" fmla="*/ 137561 w 392085"/>
                    <a:gd name="connsiteY22" fmla="*/ 575035 h 641022"/>
                    <a:gd name="connsiteX23" fmla="*/ 95140 w 392085"/>
                    <a:gd name="connsiteY23" fmla="*/ 584461 h 641022"/>
                    <a:gd name="connsiteX24" fmla="*/ 76287 w 392085"/>
                    <a:gd name="connsiteY24" fmla="*/ 589175 h 641022"/>
                    <a:gd name="connsiteX25" fmla="*/ 48006 w 392085"/>
                    <a:gd name="connsiteY25" fmla="*/ 598602 h 641022"/>
                    <a:gd name="connsiteX26" fmla="*/ 33866 w 392085"/>
                    <a:gd name="connsiteY26" fmla="*/ 612742 h 641022"/>
                    <a:gd name="connsiteX27" fmla="*/ 872 w 392085"/>
                    <a:gd name="connsiteY27" fmla="*/ 631595 h 641022"/>
                    <a:gd name="connsiteX28" fmla="*/ 872 w 392085"/>
                    <a:gd name="connsiteY28" fmla="*/ 641022 h 64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392085" h="641022">
                      <a:moveTo>
                        <a:pt x="392085" y="0"/>
                      </a:moveTo>
                      <a:cubicBezTo>
                        <a:pt x="388636" y="17242"/>
                        <a:pt x="385918" y="35898"/>
                        <a:pt x="377944" y="51847"/>
                      </a:cubicBezTo>
                      <a:cubicBezTo>
                        <a:pt x="374802" y="58132"/>
                        <a:pt x="371127" y="64177"/>
                        <a:pt x="368518" y="70701"/>
                      </a:cubicBezTo>
                      <a:cubicBezTo>
                        <a:pt x="351693" y="112764"/>
                        <a:pt x="367799" y="85919"/>
                        <a:pt x="349664" y="113121"/>
                      </a:cubicBezTo>
                      <a:cubicBezTo>
                        <a:pt x="348093" y="120977"/>
                        <a:pt x="346384" y="128806"/>
                        <a:pt x="344951" y="136688"/>
                      </a:cubicBezTo>
                      <a:cubicBezTo>
                        <a:pt x="343241" y="146091"/>
                        <a:pt x="342310" y="155640"/>
                        <a:pt x="340237" y="164969"/>
                      </a:cubicBezTo>
                      <a:cubicBezTo>
                        <a:pt x="339159" y="169819"/>
                        <a:pt x="336889" y="174332"/>
                        <a:pt x="335524" y="179109"/>
                      </a:cubicBezTo>
                      <a:cubicBezTo>
                        <a:pt x="333744" y="185338"/>
                        <a:pt x="332381" y="191678"/>
                        <a:pt x="330810" y="197962"/>
                      </a:cubicBezTo>
                      <a:cubicBezTo>
                        <a:pt x="329239" y="210531"/>
                        <a:pt x="328751" y="223284"/>
                        <a:pt x="326097" y="235670"/>
                      </a:cubicBezTo>
                      <a:cubicBezTo>
                        <a:pt x="324015" y="245386"/>
                        <a:pt x="319812" y="254523"/>
                        <a:pt x="316670" y="263950"/>
                      </a:cubicBezTo>
                      <a:lnTo>
                        <a:pt x="307243" y="292230"/>
                      </a:lnTo>
                      <a:cubicBezTo>
                        <a:pt x="307243" y="292231"/>
                        <a:pt x="297818" y="320510"/>
                        <a:pt x="297817" y="320511"/>
                      </a:cubicBezTo>
                      <a:lnTo>
                        <a:pt x="278963" y="348791"/>
                      </a:lnTo>
                      <a:lnTo>
                        <a:pt x="269536" y="362932"/>
                      </a:lnTo>
                      <a:cubicBezTo>
                        <a:pt x="258238" y="396829"/>
                        <a:pt x="271944" y="354505"/>
                        <a:pt x="260109" y="395925"/>
                      </a:cubicBezTo>
                      <a:cubicBezTo>
                        <a:pt x="257387" y="405453"/>
                        <a:pt x="253840" y="417319"/>
                        <a:pt x="245969" y="424206"/>
                      </a:cubicBezTo>
                      <a:cubicBezTo>
                        <a:pt x="237443" y="431666"/>
                        <a:pt x="227116" y="436775"/>
                        <a:pt x="217689" y="443059"/>
                      </a:cubicBezTo>
                      <a:lnTo>
                        <a:pt x="203549" y="452486"/>
                      </a:lnTo>
                      <a:lnTo>
                        <a:pt x="189408" y="461913"/>
                      </a:lnTo>
                      <a:cubicBezTo>
                        <a:pt x="187837" y="466626"/>
                        <a:pt x="187745" y="472131"/>
                        <a:pt x="184695" y="476053"/>
                      </a:cubicBezTo>
                      <a:cubicBezTo>
                        <a:pt x="176510" y="486576"/>
                        <a:pt x="156415" y="504334"/>
                        <a:pt x="156415" y="504334"/>
                      </a:cubicBezTo>
                      <a:cubicBezTo>
                        <a:pt x="156922" y="508893"/>
                        <a:pt x="166819" y="553123"/>
                        <a:pt x="156415" y="565608"/>
                      </a:cubicBezTo>
                      <a:cubicBezTo>
                        <a:pt x="151917" y="571006"/>
                        <a:pt x="144019" y="572267"/>
                        <a:pt x="137561" y="575035"/>
                      </a:cubicBezTo>
                      <a:cubicBezTo>
                        <a:pt x="121508" y="581915"/>
                        <a:pt x="114560" y="580577"/>
                        <a:pt x="95140" y="584461"/>
                      </a:cubicBezTo>
                      <a:cubicBezTo>
                        <a:pt x="88788" y="585731"/>
                        <a:pt x="82492" y="587314"/>
                        <a:pt x="76287" y="589175"/>
                      </a:cubicBezTo>
                      <a:cubicBezTo>
                        <a:pt x="66769" y="592031"/>
                        <a:pt x="48006" y="598602"/>
                        <a:pt x="48006" y="598602"/>
                      </a:cubicBezTo>
                      <a:cubicBezTo>
                        <a:pt x="43293" y="603315"/>
                        <a:pt x="39412" y="609045"/>
                        <a:pt x="33866" y="612742"/>
                      </a:cubicBezTo>
                      <a:cubicBezTo>
                        <a:pt x="12309" y="627113"/>
                        <a:pt x="23644" y="603131"/>
                        <a:pt x="872" y="631595"/>
                      </a:cubicBezTo>
                      <a:cubicBezTo>
                        <a:pt x="-1091" y="634049"/>
                        <a:pt x="872" y="637880"/>
                        <a:pt x="872" y="641022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4" name="Forma livre 822"/>
                <p:cNvSpPr/>
                <p:nvPr/>
              </p:nvSpPr>
              <p:spPr>
                <a:xfrm>
                  <a:off x="5010346" y="3601039"/>
                  <a:ext cx="678730" cy="796565"/>
                </a:xfrm>
                <a:custGeom>
                  <a:avLst/>
                  <a:gdLst>
                    <a:gd name="connsiteX0" fmla="*/ 56561 w 678730"/>
                    <a:gd name="connsiteY0" fmla="*/ 0 h 796565"/>
                    <a:gd name="connsiteX1" fmla="*/ 51848 w 678730"/>
                    <a:gd name="connsiteY1" fmla="*/ 23567 h 796565"/>
                    <a:gd name="connsiteX2" fmla="*/ 23567 w 678730"/>
                    <a:gd name="connsiteY2" fmla="*/ 37707 h 796565"/>
                    <a:gd name="connsiteX3" fmla="*/ 9427 w 678730"/>
                    <a:gd name="connsiteY3" fmla="*/ 51848 h 796565"/>
                    <a:gd name="connsiteX4" fmla="*/ 4714 w 678730"/>
                    <a:gd name="connsiteY4" fmla="*/ 89555 h 796565"/>
                    <a:gd name="connsiteX5" fmla="*/ 0 w 678730"/>
                    <a:gd name="connsiteY5" fmla="*/ 103695 h 796565"/>
                    <a:gd name="connsiteX6" fmla="*/ 14141 w 678730"/>
                    <a:gd name="connsiteY6" fmla="*/ 179109 h 796565"/>
                    <a:gd name="connsiteX7" fmla="*/ 18854 w 678730"/>
                    <a:gd name="connsiteY7" fmla="*/ 193250 h 796565"/>
                    <a:gd name="connsiteX8" fmla="*/ 32994 w 678730"/>
                    <a:gd name="connsiteY8" fmla="*/ 197963 h 796565"/>
                    <a:gd name="connsiteX9" fmla="*/ 51848 w 678730"/>
                    <a:gd name="connsiteY9" fmla="*/ 221530 h 796565"/>
                    <a:gd name="connsiteX10" fmla="*/ 56561 w 678730"/>
                    <a:gd name="connsiteY10" fmla="*/ 235670 h 796565"/>
                    <a:gd name="connsiteX11" fmla="*/ 80128 w 678730"/>
                    <a:gd name="connsiteY11" fmla="*/ 259237 h 796565"/>
                    <a:gd name="connsiteX12" fmla="*/ 84842 w 678730"/>
                    <a:gd name="connsiteY12" fmla="*/ 273377 h 796565"/>
                    <a:gd name="connsiteX13" fmla="*/ 94268 w 678730"/>
                    <a:gd name="connsiteY13" fmla="*/ 287518 h 796565"/>
                    <a:gd name="connsiteX14" fmla="*/ 103695 w 678730"/>
                    <a:gd name="connsiteY14" fmla="*/ 329938 h 796565"/>
                    <a:gd name="connsiteX15" fmla="*/ 108409 w 678730"/>
                    <a:gd name="connsiteY15" fmla="*/ 344079 h 796565"/>
                    <a:gd name="connsiteX16" fmla="*/ 113122 w 678730"/>
                    <a:gd name="connsiteY16" fmla="*/ 367646 h 796565"/>
                    <a:gd name="connsiteX17" fmla="*/ 127262 w 678730"/>
                    <a:gd name="connsiteY17" fmla="*/ 372359 h 796565"/>
                    <a:gd name="connsiteX18" fmla="*/ 141402 w 678730"/>
                    <a:gd name="connsiteY18" fmla="*/ 381786 h 796565"/>
                    <a:gd name="connsiteX19" fmla="*/ 160256 w 678730"/>
                    <a:gd name="connsiteY19" fmla="*/ 400639 h 796565"/>
                    <a:gd name="connsiteX20" fmla="*/ 188536 w 678730"/>
                    <a:gd name="connsiteY20" fmla="*/ 419493 h 796565"/>
                    <a:gd name="connsiteX21" fmla="*/ 230957 w 678730"/>
                    <a:gd name="connsiteY21" fmla="*/ 433633 h 796565"/>
                    <a:gd name="connsiteX22" fmla="*/ 259238 w 678730"/>
                    <a:gd name="connsiteY22" fmla="*/ 476054 h 796565"/>
                    <a:gd name="connsiteX23" fmla="*/ 268664 w 678730"/>
                    <a:gd name="connsiteY23" fmla="*/ 490194 h 796565"/>
                    <a:gd name="connsiteX24" fmla="*/ 287518 w 678730"/>
                    <a:gd name="connsiteY24" fmla="*/ 504334 h 796565"/>
                    <a:gd name="connsiteX25" fmla="*/ 301658 w 678730"/>
                    <a:gd name="connsiteY25" fmla="*/ 518474 h 796565"/>
                    <a:gd name="connsiteX26" fmla="*/ 329939 w 678730"/>
                    <a:gd name="connsiteY26" fmla="*/ 527901 h 796565"/>
                    <a:gd name="connsiteX27" fmla="*/ 325225 w 678730"/>
                    <a:gd name="connsiteY27" fmla="*/ 542041 h 796565"/>
                    <a:gd name="connsiteX28" fmla="*/ 311085 w 678730"/>
                    <a:gd name="connsiteY28" fmla="*/ 546755 h 796565"/>
                    <a:gd name="connsiteX29" fmla="*/ 296945 w 678730"/>
                    <a:gd name="connsiteY29" fmla="*/ 556182 h 796565"/>
                    <a:gd name="connsiteX30" fmla="*/ 325225 w 678730"/>
                    <a:gd name="connsiteY30" fmla="*/ 565608 h 796565"/>
                    <a:gd name="connsiteX31" fmla="*/ 339365 w 678730"/>
                    <a:gd name="connsiteY31" fmla="*/ 575035 h 796565"/>
                    <a:gd name="connsiteX32" fmla="*/ 367646 w 678730"/>
                    <a:gd name="connsiteY32" fmla="*/ 584462 h 796565"/>
                    <a:gd name="connsiteX33" fmla="*/ 395926 w 678730"/>
                    <a:gd name="connsiteY33" fmla="*/ 603316 h 796565"/>
                    <a:gd name="connsiteX34" fmla="*/ 410066 w 678730"/>
                    <a:gd name="connsiteY34" fmla="*/ 612742 h 796565"/>
                    <a:gd name="connsiteX35" fmla="*/ 424207 w 678730"/>
                    <a:gd name="connsiteY35" fmla="*/ 626883 h 796565"/>
                    <a:gd name="connsiteX36" fmla="*/ 438347 w 678730"/>
                    <a:gd name="connsiteY36" fmla="*/ 636309 h 796565"/>
                    <a:gd name="connsiteX37" fmla="*/ 466627 w 678730"/>
                    <a:gd name="connsiteY37" fmla="*/ 645736 h 796565"/>
                    <a:gd name="connsiteX38" fmla="*/ 480767 w 678730"/>
                    <a:gd name="connsiteY38" fmla="*/ 674017 h 796565"/>
                    <a:gd name="connsiteX39" fmla="*/ 518475 w 678730"/>
                    <a:gd name="connsiteY39" fmla="*/ 683443 h 796565"/>
                    <a:gd name="connsiteX40" fmla="*/ 523188 w 678730"/>
                    <a:gd name="connsiteY40" fmla="*/ 702297 h 796565"/>
                    <a:gd name="connsiteX41" fmla="*/ 527901 w 678730"/>
                    <a:gd name="connsiteY41" fmla="*/ 725864 h 796565"/>
                    <a:gd name="connsiteX42" fmla="*/ 542042 w 678730"/>
                    <a:gd name="connsiteY42" fmla="*/ 730577 h 796565"/>
                    <a:gd name="connsiteX43" fmla="*/ 584462 w 678730"/>
                    <a:gd name="connsiteY43" fmla="*/ 754145 h 796565"/>
                    <a:gd name="connsiteX44" fmla="*/ 655163 w 678730"/>
                    <a:gd name="connsiteY44" fmla="*/ 758858 h 796565"/>
                    <a:gd name="connsiteX45" fmla="*/ 659877 w 678730"/>
                    <a:gd name="connsiteY45" fmla="*/ 772998 h 796565"/>
                    <a:gd name="connsiteX46" fmla="*/ 678730 w 678730"/>
                    <a:gd name="connsiteY46" fmla="*/ 796565 h 7965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678730" h="796565">
                      <a:moveTo>
                        <a:pt x="56561" y="0"/>
                      </a:moveTo>
                      <a:cubicBezTo>
                        <a:pt x="54990" y="7856"/>
                        <a:pt x="55823" y="16611"/>
                        <a:pt x="51848" y="23567"/>
                      </a:cubicBezTo>
                      <a:cubicBezTo>
                        <a:pt x="47548" y="31093"/>
                        <a:pt x="30826" y="35288"/>
                        <a:pt x="23567" y="37707"/>
                      </a:cubicBezTo>
                      <a:cubicBezTo>
                        <a:pt x="18854" y="42421"/>
                        <a:pt x="11705" y="45583"/>
                        <a:pt x="9427" y="51848"/>
                      </a:cubicBezTo>
                      <a:cubicBezTo>
                        <a:pt x="5098" y="63752"/>
                        <a:pt x="6980" y="77093"/>
                        <a:pt x="4714" y="89555"/>
                      </a:cubicBezTo>
                      <a:cubicBezTo>
                        <a:pt x="3825" y="94443"/>
                        <a:pt x="1571" y="98982"/>
                        <a:pt x="0" y="103695"/>
                      </a:cubicBezTo>
                      <a:cubicBezTo>
                        <a:pt x="5703" y="160722"/>
                        <a:pt x="-280" y="135846"/>
                        <a:pt x="14141" y="179109"/>
                      </a:cubicBezTo>
                      <a:cubicBezTo>
                        <a:pt x="15712" y="183823"/>
                        <a:pt x="14140" y="191679"/>
                        <a:pt x="18854" y="193250"/>
                      </a:cubicBezTo>
                      <a:lnTo>
                        <a:pt x="32994" y="197963"/>
                      </a:lnTo>
                      <a:cubicBezTo>
                        <a:pt x="44844" y="233507"/>
                        <a:pt x="27481" y="191070"/>
                        <a:pt x="51848" y="221530"/>
                      </a:cubicBezTo>
                      <a:cubicBezTo>
                        <a:pt x="54952" y="225410"/>
                        <a:pt x="54339" y="231226"/>
                        <a:pt x="56561" y="235670"/>
                      </a:cubicBezTo>
                      <a:cubicBezTo>
                        <a:pt x="64416" y="251380"/>
                        <a:pt x="65989" y="249811"/>
                        <a:pt x="80128" y="259237"/>
                      </a:cubicBezTo>
                      <a:cubicBezTo>
                        <a:pt x="81699" y="263950"/>
                        <a:pt x="82620" y="268933"/>
                        <a:pt x="84842" y="273377"/>
                      </a:cubicBezTo>
                      <a:cubicBezTo>
                        <a:pt x="87375" y="278444"/>
                        <a:pt x="92037" y="282311"/>
                        <a:pt x="94268" y="287518"/>
                      </a:cubicBezTo>
                      <a:cubicBezTo>
                        <a:pt x="97175" y="294300"/>
                        <a:pt x="102350" y="324559"/>
                        <a:pt x="103695" y="329938"/>
                      </a:cubicBezTo>
                      <a:cubicBezTo>
                        <a:pt x="104900" y="334758"/>
                        <a:pt x="107204" y="339259"/>
                        <a:pt x="108409" y="344079"/>
                      </a:cubicBezTo>
                      <a:cubicBezTo>
                        <a:pt x="110352" y="351851"/>
                        <a:pt x="108678" y="360980"/>
                        <a:pt x="113122" y="367646"/>
                      </a:cubicBezTo>
                      <a:cubicBezTo>
                        <a:pt x="115878" y="371780"/>
                        <a:pt x="122549" y="370788"/>
                        <a:pt x="127262" y="372359"/>
                      </a:cubicBezTo>
                      <a:cubicBezTo>
                        <a:pt x="131975" y="375501"/>
                        <a:pt x="137863" y="377363"/>
                        <a:pt x="141402" y="381786"/>
                      </a:cubicBezTo>
                      <a:cubicBezTo>
                        <a:pt x="159684" y="404638"/>
                        <a:pt x="129406" y="390356"/>
                        <a:pt x="160256" y="400639"/>
                      </a:cubicBezTo>
                      <a:cubicBezTo>
                        <a:pt x="169683" y="406924"/>
                        <a:pt x="177788" y="415910"/>
                        <a:pt x="188536" y="419493"/>
                      </a:cubicBezTo>
                      <a:lnTo>
                        <a:pt x="230957" y="433633"/>
                      </a:lnTo>
                      <a:lnTo>
                        <a:pt x="259238" y="476054"/>
                      </a:lnTo>
                      <a:cubicBezTo>
                        <a:pt x="262380" y="480767"/>
                        <a:pt x="264132" y="486795"/>
                        <a:pt x="268664" y="490194"/>
                      </a:cubicBezTo>
                      <a:cubicBezTo>
                        <a:pt x="274949" y="494907"/>
                        <a:pt x="281553" y="499222"/>
                        <a:pt x="287518" y="504334"/>
                      </a:cubicBezTo>
                      <a:cubicBezTo>
                        <a:pt x="292579" y="508672"/>
                        <a:pt x="295831" y="515237"/>
                        <a:pt x="301658" y="518474"/>
                      </a:cubicBezTo>
                      <a:cubicBezTo>
                        <a:pt x="310344" y="523300"/>
                        <a:pt x="329939" y="527901"/>
                        <a:pt x="329939" y="527901"/>
                      </a:cubicBezTo>
                      <a:cubicBezTo>
                        <a:pt x="328368" y="532614"/>
                        <a:pt x="328738" y="538528"/>
                        <a:pt x="325225" y="542041"/>
                      </a:cubicBezTo>
                      <a:cubicBezTo>
                        <a:pt x="321712" y="545554"/>
                        <a:pt x="315529" y="544533"/>
                        <a:pt x="311085" y="546755"/>
                      </a:cubicBezTo>
                      <a:cubicBezTo>
                        <a:pt x="306018" y="549289"/>
                        <a:pt x="301658" y="553040"/>
                        <a:pt x="296945" y="556182"/>
                      </a:cubicBezTo>
                      <a:cubicBezTo>
                        <a:pt x="306372" y="559324"/>
                        <a:pt x="316957" y="560096"/>
                        <a:pt x="325225" y="565608"/>
                      </a:cubicBezTo>
                      <a:cubicBezTo>
                        <a:pt x="329938" y="568750"/>
                        <a:pt x="334188" y="572734"/>
                        <a:pt x="339365" y="575035"/>
                      </a:cubicBezTo>
                      <a:cubicBezTo>
                        <a:pt x="348445" y="579071"/>
                        <a:pt x="367646" y="584462"/>
                        <a:pt x="367646" y="584462"/>
                      </a:cubicBezTo>
                      <a:lnTo>
                        <a:pt x="395926" y="603316"/>
                      </a:lnTo>
                      <a:cubicBezTo>
                        <a:pt x="400639" y="606458"/>
                        <a:pt x="406061" y="608737"/>
                        <a:pt x="410066" y="612742"/>
                      </a:cubicBezTo>
                      <a:cubicBezTo>
                        <a:pt x="414780" y="617456"/>
                        <a:pt x="419086" y="622616"/>
                        <a:pt x="424207" y="626883"/>
                      </a:cubicBezTo>
                      <a:cubicBezTo>
                        <a:pt x="428559" y="630509"/>
                        <a:pt x="433171" y="634008"/>
                        <a:pt x="438347" y="636309"/>
                      </a:cubicBezTo>
                      <a:cubicBezTo>
                        <a:pt x="447427" y="640345"/>
                        <a:pt x="466627" y="645736"/>
                        <a:pt x="466627" y="645736"/>
                      </a:cubicBezTo>
                      <a:cubicBezTo>
                        <a:pt x="469732" y="655048"/>
                        <a:pt x="472463" y="667374"/>
                        <a:pt x="480767" y="674017"/>
                      </a:cubicBezTo>
                      <a:cubicBezTo>
                        <a:pt x="485597" y="677881"/>
                        <a:pt x="517303" y="683209"/>
                        <a:pt x="518475" y="683443"/>
                      </a:cubicBezTo>
                      <a:cubicBezTo>
                        <a:pt x="520046" y="689728"/>
                        <a:pt x="521783" y="695973"/>
                        <a:pt x="523188" y="702297"/>
                      </a:cubicBezTo>
                      <a:cubicBezTo>
                        <a:pt x="524926" y="710117"/>
                        <a:pt x="523457" y="719198"/>
                        <a:pt x="527901" y="725864"/>
                      </a:cubicBezTo>
                      <a:cubicBezTo>
                        <a:pt x="530657" y="729998"/>
                        <a:pt x="537328" y="729006"/>
                        <a:pt x="542042" y="730577"/>
                      </a:cubicBezTo>
                      <a:cubicBezTo>
                        <a:pt x="551751" y="737050"/>
                        <a:pt x="569531" y="752486"/>
                        <a:pt x="584462" y="754145"/>
                      </a:cubicBezTo>
                      <a:cubicBezTo>
                        <a:pt x="607937" y="756753"/>
                        <a:pt x="631596" y="757287"/>
                        <a:pt x="655163" y="758858"/>
                      </a:cubicBezTo>
                      <a:cubicBezTo>
                        <a:pt x="656734" y="763571"/>
                        <a:pt x="657655" y="768554"/>
                        <a:pt x="659877" y="772998"/>
                      </a:cubicBezTo>
                      <a:cubicBezTo>
                        <a:pt x="665824" y="784891"/>
                        <a:pt x="669961" y="787796"/>
                        <a:pt x="678730" y="796565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5" name="Forma livre 823"/>
                <p:cNvSpPr/>
                <p:nvPr/>
              </p:nvSpPr>
              <p:spPr>
                <a:xfrm>
                  <a:off x="5434553" y="4227428"/>
                  <a:ext cx="325224" cy="9920"/>
                </a:xfrm>
                <a:custGeom>
                  <a:avLst/>
                  <a:gdLst>
                    <a:gd name="connsiteX0" fmla="*/ 0 w 325224"/>
                    <a:gd name="connsiteY0" fmla="*/ 5207 h 9920"/>
                    <a:gd name="connsiteX1" fmla="*/ 164969 w 325224"/>
                    <a:gd name="connsiteY1" fmla="*/ 9920 h 9920"/>
                    <a:gd name="connsiteX2" fmla="*/ 245096 w 325224"/>
                    <a:gd name="connsiteY2" fmla="*/ 494 h 9920"/>
                    <a:gd name="connsiteX3" fmla="*/ 325224 w 325224"/>
                    <a:gd name="connsiteY3" fmla="*/ 494 h 9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5224" h="9920">
                      <a:moveTo>
                        <a:pt x="0" y="5207"/>
                      </a:moveTo>
                      <a:cubicBezTo>
                        <a:pt x="54990" y="6778"/>
                        <a:pt x="109957" y="9920"/>
                        <a:pt x="164969" y="9920"/>
                      </a:cubicBezTo>
                      <a:cubicBezTo>
                        <a:pt x="251348" y="9920"/>
                        <a:pt x="176638" y="3346"/>
                        <a:pt x="245096" y="494"/>
                      </a:cubicBezTo>
                      <a:cubicBezTo>
                        <a:pt x="271782" y="-618"/>
                        <a:pt x="298515" y="494"/>
                        <a:pt x="325224" y="494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6" name="Forma livre 824"/>
                <p:cNvSpPr/>
                <p:nvPr/>
              </p:nvSpPr>
              <p:spPr>
                <a:xfrm>
                  <a:off x="4590854" y="3959258"/>
                  <a:ext cx="513760" cy="716437"/>
                </a:xfrm>
                <a:custGeom>
                  <a:avLst/>
                  <a:gdLst>
                    <a:gd name="connsiteX0" fmla="*/ 514848 w 514848"/>
                    <a:gd name="connsiteY0" fmla="*/ 0 h 716437"/>
                    <a:gd name="connsiteX1" fmla="*/ 486568 w 514848"/>
                    <a:gd name="connsiteY1" fmla="*/ 37707 h 716437"/>
                    <a:gd name="connsiteX2" fmla="*/ 477141 w 514848"/>
                    <a:gd name="connsiteY2" fmla="*/ 65987 h 716437"/>
                    <a:gd name="connsiteX3" fmla="*/ 472428 w 514848"/>
                    <a:gd name="connsiteY3" fmla="*/ 108408 h 716437"/>
                    <a:gd name="connsiteX4" fmla="*/ 448861 w 514848"/>
                    <a:gd name="connsiteY4" fmla="*/ 150829 h 716437"/>
                    <a:gd name="connsiteX5" fmla="*/ 434721 w 514848"/>
                    <a:gd name="connsiteY5" fmla="*/ 179109 h 716437"/>
                    <a:gd name="connsiteX6" fmla="*/ 420580 w 514848"/>
                    <a:gd name="connsiteY6" fmla="*/ 207389 h 716437"/>
                    <a:gd name="connsiteX7" fmla="*/ 420580 w 514848"/>
                    <a:gd name="connsiteY7" fmla="*/ 259237 h 716437"/>
                    <a:gd name="connsiteX8" fmla="*/ 411154 w 514848"/>
                    <a:gd name="connsiteY8" fmla="*/ 306371 h 716437"/>
                    <a:gd name="connsiteX9" fmla="*/ 406440 w 514848"/>
                    <a:gd name="connsiteY9" fmla="*/ 320511 h 716437"/>
                    <a:gd name="connsiteX10" fmla="*/ 392300 w 514848"/>
                    <a:gd name="connsiteY10" fmla="*/ 329938 h 716437"/>
                    <a:gd name="connsiteX11" fmla="*/ 382873 w 514848"/>
                    <a:gd name="connsiteY11" fmla="*/ 344078 h 716437"/>
                    <a:gd name="connsiteX12" fmla="*/ 368733 w 514848"/>
                    <a:gd name="connsiteY12" fmla="*/ 353505 h 716437"/>
                    <a:gd name="connsiteX13" fmla="*/ 364020 w 514848"/>
                    <a:gd name="connsiteY13" fmla="*/ 367645 h 716437"/>
                    <a:gd name="connsiteX14" fmla="*/ 331026 w 514848"/>
                    <a:gd name="connsiteY14" fmla="*/ 405352 h 716437"/>
                    <a:gd name="connsiteX15" fmla="*/ 307459 w 514848"/>
                    <a:gd name="connsiteY15" fmla="*/ 428919 h 716437"/>
                    <a:gd name="connsiteX16" fmla="*/ 250898 w 514848"/>
                    <a:gd name="connsiteY16" fmla="*/ 476053 h 716437"/>
                    <a:gd name="connsiteX17" fmla="*/ 208477 w 514848"/>
                    <a:gd name="connsiteY17" fmla="*/ 490194 h 716437"/>
                    <a:gd name="connsiteX18" fmla="*/ 194337 w 514848"/>
                    <a:gd name="connsiteY18" fmla="*/ 494907 h 716437"/>
                    <a:gd name="connsiteX19" fmla="*/ 180197 w 514848"/>
                    <a:gd name="connsiteY19" fmla="*/ 504334 h 716437"/>
                    <a:gd name="connsiteX20" fmla="*/ 151916 w 514848"/>
                    <a:gd name="connsiteY20" fmla="*/ 513761 h 716437"/>
                    <a:gd name="connsiteX21" fmla="*/ 123636 w 514848"/>
                    <a:gd name="connsiteY21" fmla="*/ 532614 h 716437"/>
                    <a:gd name="connsiteX22" fmla="*/ 109496 w 514848"/>
                    <a:gd name="connsiteY22" fmla="*/ 537328 h 716437"/>
                    <a:gd name="connsiteX23" fmla="*/ 76502 w 514848"/>
                    <a:gd name="connsiteY23" fmla="*/ 551468 h 716437"/>
                    <a:gd name="connsiteX24" fmla="*/ 52935 w 514848"/>
                    <a:gd name="connsiteY24" fmla="*/ 575035 h 716437"/>
                    <a:gd name="connsiteX25" fmla="*/ 48222 w 514848"/>
                    <a:gd name="connsiteY25" fmla="*/ 589175 h 716437"/>
                    <a:gd name="connsiteX26" fmla="*/ 29368 w 514848"/>
                    <a:gd name="connsiteY26" fmla="*/ 617455 h 716437"/>
                    <a:gd name="connsiteX27" fmla="*/ 24655 w 514848"/>
                    <a:gd name="connsiteY27" fmla="*/ 631596 h 716437"/>
                    <a:gd name="connsiteX28" fmla="*/ 5801 w 514848"/>
                    <a:gd name="connsiteY28" fmla="*/ 659876 h 716437"/>
                    <a:gd name="connsiteX29" fmla="*/ 1088 w 514848"/>
                    <a:gd name="connsiteY29" fmla="*/ 716437 h 716437"/>
                    <a:gd name="connsiteX0" fmla="*/ 514848 w 514848"/>
                    <a:gd name="connsiteY0" fmla="*/ 0 h 716437"/>
                    <a:gd name="connsiteX1" fmla="*/ 486568 w 514848"/>
                    <a:gd name="connsiteY1" fmla="*/ 37707 h 716437"/>
                    <a:gd name="connsiteX2" fmla="*/ 477141 w 514848"/>
                    <a:gd name="connsiteY2" fmla="*/ 65987 h 716437"/>
                    <a:gd name="connsiteX3" fmla="*/ 472428 w 514848"/>
                    <a:gd name="connsiteY3" fmla="*/ 108408 h 716437"/>
                    <a:gd name="connsiteX4" fmla="*/ 448861 w 514848"/>
                    <a:gd name="connsiteY4" fmla="*/ 150829 h 716437"/>
                    <a:gd name="connsiteX5" fmla="*/ 434721 w 514848"/>
                    <a:gd name="connsiteY5" fmla="*/ 179109 h 716437"/>
                    <a:gd name="connsiteX6" fmla="*/ 420580 w 514848"/>
                    <a:gd name="connsiteY6" fmla="*/ 207389 h 716437"/>
                    <a:gd name="connsiteX7" fmla="*/ 420580 w 514848"/>
                    <a:gd name="connsiteY7" fmla="*/ 259237 h 716437"/>
                    <a:gd name="connsiteX8" fmla="*/ 411154 w 514848"/>
                    <a:gd name="connsiteY8" fmla="*/ 306371 h 716437"/>
                    <a:gd name="connsiteX9" fmla="*/ 406440 w 514848"/>
                    <a:gd name="connsiteY9" fmla="*/ 320511 h 716437"/>
                    <a:gd name="connsiteX10" fmla="*/ 392300 w 514848"/>
                    <a:gd name="connsiteY10" fmla="*/ 329938 h 716437"/>
                    <a:gd name="connsiteX11" fmla="*/ 382873 w 514848"/>
                    <a:gd name="connsiteY11" fmla="*/ 344078 h 716437"/>
                    <a:gd name="connsiteX12" fmla="*/ 368733 w 514848"/>
                    <a:gd name="connsiteY12" fmla="*/ 353505 h 716437"/>
                    <a:gd name="connsiteX13" fmla="*/ 364020 w 514848"/>
                    <a:gd name="connsiteY13" fmla="*/ 367645 h 716437"/>
                    <a:gd name="connsiteX14" fmla="*/ 331026 w 514848"/>
                    <a:gd name="connsiteY14" fmla="*/ 405352 h 716437"/>
                    <a:gd name="connsiteX15" fmla="*/ 307459 w 514848"/>
                    <a:gd name="connsiteY15" fmla="*/ 428919 h 716437"/>
                    <a:gd name="connsiteX16" fmla="*/ 250898 w 514848"/>
                    <a:gd name="connsiteY16" fmla="*/ 476053 h 716437"/>
                    <a:gd name="connsiteX17" fmla="*/ 208477 w 514848"/>
                    <a:gd name="connsiteY17" fmla="*/ 490194 h 716437"/>
                    <a:gd name="connsiteX18" fmla="*/ 194337 w 514848"/>
                    <a:gd name="connsiteY18" fmla="*/ 494907 h 716437"/>
                    <a:gd name="connsiteX19" fmla="*/ 180197 w 514848"/>
                    <a:gd name="connsiteY19" fmla="*/ 504334 h 716437"/>
                    <a:gd name="connsiteX20" fmla="*/ 151916 w 514848"/>
                    <a:gd name="connsiteY20" fmla="*/ 513761 h 716437"/>
                    <a:gd name="connsiteX21" fmla="*/ 123636 w 514848"/>
                    <a:gd name="connsiteY21" fmla="*/ 532614 h 716437"/>
                    <a:gd name="connsiteX22" fmla="*/ 109496 w 514848"/>
                    <a:gd name="connsiteY22" fmla="*/ 537328 h 716437"/>
                    <a:gd name="connsiteX23" fmla="*/ 90642 w 514848"/>
                    <a:gd name="connsiteY23" fmla="*/ 542041 h 716437"/>
                    <a:gd name="connsiteX24" fmla="*/ 52935 w 514848"/>
                    <a:gd name="connsiteY24" fmla="*/ 575035 h 716437"/>
                    <a:gd name="connsiteX25" fmla="*/ 48222 w 514848"/>
                    <a:gd name="connsiteY25" fmla="*/ 589175 h 716437"/>
                    <a:gd name="connsiteX26" fmla="*/ 29368 w 514848"/>
                    <a:gd name="connsiteY26" fmla="*/ 617455 h 716437"/>
                    <a:gd name="connsiteX27" fmla="*/ 24655 w 514848"/>
                    <a:gd name="connsiteY27" fmla="*/ 631596 h 716437"/>
                    <a:gd name="connsiteX28" fmla="*/ 5801 w 514848"/>
                    <a:gd name="connsiteY28" fmla="*/ 659876 h 716437"/>
                    <a:gd name="connsiteX29" fmla="*/ 1088 w 514848"/>
                    <a:gd name="connsiteY29" fmla="*/ 716437 h 716437"/>
                    <a:gd name="connsiteX0" fmla="*/ 514848 w 514848"/>
                    <a:gd name="connsiteY0" fmla="*/ 0 h 716437"/>
                    <a:gd name="connsiteX1" fmla="*/ 486568 w 514848"/>
                    <a:gd name="connsiteY1" fmla="*/ 37707 h 716437"/>
                    <a:gd name="connsiteX2" fmla="*/ 477141 w 514848"/>
                    <a:gd name="connsiteY2" fmla="*/ 65987 h 716437"/>
                    <a:gd name="connsiteX3" fmla="*/ 472428 w 514848"/>
                    <a:gd name="connsiteY3" fmla="*/ 108408 h 716437"/>
                    <a:gd name="connsiteX4" fmla="*/ 448861 w 514848"/>
                    <a:gd name="connsiteY4" fmla="*/ 150829 h 716437"/>
                    <a:gd name="connsiteX5" fmla="*/ 434721 w 514848"/>
                    <a:gd name="connsiteY5" fmla="*/ 179109 h 716437"/>
                    <a:gd name="connsiteX6" fmla="*/ 420580 w 514848"/>
                    <a:gd name="connsiteY6" fmla="*/ 207389 h 716437"/>
                    <a:gd name="connsiteX7" fmla="*/ 420580 w 514848"/>
                    <a:gd name="connsiteY7" fmla="*/ 259237 h 716437"/>
                    <a:gd name="connsiteX8" fmla="*/ 411154 w 514848"/>
                    <a:gd name="connsiteY8" fmla="*/ 306371 h 716437"/>
                    <a:gd name="connsiteX9" fmla="*/ 406440 w 514848"/>
                    <a:gd name="connsiteY9" fmla="*/ 320511 h 716437"/>
                    <a:gd name="connsiteX10" fmla="*/ 392300 w 514848"/>
                    <a:gd name="connsiteY10" fmla="*/ 329938 h 716437"/>
                    <a:gd name="connsiteX11" fmla="*/ 382873 w 514848"/>
                    <a:gd name="connsiteY11" fmla="*/ 344078 h 716437"/>
                    <a:gd name="connsiteX12" fmla="*/ 368733 w 514848"/>
                    <a:gd name="connsiteY12" fmla="*/ 353505 h 716437"/>
                    <a:gd name="connsiteX13" fmla="*/ 364020 w 514848"/>
                    <a:gd name="connsiteY13" fmla="*/ 367645 h 716437"/>
                    <a:gd name="connsiteX14" fmla="*/ 331026 w 514848"/>
                    <a:gd name="connsiteY14" fmla="*/ 405352 h 716437"/>
                    <a:gd name="connsiteX15" fmla="*/ 307459 w 514848"/>
                    <a:gd name="connsiteY15" fmla="*/ 428919 h 716437"/>
                    <a:gd name="connsiteX16" fmla="*/ 250898 w 514848"/>
                    <a:gd name="connsiteY16" fmla="*/ 476053 h 716437"/>
                    <a:gd name="connsiteX17" fmla="*/ 208477 w 514848"/>
                    <a:gd name="connsiteY17" fmla="*/ 490194 h 716437"/>
                    <a:gd name="connsiteX18" fmla="*/ 194337 w 514848"/>
                    <a:gd name="connsiteY18" fmla="*/ 494907 h 716437"/>
                    <a:gd name="connsiteX19" fmla="*/ 180197 w 514848"/>
                    <a:gd name="connsiteY19" fmla="*/ 504334 h 716437"/>
                    <a:gd name="connsiteX20" fmla="*/ 151916 w 514848"/>
                    <a:gd name="connsiteY20" fmla="*/ 513761 h 716437"/>
                    <a:gd name="connsiteX21" fmla="*/ 123636 w 514848"/>
                    <a:gd name="connsiteY21" fmla="*/ 532614 h 716437"/>
                    <a:gd name="connsiteX22" fmla="*/ 109496 w 514848"/>
                    <a:gd name="connsiteY22" fmla="*/ 537328 h 716437"/>
                    <a:gd name="connsiteX23" fmla="*/ 90642 w 514848"/>
                    <a:gd name="connsiteY23" fmla="*/ 542041 h 716437"/>
                    <a:gd name="connsiteX24" fmla="*/ 52935 w 514848"/>
                    <a:gd name="connsiteY24" fmla="*/ 575035 h 716437"/>
                    <a:gd name="connsiteX25" fmla="*/ 29368 w 514848"/>
                    <a:gd name="connsiteY25" fmla="*/ 617455 h 716437"/>
                    <a:gd name="connsiteX26" fmla="*/ 24655 w 514848"/>
                    <a:gd name="connsiteY26" fmla="*/ 631596 h 716437"/>
                    <a:gd name="connsiteX27" fmla="*/ 5801 w 514848"/>
                    <a:gd name="connsiteY27" fmla="*/ 659876 h 716437"/>
                    <a:gd name="connsiteX28" fmla="*/ 1088 w 514848"/>
                    <a:gd name="connsiteY28" fmla="*/ 716437 h 716437"/>
                    <a:gd name="connsiteX0" fmla="*/ 513760 w 513760"/>
                    <a:gd name="connsiteY0" fmla="*/ 0 h 716437"/>
                    <a:gd name="connsiteX1" fmla="*/ 485480 w 513760"/>
                    <a:gd name="connsiteY1" fmla="*/ 37707 h 716437"/>
                    <a:gd name="connsiteX2" fmla="*/ 476053 w 513760"/>
                    <a:gd name="connsiteY2" fmla="*/ 65987 h 716437"/>
                    <a:gd name="connsiteX3" fmla="*/ 471340 w 513760"/>
                    <a:gd name="connsiteY3" fmla="*/ 108408 h 716437"/>
                    <a:gd name="connsiteX4" fmla="*/ 447773 w 513760"/>
                    <a:gd name="connsiteY4" fmla="*/ 150829 h 716437"/>
                    <a:gd name="connsiteX5" fmla="*/ 433633 w 513760"/>
                    <a:gd name="connsiteY5" fmla="*/ 179109 h 716437"/>
                    <a:gd name="connsiteX6" fmla="*/ 419492 w 513760"/>
                    <a:gd name="connsiteY6" fmla="*/ 207389 h 716437"/>
                    <a:gd name="connsiteX7" fmla="*/ 419492 w 513760"/>
                    <a:gd name="connsiteY7" fmla="*/ 259237 h 716437"/>
                    <a:gd name="connsiteX8" fmla="*/ 410066 w 513760"/>
                    <a:gd name="connsiteY8" fmla="*/ 306371 h 716437"/>
                    <a:gd name="connsiteX9" fmla="*/ 405352 w 513760"/>
                    <a:gd name="connsiteY9" fmla="*/ 320511 h 716437"/>
                    <a:gd name="connsiteX10" fmla="*/ 391212 w 513760"/>
                    <a:gd name="connsiteY10" fmla="*/ 329938 h 716437"/>
                    <a:gd name="connsiteX11" fmla="*/ 381785 w 513760"/>
                    <a:gd name="connsiteY11" fmla="*/ 344078 h 716437"/>
                    <a:gd name="connsiteX12" fmla="*/ 367645 w 513760"/>
                    <a:gd name="connsiteY12" fmla="*/ 353505 h 716437"/>
                    <a:gd name="connsiteX13" fmla="*/ 362932 w 513760"/>
                    <a:gd name="connsiteY13" fmla="*/ 367645 h 716437"/>
                    <a:gd name="connsiteX14" fmla="*/ 329938 w 513760"/>
                    <a:gd name="connsiteY14" fmla="*/ 405352 h 716437"/>
                    <a:gd name="connsiteX15" fmla="*/ 306371 w 513760"/>
                    <a:gd name="connsiteY15" fmla="*/ 428919 h 716437"/>
                    <a:gd name="connsiteX16" fmla="*/ 249810 w 513760"/>
                    <a:gd name="connsiteY16" fmla="*/ 476053 h 716437"/>
                    <a:gd name="connsiteX17" fmla="*/ 207389 w 513760"/>
                    <a:gd name="connsiteY17" fmla="*/ 490194 h 716437"/>
                    <a:gd name="connsiteX18" fmla="*/ 193249 w 513760"/>
                    <a:gd name="connsiteY18" fmla="*/ 494907 h 716437"/>
                    <a:gd name="connsiteX19" fmla="*/ 179109 w 513760"/>
                    <a:gd name="connsiteY19" fmla="*/ 504334 h 716437"/>
                    <a:gd name="connsiteX20" fmla="*/ 150828 w 513760"/>
                    <a:gd name="connsiteY20" fmla="*/ 513761 h 716437"/>
                    <a:gd name="connsiteX21" fmla="*/ 122548 w 513760"/>
                    <a:gd name="connsiteY21" fmla="*/ 532614 h 716437"/>
                    <a:gd name="connsiteX22" fmla="*/ 108408 w 513760"/>
                    <a:gd name="connsiteY22" fmla="*/ 537328 h 716437"/>
                    <a:gd name="connsiteX23" fmla="*/ 89554 w 513760"/>
                    <a:gd name="connsiteY23" fmla="*/ 542041 h 716437"/>
                    <a:gd name="connsiteX24" fmla="*/ 51847 w 513760"/>
                    <a:gd name="connsiteY24" fmla="*/ 575035 h 716437"/>
                    <a:gd name="connsiteX25" fmla="*/ 28280 w 513760"/>
                    <a:gd name="connsiteY25" fmla="*/ 617455 h 716437"/>
                    <a:gd name="connsiteX26" fmla="*/ 23567 w 513760"/>
                    <a:gd name="connsiteY26" fmla="*/ 631596 h 716437"/>
                    <a:gd name="connsiteX27" fmla="*/ 0 w 513760"/>
                    <a:gd name="connsiteY27" fmla="*/ 716437 h 716437"/>
                    <a:gd name="connsiteX0" fmla="*/ 513760 w 513760"/>
                    <a:gd name="connsiteY0" fmla="*/ 0 h 716437"/>
                    <a:gd name="connsiteX1" fmla="*/ 485480 w 513760"/>
                    <a:gd name="connsiteY1" fmla="*/ 37707 h 716437"/>
                    <a:gd name="connsiteX2" fmla="*/ 476053 w 513760"/>
                    <a:gd name="connsiteY2" fmla="*/ 65987 h 716437"/>
                    <a:gd name="connsiteX3" fmla="*/ 471340 w 513760"/>
                    <a:gd name="connsiteY3" fmla="*/ 108408 h 716437"/>
                    <a:gd name="connsiteX4" fmla="*/ 447773 w 513760"/>
                    <a:gd name="connsiteY4" fmla="*/ 150829 h 716437"/>
                    <a:gd name="connsiteX5" fmla="*/ 433633 w 513760"/>
                    <a:gd name="connsiteY5" fmla="*/ 179109 h 716437"/>
                    <a:gd name="connsiteX6" fmla="*/ 419492 w 513760"/>
                    <a:gd name="connsiteY6" fmla="*/ 207389 h 716437"/>
                    <a:gd name="connsiteX7" fmla="*/ 419492 w 513760"/>
                    <a:gd name="connsiteY7" fmla="*/ 259237 h 716437"/>
                    <a:gd name="connsiteX8" fmla="*/ 410066 w 513760"/>
                    <a:gd name="connsiteY8" fmla="*/ 306371 h 716437"/>
                    <a:gd name="connsiteX9" fmla="*/ 405352 w 513760"/>
                    <a:gd name="connsiteY9" fmla="*/ 320511 h 716437"/>
                    <a:gd name="connsiteX10" fmla="*/ 391212 w 513760"/>
                    <a:gd name="connsiteY10" fmla="*/ 329938 h 716437"/>
                    <a:gd name="connsiteX11" fmla="*/ 381785 w 513760"/>
                    <a:gd name="connsiteY11" fmla="*/ 344078 h 716437"/>
                    <a:gd name="connsiteX12" fmla="*/ 367645 w 513760"/>
                    <a:gd name="connsiteY12" fmla="*/ 353505 h 716437"/>
                    <a:gd name="connsiteX13" fmla="*/ 362932 w 513760"/>
                    <a:gd name="connsiteY13" fmla="*/ 367645 h 716437"/>
                    <a:gd name="connsiteX14" fmla="*/ 329938 w 513760"/>
                    <a:gd name="connsiteY14" fmla="*/ 405352 h 716437"/>
                    <a:gd name="connsiteX15" fmla="*/ 306371 w 513760"/>
                    <a:gd name="connsiteY15" fmla="*/ 428919 h 716437"/>
                    <a:gd name="connsiteX16" fmla="*/ 249810 w 513760"/>
                    <a:gd name="connsiteY16" fmla="*/ 476053 h 716437"/>
                    <a:gd name="connsiteX17" fmla="*/ 207389 w 513760"/>
                    <a:gd name="connsiteY17" fmla="*/ 490194 h 716437"/>
                    <a:gd name="connsiteX18" fmla="*/ 193249 w 513760"/>
                    <a:gd name="connsiteY18" fmla="*/ 494907 h 716437"/>
                    <a:gd name="connsiteX19" fmla="*/ 179109 w 513760"/>
                    <a:gd name="connsiteY19" fmla="*/ 504334 h 716437"/>
                    <a:gd name="connsiteX20" fmla="*/ 150828 w 513760"/>
                    <a:gd name="connsiteY20" fmla="*/ 513761 h 716437"/>
                    <a:gd name="connsiteX21" fmla="*/ 122548 w 513760"/>
                    <a:gd name="connsiteY21" fmla="*/ 532614 h 716437"/>
                    <a:gd name="connsiteX22" fmla="*/ 108408 w 513760"/>
                    <a:gd name="connsiteY22" fmla="*/ 537328 h 716437"/>
                    <a:gd name="connsiteX23" fmla="*/ 89554 w 513760"/>
                    <a:gd name="connsiteY23" fmla="*/ 542041 h 716437"/>
                    <a:gd name="connsiteX24" fmla="*/ 51847 w 513760"/>
                    <a:gd name="connsiteY24" fmla="*/ 575035 h 716437"/>
                    <a:gd name="connsiteX25" fmla="*/ 28280 w 513760"/>
                    <a:gd name="connsiteY25" fmla="*/ 617455 h 716437"/>
                    <a:gd name="connsiteX26" fmla="*/ 18854 w 513760"/>
                    <a:gd name="connsiteY26" fmla="*/ 664590 h 716437"/>
                    <a:gd name="connsiteX27" fmla="*/ 0 w 513760"/>
                    <a:gd name="connsiteY27" fmla="*/ 716437 h 716437"/>
                    <a:gd name="connsiteX0" fmla="*/ 513760 w 513760"/>
                    <a:gd name="connsiteY0" fmla="*/ 0 h 716437"/>
                    <a:gd name="connsiteX1" fmla="*/ 485480 w 513760"/>
                    <a:gd name="connsiteY1" fmla="*/ 37707 h 716437"/>
                    <a:gd name="connsiteX2" fmla="*/ 476053 w 513760"/>
                    <a:gd name="connsiteY2" fmla="*/ 65987 h 716437"/>
                    <a:gd name="connsiteX3" fmla="*/ 471340 w 513760"/>
                    <a:gd name="connsiteY3" fmla="*/ 108408 h 716437"/>
                    <a:gd name="connsiteX4" fmla="*/ 447773 w 513760"/>
                    <a:gd name="connsiteY4" fmla="*/ 150829 h 716437"/>
                    <a:gd name="connsiteX5" fmla="*/ 433633 w 513760"/>
                    <a:gd name="connsiteY5" fmla="*/ 179109 h 716437"/>
                    <a:gd name="connsiteX6" fmla="*/ 419492 w 513760"/>
                    <a:gd name="connsiteY6" fmla="*/ 207389 h 716437"/>
                    <a:gd name="connsiteX7" fmla="*/ 419492 w 513760"/>
                    <a:gd name="connsiteY7" fmla="*/ 259237 h 716437"/>
                    <a:gd name="connsiteX8" fmla="*/ 410066 w 513760"/>
                    <a:gd name="connsiteY8" fmla="*/ 306371 h 716437"/>
                    <a:gd name="connsiteX9" fmla="*/ 405352 w 513760"/>
                    <a:gd name="connsiteY9" fmla="*/ 320511 h 716437"/>
                    <a:gd name="connsiteX10" fmla="*/ 391212 w 513760"/>
                    <a:gd name="connsiteY10" fmla="*/ 329938 h 716437"/>
                    <a:gd name="connsiteX11" fmla="*/ 381785 w 513760"/>
                    <a:gd name="connsiteY11" fmla="*/ 344078 h 716437"/>
                    <a:gd name="connsiteX12" fmla="*/ 367645 w 513760"/>
                    <a:gd name="connsiteY12" fmla="*/ 353505 h 716437"/>
                    <a:gd name="connsiteX13" fmla="*/ 362932 w 513760"/>
                    <a:gd name="connsiteY13" fmla="*/ 367645 h 716437"/>
                    <a:gd name="connsiteX14" fmla="*/ 329938 w 513760"/>
                    <a:gd name="connsiteY14" fmla="*/ 405352 h 716437"/>
                    <a:gd name="connsiteX15" fmla="*/ 306371 w 513760"/>
                    <a:gd name="connsiteY15" fmla="*/ 428919 h 716437"/>
                    <a:gd name="connsiteX16" fmla="*/ 249810 w 513760"/>
                    <a:gd name="connsiteY16" fmla="*/ 476053 h 716437"/>
                    <a:gd name="connsiteX17" fmla="*/ 207389 w 513760"/>
                    <a:gd name="connsiteY17" fmla="*/ 490194 h 716437"/>
                    <a:gd name="connsiteX18" fmla="*/ 193249 w 513760"/>
                    <a:gd name="connsiteY18" fmla="*/ 494907 h 716437"/>
                    <a:gd name="connsiteX19" fmla="*/ 179109 w 513760"/>
                    <a:gd name="connsiteY19" fmla="*/ 504334 h 716437"/>
                    <a:gd name="connsiteX20" fmla="*/ 150828 w 513760"/>
                    <a:gd name="connsiteY20" fmla="*/ 513761 h 716437"/>
                    <a:gd name="connsiteX21" fmla="*/ 122548 w 513760"/>
                    <a:gd name="connsiteY21" fmla="*/ 532614 h 716437"/>
                    <a:gd name="connsiteX22" fmla="*/ 108408 w 513760"/>
                    <a:gd name="connsiteY22" fmla="*/ 537328 h 716437"/>
                    <a:gd name="connsiteX23" fmla="*/ 89554 w 513760"/>
                    <a:gd name="connsiteY23" fmla="*/ 542041 h 716437"/>
                    <a:gd name="connsiteX24" fmla="*/ 51847 w 513760"/>
                    <a:gd name="connsiteY24" fmla="*/ 575035 h 716437"/>
                    <a:gd name="connsiteX25" fmla="*/ 47133 w 513760"/>
                    <a:gd name="connsiteY25" fmla="*/ 617455 h 716437"/>
                    <a:gd name="connsiteX26" fmla="*/ 18854 w 513760"/>
                    <a:gd name="connsiteY26" fmla="*/ 664590 h 716437"/>
                    <a:gd name="connsiteX27" fmla="*/ 0 w 513760"/>
                    <a:gd name="connsiteY27" fmla="*/ 716437 h 716437"/>
                    <a:gd name="connsiteX0" fmla="*/ 513760 w 513760"/>
                    <a:gd name="connsiteY0" fmla="*/ 0 h 716437"/>
                    <a:gd name="connsiteX1" fmla="*/ 485480 w 513760"/>
                    <a:gd name="connsiteY1" fmla="*/ 37707 h 716437"/>
                    <a:gd name="connsiteX2" fmla="*/ 476053 w 513760"/>
                    <a:gd name="connsiteY2" fmla="*/ 65987 h 716437"/>
                    <a:gd name="connsiteX3" fmla="*/ 471340 w 513760"/>
                    <a:gd name="connsiteY3" fmla="*/ 108408 h 716437"/>
                    <a:gd name="connsiteX4" fmla="*/ 447773 w 513760"/>
                    <a:gd name="connsiteY4" fmla="*/ 150829 h 716437"/>
                    <a:gd name="connsiteX5" fmla="*/ 433633 w 513760"/>
                    <a:gd name="connsiteY5" fmla="*/ 179109 h 716437"/>
                    <a:gd name="connsiteX6" fmla="*/ 419492 w 513760"/>
                    <a:gd name="connsiteY6" fmla="*/ 207389 h 716437"/>
                    <a:gd name="connsiteX7" fmla="*/ 419492 w 513760"/>
                    <a:gd name="connsiteY7" fmla="*/ 259237 h 716437"/>
                    <a:gd name="connsiteX8" fmla="*/ 410066 w 513760"/>
                    <a:gd name="connsiteY8" fmla="*/ 306371 h 716437"/>
                    <a:gd name="connsiteX9" fmla="*/ 405352 w 513760"/>
                    <a:gd name="connsiteY9" fmla="*/ 320511 h 716437"/>
                    <a:gd name="connsiteX10" fmla="*/ 391212 w 513760"/>
                    <a:gd name="connsiteY10" fmla="*/ 329938 h 716437"/>
                    <a:gd name="connsiteX11" fmla="*/ 381785 w 513760"/>
                    <a:gd name="connsiteY11" fmla="*/ 344078 h 716437"/>
                    <a:gd name="connsiteX12" fmla="*/ 367645 w 513760"/>
                    <a:gd name="connsiteY12" fmla="*/ 353505 h 716437"/>
                    <a:gd name="connsiteX13" fmla="*/ 362932 w 513760"/>
                    <a:gd name="connsiteY13" fmla="*/ 367645 h 716437"/>
                    <a:gd name="connsiteX14" fmla="*/ 329938 w 513760"/>
                    <a:gd name="connsiteY14" fmla="*/ 405352 h 716437"/>
                    <a:gd name="connsiteX15" fmla="*/ 306371 w 513760"/>
                    <a:gd name="connsiteY15" fmla="*/ 428919 h 716437"/>
                    <a:gd name="connsiteX16" fmla="*/ 249810 w 513760"/>
                    <a:gd name="connsiteY16" fmla="*/ 476053 h 716437"/>
                    <a:gd name="connsiteX17" fmla="*/ 207389 w 513760"/>
                    <a:gd name="connsiteY17" fmla="*/ 490194 h 716437"/>
                    <a:gd name="connsiteX18" fmla="*/ 193249 w 513760"/>
                    <a:gd name="connsiteY18" fmla="*/ 494907 h 716437"/>
                    <a:gd name="connsiteX19" fmla="*/ 179109 w 513760"/>
                    <a:gd name="connsiteY19" fmla="*/ 504334 h 716437"/>
                    <a:gd name="connsiteX20" fmla="*/ 150828 w 513760"/>
                    <a:gd name="connsiteY20" fmla="*/ 513761 h 716437"/>
                    <a:gd name="connsiteX21" fmla="*/ 122548 w 513760"/>
                    <a:gd name="connsiteY21" fmla="*/ 532614 h 716437"/>
                    <a:gd name="connsiteX22" fmla="*/ 108408 w 513760"/>
                    <a:gd name="connsiteY22" fmla="*/ 537328 h 716437"/>
                    <a:gd name="connsiteX23" fmla="*/ 89554 w 513760"/>
                    <a:gd name="connsiteY23" fmla="*/ 542041 h 716437"/>
                    <a:gd name="connsiteX24" fmla="*/ 70700 w 513760"/>
                    <a:gd name="connsiteY24" fmla="*/ 570322 h 716437"/>
                    <a:gd name="connsiteX25" fmla="*/ 47133 w 513760"/>
                    <a:gd name="connsiteY25" fmla="*/ 617455 h 716437"/>
                    <a:gd name="connsiteX26" fmla="*/ 18854 w 513760"/>
                    <a:gd name="connsiteY26" fmla="*/ 664590 h 716437"/>
                    <a:gd name="connsiteX27" fmla="*/ 0 w 513760"/>
                    <a:gd name="connsiteY27" fmla="*/ 716437 h 7164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513760" h="716437">
                      <a:moveTo>
                        <a:pt x="513760" y="0"/>
                      </a:moveTo>
                      <a:cubicBezTo>
                        <a:pt x="511359" y="3002"/>
                        <a:pt x="489231" y="29268"/>
                        <a:pt x="485480" y="37707"/>
                      </a:cubicBezTo>
                      <a:cubicBezTo>
                        <a:pt x="481444" y="46787"/>
                        <a:pt x="476053" y="65987"/>
                        <a:pt x="476053" y="65987"/>
                      </a:cubicBezTo>
                      <a:cubicBezTo>
                        <a:pt x="474482" y="80127"/>
                        <a:pt x="473679" y="94374"/>
                        <a:pt x="471340" y="108408"/>
                      </a:cubicBezTo>
                      <a:cubicBezTo>
                        <a:pt x="466604" y="136823"/>
                        <a:pt x="461261" y="110371"/>
                        <a:pt x="447773" y="150829"/>
                      </a:cubicBezTo>
                      <a:cubicBezTo>
                        <a:pt x="435924" y="186371"/>
                        <a:pt x="451907" y="142561"/>
                        <a:pt x="433633" y="179109"/>
                      </a:cubicBezTo>
                      <a:cubicBezTo>
                        <a:pt x="414123" y="218129"/>
                        <a:pt x="446502" y="166875"/>
                        <a:pt x="419492" y="207389"/>
                      </a:cubicBezTo>
                      <a:cubicBezTo>
                        <a:pt x="407151" y="244419"/>
                        <a:pt x="423400" y="188884"/>
                        <a:pt x="419492" y="259237"/>
                      </a:cubicBezTo>
                      <a:cubicBezTo>
                        <a:pt x="418603" y="275235"/>
                        <a:pt x="413669" y="290759"/>
                        <a:pt x="410066" y="306371"/>
                      </a:cubicBezTo>
                      <a:cubicBezTo>
                        <a:pt x="408949" y="311212"/>
                        <a:pt x="408456" y="316631"/>
                        <a:pt x="405352" y="320511"/>
                      </a:cubicBezTo>
                      <a:cubicBezTo>
                        <a:pt x="401813" y="324934"/>
                        <a:pt x="395925" y="326796"/>
                        <a:pt x="391212" y="329938"/>
                      </a:cubicBezTo>
                      <a:cubicBezTo>
                        <a:pt x="388070" y="334651"/>
                        <a:pt x="385791" y="340072"/>
                        <a:pt x="381785" y="344078"/>
                      </a:cubicBezTo>
                      <a:cubicBezTo>
                        <a:pt x="377779" y="348084"/>
                        <a:pt x="371184" y="349081"/>
                        <a:pt x="367645" y="353505"/>
                      </a:cubicBezTo>
                      <a:cubicBezTo>
                        <a:pt x="364541" y="357385"/>
                        <a:pt x="365345" y="363302"/>
                        <a:pt x="362932" y="367645"/>
                      </a:cubicBezTo>
                      <a:cubicBezTo>
                        <a:pt x="346758" y="396758"/>
                        <a:pt x="350594" y="391582"/>
                        <a:pt x="329938" y="405352"/>
                      </a:cubicBezTo>
                      <a:cubicBezTo>
                        <a:pt x="310512" y="434492"/>
                        <a:pt x="332081" y="406066"/>
                        <a:pt x="306371" y="428919"/>
                      </a:cubicBezTo>
                      <a:cubicBezTo>
                        <a:pt x="290618" y="442922"/>
                        <a:pt x="271729" y="468746"/>
                        <a:pt x="249810" y="476053"/>
                      </a:cubicBezTo>
                      <a:lnTo>
                        <a:pt x="207389" y="490194"/>
                      </a:lnTo>
                      <a:lnTo>
                        <a:pt x="193249" y="494907"/>
                      </a:lnTo>
                      <a:cubicBezTo>
                        <a:pt x="188536" y="498049"/>
                        <a:pt x="184286" y="502033"/>
                        <a:pt x="179109" y="504334"/>
                      </a:cubicBezTo>
                      <a:cubicBezTo>
                        <a:pt x="170029" y="508370"/>
                        <a:pt x="159096" y="508249"/>
                        <a:pt x="150828" y="513761"/>
                      </a:cubicBezTo>
                      <a:cubicBezTo>
                        <a:pt x="141401" y="520045"/>
                        <a:pt x="133296" y="529031"/>
                        <a:pt x="122548" y="532614"/>
                      </a:cubicBezTo>
                      <a:cubicBezTo>
                        <a:pt x="117835" y="534185"/>
                        <a:pt x="113907" y="535757"/>
                        <a:pt x="108408" y="537328"/>
                      </a:cubicBezTo>
                      <a:cubicBezTo>
                        <a:pt x="102909" y="538899"/>
                        <a:pt x="128791" y="532231"/>
                        <a:pt x="89554" y="542041"/>
                      </a:cubicBezTo>
                      <a:cubicBezTo>
                        <a:pt x="75415" y="551467"/>
                        <a:pt x="77770" y="557753"/>
                        <a:pt x="70700" y="570322"/>
                      </a:cubicBezTo>
                      <a:cubicBezTo>
                        <a:pt x="63630" y="582891"/>
                        <a:pt x="55774" y="601744"/>
                        <a:pt x="47133" y="617455"/>
                      </a:cubicBezTo>
                      <a:cubicBezTo>
                        <a:pt x="38492" y="633166"/>
                        <a:pt x="26710" y="648093"/>
                        <a:pt x="18854" y="664590"/>
                      </a:cubicBezTo>
                      <a:cubicBezTo>
                        <a:pt x="10999" y="681087"/>
                        <a:pt x="4910" y="698762"/>
                        <a:pt x="0" y="716437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7" name="Forma livre 825"/>
                <p:cNvSpPr/>
                <p:nvPr/>
              </p:nvSpPr>
              <p:spPr>
                <a:xfrm>
                  <a:off x="4996206" y="3973398"/>
                  <a:ext cx="329938" cy="254524"/>
                </a:xfrm>
                <a:custGeom>
                  <a:avLst/>
                  <a:gdLst>
                    <a:gd name="connsiteX0" fmla="*/ 0 w 329938"/>
                    <a:gd name="connsiteY0" fmla="*/ 254524 h 254524"/>
                    <a:gd name="connsiteX1" fmla="*/ 23567 w 329938"/>
                    <a:gd name="connsiteY1" fmla="*/ 240383 h 254524"/>
                    <a:gd name="connsiteX2" fmla="*/ 51848 w 329938"/>
                    <a:gd name="connsiteY2" fmla="*/ 230957 h 254524"/>
                    <a:gd name="connsiteX3" fmla="*/ 65988 w 329938"/>
                    <a:gd name="connsiteY3" fmla="*/ 226243 h 254524"/>
                    <a:gd name="connsiteX4" fmla="*/ 80128 w 329938"/>
                    <a:gd name="connsiteY4" fmla="*/ 216816 h 254524"/>
                    <a:gd name="connsiteX5" fmla="*/ 108408 w 329938"/>
                    <a:gd name="connsiteY5" fmla="*/ 207390 h 254524"/>
                    <a:gd name="connsiteX6" fmla="*/ 122549 w 329938"/>
                    <a:gd name="connsiteY6" fmla="*/ 197963 h 254524"/>
                    <a:gd name="connsiteX7" fmla="*/ 127262 w 329938"/>
                    <a:gd name="connsiteY7" fmla="*/ 174396 h 254524"/>
                    <a:gd name="connsiteX8" fmla="*/ 164969 w 329938"/>
                    <a:gd name="connsiteY8" fmla="*/ 169682 h 254524"/>
                    <a:gd name="connsiteX9" fmla="*/ 183823 w 329938"/>
                    <a:gd name="connsiteY9" fmla="*/ 150829 h 254524"/>
                    <a:gd name="connsiteX10" fmla="*/ 202676 w 329938"/>
                    <a:gd name="connsiteY10" fmla="*/ 122548 h 254524"/>
                    <a:gd name="connsiteX11" fmla="*/ 207390 w 329938"/>
                    <a:gd name="connsiteY11" fmla="*/ 103695 h 254524"/>
                    <a:gd name="connsiteX12" fmla="*/ 212103 w 329938"/>
                    <a:gd name="connsiteY12" fmla="*/ 56561 h 254524"/>
                    <a:gd name="connsiteX13" fmla="*/ 226243 w 329938"/>
                    <a:gd name="connsiteY13" fmla="*/ 51847 h 254524"/>
                    <a:gd name="connsiteX14" fmla="*/ 240384 w 329938"/>
                    <a:gd name="connsiteY14" fmla="*/ 42421 h 254524"/>
                    <a:gd name="connsiteX15" fmla="*/ 254524 w 329938"/>
                    <a:gd name="connsiteY15" fmla="*/ 14140 h 254524"/>
                    <a:gd name="connsiteX16" fmla="*/ 268664 w 329938"/>
                    <a:gd name="connsiteY16" fmla="*/ 4713 h 254524"/>
                    <a:gd name="connsiteX17" fmla="*/ 282804 w 329938"/>
                    <a:gd name="connsiteY17" fmla="*/ 9427 h 254524"/>
                    <a:gd name="connsiteX18" fmla="*/ 301658 w 329938"/>
                    <a:gd name="connsiteY18" fmla="*/ 28280 h 254524"/>
                    <a:gd name="connsiteX19" fmla="*/ 315798 w 329938"/>
                    <a:gd name="connsiteY19" fmla="*/ 18854 h 254524"/>
                    <a:gd name="connsiteX20" fmla="*/ 325225 w 329938"/>
                    <a:gd name="connsiteY20" fmla="*/ 4713 h 254524"/>
                    <a:gd name="connsiteX21" fmla="*/ 329938 w 329938"/>
                    <a:gd name="connsiteY21" fmla="*/ 0 h 254524"/>
                    <a:gd name="connsiteX0" fmla="*/ 0 w 329938"/>
                    <a:gd name="connsiteY0" fmla="*/ 254524 h 254524"/>
                    <a:gd name="connsiteX1" fmla="*/ 23567 w 329938"/>
                    <a:gd name="connsiteY1" fmla="*/ 240383 h 254524"/>
                    <a:gd name="connsiteX2" fmla="*/ 51848 w 329938"/>
                    <a:gd name="connsiteY2" fmla="*/ 230957 h 254524"/>
                    <a:gd name="connsiteX3" fmla="*/ 65988 w 329938"/>
                    <a:gd name="connsiteY3" fmla="*/ 226243 h 254524"/>
                    <a:gd name="connsiteX4" fmla="*/ 80128 w 329938"/>
                    <a:gd name="connsiteY4" fmla="*/ 216816 h 254524"/>
                    <a:gd name="connsiteX5" fmla="*/ 108408 w 329938"/>
                    <a:gd name="connsiteY5" fmla="*/ 207390 h 254524"/>
                    <a:gd name="connsiteX6" fmla="*/ 122549 w 329938"/>
                    <a:gd name="connsiteY6" fmla="*/ 197963 h 254524"/>
                    <a:gd name="connsiteX7" fmla="*/ 127262 w 329938"/>
                    <a:gd name="connsiteY7" fmla="*/ 174396 h 254524"/>
                    <a:gd name="connsiteX8" fmla="*/ 164969 w 329938"/>
                    <a:gd name="connsiteY8" fmla="*/ 169682 h 254524"/>
                    <a:gd name="connsiteX9" fmla="*/ 202676 w 329938"/>
                    <a:gd name="connsiteY9" fmla="*/ 122548 h 254524"/>
                    <a:gd name="connsiteX10" fmla="*/ 207390 w 329938"/>
                    <a:gd name="connsiteY10" fmla="*/ 103695 h 254524"/>
                    <a:gd name="connsiteX11" fmla="*/ 212103 w 329938"/>
                    <a:gd name="connsiteY11" fmla="*/ 56561 h 254524"/>
                    <a:gd name="connsiteX12" fmla="*/ 226243 w 329938"/>
                    <a:gd name="connsiteY12" fmla="*/ 51847 h 254524"/>
                    <a:gd name="connsiteX13" fmla="*/ 240384 w 329938"/>
                    <a:gd name="connsiteY13" fmla="*/ 42421 h 254524"/>
                    <a:gd name="connsiteX14" fmla="*/ 254524 w 329938"/>
                    <a:gd name="connsiteY14" fmla="*/ 14140 h 254524"/>
                    <a:gd name="connsiteX15" fmla="*/ 268664 w 329938"/>
                    <a:gd name="connsiteY15" fmla="*/ 4713 h 254524"/>
                    <a:gd name="connsiteX16" fmla="*/ 282804 w 329938"/>
                    <a:gd name="connsiteY16" fmla="*/ 9427 h 254524"/>
                    <a:gd name="connsiteX17" fmla="*/ 301658 w 329938"/>
                    <a:gd name="connsiteY17" fmla="*/ 28280 h 254524"/>
                    <a:gd name="connsiteX18" fmla="*/ 315798 w 329938"/>
                    <a:gd name="connsiteY18" fmla="*/ 18854 h 254524"/>
                    <a:gd name="connsiteX19" fmla="*/ 325225 w 329938"/>
                    <a:gd name="connsiteY19" fmla="*/ 4713 h 254524"/>
                    <a:gd name="connsiteX20" fmla="*/ 329938 w 329938"/>
                    <a:gd name="connsiteY20" fmla="*/ 0 h 254524"/>
                    <a:gd name="connsiteX0" fmla="*/ 0 w 329938"/>
                    <a:gd name="connsiteY0" fmla="*/ 254524 h 254524"/>
                    <a:gd name="connsiteX1" fmla="*/ 23567 w 329938"/>
                    <a:gd name="connsiteY1" fmla="*/ 240383 h 254524"/>
                    <a:gd name="connsiteX2" fmla="*/ 51848 w 329938"/>
                    <a:gd name="connsiteY2" fmla="*/ 230957 h 254524"/>
                    <a:gd name="connsiteX3" fmla="*/ 65988 w 329938"/>
                    <a:gd name="connsiteY3" fmla="*/ 226243 h 254524"/>
                    <a:gd name="connsiteX4" fmla="*/ 80128 w 329938"/>
                    <a:gd name="connsiteY4" fmla="*/ 216816 h 254524"/>
                    <a:gd name="connsiteX5" fmla="*/ 108408 w 329938"/>
                    <a:gd name="connsiteY5" fmla="*/ 207390 h 254524"/>
                    <a:gd name="connsiteX6" fmla="*/ 122549 w 329938"/>
                    <a:gd name="connsiteY6" fmla="*/ 197963 h 254524"/>
                    <a:gd name="connsiteX7" fmla="*/ 127262 w 329938"/>
                    <a:gd name="connsiteY7" fmla="*/ 174396 h 254524"/>
                    <a:gd name="connsiteX8" fmla="*/ 202676 w 329938"/>
                    <a:gd name="connsiteY8" fmla="*/ 122548 h 254524"/>
                    <a:gd name="connsiteX9" fmla="*/ 207390 w 329938"/>
                    <a:gd name="connsiteY9" fmla="*/ 103695 h 254524"/>
                    <a:gd name="connsiteX10" fmla="*/ 212103 w 329938"/>
                    <a:gd name="connsiteY10" fmla="*/ 56561 h 254524"/>
                    <a:gd name="connsiteX11" fmla="*/ 226243 w 329938"/>
                    <a:gd name="connsiteY11" fmla="*/ 51847 h 254524"/>
                    <a:gd name="connsiteX12" fmla="*/ 240384 w 329938"/>
                    <a:gd name="connsiteY12" fmla="*/ 42421 h 254524"/>
                    <a:gd name="connsiteX13" fmla="*/ 254524 w 329938"/>
                    <a:gd name="connsiteY13" fmla="*/ 14140 h 254524"/>
                    <a:gd name="connsiteX14" fmla="*/ 268664 w 329938"/>
                    <a:gd name="connsiteY14" fmla="*/ 4713 h 254524"/>
                    <a:gd name="connsiteX15" fmla="*/ 282804 w 329938"/>
                    <a:gd name="connsiteY15" fmla="*/ 9427 h 254524"/>
                    <a:gd name="connsiteX16" fmla="*/ 301658 w 329938"/>
                    <a:gd name="connsiteY16" fmla="*/ 28280 h 254524"/>
                    <a:gd name="connsiteX17" fmla="*/ 315798 w 329938"/>
                    <a:gd name="connsiteY17" fmla="*/ 18854 h 254524"/>
                    <a:gd name="connsiteX18" fmla="*/ 325225 w 329938"/>
                    <a:gd name="connsiteY18" fmla="*/ 4713 h 254524"/>
                    <a:gd name="connsiteX19" fmla="*/ 329938 w 329938"/>
                    <a:gd name="connsiteY19" fmla="*/ 0 h 254524"/>
                    <a:gd name="connsiteX0" fmla="*/ 0 w 329938"/>
                    <a:gd name="connsiteY0" fmla="*/ 254524 h 254524"/>
                    <a:gd name="connsiteX1" fmla="*/ 23567 w 329938"/>
                    <a:gd name="connsiteY1" fmla="*/ 240383 h 254524"/>
                    <a:gd name="connsiteX2" fmla="*/ 51848 w 329938"/>
                    <a:gd name="connsiteY2" fmla="*/ 230957 h 254524"/>
                    <a:gd name="connsiteX3" fmla="*/ 65988 w 329938"/>
                    <a:gd name="connsiteY3" fmla="*/ 226243 h 254524"/>
                    <a:gd name="connsiteX4" fmla="*/ 80128 w 329938"/>
                    <a:gd name="connsiteY4" fmla="*/ 216816 h 254524"/>
                    <a:gd name="connsiteX5" fmla="*/ 108408 w 329938"/>
                    <a:gd name="connsiteY5" fmla="*/ 207390 h 254524"/>
                    <a:gd name="connsiteX6" fmla="*/ 122549 w 329938"/>
                    <a:gd name="connsiteY6" fmla="*/ 197963 h 254524"/>
                    <a:gd name="connsiteX7" fmla="*/ 155543 w 329938"/>
                    <a:gd name="connsiteY7" fmla="*/ 164969 h 254524"/>
                    <a:gd name="connsiteX8" fmla="*/ 202676 w 329938"/>
                    <a:gd name="connsiteY8" fmla="*/ 122548 h 254524"/>
                    <a:gd name="connsiteX9" fmla="*/ 207390 w 329938"/>
                    <a:gd name="connsiteY9" fmla="*/ 103695 h 254524"/>
                    <a:gd name="connsiteX10" fmla="*/ 212103 w 329938"/>
                    <a:gd name="connsiteY10" fmla="*/ 56561 h 254524"/>
                    <a:gd name="connsiteX11" fmla="*/ 226243 w 329938"/>
                    <a:gd name="connsiteY11" fmla="*/ 51847 h 254524"/>
                    <a:gd name="connsiteX12" fmla="*/ 240384 w 329938"/>
                    <a:gd name="connsiteY12" fmla="*/ 42421 h 254524"/>
                    <a:gd name="connsiteX13" fmla="*/ 254524 w 329938"/>
                    <a:gd name="connsiteY13" fmla="*/ 14140 h 254524"/>
                    <a:gd name="connsiteX14" fmla="*/ 268664 w 329938"/>
                    <a:gd name="connsiteY14" fmla="*/ 4713 h 254524"/>
                    <a:gd name="connsiteX15" fmla="*/ 282804 w 329938"/>
                    <a:gd name="connsiteY15" fmla="*/ 9427 h 254524"/>
                    <a:gd name="connsiteX16" fmla="*/ 301658 w 329938"/>
                    <a:gd name="connsiteY16" fmla="*/ 28280 h 254524"/>
                    <a:gd name="connsiteX17" fmla="*/ 315798 w 329938"/>
                    <a:gd name="connsiteY17" fmla="*/ 18854 h 254524"/>
                    <a:gd name="connsiteX18" fmla="*/ 325225 w 329938"/>
                    <a:gd name="connsiteY18" fmla="*/ 4713 h 254524"/>
                    <a:gd name="connsiteX19" fmla="*/ 329938 w 329938"/>
                    <a:gd name="connsiteY19" fmla="*/ 0 h 254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329938" h="254524">
                      <a:moveTo>
                        <a:pt x="0" y="254524"/>
                      </a:moveTo>
                      <a:cubicBezTo>
                        <a:pt x="7856" y="249810"/>
                        <a:pt x="15227" y="244174"/>
                        <a:pt x="23567" y="240383"/>
                      </a:cubicBezTo>
                      <a:cubicBezTo>
                        <a:pt x="32613" y="236271"/>
                        <a:pt x="42421" y="234099"/>
                        <a:pt x="51848" y="230957"/>
                      </a:cubicBezTo>
                      <a:cubicBezTo>
                        <a:pt x="56561" y="229386"/>
                        <a:pt x="61854" y="228999"/>
                        <a:pt x="65988" y="226243"/>
                      </a:cubicBezTo>
                      <a:cubicBezTo>
                        <a:pt x="70701" y="223101"/>
                        <a:pt x="74951" y="219117"/>
                        <a:pt x="80128" y="216816"/>
                      </a:cubicBezTo>
                      <a:cubicBezTo>
                        <a:pt x="89208" y="212780"/>
                        <a:pt x="108408" y="207390"/>
                        <a:pt x="108408" y="207390"/>
                      </a:cubicBezTo>
                      <a:cubicBezTo>
                        <a:pt x="113122" y="204248"/>
                        <a:pt x="114693" y="205033"/>
                        <a:pt x="122549" y="197963"/>
                      </a:cubicBezTo>
                      <a:cubicBezTo>
                        <a:pt x="130405" y="190893"/>
                        <a:pt x="142189" y="177538"/>
                        <a:pt x="155543" y="164969"/>
                      </a:cubicBezTo>
                      <a:cubicBezTo>
                        <a:pt x="168898" y="152400"/>
                        <a:pt x="194035" y="132760"/>
                        <a:pt x="202676" y="122548"/>
                      </a:cubicBezTo>
                      <a:cubicBezTo>
                        <a:pt x="211317" y="112336"/>
                        <a:pt x="206474" y="110108"/>
                        <a:pt x="207390" y="103695"/>
                      </a:cubicBezTo>
                      <a:cubicBezTo>
                        <a:pt x="209623" y="88064"/>
                        <a:pt x="206707" y="71400"/>
                        <a:pt x="212103" y="56561"/>
                      </a:cubicBezTo>
                      <a:cubicBezTo>
                        <a:pt x="213801" y="51892"/>
                        <a:pt x="221799" y="54069"/>
                        <a:pt x="226243" y="51847"/>
                      </a:cubicBezTo>
                      <a:cubicBezTo>
                        <a:pt x="231310" y="49314"/>
                        <a:pt x="235670" y="45563"/>
                        <a:pt x="240384" y="42421"/>
                      </a:cubicBezTo>
                      <a:cubicBezTo>
                        <a:pt x="244218" y="30919"/>
                        <a:pt x="245386" y="23278"/>
                        <a:pt x="254524" y="14140"/>
                      </a:cubicBezTo>
                      <a:cubicBezTo>
                        <a:pt x="258530" y="10134"/>
                        <a:pt x="263951" y="7855"/>
                        <a:pt x="268664" y="4713"/>
                      </a:cubicBezTo>
                      <a:cubicBezTo>
                        <a:pt x="273377" y="6284"/>
                        <a:pt x="279291" y="5914"/>
                        <a:pt x="282804" y="9427"/>
                      </a:cubicBezTo>
                      <a:cubicBezTo>
                        <a:pt x="307941" y="34564"/>
                        <a:pt x="263954" y="15713"/>
                        <a:pt x="301658" y="28280"/>
                      </a:cubicBezTo>
                      <a:cubicBezTo>
                        <a:pt x="306371" y="25138"/>
                        <a:pt x="311793" y="22859"/>
                        <a:pt x="315798" y="18854"/>
                      </a:cubicBezTo>
                      <a:cubicBezTo>
                        <a:pt x="319804" y="14848"/>
                        <a:pt x="321826" y="9245"/>
                        <a:pt x="325225" y="4713"/>
                      </a:cubicBezTo>
                      <a:cubicBezTo>
                        <a:pt x="326558" y="2936"/>
                        <a:pt x="328367" y="1571"/>
                        <a:pt x="329938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8" name="Forma livre 826"/>
                <p:cNvSpPr/>
                <p:nvPr/>
              </p:nvSpPr>
              <p:spPr>
                <a:xfrm>
                  <a:off x="5349711" y="3812649"/>
                  <a:ext cx="278091" cy="104358"/>
                </a:xfrm>
                <a:custGeom>
                  <a:avLst/>
                  <a:gdLst>
                    <a:gd name="connsiteX0" fmla="*/ 0 w 278091"/>
                    <a:gd name="connsiteY0" fmla="*/ 99475 h 104358"/>
                    <a:gd name="connsiteX1" fmla="*/ 70701 w 278091"/>
                    <a:gd name="connsiteY1" fmla="*/ 99475 h 104358"/>
                    <a:gd name="connsiteX2" fmla="*/ 80128 w 278091"/>
                    <a:gd name="connsiteY2" fmla="*/ 85335 h 104358"/>
                    <a:gd name="connsiteX3" fmla="*/ 94268 w 278091"/>
                    <a:gd name="connsiteY3" fmla="*/ 75908 h 104358"/>
                    <a:gd name="connsiteX4" fmla="*/ 155543 w 278091"/>
                    <a:gd name="connsiteY4" fmla="*/ 66481 h 104358"/>
                    <a:gd name="connsiteX5" fmla="*/ 179110 w 278091"/>
                    <a:gd name="connsiteY5" fmla="*/ 47627 h 104358"/>
                    <a:gd name="connsiteX6" fmla="*/ 207390 w 278091"/>
                    <a:gd name="connsiteY6" fmla="*/ 38200 h 104358"/>
                    <a:gd name="connsiteX7" fmla="*/ 249811 w 278091"/>
                    <a:gd name="connsiteY7" fmla="*/ 28774 h 104358"/>
                    <a:gd name="connsiteX8" fmla="*/ 263951 w 278091"/>
                    <a:gd name="connsiteY8" fmla="*/ 14633 h 104358"/>
                    <a:gd name="connsiteX9" fmla="*/ 273378 w 278091"/>
                    <a:gd name="connsiteY9" fmla="*/ 493 h 104358"/>
                    <a:gd name="connsiteX10" fmla="*/ 278091 w 278091"/>
                    <a:gd name="connsiteY10" fmla="*/ 493 h 104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278091" h="104358">
                      <a:moveTo>
                        <a:pt x="0" y="99475"/>
                      </a:moveTo>
                      <a:cubicBezTo>
                        <a:pt x="21234" y="102129"/>
                        <a:pt x="49284" y="108993"/>
                        <a:pt x="70701" y="99475"/>
                      </a:cubicBezTo>
                      <a:cubicBezTo>
                        <a:pt x="75878" y="97174"/>
                        <a:pt x="76122" y="89341"/>
                        <a:pt x="80128" y="85335"/>
                      </a:cubicBezTo>
                      <a:cubicBezTo>
                        <a:pt x="84134" y="81329"/>
                        <a:pt x="89061" y="78140"/>
                        <a:pt x="94268" y="75908"/>
                      </a:cubicBezTo>
                      <a:cubicBezTo>
                        <a:pt x="108558" y="69784"/>
                        <a:pt x="147021" y="67428"/>
                        <a:pt x="155543" y="66481"/>
                      </a:cubicBezTo>
                      <a:cubicBezTo>
                        <a:pt x="207116" y="49288"/>
                        <a:pt x="130375" y="78087"/>
                        <a:pt x="179110" y="47627"/>
                      </a:cubicBezTo>
                      <a:cubicBezTo>
                        <a:pt x="187536" y="42361"/>
                        <a:pt x="197963" y="41342"/>
                        <a:pt x="207390" y="38200"/>
                      </a:cubicBezTo>
                      <a:cubicBezTo>
                        <a:pt x="230593" y="30466"/>
                        <a:pt x="216636" y="34303"/>
                        <a:pt x="249811" y="28774"/>
                      </a:cubicBezTo>
                      <a:cubicBezTo>
                        <a:pt x="254524" y="24060"/>
                        <a:pt x="259684" y="19754"/>
                        <a:pt x="263951" y="14633"/>
                      </a:cubicBezTo>
                      <a:cubicBezTo>
                        <a:pt x="267577" y="10281"/>
                        <a:pt x="269372" y="4499"/>
                        <a:pt x="273378" y="493"/>
                      </a:cubicBezTo>
                      <a:cubicBezTo>
                        <a:pt x="274489" y="-618"/>
                        <a:pt x="276520" y="493"/>
                        <a:pt x="278091" y="493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79" name="Forma livre 827"/>
                <p:cNvSpPr/>
                <p:nvPr/>
              </p:nvSpPr>
              <p:spPr>
                <a:xfrm>
                  <a:off x="3700021" y="3242821"/>
                  <a:ext cx="113121" cy="858151"/>
                </a:xfrm>
                <a:custGeom>
                  <a:avLst/>
                  <a:gdLst>
                    <a:gd name="connsiteX0" fmla="*/ 84841 w 113121"/>
                    <a:gd name="connsiteY0" fmla="*/ 0 h 858151"/>
                    <a:gd name="connsiteX1" fmla="*/ 80127 w 113121"/>
                    <a:gd name="connsiteY1" fmla="*/ 28280 h 858151"/>
                    <a:gd name="connsiteX2" fmla="*/ 61274 w 113121"/>
                    <a:gd name="connsiteY2" fmla="*/ 56560 h 858151"/>
                    <a:gd name="connsiteX3" fmla="*/ 56560 w 113121"/>
                    <a:gd name="connsiteY3" fmla="*/ 75414 h 858151"/>
                    <a:gd name="connsiteX4" fmla="*/ 56560 w 113121"/>
                    <a:gd name="connsiteY4" fmla="*/ 150828 h 858151"/>
                    <a:gd name="connsiteX5" fmla="*/ 42420 w 113121"/>
                    <a:gd name="connsiteY5" fmla="*/ 164969 h 858151"/>
                    <a:gd name="connsiteX6" fmla="*/ 37707 w 113121"/>
                    <a:gd name="connsiteY6" fmla="*/ 183822 h 858151"/>
                    <a:gd name="connsiteX7" fmla="*/ 37707 w 113121"/>
                    <a:gd name="connsiteY7" fmla="*/ 221530 h 858151"/>
                    <a:gd name="connsiteX8" fmla="*/ 51847 w 113121"/>
                    <a:gd name="connsiteY8" fmla="*/ 226243 h 858151"/>
                    <a:gd name="connsiteX9" fmla="*/ 18853 w 113121"/>
                    <a:gd name="connsiteY9" fmla="*/ 263950 h 858151"/>
                    <a:gd name="connsiteX10" fmla="*/ 4713 w 113121"/>
                    <a:gd name="connsiteY10" fmla="*/ 273377 h 858151"/>
                    <a:gd name="connsiteX11" fmla="*/ 0 w 113121"/>
                    <a:gd name="connsiteY11" fmla="*/ 287517 h 858151"/>
                    <a:gd name="connsiteX12" fmla="*/ 14140 w 113121"/>
                    <a:gd name="connsiteY12" fmla="*/ 320511 h 858151"/>
                    <a:gd name="connsiteX13" fmla="*/ 28280 w 113121"/>
                    <a:gd name="connsiteY13" fmla="*/ 362932 h 858151"/>
                    <a:gd name="connsiteX14" fmla="*/ 32993 w 113121"/>
                    <a:gd name="connsiteY14" fmla="*/ 377072 h 858151"/>
                    <a:gd name="connsiteX15" fmla="*/ 18853 w 113121"/>
                    <a:gd name="connsiteY15" fmla="*/ 457200 h 858151"/>
                    <a:gd name="connsiteX16" fmla="*/ 9426 w 113121"/>
                    <a:gd name="connsiteY16" fmla="*/ 471340 h 858151"/>
                    <a:gd name="connsiteX17" fmla="*/ 23567 w 113121"/>
                    <a:gd name="connsiteY17" fmla="*/ 537327 h 858151"/>
                    <a:gd name="connsiteX18" fmla="*/ 28280 w 113121"/>
                    <a:gd name="connsiteY18" fmla="*/ 551468 h 858151"/>
                    <a:gd name="connsiteX19" fmla="*/ 32993 w 113121"/>
                    <a:gd name="connsiteY19" fmla="*/ 565608 h 858151"/>
                    <a:gd name="connsiteX20" fmla="*/ 61274 w 113121"/>
                    <a:gd name="connsiteY20" fmla="*/ 584461 h 858151"/>
                    <a:gd name="connsiteX21" fmla="*/ 75414 w 113121"/>
                    <a:gd name="connsiteY21" fmla="*/ 593888 h 858151"/>
                    <a:gd name="connsiteX22" fmla="*/ 89554 w 113121"/>
                    <a:gd name="connsiteY22" fmla="*/ 608028 h 858151"/>
                    <a:gd name="connsiteX23" fmla="*/ 94268 w 113121"/>
                    <a:gd name="connsiteY23" fmla="*/ 626882 h 858151"/>
                    <a:gd name="connsiteX24" fmla="*/ 103694 w 113121"/>
                    <a:gd name="connsiteY24" fmla="*/ 655163 h 858151"/>
                    <a:gd name="connsiteX25" fmla="*/ 94268 w 113121"/>
                    <a:gd name="connsiteY25" fmla="*/ 697583 h 858151"/>
                    <a:gd name="connsiteX26" fmla="*/ 84841 w 113121"/>
                    <a:gd name="connsiteY26" fmla="*/ 711723 h 858151"/>
                    <a:gd name="connsiteX27" fmla="*/ 84841 w 113121"/>
                    <a:gd name="connsiteY27" fmla="*/ 834272 h 858151"/>
                    <a:gd name="connsiteX28" fmla="*/ 108408 w 113121"/>
                    <a:gd name="connsiteY28" fmla="*/ 857839 h 858151"/>
                    <a:gd name="connsiteX29" fmla="*/ 113121 w 113121"/>
                    <a:gd name="connsiteY29" fmla="*/ 857839 h 8581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13121" h="858151">
                      <a:moveTo>
                        <a:pt x="84841" y="0"/>
                      </a:moveTo>
                      <a:cubicBezTo>
                        <a:pt x="83270" y="9427"/>
                        <a:pt x="83803" y="19458"/>
                        <a:pt x="80127" y="28280"/>
                      </a:cubicBezTo>
                      <a:cubicBezTo>
                        <a:pt x="75769" y="38738"/>
                        <a:pt x="61274" y="56560"/>
                        <a:pt x="61274" y="56560"/>
                      </a:cubicBezTo>
                      <a:cubicBezTo>
                        <a:pt x="59703" y="62845"/>
                        <a:pt x="56560" y="68936"/>
                        <a:pt x="56560" y="75414"/>
                      </a:cubicBezTo>
                      <a:cubicBezTo>
                        <a:pt x="56560" y="99521"/>
                        <a:pt x="67299" y="126666"/>
                        <a:pt x="56560" y="150828"/>
                      </a:cubicBezTo>
                      <a:cubicBezTo>
                        <a:pt x="53853" y="156919"/>
                        <a:pt x="47133" y="160255"/>
                        <a:pt x="42420" y="164969"/>
                      </a:cubicBezTo>
                      <a:cubicBezTo>
                        <a:pt x="40849" y="171253"/>
                        <a:pt x="39487" y="177594"/>
                        <a:pt x="37707" y="183822"/>
                      </a:cubicBezTo>
                      <a:cubicBezTo>
                        <a:pt x="33654" y="198008"/>
                        <a:pt x="26868" y="205272"/>
                        <a:pt x="37707" y="221530"/>
                      </a:cubicBezTo>
                      <a:cubicBezTo>
                        <a:pt x="40463" y="225664"/>
                        <a:pt x="47134" y="224672"/>
                        <a:pt x="51847" y="226243"/>
                      </a:cubicBezTo>
                      <a:cubicBezTo>
                        <a:pt x="44386" y="256089"/>
                        <a:pt x="52524" y="241503"/>
                        <a:pt x="18853" y="263950"/>
                      </a:cubicBezTo>
                      <a:lnTo>
                        <a:pt x="4713" y="273377"/>
                      </a:lnTo>
                      <a:cubicBezTo>
                        <a:pt x="3142" y="278090"/>
                        <a:pt x="0" y="282549"/>
                        <a:pt x="0" y="287517"/>
                      </a:cubicBezTo>
                      <a:cubicBezTo>
                        <a:pt x="0" y="302737"/>
                        <a:pt x="6442" y="308965"/>
                        <a:pt x="14140" y="320511"/>
                      </a:cubicBezTo>
                      <a:lnTo>
                        <a:pt x="28280" y="362932"/>
                      </a:lnTo>
                      <a:lnTo>
                        <a:pt x="32993" y="377072"/>
                      </a:lnTo>
                      <a:cubicBezTo>
                        <a:pt x="31493" y="393575"/>
                        <a:pt x="31413" y="438361"/>
                        <a:pt x="18853" y="457200"/>
                      </a:cubicBezTo>
                      <a:lnTo>
                        <a:pt x="9426" y="471340"/>
                      </a:lnTo>
                      <a:cubicBezTo>
                        <a:pt x="15373" y="518912"/>
                        <a:pt x="10134" y="497026"/>
                        <a:pt x="23567" y="537327"/>
                      </a:cubicBezTo>
                      <a:lnTo>
                        <a:pt x="28280" y="551468"/>
                      </a:lnTo>
                      <a:cubicBezTo>
                        <a:pt x="29851" y="556181"/>
                        <a:pt x="28859" y="562852"/>
                        <a:pt x="32993" y="565608"/>
                      </a:cubicBezTo>
                      <a:lnTo>
                        <a:pt x="61274" y="584461"/>
                      </a:lnTo>
                      <a:cubicBezTo>
                        <a:pt x="65987" y="587603"/>
                        <a:pt x="71408" y="589882"/>
                        <a:pt x="75414" y="593888"/>
                      </a:cubicBezTo>
                      <a:lnTo>
                        <a:pt x="89554" y="608028"/>
                      </a:lnTo>
                      <a:cubicBezTo>
                        <a:pt x="91125" y="614313"/>
                        <a:pt x="92407" y="620677"/>
                        <a:pt x="94268" y="626882"/>
                      </a:cubicBezTo>
                      <a:cubicBezTo>
                        <a:pt x="97123" y="636400"/>
                        <a:pt x="103694" y="655163"/>
                        <a:pt x="103694" y="655163"/>
                      </a:cubicBezTo>
                      <a:cubicBezTo>
                        <a:pt x="101884" y="666022"/>
                        <a:pt x="100069" y="685981"/>
                        <a:pt x="94268" y="697583"/>
                      </a:cubicBezTo>
                      <a:cubicBezTo>
                        <a:pt x="91735" y="702650"/>
                        <a:pt x="87983" y="707010"/>
                        <a:pt x="84841" y="711723"/>
                      </a:cubicBezTo>
                      <a:cubicBezTo>
                        <a:pt x="79735" y="762779"/>
                        <a:pt x="75769" y="776821"/>
                        <a:pt x="84841" y="834272"/>
                      </a:cubicBezTo>
                      <a:cubicBezTo>
                        <a:pt x="86457" y="844506"/>
                        <a:pt x="100508" y="853889"/>
                        <a:pt x="108408" y="857839"/>
                      </a:cubicBezTo>
                      <a:cubicBezTo>
                        <a:pt x="109813" y="858542"/>
                        <a:pt x="111550" y="857839"/>
                        <a:pt x="113121" y="857839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0" name="Forma livre 828"/>
                <p:cNvSpPr/>
                <p:nvPr/>
              </p:nvSpPr>
              <p:spPr>
                <a:xfrm>
                  <a:off x="2799907" y="4503486"/>
                  <a:ext cx="537327" cy="221529"/>
                </a:xfrm>
                <a:custGeom>
                  <a:avLst/>
                  <a:gdLst>
                    <a:gd name="connsiteX0" fmla="*/ 0 w 537327"/>
                    <a:gd name="connsiteY0" fmla="*/ 179109 h 221529"/>
                    <a:gd name="connsiteX1" fmla="*/ 37707 w 537327"/>
                    <a:gd name="connsiteY1" fmla="*/ 188536 h 221529"/>
                    <a:gd name="connsiteX2" fmla="*/ 65987 w 537327"/>
                    <a:gd name="connsiteY2" fmla="*/ 207389 h 221529"/>
                    <a:gd name="connsiteX3" fmla="*/ 80127 w 537327"/>
                    <a:gd name="connsiteY3" fmla="*/ 216816 h 221529"/>
                    <a:gd name="connsiteX4" fmla="*/ 94268 w 537327"/>
                    <a:gd name="connsiteY4" fmla="*/ 221529 h 221529"/>
                    <a:gd name="connsiteX5" fmla="*/ 188536 w 537327"/>
                    <a:gd name="connsiteY5" fmla="*/ 216816 h 221529"/>
                    <a:gd name="connsiteX6" fmla="*/ 197963 w 537327"/>
                    <a:gd name="connsiteY6" fmla="*/ 202676 h 221529"/>
                    <a:gd name="connsiteX7" fmla="*/ 212103 w 537327"/>
                    <a:gd name="connsiteY7" fmla="*/ 188536 h 221529"/>
                    <a:gd name="connsiteX8" fmla="*/ 240383 w 537327"/>
                    <a:gd name="connsiteY8" fmla="*/ 169682 h 221529"/>
                    <a:gd name="connsiteX9" fmla="*/ 287517 w 537327"/>
                    <a:gd name="connsiteY9" fmla="*/ 155542 h 221529"/>
                    <a:gd name="connsiteX10" fmla="*/ 301657 w 537327"/>
                    <a:gd name="connsiteY10" fmla="*/ 150828 h 221529"/>
                    <a:gd name="connsiteX11" fmla="*/ 315798 w 537327"/>
                    <a:gd name="connsiteY11" fmla="*/ 141402 h 221529"/>
                    <a:gd name="connsiteX12" fmla="*/ 329938 w 537327"/>
                    <a:gd name="connsiteY12" fmla="*/ 108408 h 221529"/>
                    <a:gd name="connsiteX13" fmla="*/ 353505 w 537327"/>
                    <a:gd name="connsiteY13" fmla="*/ 103694 h 221529"/>
                    <a:gd name="connsiteX14" fmla="*/ 372358 w 537327"/>
                    <a:gd name="connsiteY14" fmla="*/ 108408 h 221529"/>
                    <a:gd name="connsiteX15" fmla="*/ 381785 w 537327"/>
                    <a:gd name="connsiteY15" fmla="*/ 122548 h 221529"/>
                    <a:gd name="connsiteX16" fmla="*/ 414779 w 537327"/>
                    <a:gd name="connsiteY16" fmla="*/ 117835 h 221529"/>
                    <a:gd name="connsiteX17" fmla="*/ 428919 w 537327"/>
                    <a:gd name="connsiteY17" fmla="*/ 108408 h 221529"/>
                    <a:gd name="connsiteX18" fmla="*/ 443059 w 537327"/>
                    <a:gd name="connsiteY18" fmla="*/ 80127 h 221529"/>
                    <a:gd name="connsiteX19" fmla="*/ 476053 w 537327"/>
                    <a:gd name="connsiteY19" fmla="*/ 75414 h 221529"/>
                    <a:gd name="connsiteX20" fmla="*/ 490193 w 537327"/>
                    <a:gd name="connsiteY20" fmla="*/ 70701 h 221529"/>
                    <a:gd name="connsiteX21" fmla="*/ 509047 w 537327"/>
                    <a:gd name="connsiteY21" fmla="*/ 28280 h 221529"/>
                    <a:gd name="connsiteX22" fmla="*/ 518474 w 537327"/>
                    <a:gd name="connsiteY22" fmla="*/ 14140 h 221529"/>
                    <a:gd name="connsiteX23" fmla="*/ 532614 w 537327"/>
                    <a:gd name="connsiteY23" fmla="*/ 4713 h 221529"/>
                    <a:gd name="connsiteX24" fmla="*/ 537327 w 537327"/>
                    <a:gd name="connsiteY24" fmla="*/ 0 h 221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537327" h="221529">
                      <a:moveTo>
                        <a:pt x="0" y="179109"/>
                      </a:moveTo>
                      <a:cubicBezTo>
                        <a:pt x="6535" y="180416"/>
                        <a:pt x="29551" y="184005"/>
                        <a:pt x="37707" y="188536"/>
                      </a:cubicBezTo>
                      <a:cubicBezTo>
                        <a:pt x="47611" y="194038"/>
                        <a:pt x="56560" y="201105"/>
                        <a:pt x="65987" y="207389"/>
                      </a:cubicBezTo>
                      <a:cubicBezTo>
                        <a:pt x="70700" y="210531"/>
                        <a:pt x="74753" y="215025"/>
                        <a:pt x="80127" y="216816"/>
                      </a:cubicBezTo>
                      <a:lnTo>
                        <a:pt x="94268" y="221529"/>
                      </a:lnTo>
                      <a:cubicBezTo>
                        <a:pt x="125691" y="219958"/>
                        <a:pt x="157582" y="222444"/>
                        <a:pt x="188536" y="216816"/>
                      </a:cubicBezTo>
                      <a:cubicBezTo>
                        <a:pt x="194109" y="215803"/>
                        <a:pt x="194336" y="207028"/>
                        <a:pt x="197963" y="202676"/>
                      </a:cubicBezTo>
                      <a:cubicBezTo>
                        <a:pt x="202230" y="197555"/>
                        <a:pt x="206841" y="192628"/>
                        <a:pt x="212103" y="188536"/>
                      </a:cubicBezTo>
                      <a:cubicBezTo>
                        <a:pt x="221046" y="181580"/>
                        <a:pt x="229392" y="172430"/>
                        <a:pt x="240383" y="169682"/>
                      </a:cubicBezTo>
                      <a:cubicBezTo>
                        <a:pt x="268874" y="162560"/>
                        <a:pt x="253096" y="167016"/>
                        <a:pt x="287517" y="155542"/>
                      </a:cubicBezTo>
                      <a:cubicBezTo>
                        <a:pt x="292230" y="153971"/>
                        <a:pt x="297523" y="153584"/>
                        <a:pt x="301657" y="150828"/>
                      </a:cubicBezTo>
                      <a:lnTo>
                        <a:pt x="315798" y="141402"/>
                      </a:lnTo>
                      <a:cubicBezTo>
                        <a:pt x="317853" y="133182"/>
                        <a:pt x="320443" y="113834"/>
                        <a:pt x="329938" y="108408"/>
                      </a:cubicBezTo>
                      <a:cubicBezTo>
                        <a:pt x="336894" y="104433"/>
                        <a:pt x="345649" y="105265"/>
                        <a:pt x="353505" y="103694"/>
                      </a:cubicBezTo>
                      <a:cubicBezTo>
                        <a:pt x="359789" y="105265"/>
                        <a:pt x="366968" y="104815"/>
                        <a:pt x="372358" y="108408"/>
                      </a:cubicBezTo>
                      <a:cubicBezTo>
                        <a:pt x="377071" y="111550"/>
                        <a:pt x="376255" y="121319"/>
                        <a:pt x="381785" y="122548"/>
                      </a:cubicBezTo>
                      <a:cubicBezTo>
                        <a:pt x="392630" y="124958"/>
                        <a:pt x="403781" y="119406"/>
                        <a:pt x="414779" y="117835"/>
                      </a:cubicBezTo>
                      <a:cubicBezTo>
                        <a:pt x="419492" y="114693"/>
                        <a:pt x="425380" y="112831"/>
                        <a:pt x="428919" y="108408"/>
                      </a:cubicBezTo>
                      <a:cubicBezTo>
                        <a:pt x="435552" y="100117"/>
                        <a:pt x="430732" y="85606"/>
                        <a:pt x="443059" y="80127"/>
                      </a:cubicBezTo>
                      <a:cubicBezTo>
                        <a:pt x="453211" y="75615"/>
                        <a:pt x="465055" y="76985"/>
                        <a:pt x="476053" y="75414"/>
                      </a:cubicBezTo>
                      <a:cubicBezTo>
                        <a:pt x="480766" y="73843"/>
                        <a:pt x="486313" y="73805"/>
                        <a:pt x="490193" y="70701"/>
                      </a:cubicBezTo>
                      <a:cubicBezTo>
                        <a:pt x="503897" y="59737"/>
                        <a:pt x="499994" y="41859"/>
                        <a:pt x="509047" y="28280"/>
                      </a:cubicBezTo>
                      <a:cubicBezTo>
                        <a:pt x="512189" y="23567"/>
                        <a:pt x="514468" y="18146"/>
                        <a:pt x="518474" y="14140"/>
                      </a:cubicBezTo>
                      <a:cubicBezTo>
                        <a:pt x="522480" y="10134"/>
                        <a:pt x="528082" y="8112"/>
                        <a:pt x="532614" y="4713"/>
                      </a:cubicBezTo>
                      <a:cubicBezTo>
                        <a:pt x="534391" y="3380"/>
                        <a:pt x="535756" y="1571"/>
                        <a:pt x="537327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1" name="Forma livre 829"/>
                <p:cNvSpPr/>
                <p:nvPr/>
              </p:nvSpPr>
              <p:spPr>
                <a:xfrm>
                  <a:off x="3370082" y="4091233"/>
                  <a:ext cx="433660" cy="292231"/>
                </a:xfrm>
                <a:custGeom>
                  <a:avLst/>
                  <a:gdLst>
                    <a:gd name="connsiteX0" fmla="*/ 0 w 433660"/>
                    <a:gd name="connsiteY0" fmla="*/ 292231 h 292231"/>
                    <a:gd name="connsiteX1" fmla="*/ 51848 w 433660"/>
                    <a:gd name="connsiteY1" fmla="*/ 278091 h 292231"/>
                    <a:gd name="connsiteX2" fmla="*/ 56561 w 433660"/>
                    <a:gd name="connsiteY2" fmla="*/ 254524 h 292231"/>
                    <a:gd name="connsiteX3" fmla="*/ 84842 w 433660"/>
                    <a:gd name="connsiteY3" fmla="*/ 259237 h 292231"/>
                    <a:gd name="connsiteX4" fmla="*/ 98982 w 433660"/>
                    <a:gd name="connsiteY4" fmla="*/ 263951 h 292231"/>
                    <a:gd name="connsiteX5" fmla="*/ 136689 w 433660"/>
                    <a:gd name="connsiteY5" fmla="*/ 259237 h 292231"/>
                    <a:gd name="connsiteX6" fmla="*/ 164970 w 433660"/>
                    <a:gd name="connsiteY6" fmla="*/ 245097 h 292231"/>
                    <a:gd name="connsiteX7" fmla="*/ 174396 w 433660"/>
                    <a:gd name="connsiteY7" fmla="*/ 230957 h 292231"/>
                    <a:gd name="connsiteX8" fmla="*/ 188537 w 433660"/>
                    <a:gd name="connsiteY8" fmla="*/ 226243 h 292231"/>
                    <a:gd name="connsiteX9" fmla="*/ 230957 w 433660"/>
                    <a:gd name="connsiteY9" fmla="*/ 193249 h 292231"/>
                    <a:gd name="connsiteX10" fmla="*/ 249811 w 433660"/>
                    <a:gd name="connsiteY10" fmla="*/ 164969 h 292231"/>
                    <a:gd name="connsiteX11" fmla="*/ 278091 w 433660"/>
                    <a:gd name="connsiteY11" fmla="*/ 146115 h 292231"/>
                    <a:gd name="connsiteX12" fmla="*/ 292231 w 433660"/>
                    <a:gd name="connsiteY12" fmla="*/ 136689 h 292231"/>
                    <a:gd name="connsiteX13" fmla="*/ 320512 w 433660"/>
                    <a:gd name="connsiteY13" fmla="*/ 127262 h 292231"/>
                    <a:gd name="connsiteX14" fmla="*/ 334652 w 433660"/>
                    <a:gd name="connsiteY14" fmla="*/ 117835 h 292231"/>
                    <a:gd name="connsiteX15" fmla="*/ 377073 w 433660"/>
                    <a:gd name="connsiteY15" fmla="*/ 98981 h 292231"/>
                    <a:gd name="connsiteX16" fmla="*/ 381786 w 433660"/>
                    <a:gd name="connsiteY16" fmla="*/ 84841 h 292231"/>
                    <a:gd name="connsiteX17" fmla="*/ 400640 w 433660"/>
                    <a:gd name="connsiteY17" fmla="*/ 56561 h 292231"/>
                    <a:gd name="connsiteX18" fmla="*/ 419493 w 433660"/>
                    <a:gd name="connsiteY18" fmla="*/ 14140 h 292231"/>
                    <a:gd name="connsiteX19" fmla="*/ 433633 w 433660"/>
                    <a:gd name="connsiteY19" fmla="*/ 0 h 292231"/>
                    <a:gd name="connsiteX0" fmla="*/ 0 w 433660"/>
                    <a:gd name="connsiteY0" fmla="*/ 292231 h 292231"/>
                    <a:gd name="connsiteX1" fmla="*/ 51848 w 433660"/>
                    <a:gd name="connsiteY1" fmla="*/ 278091 h 292231"/>
                    <a:gd name="connsiteX2" fmla="*/ 56561 w 433660"/>
                    <a:gd name="connsiteY2" fmla="*/ 254524 h 292231"/>
                    <a:gd name="connsiteX3" fmla="*/ 84842 w 433660"/>
                    <a:gd name="connsiteY3" fmla="*/ 259237 h 292231"/>
                    <a:gd name="connsiteX4" fmla="*/ 98982 w 433660"/>
                    <a:gd name="connsiteY4" fmla="*/ 263951 h 292231"/>
                    <a:gd name="connsiteX5" fmla="*/ 164970 w 433660"/>
                    <a:gd name="connsiteY5" fmla="*/ 245097 h 292231"/>
                    <a:gd name="connsiteX6" fmla="*/ 174396 w 433660"/>
                    <a:gd name="connsiteY6" fmla="*/ 230957 h 292231"/>
                    <a:gd name="connsiteX7" fmla="*/ 188537 w 433660"/>
                    <a:gd name="connsiteY7" fmla="*/ 226243 h 292231"/>
                    <a:gd name="connsiteX8" fmla="*/ 230957 w 433660"/>
                    <a:gd name="connsiteY8" fmla="*/ 193249 h 292231"/>
                    <a:gd name="connsiteX9" fmla="*/ 249811 w 433660"/>
                    <a:gd name="connsiteY9" fmla="*/ 164969 h 292231"/>
                    <a:gd name="connsiteX10" fmla="*/ 278091 w 433660"/>
                    <a:gd name="connsiteY10" fmla="*/ 146115 h 292231"/>
                    <a:gd name="connsiteX11" fmla="*/ 292231 w 433660"/>
                    <a:gd name="connsiteY11" fmla="*/ 136689 h 292231"/>
                    <a:gd name="connsiteX12" fmla="*/ 320512 w 433660"/>
                    <a:gd name="connsiteY12" fmla="*/ 127262 h 292231"/>
                    <a:gd name="connsiteX13" fmla="*/ 334652 w 433660"/>
                    <a:gd name="connsiteY13" fmla="*/ 117835 h 292231"/>
                    <a:gd name="connsiteX14" fmla="*/ 377073 w 433660"/>
                    <a:gd name="connsiteY14" fmla="*/ 98981 h 292231"/>
                    <a:gd name="connsiteX15" fmla="*/ 381786 w 433660"/>
                    <a:gd name="connsiteY15" fmla="*/ 84841 h 292231"/>
                    <a:gd name="connsiteX16" fmla="*/ 400640 w 433660"/>
                    <a:gd name="connsiteY16" fmla="*/ 56561 h 292231"/>
                    <a:gd name="connsiteX17" fmla="*/ 419493 w 433660"/>
                    <a:gd name="connsiteY17" fmla="*/ 14140 h 292231"/>
                    <a:gd name="connsiteX18" fmla="*/ 433633 w 433660"/>
                    <a:gd name="connsiteY18" fmla="*/ 0 h 292231"/>
                    <a:gd name="connsiteX0" fmla="*/ 0 w 433660"/>
                    <a:gd name="connsiteY0" fmla="*/ 292231 h 292231"/>
                    <a:gd name="connsiteX1" fmla="*/ 51848 w 433660"/>
                    <a:gd name="connsiteY1" fmla="*/ 278091 h 292231"/>
                    <a:gd name="connsiteX2" fmla="*/ 56561 w 433660"/>
                    <a:gd name="connsiteY2" fmla="*/ 254524 h 292231"/>
                    <a:gd name="connsiteX3" fmla="*/ 84842 w 433660"/>
                    <a:gd name="connsiteY3" fmla="*/ 259237 h 292231"/>
                    <a:gd name="connsiteX4" fmla="*/ 164970 w 433660"/>
                    <a:gd name="connsiteY4" fmla="*/ 245097 h 292231"/>
                    <a:gd name="connsiteX5" fmla="*/ 174396 w 433660"/>
                    <a:gd name="connsiteY5" fmla="*/ 230957 h 292231"/>
                    <a:gd name="connsiteX6" fmla="*/ 188537 w 433660"/>
                    <a:gd name="connsiteY6" fmla="*/ 226243 h 292231"/>
                    <a:gd name="connsiteX7" fmla="*/ 230957 w 433660"/>
                    <a:gd name="connsiteY7" fmla="*/ 193249 h 292231"/>
                    <a:gd name="connsiteX8" fmla="*/ 249811 w 433660"/>
                    <a:gd name="connsiteY8" fmla="*/ 164969 h 292231"/>
                    <a:gd name="connsiteX9" fmla="*/ 278091 w 433660"/>
                    <a:gd name="connsiteY9" fmla="*/ 146115 h 292231"/>
                    <a:gd name="connsiteX10" fmla="*/ 292231 w 433660"/>
                    <a:gd name="connsiteY10" fmla="*/ 136689 h 292231"/>
                    <a:gd name="connsiteX11" fmla="*/ 320512 w 433660"/>
                    <a:gd name="connsiteY11" fmla="*/ 127262 h 292231"/>
                    <a:gd name="connsiteX12" fmla="*/ 334652 w 433660"/>
                    <a:gd name="connsiteY12" fmla="*/ 117835 h 292231"/>
                    <a:gd name="connsiteX13" fmla="*/ 377073 w 433660"/>
                    <a:gd name="connsiteY13" fmla="*/ 98981 h 292231"/>
                    <a:gd name="connsiteX14" fmla="*/ 381786 w 433660"/>
                    <a:gd name="connsiteY14" fmla="*/ 84841 h 292231"/>
                    <a:gd name="connsiteX15" fmla="*/ 400640 w 433660"/>
                    <a:gd name="connsiteY15" fmla="*/ 56561 h 292231"/>
                    <a:gd name="connsiteX16" fmla="*/ 419493 w 433660"/>
                    <a:gd name="connsiteY16" fmla="*/ 14140 h 292231"/>
                    <a:gd name="connsiteX17" fmla="*/ 433633 w 433660"/>
                    <a:gd name="connsiteY17" fmla="*/ 0 h 292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33660" h="292231">
                      <a:moveTo>
                        <a:pt x="0" y="292231"/>
                      </a:moveTo>
                      <a:cubicBezTo>
                        <a:pt x="6538" y="291414"/>
                        <a:pt x="43621" y="292488"/>
                        <a:pt x="51848" y="278091"/>
                      </a:cubicBezTo>
                      <a:cubicBezTo>
                        <a:pt x="55823" y="271135"/>
                        <a:pt x="54990" y="262380"/>
                        <a:pt x="56561" y="254524"/>
                      </a:cubicBezTo>
                      <a:cubicBezTo>
                        <a:pt x="65988" y="256095"/>
                        <a:pt x="66774" y="260808"/>
                        <a:pt x="84842" y="259237"/>
                      </a:cubicBezTo>
                      <a:cubicBezTo>
                        <a:pt x="102910" y="257666"/>
                        <a:pt x="150044" y="249810"/>
                        <a:pt x="164970" y="245097"/>
                      </a:cubicBezTo>
                      <a:cubicBezTo>
                        <a:pt x="179896" y="240384"/>
                        <a:pt x="169973" y="234496"/>
                        <a:pt x="174396" y="230957"/>
                      </a:cubicBezTo>
                      <a:cubicBezTo>
                        <a:pt x="178276" y="227853"/>
                        <a:pt x="184194" y="228656"/>
                        <a:pt x="188537" y="226243"/>
                      </a:cubicBezTo>
                      <a:cubicBezTo>
                        <a:pt x="202488" y="218492"/>
                        <a:pt x="220500" y="206693"/>
                        <a:pt x="230957" y="193249"/>
                      </a:cubicBezTo>
                      <a:cubicBezTo>
                        <a:pt x="237913" y="184306"/>
                        <a:pt x="240384" y="171254"/>
                        <a:pt x="249811" y="164969"/>
                      </a:cubicBezTo>
                      <a:lnTo>
                        <a:pt x="278091" y="146115"/>
                      </a:lnTo>
                      <a:cubicBezTo>
                        <a:pt x="282804" y="142973"/>
                        <a:pt x="286857" y="138480"/>
                        <a:pt x="292231" y="136689"/>
                      </a:cubicBezTo>
                      <a:lnTo>
                        <a:pt x="320512" y="127262"/>
                      </a:lnTo>
                      <a:cubicBezTo>
                        <a:pt x="325225" y="124120"/>
                        <a:pt x="329475" y="120136"/>
                        <a:pt x="334652" y="117835"/>
                      </a:cubicBezTo>
                      <a:cubicBezTo>
                        <a:pt x="385137" y="95396"/>
                        <a:pt x="345069" y="120317"/>
                        <a:pt x="377073" y="98981"/>
                      </a:cubicBezTo>
                      <a:cubicBezTo>
                        <a:pt x="378644" y="94268"/>
                        <a:pt x="379373" y="89184"/>
                        <a:pt x="381786" y="84841"/>
                      </a:cubicBezTo>
                      <a:cubicBezTo>
                        <a:pt x="387288" y="74937"/>
                        <a:pt x="400640" y="56561"/>
                        <a:pt x="400640" y="56561"/>
                      </a:cubicBezTo>
                      <a:cubicBezTo>
                        <a:pt x="405308" y="42557"/>
                        <a:pt x="408288" y="25345"/>
                        <a:pt x="419493" y="14140"/>
                      </a:cubicBezTo>
                      <a:cubicBezTo>
                        <a:pt x="434940" y="-1307"/>
                        <a:pt x="433633" y="11806"/>
                        <a:pt x="433633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2" name="Forma livre 830"/>
                <p:cNvSpPr/>
                <p:nvPr/>
              </p:nvSpPr>
              <p:spPr>
                <a:xfrm>
                  <a:off x="3165538" y="4786894"/>
                  <a:ext cx="461913" cy="96191"/>
                </a:xfrm>
                <a:custGeom>
                  <a:avLst/>
                  <a:gdLst>
                    <a:gd name="connsiteX0" fmla="*/ 0 w 461913"/>
                    <a:gd name="connsiteY0" fmla="*/ 65987 h 103695"/>
                    <a:gd name="connsiteX1" fmla="*/ 42421 w 461913"/>
                    <a:gd name="connsiteY1" fmla="*/ 61274 h 103695"/>
                    <a:gd name="connsiteX2" fmla="*/ 51847 w 461913"/>
                    <a:gd name="connsiteY2" fmla="*/ 47134 h 103695"/>
                    <a:gd name="connsiteX3" fmla="*/ 65988 w 461913"/>
                    <a:gd name="connsiteY3" fmla="*/ 18853 h 103695"/>
                    <a:gd name="connsiteX4" fmla="*/ 94268 w 461913"/>
                    <a:gd name="connsiteY4" fmla="*/ 0 h 103695"/>
                    <a:gd name="connsiteX5" fmla="*/ 155542 w 461913"/>
                    <a:gd name="connsiteY5" fmla="*/ 9426 h 103695"/>
                    <a:gd name="connsiteX6" fmla="*/ 169682 w 461913"/>
                    <a:gd name="connsiteY6" fmla="*/ 14140 h 103695"/>
                    <a:gd name="connsiteX7" fmla="*/ 197963 w 461913"/>
                    <a:gd name="connsiteY7" fmla="*/ 32994 h 103695"/>
                    <a:gd name="connsiteX8" fmla="*/ 212103 w 461913"/>
                    <a:gd name="connsiteY8" fmla="*/ 42420 h 103695"/>
                    <a:gd name="connsiteX9" fmla="*/ 240383 w 461913"/>
                    <a:gd name="connsiteY9" fmla="*/ 51847 h 103695"/>
                    <a:gd name="connsiteX10" fmla="*/ 249810 w 461913"/>
                    <a:gd name="connsiteY10" fmla="*/ 37707 h 103695"/>
                    <a:gd name="connsiteX11" fmla="*/ 254524 w 461913"/>
                    <a:gd name="connsiteY11" fmla="*/ 23567 h 103695"/>
                    <a:gd name="connsiteX12" fmla="*/ 292231 w 461913"/>
                    <a:gd name="connsiteY12" fmla="*/ 28280 h 103695"/>
                    <a:gd name="connsiteX13" fmla="*/ 329938 w 461913"/>
                    <a:gd name="connsiteY13" fmla="*/ 37707 h 103695"/>
                    <a:gd name="connsiteX14" fmla="*/ 348792 w 461913"/>
                    <a:gd name="connsiteY14" fmla="*/ 42420 h 103695"/>
                    <a:gd name="connsiteX15" fmla="*/ 367645 w 461913"/>
                    <a:gd name="connsiteY15" fmla="*/ 37707 h 103695"/>
                    <a:gd name="connsiteX16" fmla="*/ 381786 w 461913"/>
                    <a:gd name="connsiteY16" fmla="*/ 28280 h 103695"/>
                    <a:gd name="connsiteX17" fmla="*/ 395926 w 461913"/>
                    <a:gd name="connsiteY17" fmla="*/ 32994 h 103695"/>
                    <a:gd name="connsiteX18" fmla="*/ 414779 w 461913"/>
                    <a:gd name="connsiteY18" fmla="*/ 56561 h 103695"/>
                    <a:gd name="connsiteX19" fmla="*/ 443060 w 461913"/>
                    <a:gd name="connsiteY19" fmla="*/ 65987 h 103695"/>
                    <a:gd name="connsiteX20" fmla="*/ 461913 w 461913"/>
                    <a:gd name="connsiteY20" fmla="*/ 89554 h 103695"/>
                    <a:gd name="connsiteX21" fmla="*/ 457200 w 461913"/>
                    <a:gd name="connsiteY21" fmla="*/ 103695 h 103695"/>
                    <a:gd name="connsiteX0" fmla="*/ 0 w 461913"/>
                    <a:gd name="connsiteY0" fmla="*/ 56686 h 94394"/>
                    <a:gd name="connsiteX1" fmla="*/ 42421 w 461913"/>
                    <a:gd name="connsiteY1" fmla="*/ 51973 h 94394"/>
                    <a:gd name="connsiteX2" fmla="*/ 51847 w 461913"/>
                    <a:gd name="connsiteY2" fmla="*/ 37833 h 94394"/>
                    <a:gd name="connsiteX3" fmla="*/ 65988 w 461913"/>
                    <a:gd name="connsiteY3" fmla="*/ 9552 h 94394"/>
                    <a:gd name="connsiteX4" fmla="*/ 155542 w 461913"/>
                    <a:gd name="connsiteY4" fmla="*/ 125 h 94394"/>
                    <a:gd name="connsiteX5" fmla="*/ 169682 w 461913"/>
                    <a:gd name="connsiteY5" fmla="*/ 4839 h 94394"/>
                    <a:gd name="connsiteX6" fmla="*/ 197963 w 461913"/>
                    <a:gd name="connsiteY6" fmla="*/ 23693 h 94394"/>
                    <a:gd name="connsiteX7" fmla="*/ 212103 w 461913"/>
                    <a:gd name="connsiteY7" fmla="*/ 33119 h 94394"/>
                    <a:gd name="connsiteX8" fmla="*/ 240383 w 461913"/>
                    <a:gd name="connsiteY8" fmla="*/ 42546 h 94394"/>
                    <a:gd name="connsiteX9" fmla="*/ 249810 w 461913"/>
                    <a:gd name="connsiteY9" fmla="*/ 28406 h 94394"/>
                    <a:gd name="connsiteX10" fmla="*/ 254524 w 461913"/>
                    <a:gd name="connsiteY10" fmla="*/ 14266 h 94394"/>
                    <a:gd name="connsiteX11" fmla="*/ 292231 w 461913"/>
                    <a:gd name="connsiteY11" fmla="*/ 18979 h 94394"/>
                    <a:gd name="connsiteX12" fmla="*/ 329938 w 461913"/>
                    <a:gd name="connsiteY12" fmla="*/ 28406 h 94394"/>
                    <a:gd name="connsiteX13" fmla="*/ 348792 w 461913"/>
                    <a:gd name="connsiteY13" fmla="*/ 33119 h 94394"/>
                    <a:gd name="connsiteX14" fmla="*/ 367645 w 461913"/>
                    <a:gd name="connsiteY14" fmla="*/ 28406 h 94394"/>
                    <a:gd name="connsiteX15" fmla="*/ 381786 w 461913"/>
                    <a:gd name="connsiteY15" fmla="*/ 18979 h 94394"/>
                    <a:gd name="connsiteX16" fmla="*/ 395926 w 461913"/>
                    <a:gd name="connsiteY16" fmla="*/ 23693 h 94394"/>
                    <a:gd name="connsiteX17" fmla="*/ 414779 w 461913"/>
                    <a:gd name="connsiteY17" fmla="*/ 47260 h 94394"/>
                    <a:gd name="connsiteX18" fmla="*/ 443060 w 461913"/>
                    <a:gd name="connsiteY18" fmla="*/ 56686 h 94394"/>
                    <a:gd name="connsiteX19" fmla="*/ 461913 w 461913"/>
                    <a:gd name="connsiteY19" fmla="*/ 80253 h 94394"/>
                    <a:gd name="connsiteX20" fmla="*/ 457200 w 461913"/>
                    <a:gd name="connsiteY20" fmla="*/ 94394 h 94394"/>
                    <a:gd name="connsiteX0" fmla="*/ 0 w 461913"/>
                    <a:gd name="connsiteY0" fmla="*/ 58483 h 96191"/>
                    <a:gd name="connsiteX1" fmla="*/ 42421 w 461913"/>
                    <a:gd name="connsiteY1" fmla="*/ 53770 h 96191"/>
                    <a:gd name="connsiteX2" fmla="*/ 51847 w 461913"/>
                    <a:gd name="connsiteY2" fmla="*/ 39630 h 96191"/>
                    <a:gd name="connsiteX3" fmla="*/ 155542 w 461913"/>
                    <a:gd name="connsiteY3" fmla="*/ 1922 h 96191"/>
                    <a:gd name="connsiteX4" fmla="*/ 169682 w 461913"/>
                    <a:gd name="connsiteY4" fmla="*/ 6636 h 96191"/>
                    <a:gd name="connsiteX5" fmla="*/ 197963 w 461913"/>
                    <a:gd name="connsiteY5" fmla="*/ 25490 h 96191"/>
                    <a:gd name="connsiteX6" fmla="*/ 212103 w 461913"/>
                    <a:gd name="connsiteY6" fmla="*/ 34916 h 96191"/>
                    <a:gd name="connsiteX7" fmla="*/ 240383 w 461913"/>
                    <a:gd name="connsiteY7" fmla="*/ 44343 h 96191"/>
                    <a:gd name="connsiteX8" fmla="*/ 249810 w 461913"/>
                    <a:gd name="connsiteY8" fmla="*/ 30203 h 96191"/>
                    <a:gd name="connsiteX9" fmla="*/ 254524 w 461913"/>
                    <a:gd name="connsiteY9" fmla="*/ 16063 h 96191"/>
                    <a:gd name="connsiteX10" fmla="*/ 292231 w 461913"/>
                    <a:gd name="connsiteY10" fmla="*/ 20776 h 96191"/>
                    <a:gd name="connsiteX11" fmla="*/ 329938 w 461913"/>
                    <a:gd name="connsiteY11" fmla="*/ 30203 h 96191"/>
                    <a:gd name="connsiteX12" fmla="*/ 348792 w 461913"/>
                    <a:gd name="connsiteY12" fmla="*/ 34916 h 96191"/>
                    <a:gd name="connsiteX13" fmla="*/ 367645 w 461913"/>
                    <a:gd name="connsiteY13" fmla="*/ 30203 h 96191"/>
                    <a:gd name="connsiteX14" fmla="*/ 381786 w 461913"/>
                    <a:gd name="connsiteY14" fmla="*/ 20776 h 96191"/>
                    <a:gd name="connsiteX15" fmla="*/ 395926 w 461913"/>
                    <a:gd name="connsiteY15" fmla="*/ 25490 h 96191"/>
                    <a:gd name="connsiteX16" fmla="*/ 414779 w 461913"/>
                    <a:gd name="connsiteY16" fmla="*/ 49057 h 96191"/>
                    <a:gd name="connsiteX17" fmla="*/ 443060 w 461913"/>
                    <a:gd name="connsiteY17" fmla="*/ 58483 h 96191"/>
                    <a:gd name="connsiteX18" fmla="*/ 461913 w 461913"/>
                    <a:gd name="connsiteY18" fmla="*/ 82050 h 96191"/>
                    <a:gd name="connsiteX19" fmla="*/ 457200 w 461913"/>
                    <a:gd name="connsiteY19" fmla="*/ 96191 h 961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461913" h="96191">
                      <a:moveTo>
                        <a:pt x="0" y="58483"/>
                      </a:moveTo>
                      <a:cubicBezTo>
                        <a:pt x="14140" y="56912"/>
                        <a:pt x="29050" y="58632"/>
                        <a:pt x="42421" y="53770"/>
                      </a:cubicBezTo>
                      <a:cubicBezTo>
                        <a:pt x="47745" y="51834"/>
                        <a:pt x="32994" y="48271"/>
                        <a:pt x="51847" y="39630"/>
                      </a:cubicBezTo>
                      <a:cubicBezTo>
                        <a:pt x="70700" y="30989"/>
                        <a:pt x="135903" y="7421"/>
                        <a:pt x="155542" y="1922"/>
                      </a:cubicBezTo>
                      <a:cubicBezTo>
                        <a:pt x="175181" y="-3577"/>
                        <a:pt x="165339" y="4223"/>
                        <a:pt x="169682" y="6636"/>
                      </a:cubicBezTo>
                      <a:cubicBezTo>
                        <a:pt x="179586" y="12138"/>
                        <a:pt x="188536" y="19205"/>
                        <a:pt x="197963" y="25490"/>
                      </a:cubicBezTo>
                      <a:cubicBezTo>
                        <a:pt x="202676" y="28632"/>
                        <a:pt x="206729" y="33125"/>
                        <a:pt x="212103" y="34916"/>
                      </a:cubicBezTo>
                      <a:lnTo>
                        <a:pt x="240383" y="44343"/>
                      </a:lnTo>
                      <a:cubicBezTo>
                        <a:pt x="243525" y="39630"/>
                        <a:pt x="247276" y="35270"/>
                        <a:pt x="249810" y="30203"/>
                      </a:cubicBezTo>
                      <a:cubicBezTo>
                        <a:pt x="252032" y="25759"/>
                        <a:pt x="249674" y="17141"/>
                        <a:pt x="254524" y="16063"/>
                      </a:cubicBezTo>
                      <a:cubicBezTo>
                        <a:pt x="266889" y="13315"/>
                        <a:pt x="279662" y="19205"/>
                        <a:pt x="292231" y="20776"/>
                      </a:cubicBezTo>
                      <a:lnTo>
                        <a:pt x="329938" y="30203"/>
                      </a:lnTo>
                      <a:lnTo>
                        <a:pt x="348792" y="34916"/>
                      </a:lnTo>
                      <a:cubicBezTo>
                        <a:pt x="355076" y="33345"/>
                        <a:pt x="361691" y="32755"/>
                        <a:pt x="367645" y="30203"/>
                      </a:cubicBezTo>
                      <a:cubicBezTo>
                        <a:pt x="372852" y="27971"/>
                        <a:pt x="376198" y="21707"/>
                        <a:pt x="381786" y="20776"/>
                      </a:cubicBezTo>
                      <a:cubicBezTo>
                        <a:pt x="386687" y="19959"/>
                        <a:pt x="391213" y="23919"/>
                        <a:pt x="395926" y="25490"/>
                      </a:cubicBezTo>
                      <a:cubicBezTo>
                        <a:pt x="401036" y="40822"/>
                        <a:pt x="398094" y="41642"/>
                        <a:pt x="414779" y="49057"/>
                      </a:cubicBezTo>
                      <a:cubicBezTo>
                        <a:pt x="423859" y="53093"/>
                        <a:pt x="443060" y="58483"/>
                        <a:pt x="443060" y="58483"/>
                      </a:cubicBezTo>
                      <a:cubicBezTo>
                        <a:pt x="453918" y="65722"/>
                        <a:pt x="461913" y="66872"/>
                        <a:pt x="461913" y="82050"/>
                      </a:cubicBezTo>
                      <a:cubicBezTo>
                        <a:pt x="461913" y="87019"/>
                        <a:pt x="457200" y="96191"/>
                        <a:pt x="457200" y="9619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3" name="Forma livre 831"/>
                <p:cNvSpPr/>
                <p:nvPr/>
              </p:nvSpPr>
              <p:spPr>
                <a:xfrm>
                  <a:off x="4015298" y="4977353"/>
                  <a:ext cx="66508" cy="245096"/>
                </a:xfrm>
                <a:custGeom>
                  <a:avLst/>
                  <a:gdLst>
                    <a:gd name="connsiteX0" fmla="*/ 66508 w 66508"/>
                    <a:gd name="connsiteY0" fmla="*/ 0 h 245096"/>
                    <a:gd name="connsiteX1" fmla="*/ 47655 w 66508"/>
                    <a:gd name="connsiteY1" fmla="*/ 42420 h 245096"/>
                    <a:gd name="connsiteX2" fmla="*/ 38228 w 66508"/>
                    <a:gd name="connsiteY2" fmla="*/ 70701 h 245096"/>
                    <a:gd name="connsiteX3" fmla="*/ 33514 w 66508"/>
                    <a:gd name="connsiteY3" fmla="*/ 127261 h 245096"/>
                    <a:gd name="connsiteX4" fmla="*/ 24088 w 66508"/>
                    <a:gd name="connsiteY4" fmla="*/ 141402 h 245096"/>
                    <a:gd name="connsiteX5" fmla="*/ 9947 w 66508"/>
                    <a:gd name="connsiteY5" fmla="*/ 169682 h 245096"/>
                    <a:gd name="connsiteX6" fmla="*/ 5234 w 66508"/>
                    <a:gd name="connsiteY6" fmla="*/ 188536 h 245096"/>
                    <a:gd name="connsiteX7" fmla="*/ 521 w 66508"/>
                    <a:gd name="connsiteY7" fmla="*/ 202676 h 245096"/>
                    <a:gd name="connsiteX8" fmla="*/ 521 w 66508"/>
                    <a:gd name="connsiteY8" fmla="*/ 245096 h 245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66508" h="245096">
                      <a:moveTo>
                        <a:pt x="66508" y="0"/>
                      </a:moveTo>
                      <a:cubicBezTo>
                        <a:pt x="45111" y="35662"/>
                        <a:pt x="57364" y="10055"/>
                        <a:pt x="47655" y="42420"/>
                      </a:cubicBezTo>
                      <a:cubicBezTo>
                        <a:pt x="44800" y="51938"/>
                        <a:pt x="38228" y="70701"/>
                        <a:pt x="38228" y="70701"/>
                      </a:cubicBezTo>
                      <a:cubicBezTo>
                        <a:pt x="36657" y="89554"/>
                        <a:pt x="37224" y="108710"/>
                        <a:pt x="33514" y="127261"/>
                      </a:cubicBezTo>
                      <a:cubicBezTo>
                        <a:pt x="32403" y="132816"/>
                        <a:pt x="26621" y="136335"/>
                        <a:pt x="24088" y="141402"/>
                      </a:cubicBezTo>
                      <a:cubicBezTo>
                        <a:pt x="4581" y="180418"/>
                        <a:pt x="36954" y="129173"/>
                        <a:pt x="9947" y="169682"/>
                      </a:cubicBezTo>
                      <a:cubicBezTo>
                        <a:pt x="8376" y="175967"/>
                        <a:pt x="7014" y="182307"/>
                        <a:pt x="5234" y="188536"/>
                      </a:cubicBezTo>
                      <a:cubicBezTo>
                        <a:pt x="3869" y="193313"/>
                        <a:pt x="934" y="197725"/>
                        <a:pt x="521" y="202676"/>
                      </a:cubicBezTo>
                      <a:cubicBezTo>
                        <a:pt x="-653" y="216767"/>
                        <a:pt x="521" y="230956"/>
                        <a:pt x="521" y="245096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4" name="Forma livre 832"/>
                <p:cNvSpPr/>
                <p:nvPr/>
              </p:nvSpPr>
              <p:spPr>
                <a:xfrm>
                  <a:off x="3926264" y="5283724"/>
                  <a:ext cx="70701" cy="160255"/>
                </a:xfrm>
                <a:custGeom>
                  <a:avLst/>
                  <a:gdLst>
                    <a:gd name="connsiteX0" fmla="*/ 70701 w 70701"/>
                    <a:gd name="connsiteY0" fmla="*/ 0 h 160255"/>
                    <a:gd name="connsiteX1" fmla="*/ 61274 w 70701"/>
                    <a:gd name="connsiteY1" fmla="*/ 23567 h 160255"/>
                    <a:gd name="connsiteX2" fmla="*/ 56561 w 70701"/>
                    <a:gd name="connsiteY2" fmla="*/ 51847 h 160255"/>
                    <a:gd name="connsiteX3" fmla="*/ 42421 w 70701"/>
                    <a:gd name="connsiteY3" fmla="*/ 61274 h 160255"/>
                    <a:gd name="connsiteX4" fmla="*/ 32994 w 70701"/>
                    <a:gd name="connsiteY4" fmla="*/ 75414 h 160255"/>
                    <a:gd name="connsiteX5" fmla="*/ 23567 w 70701"/>
                    <a:gd name="connsiteY5" fmla="*/ 150829 h 160255"/>
                    <a:gd name="connsiteX6" fmla="*/ 9427 w 70701"/>
                    <a:gd name="connsiteY6" fmla="*/ 155542 h 160255"/>
                    <a:gd name="connsiteX7" fmla="*/ 0 w 70701"/>
                    <a:gd name="connsiteY7" fmla="*/ 160255 h 1602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0701" h="160255">
                      <a:moveTo>
                        <a:pt x="70701" y="0"/>
                      </a:moveTo>
                      <a:cubicBezTo>
                        <a:pt x="67559" y="7856"/>
                        <a:pt x="63500" y="15404"/>
                        <a:pt x="61274" y="23567"/>
                      </a:cubicBezTo>
                      <a:cubicBezTo>
                        <a:pt x="58759" y="32787"/>
                        <a:pt x="60835" y="43299"/>
                        <a:pt x="56561" y="51847"/>
                      </a:cubicBezTo>
                      <a:cubicBezTo>
                        <a:pt x="54028" y="56914"/>
                        <a:pt x="47134" y="58132"/>
                        <a:pt x="42421" y="61274"/>
                      </a:cubicBezTo>
                      <a:cubicBezTo>
                        <a:pt x="39279" y="65987"/>
                        <a:pt x="35528" y="70347"/>
                        <a:pt x="32994" y="75414"/>
                      </a:cubicBezTo>
                      <a:cubicBezTo>
                        <a:pt x="21435" y="98529"/>
                        <a:pt x="30169" y="127722"/>
                        <a:pt x="23567" y="150829"/>
                      </a:cubicBezTo>
                      <a:cubicBezTo>
                        <a:pt x="22202" y="155606"/>
                        <a:pt x="14040" y="153697"/>
                        <a:pt x="9427" y="155542"/>
                      </a:cubicBezTo>
                      <a:cubicBezTo>
                        <a:pt x="6165" y="156847"/>
                        <a:pt x="3142" y="158684"/>
                        <a:pt x="0" y="160255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5" name="Forma livre 833"/>
                <p:cNvSpPr/>
                <p:nvPr/>
              </p:nvSpPr>
              <p:spPr>
                <a:xfrm>
                  <a:off x="4194862" y="5015060"/>
                  <a:ext cx="207456" cy="334651"/>
                </a:xfrm>
                <a:custGeom>
                  <a:avLst/>
                  <a:gdLst>
                    <a:gd name="connsiteX0" fmla="*/ 207456 w 207456"/>
                    <a:gd name="connsiteY0" fmla="*/ 0 h 334651"/>
                    <a:gd name="connsiteX1" fmla="*/ 183889 w 207456"/>
                    <a:gd name="connsiteY1" fmla="*/ 14140 h 334651"/>
                    <a:gd name="connsiteX2" fmla="*/ 169748 w 207456"/>
                    <a:gd name="connsiteY2" fmla="*/ 23567 h 334651"/>
                    <a:gd name="connsiteX3" fmla="*/ 165035 w 207456"/>
                    <a:gd name="connsiteY3" fmla="*/ 37707 h 334651"/>
                    <a:gd name="connsiteX4" fmla="*/ 169748 w 207456"/>
                    <a:gd name="connsiteY4" fmla="*/ 51847 h 334651"/>
                    <a:gd name="connsiteX5" fmla="*/ 165035 w 207456"/>
                    <a:gd name="connsiteY5" fmla="*/ 75414 h 334651"/>
                    <a:gd name="connsiteX6" fmla="*/ 150895 w 207456"/>
                    <a:gd name="connsiteY6" fmla="*/ 80128 h 334651"/>
                    <a:gd name="connsiteX7" fmla="*/ 127328 w 207456"/>
                    <a:gd name="connsiteY7" fmla="*/ 84841 h 334651"/>
                    <a:gd name="connsiteX8" fmla="*/ 113187 w 207456"/>
                    <a:gd name="connsiteY8" fmla="*/ 94268 h 334651"/>
                    <a:gd name="connsiteX9" fmla="*/ 113187 w 207456"/>
                    <a:gd name="connsiteY9" fmla="*/ 131975 h 334651"/>
                    <a:gd name="connsiteX10" fmla="*/ 108474 w 207456"/>
                    <a:gd name="connsiteY10" fmla="*/ 150829 h 334651"/>
                    <a:gd name="connsiteX11" fmla="*/ 80194 w 207456"/>
                    <a:gd name="connsiteY11" fmla="*/ 160255 h 334651"/>
                    <a:gd name="connsiteX12" fmla="*/ 66053 w 207456"/>
                    <a:gd name="connsiteY12" fmla="*/ 169682 h 334651"/>
                    <a:gd name="connsiteX13" fmla="*/ 56627 w 207456"/>
                    <a:gd name="connsiteY13" fmla="*/ 207389 h 334651"/>
                    <a:gd name="connsiteX14" fmla="*/ 47200 w 207456"/>
                    <a:gd name="connsiteY14" fmla="*/ 235670 h 334651"/>
                    <a:gd name="connsiteX15" fmla="*/ 42486 w 207456"/>
                    <a:gd name="connsiteY15" fmla="*/ 259237 h 334651"/>
                    <a:gd name="connsiteX16" fmla="*/ 33060 w 207456"/>
                    <a:gd name="connsiteY16" fmla="*/ 273377 h 334651"/>
                    <a:gd name="connsiteX17" fmla="*/ 18919 w 207456"/>
                    <a:gd name="connsiteY17" fmla="*/ 301658 h 334651"/>
                    <a:gd name="connsiteX18" fmla="*/ 4779 w 207456"/>
                    <a:gd name="connsiteY18" fmla="*/ 311084 h 334651"/>
                    <a:gd name="connsiteX19" fmla="*/ 66 w 207456"/>
                    <a:gd name="connsiteY19" fmla="*/ 334651 h 334651"/>
                    <a:gd name="connsiteX0" fmla="*/ 207456 w 207456"/>
                    <a:gd name="connsiteY0" fmla="*/ 0 h 334651"/>
                    <a:gd name="connsiteX1" fmla="*/ 183889 w 207456"/>
                    <a:gd name="connsiteY1" fmla="*/ 14140 h 334651"/>
                    <a:gd name="connsiteX2" fmla="*/ 169748 w 207456"/>
                    <a:gd name="connsiteY2" fmla="*/ 23567 h 334651"/>
                    <a:gd name="connsiteX3" fmla="*/ 165035 w 207456"/>
                    <a:gd name="connsiteY3" fmla="*/ 37707 h 334651"/>
                    <a:gd name="connsiteX4" fmla="*/ 169748 w 207456"/>
                    <a:gd name="connsiteY4" fmla="*/ 51847 h 334651"/>
                    <a:gd name="connsiteX5" fmla="*/ 165035 w 207456"/>
                    <a:gd name="connsiteY5" fmla="*/ 75414 h 334651"/>
                    <a:gd name="connsiteX6" fmla="*/ 150895 w 207456"/>
                    <a:gd name="connsiteY6" fmla="*/ 80128 h 334651"/>
                    <a:gd name="connsiteX7" fmla="*/ 127328 w 207456"/>
                    <a:gd name="connsiteY7" fmla="*/ 84841 h 334651"/>
                    <a:gd name="connsiteX8" fmla="*/ 113187 w 207456"/>
                    <a:gd name="connsiteY8" fmla="*/ 131975 h 334651"/>
                    <a:gd name="connsiteX9" fmla="*/ 108474 w 207456"/>
                    <a:gd name="connsiteY9" fmla="*/ 150829 h 334651"/>
                    <a:gd name="connsiteX10" fmla="*/ 80194 w 207456"/>
                    <a:gd name="connsiteY10" fmla="*/ 160255 h 334651"/>
                    <a:gd name="connsiteX11" fmla="*/ 66053 w 207456"/>
                    <a:gd name="connsiteY11" fmla="*/ 169682 h 334651"/>
                    <a:gd name="connsiteX12" fmla="*/ 56627 w 207456"/>
                    <a:gd name="connsiteY12" fmla="*/ 207389 h 334651"/>
                    <a:gd name="connsiteX13" fmla="*/ 47200 w 207456"/>
                    <a:gd name="connsiteY13" fmla="*/ 235670 h 334651"/>
                    <a:gd name="connsiteX14" fmla="*/ 42486 w 207456"/>
                    <a:gd name="connsiteY14" fmla="*/ 259237 h 334651"/>
                    <a:gd name="connsiteX15" fmla="*/ 33060 w 207456"/>
                    <a:gd name="connsiteY15" fmla="*/ 273377 h 334651"/>
                    <a:gd name="connsiteX16" fmla="*/ 18919 w 207456"/>
                    <a:gd name="connsiteY16" fmla="*/ 301658 h 334651"/>
                    <a:gd name="connsiteX17" fmla="*/ 4779 w 207456"/>
                    <a:gd name="connsiteY17" fmla="*/ 311084 h 334651"/>
                    <a:gd name="connsiteX18" fmla="*/ 66 w 207456"/>
                    <a:gd name="connsiteY18" fmla="*/ 334651 h 334651"/>
                    <a:gd name="connsiteX0" fmla="*/ 207456 w 207456"/>
                    <a:gd name="connsiteY0" fmla="*/ 0 h 334651"/>
                    <a:gd name="connsiteX1" fmla="*/ 183889 w 207456"/>
                    <a:gd name="connsiteY1" fmla="*/ 14140 h 334651"/>
                    <a:gd name="connsiteX2" fmla="*/ 169748 w 207456"/>
                    <a:gd name="connsiteY2" fmla="*/ 23567 h 334651"/>
                    <a:gd name="connsiteX3" fmla="*/ 165035 w 207456"/>
                    <a:gd name="connsiteY3" fmla="*/ 37707 h 334651"/>
                    <a:gd name="connsiteX4" fmla="*/ 169748 w 207456"/>
                    <a:gd name="connsiteY4" fmla="*/ 51847 h 334651"/>
                    <a:gd name="connsiteX5" fmla="*/ 165035 w 207456"/>
                    <a:gd name="connsiteY5" fmla="*/ 75414 h 334651"/>
                    <a:gd name="connsiteX6" fmla="*/ 150895 w 207456"/>
                    <a:gd name="connsiteY6" fmla="*/ 80128 h 334651"/>
                    <a:gd name="connsiteX7" fmla="*/ 113187 w 207456"/>
                    <a:gd name="connsiteY7" fmla="*/ 131975 h 334651"/>
                    <a:gd name="connsiteX8" fmla="*/ 108474 w 207456"/>
                    <a:gd name="connsiteY8" fmla="*/ 150829 h 334651"/>
                    <a:gd name="connsiteX9" fmla="*/ 80194 w 207456"/>
                    <a:gd name="connsiteY9" fmla="*/ 160255 h 334651"/>
                    <a:gd name="connsiteX10" fmla="*/ 66053 w 207456"/>
                    <a:gd name="connsiteY10" fmla="*/ 169682 h 334651"/>
                    <a:gd name="connsiteX11" fmla="*/ 56627 w 207456"/>
                    <a:gd name="connsiteY11" fmla="*/ 207389 h 334651"/>
                    <a:gd name="connsiteX12" fmla="*/ 47200 w 207456"/>
                    <a:gd name="connsiteY12" fmla="*/ 235670 h 334651"/>
                    <a:gd name="connsiteX13" fmla="*/ 42486 w 207456"/>
                    <a:gd name="connsiteY13" fmla="*/ 259237 h 334651"/>
                    <a:gd name="connsiteX14" fmla="*/ 33060 w 207456"/>
                    <a:gd name="connsiteY14" fmla="*/ 273377 h 334651"/>
                    <a:gd name="connsiteX15" fmla="*/ 18919 w 207456"/>
                    <a:gd name="connsiteY15" fmla="*/ 301658 h 334651"/>
                    <a:gd name="connsiteX16" fmla="*/ 4779 w 207456"/>
                    <a:gd name="connsiteY16" fmla="*/ 311084 h 334651"/>
                    <a:gd name="connsiteX17" fmla="*/ 66 w 207456"/>
                    <a:gd name="connsiteY17" fmla="*/ 334651 h 334651"/>
                    <a:gd name="connsiteX0" fmla="*/ 207456 w 207456"/>
                    <a:gd name="connsiteY0" fmla="*/ 0 h 334651"/>
                    <a:gd name="connsiteX1" fmla="*/ 183889 w 207456"/>
                    <a:gd name="connsiteY1" fmla="*/ 14140 h 334651"/>
                    <a:gd name="connsiteX2" fmla="*/ 169748 w 207456"/>
                    <a:gd name="connsiteY2" fmla="*/ 23567 h 334651"/>
                    <a:gd name="connsiteX3" fmla="*/ 169748 w 207456"/>
                    <a:gd name="connsiteY3" fmla="*/ 51847 h 334651"/>
                    <a:gd name="connsiteX4" fmla="*/ 165035 w 207456"/>
                    <a:gd name="connsiteY4" fmla="*/ 75414 h 334651"/>
                    <a:gd name="connsiteX5" fmla="*/ 150895 w 207456"/>
                    <a:gd name="connsiteY5" fmla="*/ 80128 h 334651"/>
                    <a:gd name="connsiteX6" fmla="*/ 113187 w 207456"/>
                    <a:gd name="connsiteY6" fmla="*/ 131975 h 334651"/>
                    <a:gd name="connsiteX7" fmla="*/ 108474 w 207456"/>
                    <a:gd name="connsiteY7" fmla="*/ 150829 h 334651"/>
                    <a:gd name="connsiteX8" fmla="*/ 80194 w 207456"/>
                    <a:gd name="connsiteY8" fmla="*/ 160255 h 334651"/>
                    <a:gd name="connsiteX9" fmla="*/ 66053 w 207456"/>
                    <a:gd name="connsiteY9" fmla="*/ 169682 h 334651"/>
                    <a:gd name="connsiteX10" fmla="*/ 56627 w 207456"/>
                    <a:gd name="connsiteY10" fmla="*/ 207389 h 334651"/>
                    <a:gd name="connsiteX11" fmla="*/ 47200 w 207456"/>
                    <a:gd name="connsiteY11" fmla="*/ 235670 h 334651"/>
                    <a:gd name="connsiteX12" fmla="*/ 42486 w 207456"/>
                    <a:gd name="connsiteY12" fmla="*/ 259237 h 334651"/>
                    <a:gd name="connsiteX13" fmla="*/ 33060 w 207456"/>
                    <a:gd name="connsiteY13" fmla="*/ 273377 h 334651"/>
                    <a:gd name="connsiteX14" fmla="*/ 18919 w 207456"/>
                    <a:gd name="connsiteY14" fmla="*/ 301658 h 334651"/>
                    <a:gd name="connsiteX15" fmla="*/ 4779 w 207456"/>
                    <a:gd name="connsiteY15" fmla="*/ 311084 h 334651"/>
                    <a:gd name="connsiteX16" fmla="*/ 66 w 207456"/>
                    <a:gd name="connsiteY16" fmla="*/ 334651 h 334651"/>
                    <a:gd name="connsiteX0" fmla="*/ 207456 w 207456"/>
                    <a:gd name="connsiteY0" fmla="*/ 0 h 334651"/>
                    <a:gd name="connsiteX1" fmla="*/ 183889 w 207456"/>
                    <a:gd name="connsiteY1" fmla="*/ 14140 h 334651"/>
                    <a:gd name="connsiteX2" fmla="*/ 169748 w 207456"/>
                    <a:gd name="connsiteY2" fmla="*/ 51847 h 334651"/>
                    <a:gd name="connsiteX3" fmla="*/ 165035 w 207456"/>
                    <a:gd name="connsiteY3" fmla="*/ 75414 h 334651"/>
                    <a:gd name="connsiteX4" fmla="*/ 150895 w 207456"/>
                    <a:gd name="connsiteY4" fmla="*/ 80128 h 334651"/>
                    <a:gd name="connsiteX5" fmla="*/ 113187 w 207456"/>
                    <a:gd name="connsiteY5" fmla="*/ 131975 h 334651"/>
                    <a:gd name="connsiteX6" fmla="*/ 108474 w 207456"/>
                    <a:gd name="connsiteY6" fmla="*/ 150829 h 334651"/>
                    <a:gd name="connsiteX7" fmla="*/ 80194 w 207456"/>
                    <a:gd name="connsiteY7" fmla="*/ 160255 h 334651"/>
                    <a:gd name="connsiteX8" fmla="*/ 66053 w 207456"/>
                    <a:gd name="connsiteY8" fmla="*/ 169682 h 334651"/>
                    <a:gd name="connsiteX9" fmla="*/ 56627 w 207456"/>
                    <a:gd name="connsiteY9" fmla="*/ 207389 h 334651"/>
                    <a:gd name="connsiteX10" fmla="*/ 47200 w 207456"/>
                    <a:gd name="connsiteY10" fmla="*/ 235670 h 334651"/>
                    <a:gd name="connsiteX11" fmla="*/ 42486 w 207456"/>
                    <a:gd name="connsiteY11" fmla="*/ 259237 h 334651"/>
                    <a:gd name="connsiteX12" fmla="*/ 33060 w 207456"/>
                    <a:gd name="connsiteY12" fmla="*/ 273377 h 334651"/>
                    <a:gd name="connsiteX13" fmla="*/ 18919 w 207456"/>
                    <a:gd name="connsiteY13" fmla="*/ 301658 h 334651"/>
                    <a:gd name="connsiteX14" fmla="*/ 4779 w 207456"/>
                    <a:gd name="connsiteY14" fmla="*/ 311084 h 334651"/>
                    <a:gd name="connsiteX15" fmla="*/ 66 w 207456"/>
                    <a:gd name="connsiteY15" fmla="*/ 334651 h 334651"/>
                    <a:gd name="connsiteX0" fmla="*/ 207456 w 207456"/>
                    <a:gd name="connsiteY0" fmla="*/ 0 h 334651"/>
                    <a:gd name="connsiteX1" fmla="*/ 169748 w 207456"/>
                    <a:gd name="connsiteY1" fmla="*/ 51847 h 334651"/>
                    <a:gd name="connsiteX2" fmla="*/ 165035 w 207456"/>
                    <a:gd name="connsiteY2" fmla="*/ 75414 h 334651"/>
                    <a:gd name="connsiteX3" fmla="*/ 150895 w 207456"/>
                    <a:gd name="connsiteY3" fmla="*/ 80128 h 334651"/>
                    <a:gd name="connsiteX4" fmla="*/ 113187 w 207456"/>
                    <a:gd name="connsiteY4" fmla="*/ 131975 h 334651"/>
                    <a:gd name="connsiteX5" fmla="*/ 108474 w 207456"/>
                    <a:gd name="connsiteY5" fmla="*/ 150829 h 334651"/>
                    <a:gd name="connsiteX6" fmla="*/ 80194 w 207456"/>
                    <a:gd name="connsiteY6" fmla="*/ 160255 h 334651"/>
                    <a:gd name="connsiteX7" fmla="*/ 66053 w 207456"/>
                    <a:gd name="connsiteY7" fmla="*/ 169682 h 334651"/>
                    <a:gd name="connsiteX8" fmla="*/ 56627 w 207456"/>
                    <a:gd name="connsiteY8" fmla="*/ 207389 h 334651"/>
                    <a:gd name="connsiteX9" fmla="*/ 47200 w 207456"/>
                    <a:gd name="connsiteY9" fmla="*/ 235670 h 334651"/>
                    <a:gd name="connsiteX10" fmla="*/ 42486 w 207456"/>
                    <a:gd name="connsiteY10" fmla="*/ 259237 h 334651"/>
                    <a:gd name="connsiteX11" fmla="*/ 33060 w 207456"/>
                    <a:gd name="connsiteY11" fmla="*/ 273377 h 334651"/>
                    <a:gd name="connsiteX12" fmla="*/ 18919 w 207456"/>
                    <a:gd name="connsiteY12" fmla="*/ 301658 h 334651"/>
                    <a:gd name="connsiteX13" fmla="*/ 4779 w 207456"/>
                    <a:gd name="connsiteY13" fmla="*/ 311084 h 334651"/>
                    <a:gd name="connsiteX14" fmla="*/ 66 w 207456"/>
                    <a:gd name="connsiteY14" fmla="*/ 334651 h 334651"/>
                    <a:gd name="connsiteX0" fmla="*/ 207456 w 207456"/>
                    <a:gd name="connsiteY0" fmla="*/ 0 h 334651"/>
                    <a:gd name="connsiteX1" fmla="*/ 169748 w 207456"/>
                    <a:gd name="connsiteY1" fmla="*/ 51847 h 334651"/>
                    <a:gd name="connsiteX2" fmla="*/ 165035 w 207456"/>
                    <a:gd name="connsiteY2" fmla="*/ 75414 h 334651"/>
                    <a:gd name="connsiteX3" fmla="*/ 150895 w 207456"/>
                    <a:gd name="connsiteY3" fmla="*/ 80128 h 334651"/>
                    <a:gd name="connsiteX4" fmla="*/ 108474 w 207456"/>
                    <a:gd name="connsiteY4" fmla="*/ 150829 h 334651"/>
                    <a:gd name="connsiteX5" fmla="*/ 80194 w 207456"/>
                    <a:gd name="connsiteY5" fmla="*/ 160255 h 334651"/>
                    <a:gd name="connsiteX6" fmla="*/ 66053 w 207456"/>
                    <a:gd name="connsiteY6" fmla="*/ 169682 h 334651"/>
                    <a:gd name="connsiteX7" fmla="*/ 56627 w 207456"/>
                    <a:gd name="connsiteY7" fmla="*/ 207389 h 334651"/>
                    <a:gd name="connsiteX8" fmla="*/ 47200 w 207456"/>
                    <a:gd name="connsiteY8" fmla="*/ 235670 h 334651"/>
                    <a:gd name="connsiteX9" fmla="*/ 42486 w 207456"/>
                    <a:gd name="connsiteY9" fmla="*/ 259237 h 334651"/>
                    <a:gd name="connsiteX10" fmla="*/ 33060 w 207456"/>
                    <a:gd name="connsiteY10" fmla="*/ 273377 h 334651"/>
                    <a:gd name="connsiteX11" fmla="*/ 18919 w 207456"/>
                    <a:gd name="connsiteY11" fmla="*/ 301658 h 334651"/>
                    <a:gd name="connsiteX12" fmla="*/ 4779 w 207456"/>
                    <a:gd name="connsiteY12" fmla="*/ 311084 h 334651"/>
                    <a:gd name="connsiteX13" fmla="*/ 66 w 207456"/>
                    <a:gd name="connsiteY13" fmla="*/ 334651 h 334651"/>
                    <a:gd name="connsiteX0" fmla="*/ 207456 w 207456"/>
                    <a:gd name="connsiteY0" fmla="*/ 0 h 334651"/>
                    <a:gd name="connsiteX1" fmla="*/ 169748 w 207456"/>
                    <a:gd name="connsiteY1" fmla="*/ 51847 h 334651"/>
                    <a:gd name="connsiteX2" fmla="*/ 165035 w 207456"/>
                    <a:gd name="connsiteY2" fmla="*/ 75414 h 334651"/>
                    <a:gd name="connsiteX3" fmla="*/ 150895 w 207456"/>
                    <a:gd name="connsiteY3" fmla="*/ 80128 h 334651"/>
                    <a:gd name="connsiteX4" fmla="*/ 132041 w 207456"/>
                    <a:gd name="connsiteY4" fmla="*/ 136689 h 334651"/>
                    <a:gd name="connsiteX5" fmla="*/ 80194 w 207456"/>
                    <a:gd name="connsiteY5" fmla="*/ 160255 h 334651"/>
                    <a:gd name="connsiteX6" fmla="*/ 66053 w 207456"/>
                    <a:gd name="connsiteY6" fmla="*/ 169682 h 334651"/>
                    <a:gd name="connsiteX7" fmla="*/ 56627 w 207456"/>
                    <a:gd name="connsiteY7" fmla="*/ 207389 h 334651"/>
                    <a:gd name="connsiteX8" fmla="*/ 47200 w 207456"/>
                    <a:gd name="connsiteY8" fmla="*/ 235670 h 334651"/>
                    <a:gd name="connsiteX9" fmla="*/ 42486 w 207456"/>
                    <a:gd name="connsiteY9" fmla="*/ 259237 h 334651"/>
                    <a:gd name="connsiteX10" fmla="*/ 33060 w 207456"/>
                    <a:gd name="connsiteY10" fmla="*/ 273377 h 334651"/>
                    <a:gd name="connsiteX11" fmla="*/ 18919 w 207456"/>
                    <a:gd name="connsiteY11" fmla="*/ 301658 h 334651"/>
                    <a:gd name="connsiteX12" fmla="*/ 4779 w 207456"/>
                    <a:gd name="connsiteY12" fmla="*/ 311084 h 334651"/>
                    <a:gd name="connsiteX13" fmla="*/ 66 w 207456"/>
                    <a:gd name="connsiteY13" fmla="*/ 334651 h 334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07456" h="334651">
                      <a:moveTo>
                        <a:pt x="207456" y="0"/>
                      </a:moveTo>
                      <a:cubicBezTo>
                        <a:pt x="199600" y="10802"/>
                        <a:pt x="176818" y="39278"/>
                        <a:pt x="169748" y="51847"/>
                      </a:cubicBezTo>
                      <a:cubicBezTo>
                        <a:pt x="162678" y="64416"/>
                        <a:pt x="169479" y="68748"/>
                        <a:pt x="165035" y="75414"/>
                      </a:cubicBezTo>
                      <a:cubicBezTo>
                        <a:pt x="162279" y="79548"/>
                        <a:pt x="156394" y="69916"/>
                        <a:pt x="150895" y="80128"/>
                      </a:cubicBezTo>
                      <a:cubicBezTo>
                        <a:pt x="145396" y="90340"/>
                        <a:pt x="143825" y="123334"/>
                        <a:pt x="132041" y="136689"/>
                      </a:cubicBezTo>
                      <a:cubicBezTo>
                        <a:pt x="120257" y="150044"/>
                        <a:pt x="91192" y="154756"/>
                        <a:pt x="80194" y="160255"/>
                      </a:cubicBezTo>
                      <a:cubicBezTo>
                        <a:pt x="69196" y="165754"/>
                        <a:pt x="69592" y="165258"/>
                        <a:pt x="66053" y="169682"/>
                      </a:cubicBezTo>
                      <a:cubicBezTo>
                        <a:pt x="62108" y="174613"/>
                        <a:pt x="56991" y="206055"/>
                        <a:pt x="56627" y="207389"/>
                      </a:cubicBezTo>
                      <a:cubicBezTo>
                        <a:pt x="54012" y="216976"/>
                        <a:pt x="49149" y="225926"/>
                        <a:pt x="47200" y="235670"/>
                      </a:cubicBezTo>
                      <a:cubicBezTo>
                        <a:pt x="45629" y="243526"/>
                        <a:pt x="45299" y="251736"/>
                        <a:pt x="42486" y="259237"/>
                      </a:cubicBezTo>
                      <a:cubicBezTo>
                        <a:pt x="40497" y="264541"/>
                        <a:pt x="35593" y="268310"/>
                        <a:pt x="33060" y="273377"/>
                      </a:cubicBezTo>
                      <a:cubicBezTo>
                        <a:pt x="25394" y="288708"/>
                        <a:pt x="32425" y="288152"/>
                        <a:pt x="18919" y="301658"/>
                      </a:cubicBezTo>
                      <a:cubicBezTo>
                        <a:pt x="14914" y="305663"/>
                        <a:pt x="9492" y="307942"/>
                        <a:pt x="4779" y="311084"/>
                      </a:cubicBezTo>
                      <a:cubicBezTo>
                        <a:pt x="-927" y="328206"/>
                        <a:pt x="66" y="320256"/>
                        <a:pt x="66" y="33465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6" name="Forma livre 834"/>
                <p:cNvSpPr/>
                <p:nvPr/>
              </p:nvSpPr>
              <p:spPr>
                <a:xfrm>
                  <a:off x="3469064" y="5514680"/>
                  <a:ext cx="838991" cy="207390"/>
                </a:xfrm>
                <a:custGeom>
                  <a:avLst/>
                  <a:gdLst>
                    <a:gd name="connsiteX0" fmla="*/ 0 w 838991"/>
                    <a:gd name="connsiteY0" fmla="*/ 0 h 207390"/>
                    <a:gd name="connsiteX1" fmla="*/ 42421 w 838991"/>
                    <a:gd name="connsiteY1" fmla="*/ 14141 h 207390"/>
                    <a:gd name="connsiteX2" fmla="*/ 56561 w 838991"/>
                    <a:gd name="connsiteY2" fmla="*/ 42421 h 207390"/>
                    <a:gd name="connsiteX3" fmla="*/ 117835 w 838991"/>
                    <a:gd name="connsiteY3" fmla="*/ 47134 h 207390"/>
                    <a:gd name="connsiteX4" fmla="*/ 136689 w 838991"/>
                    <a:gd name="connsiteY4" fmla="*/ 51848 h 207390"/>
                    <a:gd name="connsiteX5" fmla="*/ 150829 w 838991"/>
                    <a:gd name="connsiteY5" fmla="*/ 61275 h 207390"/>
                    <a:gd name="connsiteX6" fmla="*/ 164969 w 838991"/>
                    <a:gd name="connsiteY6" fmla="*/ 65988 h 207390"/>
                    <a:gd name="connsiteX7" fmla="*/ 207390 w 838991"/>
                    <a:gd name="connsiteY7" fmla="*/ 61275 h 207390"/>
                    <a:gd name="connsiteX8" fmla="*/ 230957 w 838991"/>
                    <a:gd name="connsiteY8" fmla="*/ 56561 h 207390"/>
                    <a:gd name="connsiteX9" fmla="*/ 245097 w 838991"/>
                    <a:gd name="connsiteY9" fmla="*/ 51848 h 207390"/>
                    <a:gd name="connsiteX10" fmla="*/ 282804 w 838991"/>
                    <a:gd name="connsiteY10" fmla="*/ 47134 h 207390"/>
                    <a:gd name="connsiteX11" fmla="*/ 306371 w 838991"/>
                    <a:gd name="connsiteY11" fmla="*/ 51848 h 207390"/>
                    <a:gd name="connsiteX12" fmla="*/ 348792 w 838991"/>
                    <a:gd name="connsiteY12" fmla="*/ 75415 h 207390"/>
                    <a:gd name="connsiteX13" fmla="*/ 405352 w 838991"/>
                    <a:gd name="connsiteY13" fmla="*/ 122549 h 207390"/>
                    <a:gd name="connsiteX14" fmla="*/ 447773 w 838991"/>
                    <a:gd name="connsiteY14" fmla="*/ 127262 h 207390"/>
                    <a:gd name="connsiteX15" fmla="*/ 461913 w 838991"/>
                    <a:gd name="connsiteY15" fmla="*/ 136689 h 207390"/>
                    <a:gd name="connsiteX16" fmla="*/ 476054 w 838991"/>
                    <a:gd name="connsiteY16" fmla="*/ 141402 h 207390"/>
                    <a:gd name="connsiteX17" fmla="*/ 499621 w 838991"/>
                    <a:gd name="connsiteY17" fmla="*/ 160256 h 207390"/>
                    <a:gd name="connsiteX18" fmla="*/ 546755 w 838991"/>
                    <a:gd name="connsiteY18" fmla="*/ 193250 h 207390"/>
                    <a:gd name="connsiteX19" fmla="*/ 593889 w 838991"/>
                    <a:gd name="connsiteY19" fmla="*/ 207390 h 207390"/>
                    <a:gd name="connsiteX20" fmla="*/ 631596 w 838991"/>
                    <a:gd name="connsiteY20" fmla="*/ 202677 h 207390"/>
                    <a:gd name="connsiteX21" fmla="*/ 659876 w 838991"/>
                    <a:gd name="connsiteY21" fmla="*/ 193250 h 207390"/>
                    <a:gd name="connsiteX22" fmla="*/ 678730 w 838991"/>
                    <a:gd name="connsiteY22" fmla="*/ 188536 h 207390"/>
                    <a:gd name="connsiteX23" fmla="*/ 702297 w 838991"/>
                    <a:gd name="connsiteY23" fmla="*/ 193250 h 207390"/>
                    <a:gd name="connsiteX24" fmla="*/ 716437 w 838991"/>
                    <a:gd name="connsiteY24" fmla="*/ 202677 h 207390"/>
                    <a:gd name="connsiteX25" fmla="*/ 730577 w 838991"/>
                    <a:gd name="connsiteY25" fmla="*/ 197963 h 207390"/>
                    <a:gd name="connsiteX26" fmla="*/ 735291 w 838991"/>
                    <a:gd name="connsiteY26" fmla="*/ 183823 h 207390"/>
                    <a:gd name="connsiteX27" fmla="*/ 749431 w 838991"/>
                    <a:gd name="connsiteY27" fmla="*/ 179110 h 207390"/>
                    <a:gd name="connsiteX28" fmla="*/ 796565 w 838991"/>
                    <a:gd name="connsiteY28" fmla="*/ 188536 h 207390"/>
                    <a:gd name="connsiteX29" fmla="*/ 838985 w 838991"/>
                    <a:gd name="connsiteY29" fmla="*/ 179110 h 207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838991" h="207390">
                      <a:moveTo>
                        <a:pt x="0" y="0"/>
                      </a:moveTo>
                      <a:cubicBezTo>
                        <a:pt x="13799" y="2300"/>
                        <a:pt x="32225" y="1396"/>
                        <a:pt x="42421" y="14141"/>
                      </a:cubicBezTo>
                      <a:cubicBezTo>
                        <a:pt x="47101" y="19991"/>
                        <a:pt x="46458" y="39727"/>
                        <a:pt x="56561" y="42421"/>
                      </a:cubicBezTo>
                      <a:cubicBezTo>
                        <a:pt x="76354" y="47699"/>
                        <a:pt x="97410" y="45563"/>
                        <a:pt x="117835" y="47134"/>
                      </a:cubicBezTo>
                      <a:cubicBezTo>
                        <a:pt x="124120" y="48705"/>
                        <a:pt x="130735" y="49296"/>
                        <a:pt x="136689" y="51848"/>
                      </a:cubicBezTo>
                      <a:cubicBezTo>
                        <a:pt x="141896" y="54080"/>
                        <a:pt x="145762" y="58742"/>
                        <a:pt x="150829" y="61275"/>
                      </a:cubicBezTo>
                      <a:cubicBezTo>
                        <a:pt x="155273" y="63497"/>
                        <a:pt x="160256" y="64417"/>
                        <a:pt x="164969" y="65988"/>
                      </a:cubicBezTo>
                      <a:cubicBezTo>
                        <a:pt x="179109" y="64417"/>
                        <a:pt x="193306" y="63287"/>
                        <a:pt x="207390" y="61275"/>
                      </a:cubicBezTo>
                      <a:cubicBezTo>
                        <a:pt x="215321" y="60142"/>
                        <a:pt x="223185" y="58504"/>
                        <a:pt x="230957" y="56561"/>
                      </a:cubicBezTo>
                      <a:cubicBezTo>
                        <a:pt x="235777" y="55356"/>
                        <a:pt x="240209" y="52737"/>
                        <a:pt x="245097" y="51848"/>
                      </a:cubicBezTo>
                      <a:cubicBezTo>
                        <a:pt x="257560" y="49582"/>
                        <a:pt x="270235" y="48705"/>
                        <a:pt x="282804" y="47134"/>
                      </a:cubicBezTo>
                      <a:cubicBezTo>
                        <a:pt x="290660" y="48705"/>
                        <a:pt x="298599" y="49905"/>
                        <a:pt x="306371" y="51848"/>
                      </a:cubicBezTo>
                      <a:cubicBezTo>
                        <a:pt x="322178" y="55800"/>
                        <a:pt x="337088" y="63711"/>
                        <a:pt x="348792" y="75415"/>
                      </a:cubicBezTo>
                      <a:cubicBezTo>
                        <a:pt x="356126" y="82749"/>
                        <a:pt x="390589" y="120909"/>
                        <a:pt x="405352" y="122549"/>
                      </a:cubicBezTo>
                      <a:lnTo>
                        <a:pt x="447773" y="127262"/>
                      </a:lnTo>
                      <a:cubicBezTo>
                        <a:pt x="452486" y="130404"/>
                        <a:pt x="456846" y="134156"/>
                        <a:pt x="461913" y="136689"/>
                      </a:cubicBezTo>
                      <a:cubicBezTo>
                        <a:pt x="466357" y="138911"/>
                        <a:pt x="472174" y="138298"/>
                        <a:pt x="476054" y="141402"/>
                      </a:cubicBezTo>
                      <a:cubicBezTo>
                        <a:pt x="506511" y="165768"/>
                        <a:pt x="464077" y="148410"/>
                        <a:pt x="499621" y="160256"/>
                      </a:cubicBezTo>
                      <a:cubicBezTo>
                        <a:pt x="508226" y="166710"/>
                        <a:pt x="539790" y="190928"/>
                        <a:pt x="546755" y="193250"/>
                      </a:cubicBezTo>
                      <a:cubicBezTo>
                        <a:pt x="581181" y="204726"/>
                        <a:pt x="565395" y="200267"/>
                        <a:pt x="593889" y="207390"/>
                      </a:cubicBezTo>
                      <a:cubicBezTo>
                        <a:pt x="606458" y="205819"/>
                        <a:pt x="619210" y="205331"/>
                        <a:pt x="631596" y="202677"/>
                      </a:cubicBezTo>
                      <a:cubicBezTo>
                        <a:pt x="641312" y="200595"/>
                        <a:pt x="650236" y="195660"/>
                        <a:pt x="659876" y="193250"/>
                      </a:cubicBezTo>
                      <a:lnTo>
                        <a:pt x="678730" y="188536"/>
                      </a:lnTo>
                      <a:cubicBezTo>
                        <a:pt x="686586" y="190107"/>
                        <a:pt x="694796" y="190437"/>
                        <a:pt x="702297" y="193250"/>
                      </a:cubicBezTo>
                      <a:cubicBezTo>
                        <a:pt x="707601" y="195239"/>
                        <a:pt x="710849" y="201746"/>
                        <a:pt x="716437" y="202677"/>
                      </a:cubicBezTo>
                      <a:cubicBezTo>
                        <a:pt x="721338" y="203494"/>
                        <a:pt x="725864" y="199534"/>
                        <a:pt x="730577" y="197963"/>
                      </a:cubicBezTo>
                      <a:cubicBezTo>
                        <a:pt x="732148" y="193250"/>
                        <a:pt x="731778" y="187336"/>
                        <a:pt x="735291" y="183823"/>
                      </a:cubicBezTo>
                      <a:cubicBezTo>
                        <a:pt x="738804" y="180310"/>
                        <a:pt x="744463" y="179110"/>
                        <a:pt x="749431" y="179110"/>
                      </a:cubicBezTo>
                      <a:cubicBezTo>
                        <a:pt x="760987" y="179110"/>
                        <a:pt x="784108" y="185422"/>
                        <a:pt x="796565" y="188536"/>
                      </a:cubicBezTo>
                      <a:cubicBezTo>
                        <a:pt x="840546" y="183650"/>
                        <a:pt x="838985" y="198050"/>
                        <a:pt x="838985" y="17911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7" name="Forma livre 835"/>
                <p:cNvSpPr/>
                <p:nvPr/>
              </p:nvSpPr>
              <p:spPr>
                <a:xfrm>
                  <a:off x="2917596" y="6033155"/>
                  <a:ext cx="631596" cy="348791"/>
                </a:xfrm>
                <a:custGeom>
                  <a:avLst/>
                  <a:gdLst>
                    <a:gd name="connsiteX0" fmla="*/ 0 w 631596"/>
                    <a:gd name="connsiteY0" fmla="*/ 0 h 348791"/>
                    <a:gd name="connsiteX1" fmla="*/ 56561 w 631596"/>
                    <a:gd name="connsiteY1" fmla="*/ 14140 h 348791"/>
                    <a:gd name="connsiteX2" fmla="*/ 84841 w 631596"/>
                    <a:gd name="connsiteY2" fmla="*/ 28280 h 348791"/>
                    <a:gd name="connsiteX3" fmla="*/ 127262 w 631596"/>
                    <a:gd name="connsiteY3" fmla="*/ 51847 h 348791"/>
                    <a:gd name="connsiteX4" fmla="*/ 164969 w 631596"/>
                    <a:gd name="connsiteY4" fmla="*/ 47134 h 348791"/>
                    <a:gd name="connsiteX5" fmla="*/ 179109 w 631596"/>
                    <a:gd name="connsiteY5" fmla="*/ 42420 h 348791"/>
                    <a:gd name="connsiteX6" fmla="*/ 188536 w 631596"/>
                    <a:gd name="connsiteY6" fmla="*/ 28280 h 348791"/>
                    <a:gd name="connsiteX7" fmla="*/ 216816 w 631596"/>
                    <a:gd name="connsiteY7" fmla="*/ 14140 h 348791"/>
                    <a:gd name="connsiteX8" fmla="*/ 254524 w 631596"/>
                    <a:gd name="connsiteY8" fmla="*/ 18853 h 348791"/>
                    <a:gd name="connsiteX9" fmla="*/ 282804 w 631596"/>
                    <a:gd name="connsiteY9" fmla="*/ 28280 h 348791"/>
                    <a:gd name="connsiteX10" fmla="*/ 311084 w 631596"/>
                    <a:gd name="connsiteY10" fmla="*/ 47134 h 348791"/>
                    <a:gd name="connsiteX11" fmla="*/ 325225 w 631596"/>
                    <a:gd name="connsiteY11" fmla="*/ 56560 h 348791"/>
                    <a:gd name="connsiteX12" fmla="*/ 339365 w 631596"/>
                    <a:gd name="connsiteY12" fmla="*/ 70701 h 348791"/>
                    <a:gd name="connsiteX13" fmla="*/ 367645 w 631596"/>
                    <a:gd name="connsiteY13" fmla="*/ 80127 h 348791"/>
                    <a:gd name="connsiteX14" fmla="*/ 381785 w 631596"/>
                    <a:gd name="connsiteY14" fmla="*/ 84841 h 348791"/>
                    <a:gd name="connsiteX15" fmla="*/ 395926 w 631596"/>
                    <a:gd name="connsiteY15" fmla="*/ 89554 h 348791"/>
                    <a:gd name="connsiteX16" fmla="*/ 414779 w 631596"/>
                    <a:gd name="connsiteY16" fmla="*/ 84841 h 348791"/>
                    <a:gd name="connsiteX17" fmla="*/ 428919 w 631596"/>
                    <a:gd name="connsiteY17" fmla="*/ 75414 h 348791"/>
                    <a:gd name="connsiteX18" fmla="*/ 452486 w 631596"/>
                    <a:gd name="connsiteY18" fmla="*/ 80127 h 348791"/>
                    <a:gd name="connsiteX19" fmla="*/ 480767 w 631596"/>
                    <a:gd name="connsiteY19" fmla="*/ 103694 h 348791"/>
                    <a:gd name="connsiteX20" fmla="*/ 494907 w 631596"/>
                    <a:gd name="connsiteY20" fmla="*/ 108408 h 348791"/>
                    <a:gd name="connsiteX21" fmla="*/ 532614 w 631596"/>
                    <a:gd name="connsiteY21" fmla="*/ 103694 h 348791"/>
                    <a:gd name="connsiteX22" fmla="*/ 546755 w 631596"/>
                    <a:gd name="connsiteY22" fmla="*/ 98981 h 348791"/>
                    <a:gd name="connsiteX23" fmla="*/ 631596 w 631596"/>
                    <a:gd name="connsiteY23" fmla="*/ 103694 h 348791"/>
                    <a:gd name="connsiteX24" fmla="*/ 622169 w 631596"/>
                    <a:gd name="connsiteY24" fmla="*/ 117835 h 348791"/>
                    <a:gd name="connsiteX25" fmla="*/ 612742 w 631596"/>
                    <a:gd name="connsiteY25" fmla="*/ 146115 h 348791"/>
                    <a:gd name="connsiteX26" fmla="*/ 584462 w 631596"/>
                    <a:gd name="connsiteY26" fmla="*/ 164969 h 348791"/>
                    <a:gd name="connsiteX27" fmla="*/ 560895 w 631596"/>
                    <a:gd name="connsiteY27" fmla="*/ 207389 h 348791"/>
                    <a:gd name="connsiteX28" fmla="*/ 546755 w 631596"/>
                    <a:gd name="connsiteY28" fmla="*/ 216816 h 348791"/>
                    <a:gd name="connsiteX29" fmla="*/ 527901 w 631596"/>
                    <a:gd name="connsiteY29" fmla="*/ 245097 h 348791"/>
                    <a:gd name="connsiteX30" fmla="*/ 518474 w 631596"/>
                    <a:gd name="connsiteY30" fmla="*/ 259237 h 348791"/>
                    <a:gd name="connsiteX31" fmla="*/ 504334 w 631596"/>
                    <a:gd name="connsiteY31" fmla="*/ 268664 h 348791"/>
                    <a:gd name="connsiteX32" fmla="*/ 494907 w 631596"/>
                    <a:gd name="connsiteY32" fmla="*/ 282804 h 348791"/>
                    <a:gd name="connsiteX33" fmla="*/ 490194 w 631596"/>
                    <a:gd name="connsiteY33" fmla="*/ 348791 h 348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631596" h="348791">
                      <a:moveTo>
                        <a:pt x="0" y="0"/>
                      </a:moveTo>
                      <a:cubicBezTo>
                        <a:pt x="14136" y="2356"/>
                        <a:pt x="44112" y="5840"/>
                        <a:pt x="56561" y="14140"/>
                      </a:cubicBezTo>
                      <a:cubicBezTo>
                        <a:pt x="74835" y="26323"/>
                        <a:pt x="65327" y="21776"/>
                        <a:pt x="84841" y="28280"/>
                      </a:cubicBezTo>
                      <a:cubicBezTo>
                        <a:pt x="117256" y="49890"/>
                        <a:pt x="102373" y="43551"/>
                        <a:pt x="127262" y="51847"/>
                      </a:cubicBezTo>
                      <a:cubicBezTo>
                        <a:pt x="139831" y="50276"/>
                        <a:pt x="152507" y="49400"/>
                        <a:pt x="164969" y="47134"/>
                      </a:cubicBezTo>
                      <a:cubicBezTo>
                        <a:pt x="169857" y="46245"/>
                        <a:pt x="175229" y="45524"/>
                        <a:pt x="179109" y="42420"/>
                      </a:cubicBezTo>
                      <a:cubicBezTo>
                        <a:pt x="183532" y="38881"/>
                        <a:pt x="184530" y="32286"/>
                        <a:pt x="188536" y="28280"/>
                      </a:cubicBezTo>
                      <a:cubicBezTo>
                        <a:pt x="197674" y="19142"/>
                        <a:pt x="205314" y="17974"/>
                        <a:pt x="216816" y="14140"/>
                      </a:cubicBezTo>
                      <a:cubicBezTo>
                        <a:pt x="229385" y="15711"/>
                        <a:pt x="242138" y="16199"/>
                        <a:pt x="254524" y="18853"/>
                      </a:cubicBezTo>
                      <a:cubicBezTo>
                        <a:pt x="264240" y="20935"/>
                        <a:pt x="282804" y="28280"/>
                        <a:pt x="282804" y="28280"/>
                      </a:cubicBezTo>
                      <a:lnTo>
                        <a:pt x="311084" y="47134"/>
                      </a:lnTo>
                      <a:cubicBezTo>
                        <a:pt x="315797" y="50276"/>
                        <a:pt x="321219" y="52554"/>
                        <a:pt x="325225" y="56560"/>
                      </a:cubicBezTo>
                      <a:cubicBezTo>
                        <a:pt x="329938" y="61274"/>
                        <a:pt x="333538" y="67464"/>
                        <a:pt x="339365" y="70701"/>
                      </a:cubicBezTo>
                      <a:cubicBezTo>
                        <a:pt x="348051" y="75527"/>
                        <a:pt x="358218" y="76985"/>
                        <a:pt x="367645" y="80127"/>
                      </a:cubicBezTo>
                      <a:lnTo>
                        <a:pt x="381785" y="84841"/>
                      </a:lnTo>
                      <a:lnTo>
                        <a:pt x="395926" y="89554"/>
                      </a:lnTo>
                      <a:cubicBezTo>
                        <a:pt x="402210" y="87983"/>
                        <a:pt x="408825" y="87393"/>
                        <a:pt x="414779" y="84841"/>
                      </a:cubicBezTo>
                      <a:cubicBezTo>
                        <a:pt x="419986" y="82610"/>
                        <a:pt x="423298" y="76117"/>
                        <a:pt x="428919" y="75414"/>
                      </a:cubicBezTo>
                      <a:cubicBezTo>
                        <a:pt x="436868" y="74420"/>
                        <a:pt x="444630" y="78556"/>
                        <a:pt x="452486" y="80127"/>
                      </a:cubicBezTo>
                      <a:cubicBezTo>
                        <a:pt x="462912" y="90553"/>
                        <a:pt x="467641" y="97131"/>
                        <a:pt x="480767" y="103694"/>
                      </a:cubicBezTo>
                      <a:cubicBezTo>
                        <a:pt x="485211" y="105916"/>
                        <a:pt x="490194" y="106837"/>
                        <a:pt x="494907" y="108408"/>
                      </a:cubicBezTo>
                      <a:cubicBezTo>
                        <a:pt x="507476" y="106837"/>
                        <a:pt x="520151" y="105960"/>
                        <a:pt x="532614" y="103694"/>
                      </a:cubicBezTo>
                      <a:cubicBezTo>
                        <a:pt x="537502" y="102805"/>
                        <a:pt x="541786" y="98981"/>
                        <a:pt x="546755" y="98981"/>
                      </a:cubicBezTo>
                      <a:cubicBezTo>
                        <a:pt x="575079" y="98981"/>
                        <a:pt x="603316" y="102123"/>
                        <a:pt x="631596" y="103694"/>
                      </a:cubicBezTo>
                      <a:cubicBezTo>
                        <a:pt x="628454" y="108408"/>
                        <a:pt x="624470" y="112658"/>
                        <a:pt x="622169" y="117835"/>
                      </a:cubicBezTo>
                      <a:cubicBezTo>
                        <a:pt x="618133" y="126915"/>
                        <a:pt x="621010" y="140603"/>
                        <a:pt x="612742" y="146115"/>
                      </a:cubicBezTo>
                      <a:lnTo>
                        <a:pt x="584462" y="164969"/>
                      </a:lnTo>
                      <a:cubicBezTo>
                        <a:pt x="575354" y="192292"/>
                        <a:pt x="580433" y="191107"/>
                        <a:pt x="560895" y="207389"/>
                      </a:cubicBezTo>
                      <a:cubicBezTo>
                        <a:pt x="556543" y="211016"/>
                        <a:pt x="551468" y="213674"/>
                        <a:pt x="546755" y="216816"/>
                      </a:cubicBezTo>
                      <a:lnTo>
                        <a:pt x="527901" y="245097"/>
                      </a:lnTo>
                      <a:cubicBezTo>
                        <a:pt x="524759" y="249810"/>
                        <a:pt x="523187" y="256095"/>
                        <a:pt x="518474" y="259237"/>
                      </a:cubicBezTo>
                      <a:lnTo>
                        <a:pt x="504334" y="268664"/>
                      </a:lnTo>
                      <a:cubicBezTo>
                        <a:pt x="501192" y="273377"/>
                        <a:pt x="497440" y="277737"/>
                        <a:pt x="494907" y="282804"/>
                      </a:cubicBezTo>
                      <a:cubicBezTo>
                        <a:pt x="484729" y="303160"/>
                        <a:pt x="490194" y="327387"/>
                        <a:pt x="490194" y="34879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8" name="Forma livre 836"/>
                <p:cNvSpPr/>
                <p:nvPr/>
              </p:nvSpPr>
              <p:spPr>
                <a:xfrm>
                  <a:off x="3652887" y="5877612"/>
                  <a:ext cx="37707" cy="150829"/>
                </a:xfrm>
                <a:custGeom>
                  <a:avLst/>
                  <a:gdLst>
                    <a:gd name="connsiteX0" fmla="*/ 37707 w 42933"/>
                    <a:gd name="connsiteY0" fmla="*/ 150829 h 150829"/>
                    <a:gd name="connsiteX1" fmla="*/ 37707 w 42933"/>
                    <a:gd name="connsiteY1" fmla="*/ 98982 h 150829"/>
                    <a:gd name="connsiteX2" fmla="*/ 23567 w 42933"/>
                    <a:gd name="connsiteY2" fmla="*/ 94268 h 150829"/>
                    <a:gd name="connsiteX3" fmla="*/ 4713 w 42933"/>
                    <a:gd name="connsiteY3" fmla="*/ 51848 h 150829"/>
                    <a:gd name="connsiteX4" fmla="*/ 0 w 42933"/>
                    <a:gd name="connsiteY4" fmla="*/ 37708 h 150829"/>
                    <a:gd name="connsiteX5" fmla="*/ 9426 w 42933"/>
                    <a:gd name="connsiteY5" fmla="*/ 23567 h 150829"/>
                    <a:gd name="connsiteX6" fmla="*/ 23567 w 42933"/>
                    <a:gd name="connsiteY6" fmla="*/ 18854 h 150829"/>
                    <a:gd name="connsiteX7" fmla="*/ 28280 w 42933"/>
                    <a:gd name="connsiteY7" fmla="*/ 0 h 150829"/>
                    <a:gd name="connsiteX0" fmla="*/ 37707 w 37707"/>
                    <a:gd name="connsiteY0" fmla="*/ 150829 h 150829"/>
                    <a:gd name="connsiteX1" fmla="*/ 23567 w 37707"/>
                    <a:gd name="connsiteY1" fmla="*/ 94268 h 150829"/>
                    <a:gd name="connsiteX2" fmla="*/ 4713 w 37707"/>
                    <a:gd name="connsiteY2" fmla="*/ 51848 h 150829"/>
                    <a:gd name="connsiteX3" fmla="*/ 0 w 37707"/>
                    <a:gd name="connsiteY3" fmla="*/ 37708 h 150829"/>
                    <a:gd name="connsiteX4" fmla="*/ 9426 w 37707"/>
                    <a:gd name="connsiteY4" fmla="*/ 23567 h 150829"/>
                    <a:gd name="connsiteX5" fmla="*/ 23567 w 37707"/>
                    <a:gd name="connsiteY5" fmla="*/ 18854 h 150829"/>
                    <a:gd name="connsiteX6" fmla="*/ 28280 w 37707"/>
                    <a:gd name="connsiteY6" fmla="*/ 0 h 1508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7707" h="150829">
                      <a:moveTo>
                        <a:pt x="37707" y="150829"/>
                      </a:moveTo>
                      <a:cubicBezTo>
                        <a:pt x="34761" y="139046"/>
                        <a:pt x="29066" y="110765"/>
                        <a:pt x="23567" y="94268"/>
                      </a:cubicBezTo>
                      <a:cubicBezTo>
                        <a:pt x="8628" y="71861"/>
                        <a:pt x="15931" y="85501"/>
                        <a:pt x="4713" y="51848"/>
                      </a:cubicBezTo>
                      <a:lnTo>
                        <a:pt x="0" y="37708"/>
                      </a:lnTo>
                      <a:cubicBezTo>
                        <a:pt x="3142" y="32994"/>
                        <a:pt x="5003" y="27106"/>
                        <a:pt x="9426" y="23567"/>
                      </a:cubicBezTo>
                      <a:cubicBezTo>
                        <a:pt x="13306" y="20463"/>
                        <a:pt x="20463" y="22734"/>
                        <a:pt x="23567" y="18854"/>
                      </a:cubicBezTo>
                      <a:cubicBezTo>
                        <a:pt x="27614" y="13796"/>
                        <a:pt x="28280" y="0"/>
                        <a:pt x="28280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89" name="Forma livre 837"/>
                <p:cNvSpPr/>
                <p:nvPr/>
              </p:nvSpPr>
              <p:spPr>
                <a:xfrm>
                  <a:off x="3629320" y="6132136"/>
                  <a:ext cx="65999" cy="127262"/>
                </a:xfrm>
                <a:custGeom>
                  <a:avLst/>
                  <a:gdLst>
                    <a:gd name="connsiteX0" fmla="*/ 0 w 65999"/>
                    <a:gd name="connsiteY0" fmla="*/ 127262 h 127262"/>
                    <a:gd name="connsiteX1" fmla="*/ 42420 w 65999"/>
                    <a:gd name="connsiteY1" fmla="*/ 75415 h 127262"/>
                    <a:gd name="connsiteX2" fmla="*/ 47134 w 65999"/>
                    <a:gd name="connsiteY2" fmla="*/ 28280 h 127262"/>
                    <a:gd name="connsiteX3" fmla="*/ 61274 w 65999"/>
                    <a:gd name="connsiteY3" fmla="*/ 18854 h 127262"/>
                    <a:gd name="connsiteX4" fmla="*/ 65987 w 65999"/>
                    <a:gd name="connsiteY4" fmla="*/ 0 h 127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5999" h="127262">
                      <a:moveTo>
                        <a:pt x="0" y="127262"/>
                      </a:moveTo>
                      <a:cubicBezTo>
                        <a:pt x="41220" y="86042"/>
                        <a:pt x="32086" y="106418"/>
                        <a:pt x="42420" y="75415"/>
                      </a:cubicBezTo>
                      <a:cubicBezTo>
                        <a:pt x="43991" y="59703"/>
                        <a:pt x="42141" y="43260"/>
                        <a:pt x="47134" y="28280"/>
                      </a:cubicBezTo>
                      <a:cubicBezTo>
                        <a:pt x="48925" y="22906"/>
                        <a:pt x="57735" y="23277"/>
                        <a:pt x="61274" y="18854"/>
                      </a:cubicBezTo>
                      <a:cubicBezTo>
                        <a:pt x="66484" y="12342"/>
                        <a:pt x="65987" y="6798"/>
                        <a:pt x="65987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90" name="Forma livre 838"/>
                <p:cNvSpPr/>
                <p:nvPr/>
              </p:nvSpPr>
              <p:spPr>
                <a:xfrm>
                  <a:off x="3822569" y="5962454"/>
                  <a:ext cx="94268" cy="89636"/>
                </a:xfrm>
                <a:custGeom>
                  <a:avLst/>
                  <a:gdLst>
                    <a:gd name="connsiteX0" fmla="*/ 0 w 94268"/>
                    <a:gd name="connsiteY0" fmla="*/ 56560 h 89636"/>
                    <a:gd name="connsiteX1" fmla="*/ 23567 w 94268"/>
                    <a:gd name="connsiteY1" fmla="*/ 70701 h 89636"/>
                    <a:gd name="connsiteX2" fmla="*/ 51847 w 94268"/>
                    <a:gd name="connsiteY2" fmla="*/ 80127 h 89636"/>
                    <a:gd name="connsiteX3" fmla="*/ 65988 w 94268"/>
                    <a:gd name="connsiteY3" fmla="*/ 89554 h 89636"/>
                    <a:gd name="connsiteX4" fmla="*/ 89555 w 94268"/>
                    <a:gd name="connsiteY4" fmla="*/ 61274 h 89636"/>
                    <a:gd name="connsiteX5" fmla="*/ 94268 w 94268"/>
                    <a:gd name="connsiteY5" fmla="*/ 47134 h 89636"/>
                    <a:gd name="connsiteX6" fmla="*/ 89555 w 94268"/>
                    <a:gd name="connsiteY6" fmla="*/ 18853 h 89636"/>
                    <a:gd name="connsiteX7" fmla="*/ 84841 w 94268"/>
                    <a:gd name="connsiteY7" fmla="*/ 0 h 89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94268" h="89636">
                      <a:moveTo>
                        <a:pt x="0" y="56560"/>
                      </a:moveTo>
                      <a:cubicBezTo>
                        <a:pt x="7856" y="61274"/>
                        <a:pt x="15227" y="66910"/>
                        <a:pt x="23567" y="70701"/>
                      </a:cubicBezTo>
                      <a:cubicBezTo>
                        <a:pt x="32613" y="74813"/>
                        <a:pt x="51847" y="80127"/>
                        <a:pt x="51847" y="80127"/>
                      </a:cubicBezTo>
                      <a:cubicBezTo>
                        <a:pt x="56561" y="83269"/>
                        <a:pt x="60400" y="90485"/>
                        <a:pt x="65988" y="89554"/>
                      </a:cubicBezTo>
                      <a:cubicBezTo>
                        <a:pt x="72792" y="88420"/>
                        <a:pt x="86069" y="66503"/>
                        <a:pt x="89555" y="61274"/>
                      </a:cubicBezTo>
                      <a:cubicBezTo>
                        <a:pt x="91126" y="56561"/>
                        <a:pt x="94268" y="52102"/>
                        <a:pt x="94268" y="47134"/>
                      </a:cubicBezTo>
                      <a:cubicBezTo>
                        <a:pt x="94268" y="37577"/>
                        <a:pt x="91628" y="28182"/>
                        <a:pt x="89555" y="18853"/>
                      </a:cubicBezTo>
                      <a:cubicBezTo>
                        <a:pt x="84344" y="-4596"/>
                        <a:pt x="84841" y="12153"/>
                        <a:pt x="84841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91" name="Forma livre 839"/>
                <p:cNvSpPr/>
                <p:nvPr/>
              </p:nvSpPr>
              <p:spPr>
                <a:xfrm>
                  <a:off x="4058239" y="5953027"/>
                  <a:ext cx="75415" cy="89554"/>
                </a:xfrm>
                <a:custGeom>
                  <a:avLst/>
                  <a:gdLst>
                    <a:gd name="connsiteX0" fmla="*/ 0 w 75415"/>
                    <a:gd name="connsiteY0" fmla="*/ 89554 h 89554"/>
                    <a:gd name="connsiteX1" fmla="*/ 18854 w 75415"/>
                    <a:gd name="connsiteY1" fmla="*/ 65987 h 89554"/>
                    <a:gd name="connsiteX2" fmla="*/ 23567 w 75415"/>
                    <a:gd name="connsiteY2" fmla="*/ 51847 h 89554"/>
                    <a:gd name="connsiteX3" fmla="*/ 51848 w 75415"/>
                    <a:gd name="connsiteY3" fmla="*/ 32994 h 89554"/>
                    <a:gd name="connsiteX4" fmla="*/ 65988 w 75415"/>
                    <a:gd name="connsiteY4" fmla="*/ 23567 h 89554"/>
                    <a:gd name="connsiteX5" fmla="*/ 75415 w 75415"/>
                    <a:gd name="connsiteY5" fmla="*/ 0 h 895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5415" h="89554">
                      <a:moveTo>
                        <a:pt x="0" y="89554"/>
                      </a:moveTo>
                      <a:cubicBezTo>
                        <a:pt x="6285" y="81698"/>
                        <a:pt x="13522" y="74518"/>
                        <a:pt x="18854" y="65987"/>
                      </a:cubicBezTo>
                      <a:cubicBezTo>
                        <a:pt x="21487" y="61774"/>
                        <a:pt x="20054" y="55360"/>
                        <a:pt x="23567" y="51847"/>
                      </a:cubicBezTo>
                      <a:cubicBezTo>
                        <a:pt x="31578" y="43836"/>
                        <a:pt x="42421" y="39278"/>
                        <a:pt x="51848" y="32994"/>
                      </a:cubicBezTo>
                      <a:lnTo>
                        <a:pt x="65988" y="23567"/>
                      </a:lnTo>
                      <a:cubicBezTo>
                        <a:pt x="71812" y="6094"/>
                        <a:pt x="68479" y="13871"/>
                        <a:pt x="75415" y="0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92" name="Forma livre 840"/>
                <p:cNvSpPr/>
                <p:nvPr/>
              </p:nvSpPr>
              <p:spPr>
                <a:xfrm>
                  <a:off x="3709447" y="5505254"/>
                  <a:ext cx="136689" cy="188536"/>
                </a:xfrm>
                <a:custGeom>
                  <a:avLst/>
                  <a:gdLst>
                    <a:gd name="connsiteX0" fmla="*/ 136689 w 136689"/>
                    <a:gd name="connsiteY0" fmla="*/ 0 h 188536"/>
                    <a:gd name="connsiteX1" fmla="*/ 113122 w 136689"/>
                    <a:gd name="connsiteY1" fmla="*/ 4713 h 188536"/>
                    <a:gd name="connsiteX2" fmla="*/ 103695 w 136689"/>
                    <a:gd name="connsiteY2" fmla="*/ 18853 h 188536"/>
                    <a:gd name="connsiteX3" fmla="*/ 89555 w 136689"/>
                    <a:gd name="connsiteY3" fmla="*/ 28280 h 188536"/>
                    <a:gd name="connsiteX4" fmla="*/ 70701 w 136689"/>
                    <a:gd name="connsiteY4" fmla="*/ 56560 h 188536"/>
                    <a:gd name="connsiteX5" fmla="*/ 65988 w 136689"/>
                    <a:gd name="connsiteY5" fmla="*/ 70701 h 188536"/>
                    <a:gd name="connsiteX6" fmla="*/ 47134 w 136689"/>
                    <a:gd name="connsiteY6" fmla="*/ 98981 h 188536"/>
                    <a:gd name="connsiteX7" fmla="*/ 37708 w 136689"/>
                    <a:gd name="connsiteY7" fmla="*/ 127261 h 188536"/>
                    <a:gd name="connsiteX8" fmla="*/ 32994 w 136689"/>
                    <a:gd name="connsiteY8" fmla="*/ 141402 h 188536"/>
                    <a:gd name="connsiteX9" fmla="*/ 14141 w 136689"/>
                    <a:gd name="connsiteY9" fmla="*/ 169682 h 188536"/>
                    <a:gd name="connsiteX10" fmla="*/ 0 w 136689"/>
                    <a:gd name="connsiteY10" fmla="*/ 188536 h 188536"/>
                    <a:gd name="connsiteX0" fmla="*/ 136689 w 136689"/>
                    <a:gd name="connsiteY0" fmla="*/ 0 h 188536"/>
                    <a:gd name="connsiteX1" fmla="*/ 113122 w 136689"/>
                    <a:gd name="connsiteY1" fmla="*/ 4713 h 188536"/>
                    <a:gd name="connsiteX2" fmla="*/ 89555 w 136689"/>
                    <a:gd name="connsiteY2" fmla="*/ 28280 h 188536"/>
                    <a:gd name="connsiteX3" fmla="*/ 70701 w 136689"/>
                    <a:gd name="connsiteY3" fmla="*/ 56560 h 188536"/>
                    <a:gd name="connsiteX4" fmla="*/ 65988 w 136689"/>
                    <a:gd name="connsiteY4" fmla="*/ 70701 h 188536"/>
                    <a:gd name="connsiteX5" fmla="*/ 47134 w 136689"/>
                    <a:gd name="connsiteY5" fmla="*/ 98981 h 188536"/>
                    <a:gd name="connsiteX6" fmla="*/ 37708 w 136689"/>
                    <a:gd name="connsiteY6" fmla="*/ 127261 h 188536"/>
                    <a:gd name="connsiteX7" fmla="*/ 32994 w 136689"/>
                    <a:gd name="connsiteY7" fmla="*/ 141402 h 188536"/>
                    <a:gd name="connsiteX8" fmla="*/ 14141 w 136689"/>
                    <a:gd name="connsiteY8" fmla="*/ 169682 h 188536"/>
                    <a:gd name="connsiteX9" fmla="*/ 0 w 136689"/>
                    <a:gd name="connsiteY9" fmla="*/ 188536 h 188536"/>
                    <a:gd name="connsiteX0" fmla="*/ 136689 w 136689"/>
                    <a:gd name="connsiteY0" fmla="*/ 0 h 188536"/>
                    <a:gd name="connsiteX1" fmla="*/ 89555 w 136689"/>
                    <a:gd name="connsiteY1" fmla="*/ 28280 h 188536"/>
                    <a:gd name="connsiteX2" fmla="*/ 70701 w 136689"/>
                    <a:gd name="connsiteY2" fmla="*/ 56560 h 188536"/>
                    <a:gd name="connsiteX3" fmla="*/ 65988 w 136689"/>
                    <a:gd name="connsiteY3" fmla="*/ 70701 h 188536"/>
                    <a:gd name="connsiteX4" fmla="*/ 47134 w 136689"/>
                    <a:gd name="connsiteY4" fmla="*/ 98981 h 188536"/>
                    <a:gd name="connsiteX5" fmla="*/ 37708 w 136689"/>
                    <a:gd name="connsiteY5" fmla="*/ 127261 h 188536"/>
                    <a:gd name="connsiteX6" fmla="*/ 32994 w 136689"/>
                    <a:gd name="connsiteY6" fmla="*/ 141402 h 188536"/>
                    <a:gd name="connsiteX7" fmla="*/ 14141 w 136689"/>
                    <a:gd name="connsiteY7" fmla="*/ 169682 h 188536"/>
                    <a:gd name="connsiteX8" fmla="*/ 0 w 136689"/>
                    <a:gd name="connsiteY8" fmla="*/ 188536 h 188536"/>
                    <a:gd name="connsiteX0" fmla="*/ 136689 w 136689"/>
                    <a:gd name="connsiteY0" fmla="*/ 0 h 188536"/>
                    <a:gd name="connsiteX1" fmla="*/ 103695 w 136689"/>
                    <a:gd name="connsiteY1" fmla="*/ 37707 h 188536"/>
                    <a:gd name="connsiteX2" fmla="*/ 70701 w 136689"/>
                    <a:gd name="connsiteY2" fmla="*/ 56560 h 188536"/>
                    <a:gd name="connsiteX3" fmla="*/ 65988 w 136689"/>
                    <a:gd name="connsiteY3" fmla="*/ 70701 h 188536"/>
                    <a:gd name="connsiteX4" fmla="*/ 47134 w 136689"/>
                    <a:gd name="connsiteY4" fmla="*/ 98981 h 188536"/>
                    <a:gd name="connsiteX5" fmla="*/ 37708 w 136689"/>
                    <a:gd name="connsiteY5" fmla="*/ 127261 h 188536"/>
                    <a:gd name="connsiteX6" fmla="*/ 32994 w 136689"/>
                    <a:gd name="connsiteY6" fmla="*/ 141402 h 188536"/>
                    <a:gd name="connsiteX7" fmla="*/ 14141 w 136689"/>
                    <a:gd name="connsiteY7" fmla="*/ 169682 h 188536"/>
                    <a:gd name="connsiteX8" fmla="*/ 0 w 136689"/>
                    <a:gd name="connsiteY8" fmla="*/ 188536 h 188536"/>
                    <a:gd name="connsiteX0" fmla="*/ 136689 w 136689"/>
                    <a:gd name="connsiteY0" fmla="*/ 0 h 188536"/>
                    <a:gd name="connsiteX1" fmla="*/ 103695 w 136689"/>
                    <a:gd name="connsiteY1" fmla="*/ 37707 h 188536"/>
                    <a:gd name="connsiteX2" fmla="*/ 70701 w 136689"/>
                    <a:gd name="connsiteY2" fmla="*/ 56560 h 188536"/>
                    <a:gd name="connsiteX3" fmla="*/ 47134 w 136689"/>
                    <a:gd name="connsiteY3" fmla="*/ 98981 h 188536"/>
                    <a:gd name="connsiteX4" fmla="*/ 37708 w 136689"/>
                    <a:gd name="connsiteY4" fmla="*/ 127261 h 188536"/>
                    <a:gd name="connsiteX5" fmla="*/ 32994 w 136689"/>
                    <a:gd name="connsiteY5" fmla="*/ 141402 h 188536"/>
                    <a:gd name="connsiteX6" fmla="*/ 14141 w 136689"/>
                    <a:gd name="connsiteY6" fmla="*/ 169682 h 188536"/>
                    <a:gd name="connsiteX7" fmla="*/ 0 w 136689"/>
                    <a:gd name="connsiteY7" fmla="*/ 188536 h 188536"/>
                    <a:gd name="connsiteX0" fmla="*/ 136689 w 136689"/>
                    <a:gd name="connsiteY0" fmla="*/ 0 h 188536"/>
                    <a:gd name="connsiteX1" fmla="*/ 103695 w 136689"/>
                    <a:gd name="connsiteY1" fmla="*/ 37707 h 188536"/>
                    <a:gd name="connsiteX2" fmla="*/ 70701 w 136689"/>
                    <a:gd name="connsiteY2" fmla="*/ 70701 h 188536"/>
                    <a:gd name="connsiteX3" fmla="*/ 47134 w 136689"/>
                    <a:gd name="connsiteY3" fmla="*/ 98981 h 188536"/>
                    <a:gd name="connsiteX4" fmla="*/ 37708 w 136689"/>
                    <a:gd name="connsiteY4" fmla="*/ 127261 h 188536"/>
                    <a:gd name="connsiteX5" fmla="*/ 32994 w 136689"/>
                    <a:gd name="connsiteY5" fmla="*/ 141402 h 188536"/>
                    <a:gd name="connsiteX6" fmla="*/ 14141 w 136689"/>
                    <a:gd name="connsiteY6" fmla="*/ 169682 h 188536"/>
                    <a:gd name="connsiteX7" fmla="*/ 0 w 136689"/>
                    <a:gd name="connsiteY7" fmla="*/ 188536 h 188536"/>
                    <a:gd name="connsiteX0" fmla="*/ 136689 w 136689"/>
                    <a:gd name="connsiteY0" fmla="*/ 0 h 188536"/>
                    <a:gd name="connsiteX1" fmla="*/ 103695 w 136689"/>
                    <a:gd name="connsiteY1" fmla="*/ 37707 h 188536"/>
                    <a:gd name="connsiteX2" fmla="*/ 70701 w 136689"/>
                    <a:gd name="connsiteY2" fmla="*/ 70701 h 188536"/>
                    <a:gd name="connsiteX3" fmla="*/ 56561 w 136689"/>
                    <a:gd name="connsiteY3" fmla="*/ 108407 h 188536"/>
                    <a:gd name="connsiteX4" fmla="*/ 37708 w 136689"/>
                    <a:gd name="connsiteY4" fmla="*/ 127261 h 188536"/>
                    <a:gd name="connsiteX5" fmla="*/ 32994 w 136689"/>
                    <a:gd name="connsiteY5" fmla="*/ 141402 h 188536"/>
                    <a:gd name="connsiteX6" fmla="*/ 14141 w 136689"/>
                    <a:gd name="connsiteY6" fmla="*/ 169682 h 188536"/>
                    <a:gd name="connsiteX7" fmla="*/ 0 w 136689"/>
                    <a:gd name="connsiteY7" fmla="*/ 188536 h 188536"/>
                    <a:gd name="connsiteX0" fmla="*/ 136689 w 136689"/>
                    <a:gd name="connsiteY0" fmla="*/ 0 h 188536"/>
                    <a:gd name="connsiteX1" fmla="*/ 103695 w 136689"/>
                    <a:gd name="connsiteY1" fmla="*/ 37707 h 188536"/>
                    <a:gd name="connsiteX2" fmla="*/ 70701 w 136689"/>
                    <a:gd name="connsiteY2" fmla="*/ 70701 h 188536"/>
                    <a:gd name="connsiteX3" fmla="*/ 56561 w 136689"/>
                    <a:gd name="connsiteY3" fmla="*/ 108407 h 188536"/>
                    <a:gd name="connsiteX4" fmla="*/ 37708 w 136689"/>
                    <a:gd name="connsiteY4" fmla="*/ 127261 h 188536"/>
                    <a:gd name="connsiteX5" fmla="*/ 14141 w 136689"/>
                    <a:gd name="connsiteY5" fmla="*/ 169682 h 188536"/>
                    <a:gd name="connsiteX6" fmla="*/ 0 w 136689"/>
                    <a:gd name="connsiteY6" fmla="*/ 188536 h 1885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6689" h="188536">
                      <a:moveTo>
                        <a:pt x="136689" y="0"/>
                      </a:moveTo>
                      <a:cubicBezTo>
                        <a:pt x="126870" y="5892"/>
                        <a:pt x="114693" y="28280"/>
                        <a:pt x="103695" y="37707"/>
                      </a:cubicBezTo>
                      <a:cubicBezTo>
                        <a:pt x="97410" y="47134"/>
                        <a:pt x="78557" y="58918"/>
                        <a:pt x="70701" y="70701"/>
                      </a:cubicBezTo>
                      <a:cubicBezTo>
                        <a:pt x="62845" y="82484"/>
                        <a:pt x="62060" y="98980"/>
                        <a:pt x="56561" y="108407"/>
                      </a:cubicBezTo>
                      <a:cubicBezTo>
                        <a:pt x="51062" y="117834"/>
                        <a:pt x="44778" y="117049"/>
                        <a:pt x="37708" y="127261"/>
                      </a:cubicBezTo>
                      <a:cubicBezTo>
                        <a:pt x="30638" y="137473"/>
                        <a:pt x="20426" y="159470"/>
                        <a:pt x="14141" y="169682"/>
                      </a:cubicBezTo>
                      <a:cubicBezTo>
                        <a:pt x="7856" y="179895"/>
                        <a:pt x="13871" y="181600"/>
                        <a:pt x="0" y="188536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93" name="Forma livre 841"/>
                <p:cNvSpPr/>
                <p:nvPr/>
              </p:nvSpPr>
              <p:spPr>
                <a:xfrm>
                  <a:off x="3101419" y="5797485"/>
                  <a:ext cx="400639" cy="51847"/>
                </a:xfrm>
                <a:custGeom>
                  <a:avLst/>
                  <a:gdLst>
                    <a:gd name="connsiteX0" fmla="*/ 0 w 400639"/>
                    <a:gd name="connsiteY0" fmla="*/ 51847 h 51847"/>
                    <a:gd name="connsiteX1" fmla="*/ 23567 w 400639"/>
                    <a:gd name="connsiteY1" fmla="*/ 42420 h 51847"/>
                    <a:gd name="connsiteX2" fmla="*/ 141402 w 400639"/>
                    <a:gd name="connsiteY2" fmla="*/ 32993 h 51847"/>
                    <a:gd name="connsiteX3" fmla="*/ 164969 w 400639"/>
                    <a:gd name="connsiteY3" fmla="*/ 28280 h 51847"/>
                    <a:gd name="connsiteX4" fmla="*/ 183822 w 400639"/>
                    <a:gd name="connsiteY4" fmla="*/ 23567 h 51847"/>
                    <a:gd name="connsiteX5" fmla="*/ 348791 w 400639"/>
                    <a:gd name="connsiteY5" fmla="*/ 18853 h 51847"/>
                    <a:gd name="connsiteX6" fmla="*/ 377072 w 400639"/>
                    <a:gd name="connsiteY6" fmla="*/ 9426 h 51847"/>
                    <a:gd name="connsiteX7" fmla="*/ 391212 w 400639"/>
                    <a:gd name="connsiteY7" fmla="*/ 4713 h 51847"/>
                    <a:gd name="connsiteX8" fmla="*/ 400639 w 400639"/>
                    <a:gd name="connsiteY8" fmla="*/ 0 h 518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400639" h="51847">
                      <a:moveTo>
                        <a:pt x="0" y="51847"/>
                      </a:moveTo>
                      <a:cubicBezTo>
                        <a:pt x="7856" y="48705"/>
                        <a:pt x="15463" y="44851"/>
                        <a:pt x="23567" y="42420"/>
                      </a:cubicBezTo>
                      <a:cubicBezTo>
                        <a:pt x="56214" y="32626"/>
                        <a:pt x="124632" y="33832"/>
                        <a:pt x="141402" y="32993"/>
                      </a:cubicBezTo>
                      <a:cubicBezTo>
                        <a:pt x="149258" y="31422"/>
                        <a:pt x="157149" y="30018"/>
                        <a:pt x="164969" y="28280"/>
                      </a:cubicBezTo>
                      <a:cubicBezTo>
                        <a:pt x="171292" y="26875"/>
                        <a:pt x="177353" y="23899"/>
                        <a:pt x="183822" y="23567"/>
                      </a:cubicBezTo>
                      <a:cubicBezTo>
                        <a:pt x="238762" y="20749"/>
                        <a:pt x="293801" y="20424"/>
                        <a:pt x="348791" y="18853"/>
                      </a:cubicBezTo>
                      <a:lnTo>
                        <a:pt x="377072" y="9426"/>
                      </a:lnTo>
                      <a:cubicBezTo>
                        <a:pt x="381785" y="7855"/>
                        <a:pt x="386768" y="6935"/>
                        <a:pt x="391212" y="4713"/>
                      </a:cubicBezTo>
                      <a:lnTo>
                        <a:pt x="400639" y="0"/>
                      </a:ln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  <p:sp>
              <p:nvSpPr>
                <p:cNvPr id="594" name="Forma livre 842"/>
                <p:cNvSpPr/>
                <p:nvPr/>
              </p:nvSpPr>
              <p:spPr>
                <a:xfrm>
                  <a:off x="3695307" y="5769204"/>
                  <a:ext cx="155542" cy="28281"/>
                </a:xfrm>
                <a:custGeom>
                  <a:avLst/>
                  <a:gdLst>
                    <a:gd name="connsiteX0" fmla="*/ 0 w 155542"/>
                    <a:gd name="connsiteY0" fmla="*/ 18854 h 28281"/>
                    <a:gd name="connsiteX1" fmla="*/ 23567 w 155542"/>
                    <a:gd name="connsiteY1" fmla="*/ 9427 h 28281"/>
                    <a:gd name="connsiteX2" fmla="*/ 42421 w 155542"/>
                    <a:gd name="connsiteY2" fmla="*/ 4714 h 28281"/>
                    <a:gd name="connsiteX3" fmla="*/ 56561 w 155542"/>
                    <a:gd name="connsiteY3" fmla="*/ 0 h 28281"/>
                    <a:gd name="connsiteX4" fmla="*/ 127262 w 155542"/>
                    <a:gd name="connsiteY4" fmla="*/ 9427 h 28281"/>
                    <a:gd name="connsiteX5" fmla="*/ 155542 w 155542"/>
                    <a:gd name="connsiteY5" fmla="*/ 28281 h 28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5542" h="28281">
                      <a:moveTo>
                        <a:pt x="0" y="18854"/>
                      </a:moveTo>
                      <a:cubicBezTo>
                        <a:pt x="7856" y="15712"/>
                        <a:pt x="15540" y="12102"/>
                        <a:pt x="23567" y="9427"/>
                      </a:cubicBezTo>
                      <a:cubicBezTo>
                        <a:pt x="29713" y="7379"/>
                        <a:pt x="36192" y="6494"/>
                        <a:pt x="42421" y="4714"/>
                      </a:cubicBezTo>
                      <a:cubicBezTo>
                        <a:pt x="47198" y="3349"/>
                        <a:pt x="51848" y="1571"/>
                        <a:pt x="56561" y="0"/>
                      </a:cubicBezTo>
                      <a:cubicBezTo>
                        <a:pt x="60563" y="334"/>
                        <a:pt x="110276" y="-10"/>
                        <a:pt x="127262" y="9427"/>
                      </a:cubicBezTo>
                      <a:cubicBezTo>
                        <a:pt x="137166" y="14929"/>
                        <a:pt x="155542" y="28281"/>
                        <a:pt x="155542" y="28281"/>
                      </a:cubicBezTo>
                    </a:path>
                  </a:pathLst>
                </a:custGeom>
                <a:noFill/>
                <a:ln w="190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pt-BR"/>
                </a:p>
              </p:txBody>
            </p:sp>
          </p:grpSp>
        </p:grpSp>
      </p:grpSp>
      <p:grpSp>
        <p:nvGrpSpPr>
          <p:cNvPr id="5" name="Grupo 4"/>
          <p:cNvGrpSpPr/>
          <p:nvPr/>
        </p:nvGrpSpPr>
        <p:grpSpPr>
          <a:xfrm>
            <a:off x="1721197" y="844978"/>
            <a:ext cx="5204387" cy="5697066"/>
            <a:chOff x="1721197" y="844978"/>
            <a:chExt cx="5204387" cy="5697066"/>
          </a:xfrm>
        </p:grpSpPr>
        <p:grpSp>
          <p:nvGrpSpPr>
            <p:cNvPr id="692" name="Group 691"/>
            <p:cNvGrpSpPr/>
            <p:nvPr/>
          </p:nvGrpSpPr>
          <p:grpSpPr>
            <a:xfrm>
              <a:off x="1799064" y="844978"/>
              <a:ext cx="5126520" cy="5697066"/>
              <a:chOff x="1799064" y="844978"/>
              <a:chExt cx="5126520" cy="5697066"/>
            </a:xfrm>
          </p:grpSpPr>
          <p:sp>
            <p:nvSpPr>
              <p:cNvPr id="693" name="TextBox 692"/>
              <p:cNvSpPr txBox="1"/>
              <p:nvPr/>
            </p:nvSpPr>
            <p:spPr>
              <a:xfrm>
                <a:off x="3050582" y="1229719"/>
                <a:ext cx="574495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Santarém</a:t>
                </a:r>
              </a:p>
            </p:txBody>
          </p:sp>
          <p:sp>
            <p:nvSpPr>
              <p:cNvPr id="694" name="TextBox 693"/>
              <p:cNvSpPr txBox="1"/>
              <p:nvPr/>
            </p:nvSpPr>
            <p:spPr>
              <a:xfrm>
                <a:off x="1799064" y="1742430"/>
                <a:ext cx="632161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Manaus</a:t>
                </a:r>
              </a:p>
            </p:txBody>
          </p:sp>
          <p:sp>
            <p:nvSpPr>
              <p:cNvPr id="696" name="TextBox 695"/>
              <p:cNvSpPr txBox="1"/>
              <p:nvPr/>
            </p:nvSpPr>
            <p:spPr>
              <a:xfrm>
                <a:off x="4296853" y="844978"/>
                <a:ext cx="467912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Belém / V. Conde</a:t>
                </a:r>
              </a:p>
            </p:txBody>
          </p:sp>
          <p:sp>
            <p:nvSpPr>
              <p:cNvPr id="697" name="TextBox 696"/>
              <p:cNvSpPr txBox="1"/>
              <p:nvPr/>
            </p:nvSpPr>
            <p:spPr>
              <a:xfrm>
                <a:off x="3829406" y="6388156"/>
                <a:ext cx="627011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600" b="1">
                    <a:solidFill>
                      <a:schemeClr val="accent6"/>
                    </a:solidFill>
                    <a:latin typeface="Calibri" pitchFamily="34" charset="0"/>
                    <a:cs typeface="Arial" pitchFamily="34" charset="0"/>
                  </a:defRPr>
                </a:lvl1pPr>
              </a:lstStyle>
              <a:p>
                <a:pPr algn="ctr"/>
                <a:r>
                  <a:rPr lang="pt-BR" sz="1000" b="0" dirty="0">
                    <a:solidFill>
                      <a:srgbClr val="000090"/>
                    </a:solidFill>
                    <a:latin typeface="Arial Narrow" pitchFamily="34" charset="0"/>
                  </a:rPr>
                  <a:t>Rio Grande</a:t>
                </a:r>
              </a:p>
            </p:txBody>
          </p:sp>
          <p:sp>
            <p:nvSpPr>
              <p:cNvPr id="698" name="TextBox 697"/>
              <p:cNvSpPr txBox="1"/>
              <p:nvPr/>
            </p:nvSpPr>
            <p:spPr>
              <a:xfrm>
                <a:off x="4776497" y="5110315"/>
                <a:ext cx="325410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Santos</a:t>
                </a:r>
              </a:p>
            </p:txBody>
          </p:sp>
          <p:sp>
            <p:nvSpPr>
              <p:cNvPr id="699" name="TextBox 698"/>
              <p:cNvSpPr txBox="1"/>
              <p:nvPr/>
            </p:nvSpPr>
            <p:spPr>
              <a:xfrm>
                <a:off x="5053464" y="5016902"/>
                <a:ext cx="32166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Itaguaí</a:t>
                </a:r>
              </a:p>
            </p:txBody>
          </p:sp>
          <p:sp>
            <p:nvSpPr>
              <p:cNvPr id="700" name="TextBox 699"/>
              <p:cNvSpPr txBox="1"/>
              <p:nvPr/>
            </p:nvSpPr>
            <p:spPr>
              <a:xfrm>
                <a:off x="5147044" y="4910861"/>
                <a:ext cx="67326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Rio de Janeiro</a:t>
                </a:r>
              </a:p>
            </p:txBody>
          </p:sp>
          <p:sp>
            <p:nvSpPr>
              <p:cNvPr id="701" name="TextBox 700"/>
              <p:cNvSpPr txBox="1"/>
              <p:nvPr/>
            </p:nvSpPr>
            <p:spPr>
              <a:xfrm>
                <a:off x="5745584" y="4473138"/>
                <a:ext cx="296242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100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defRPr>
                </a:lvl1pPr>
              </a:lstStyle>
              <a:p>
                <a:r>
                  <a:rPr lang="pt-BR" dirty="0"/>
                  <a:t>Vitória</a:t>
                </a:r>
              </a:p>
            </p:txBody>
          </p:sp>
          <p:sp>
            <p:nvSpPr>
              <p:cNvPr id="702" name="TextBox 701"/>
              <p:cNvSpPr txBox="1"/>
              <p:nvPr/>
            </p:nvSpPr>
            <p:spPr>
              <a:xfrm>
                <a:off x="6092683" y="3627820"/>
                <a:ext cx="27892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Ilhéus</a:t>
                </a:r>
              </a:p>
            </p:txBody>
          </p:sp>
          <p:sp>
            <p:nvSpPr>
              <p:cNvPr id="703" name="TextBox 702"/>
              <p:cNvSpPr txBox="1"/>
              <p:nvPr/>
            </p:nvSpPr>
            <p:spPr>
              <a:xfrm>
                <a:off x="6082653" y="3218874"/>
                <a:ext cx="423193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Salvador</a:t>
                </a:r>
              </a:p>
            </p:txBody>
          </p:sp>
          <p:sp>
            <p:nvSpPr>
              <p:cNvPr id="704" name="TextBox 703"/>
              <p:cNvSpPr txBox="1"/>
              <p:nvPr/>
            </p:nvSpPr>
            <p:spPr>
              <a:xfrm>
                <a:off x="6624219" y="2577753"/>
                <a:ext cx="30136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Suape</a:t>
                </a:r>
              </a:p>
            </p:txBody>
          </p:sp>
          <p:sp>
            <p:nvSpPr>
              <p:cNvPr id="705" name="TextBox 704"/>
              <p:cNvSpPr txBox="1"/>
              <p:nvPr/>
            </p:nvSpPr>
            <p:spPr>
              <a:xfrm>
                <a:off x="5927445" y="1454602"/>
                <a:ext cx="327301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 err="1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Pecém</a:t>
                </a:r>
                <a:endParaRPr lang="pt-BR" sz="1000" dirty="0">
                  <a:solidFill>
                    <a:srgbClr val="000090"/>
                  </a:solidFill>
                  <a:latin typeface="Arial Narrow" pitchFamily="34" charset="0"/>
                  <a:cs typeface="Arial" pitchFamily="34" charset="0"/>
                </a:endParaRPr>
              </a:p>
            </p:txBody>
          </p:sp>
          <p:sp>
            <p:nvSpPr>
              <p:cNvPr id="706" name="TextBox 705"/>
              <p:cNvSpPr txBox="1"/>
              <p:nvPr/>
            </p:nvSpPr>
            <p:spPr>
              <a:xfrm>
                <a:off x="5162388" y="1319741"/>
                <a:ext cx="400972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Itaqui</a:t>
                </a:r>
              </a:p>
            </p:txBody>
          </p:sp>
          <p:sp>
            <p:nvSpPr>
              <p:cNvPr id="707" name="TextBox 706"/>
              <p:cNvSpPr txBox="1"/>
              <p:nvPr/>
            </p:nvSpPr>
            <p:spPr>
              <a:xfrm>
                <a:off x="6007129" y="3339349"/>
                <a:ext cx="25006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Aratu</a:t>
                </a:r>
              </a:p>
            </p:txBody>
          </p:sp>
          <p:sp>
            <p:nvSpPr>
              <p:cNvPr id="708" name="TextBox 707"/>
              <p:cNvSpPr txBox="1"/>
              <p:nvPr/>
            </p:nvSpPr>
            <p:spPr>
              <a:xfrm>
                <a:off x="4475825" y="5494326"/>
                <a:ext cx="362429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S F. Sul</a:t>
                </a:r>
              </a:p>
            </p:txBody>
          </p:sp>
          <p:sp>
            <p:nvSpPr>
              <p:cNvPr id="709" name="TextBox 708"/>
              <p:cNvSpPr txBox="1"/>
              <p:nvPr/>
            </p:nvSpPr>
            <p:spPr>
              <a:xfrm>
                <a:off x="4441256" y="5311367"/>
                <a:ext cx="509755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Paranaguá</a:t>
                </a:r>
              </a:p>
            </p:txBody>
          </p:sp>
          <p:sp>
            <p:nvSpPr>
              <p:cNvPr id="710" name="TextBox 709"/>
              <p:cNvSpPr txBox="1"/>
              <p:nvPr/>
            </p:nvSpPr>
            <p:spPr>
              <a:xfrm>
                <a:off x="4454559" y="5670866"/>
                <a:ext cx="868828" cy="1538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en-US"/>
                </a:defPPr>
                <a:lvl1pPr>
                  <a:defRPr sz="600" b="1" i="1">
                    <a:solidFill>
                      <a:srgbClr val="FF0000"/>
                    </a:solidFill>
                    <a:latin typeface="Calibri" pitchFamily="34" charset="0"/>
                    <a:cs typeface="Arial" pitchFamily="34" charset="0"/>
                  </a:defRPr>
                </a:lvl1pPr>
              </a:lstStyle>
              <a:p>
                <a:r>
                  <a:rPr lang="pt-BR" sz="1000" b="0" i="0" dirty="0">
                    <a:solidFill>
                      <a:srgbClr val="000090"/>
                    </a:solidFill>
                    <a:latin typeface="Arial Narrow" pitchFamily="34" charset="0"/>
                  </a:rPr>
                  <a:t>Itajaí / Navegantes</a:t>
                </a:r>
              </a:p>
            </p:txBody>
          </p:sp>
          <p:sp>
            <p:nvSpPr>
              <p:cNvPr id="695" name="TextBox 694"/>
              <p:cNvSpPr txBox="1">
                <a:spLocks/>
              </p:cNvSpPr>
              <p:nvPr/>
            </p:nvSpPr>
            <p:spPr>
              <a:xfrm>
                <a:off x="2007910" y="2280438"/>
                <a:ext cx="1025289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1000" dirty="0">
                    <a:solidFill>
                      <a:srgbClr val="000090"/>
                    </a:solidFill>
                    <a:latin typeface="Arial Narrow" pitchFamily="34" charset="0"/>
                    <a:cs typeface="Arial" pitchFamily="34" charset="0"/>
                  </a:rPr>
                  <a:t>Porto Velho</a:t>
                </a:r>
              </a:p>
            </p:txBody>
          </p:sp>
        </p:grpSp>
        <p:grpSp>
          <p:nvGrpSpPr>
            <p:cNvPr id="711" name="Group 710"/>
            <p:cNvGrpSpPr/>
            <p:nvPr/>
          </p:nvGrpSpPr>
          <p:grpSpPr>
            <a:xfrm>
              <a:off x="1721197" y="1258424"/>
              <a:ext cx="4949505" cy="5179998"/>
              <a:chOff x="1632852" y="1390940"/>
              <a:chExt cx="4949505" cy="5179998"/>
            </a:xfrm>
            <a:solidFill>
              <a:srgbClr val="000090"/>
            </a:solidFill>
          </p:grpSpPr>
          <p:sp>
            <p:nvSpPr>
              <p:cNvPr id="712" name="Elipse 419"/>
              <p:cNvSpPr>
                <a:spLocks/>
              </p:cNvSpPr>
              <p:nvPr/>
            </p:nvSpPr>
            <p:spPr bwMode="auto">
              <a:xfrm>
                <a:off x="2287460" y="1838067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3" name="Elipse 419"/>
              <p:cNvSpPr>
                <a:spLocks/>
              </p:cNvSpPr>
              <p:nvPr/>
            </p:nvSpPr>
            <p:spPr bwMode="auto">
              <a:xfrm>
                <a:off x="3198583" y="1543042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4" name="Elipse 419"/>
              <p:cNvSpPr/>
              <p:nvPr/>
            </p:nvSpPr>
            <p:spPr bwMode="auto">
              <a:xfrm>
                <a:off x="1632852" y="2614322"/>
                <a:ext cx="136800" cy="1368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5" name="Elipse 419"/>
              <p:cNvSpPr>
                <a:spLocks/>
              </p:cNvSpPr>
              <p:nvPr/>
            </p:nvSpPr>
            <p:spPr bwMode="auto">
              <a:xfrm>
                <a:off x="4110476" y="1390940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6" name="Elipse 419"/>
              <p:cNvSpPr>
                <a:spLocks/>
              </p:cNvSpPr>
              <p:nvPr/>
            </p:nvSpPr>
            <p:spPr bwMode="auto">
              <a:xfrm>
                <a:off x="3645851" y="6444938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7" name="Elipse 419"/>
              <p:cNvSpPr>
                <a:spLocks/>
              </p:cNvSpPr>
              <p:nvPr/>
            </p:nvSpPr>
            <p:spPr bwMode="auto">
              <a:xfrm>
                <a:off x="4977763" y="1594731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8" name="Elipse 419"/>
              <p:cNvSpPr>
                <a:spLocks/>
              </p:cNvSpPr>
              <p:nvPr/>
            </p:nvSpPr>
            <p:spPr bwMode="auto">
              <a:xfrm>
                <a:off x="5828543" y="1802346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19" name="Elipse 419"/>
              <p:cNvSpPr>
                <a:spLocks/>
              </p:cNvSpPr>
              <p:nvPr/>
            </p:nvSpPr>
            <p:spPr bwMode="auto">
              <a:xfrm>
                <a:off x="6456357" y="2562179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0" name="Elipse 419"/>
              <p:cNvSpPr>
                <a:spLocks/>
              </p:cNvSpPr>
              <p:nvPr/>
            </p:nvSpPr>
            <p:spPr bwMode="auto">
              <a:xfrm>
                <a:off x="5834193" y="3308243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1" name="Elipse 419"/>
              <p:cNvSpPr>
                <a:spLocks/>
              </p:cNvSpPr>
              <p:nvPr/>
            </p:nvSpPr>
            <p:spPr bwMode="auto">
              <a:xfrm>
                <a:off x="5812690" y="3817349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2" name="Elipse 419"/>
              <p:cNvSpPr>
                <a:spLocks/>
              </p:cNvSpPr>
              <p:nvPr/>
            </p:nvSpPr>
            <p:spPr bwMode="auto">
              <a:xfrm>
                <a:off x="5587958" y="4448152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3" name="Elipse 419"/>
              <p:cNvSpPr>
                <a:spLocks/>
              </p:cNvSpPr>
              <p:nvPr/>
            </p:nvSpPr>
            <p:spPr bwMode="auto">
              <a:xfrm>
                <a:off x="4994430" y="4947782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4" name="Elipse 419"/>
              <p:cNvSpPr>
                <a:spLocks/>
              </p:cNvSpPr>
              <p:nvPr/>
            </p:nvSpPr>
            <p:spPr bwMode="auto">
              <a:xfrm>
                <a:off x="4555259" y="5160820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5" name="Elipse 419"/>
              <p:cNvSpPr>
                <a:spLocks/>
              </p:cNvSpPr>
              <p:nvPr/>
            </p:nvSpPr>
            <p:spPr bwMode="auto">
              <a:xfrm>
                <a:off x="4240100" y="5322450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6" name="Elipse 419"/>
              <p:cNvSpPr>
                <a:spLocks/>
              </p:cNvSpPr>
              <p:nvPr/>
            </p:nvSpPr>
            <p:spPr bwMode="auto">
              <a:xfrm>
                <a:off x="4207803" y="5585197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27" name="Elipse 419"/>
              <p:cNvSpPr>
                <a:spLocks/>
              </p:cNvSpPr>
              <p:nvPr/>
            </p:nvSpPr>
            <p:spPr bwMode="auto">
              <a:xfrm>
                <a:off x="4226250" y="5750304"/>
                <a:ext cx="126000" cy="126000"/>
              </a:xfrm>
              <a:prstGeom prst="ellipse">
                <a:avLst/>
              </a:prstGeom>
              <a:grpFill/>
              <a:ln w="28575">
                <a:solidFill>
                  <a:srgbClr val="00009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pt-BR" sz="100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graphicFrame>
        <p:nvGraphicFramePr>
          <p:cNvPr id="519" name="Tabela 518"/>
          <p:cNvGraphicFramePr>
            <a:graphicFrameLocks noGrp="1"/>
          </p:cNvGraphicFramePr>
          <p:nvPr/>
        </p:nvGraphicFramePr>
        <p:xfrm>
          <a:off x="142844" y="1357298"/>
          <a:ext cx="2825327" cy="2633472"/>
        </p:xfrm>
        <a:graphic>
          <a:graphicData uri="http://schemas.openxmlformats.org/drawingml/2006/table">
            <a:tbl>
              <a:tblPr/>
              <a:tblGrid>
                <a:gridCol w="1800454"/>
                <a:gridCol w="1024873"/>
              </a:tblGrid>
              <a:tr h="544068"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tensão Total (km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-101/B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72,3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-262/ES/M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5,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-153/GO/T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4,0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-050/GO/M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6,6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-060/DF/GO/MG e BR-262/M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176,5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 163 M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47,2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584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 163 M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0,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622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2000"/>
                                        <p:tgtEl>
                                          <p:spTgt spid="4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937833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Retângulo 4"/>
          <p:cNvSpPr>
            <a:spLocks noChangeArrowheads="1"/>
          </p:cNvSpPr>
          <p:nvPr/>
        </p:nvSpPr>
        <p:spPr bwMode="auto">
          <a:xfrm>
            <a:off x="1000101" y="1142984"/>
            <a:ext cx="7929618" cy="507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800" b="1" dirty="0" smtClean="0">
                <a:latin typeface="+mj-lt"/>
                <a:ea typeface="MS PGothic" pitchFamily="34" charset="-128"/>
                <a:sym typeface="Helvetica" pitchFamily="34" charset="0"/>
              </a:rPr>
              <a:t>Desafio é conciliar</a:t>
            </a: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: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b="1" dirty="0" smtClean="0">
                <a:latin typeface="+mj-lt"/>
                <a:ea typeface="MS PGothic" pitchFamily="34" charset="-128"/>
                <a:sym typeface="Helvetica" pitchFamily="34" charset="0"/>
              </a:rPr>
              <a:t>Investimentos urgentes para melhora da logística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Duplicação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nos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primeiros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5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anos</a:t>
            </a:r>
            <a:endParaRPr lang="pt-BR" sz="2400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b="1" dirty="0" smtClean="0">
                <a:latin typeface="+mj-lt"/>
                <a:ea typeface="MS PGothic" pitchFamily="34" charset="-128"/>
                <a:sym typeface="Helvetica" pitchFamily="34" charset="0"/>
              </a:rPr>
              <a:t>Tarifas socialmente aceitas</a:t>
            </a:r>
          </a:p>
          <a:p>
            <a:pPr lvl="1">
              <a:spcBef>
                <a:spcPts val="600"/>
              </a:spcBef>
              <a:spcAft>
                <a:spcPts val="1800"/>
              </a:spcAft>
              <a:buFont typeface="Wingdings" pitchFamily="2" charset="2"/>
              <a:buChar char="Ø"/>
            </a:pPr>
            <a:r>
              <a:rPr lang="pt-BR" sz="2000" dirty="0" smtClean="0">
                <a:ea typeface="MS PGothic" pitchFamily="34" charset="-128"/>
                <a:sym typeface="Helvetica" pitchFamily="34" charset="0"/>
              </a:rPr>
              <a:t>Leilões realizados pela menor tarifa de pedágio e cobrança 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a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partir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da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conclusão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de 10% das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duplicações</a:t>
            </a:r>
            <a:endParaRPr lang="pt-BR" sz="2000" dirty="0" smtClean="0">
              <a:ea typeface="MS PGothic" pitchFamily="34" charset="-128"/>
              <a:sym typeface="Helvetica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b="1" dirty="0" smtClean="0">
                <a:ea typeface="MS PGothic" pitchFamily="34" charset="-128"/>
                <a:sym typeface="Helvetica" pitchFamily="34" charset="0"/>
              </a:rPr>
              <a:t>Rentabilidade atrativa para o investidor</a:t>
            </a:r>
            <a:endParaRPr lang="pt-BR" sz="2400" b="1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 lvl="1"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Ø"/>
            </a:pP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TIR de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projeto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de 7,2%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a.a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.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ao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longo</a:t>
            </a:r>
            <a:r>
              <a:rPr lang="en-US" sz="2000" dirty="0" smtClean="0">
                <a:ea typeface="MS PGothic" pitchFamily="34" charset="-128"/>
                <a:sym typeface="Helvetica" pitchFamily="34" charset="0"/>
              </a:rPr>
              <a:t> de 30 </a:t>
            </a:r>
            <a:r>
              <a:rPr lang="en-US" sz="2000" dirty="0" err="1" smtClean="0">
                <a:ea typeface="MS PGothic" pitchFamily="34" charset="-128"/>
                <a:sym typeface="Helvetica" pitchFamily="34" charset="0"/>
              </a:rPr>
              <a:t>anos</a:t>
            </a:r>
            <a:endParaRPr lang="en-US" sz="2000" dirty="0" smtClean="0">
              <a:ea typeface="MS PGothic" pitchFamily="34" charset="-128"/>
              <a:sym typeface="Helvetica" pitchFamily="34" charset="0"/>
            </a:endParaRPr>
          </a:p>
          <a:p>
            <a:pPr>
              <a:spcBef>
                <a:spcPts val="1200"/>
              </a:spcBef>
              <a:spcAft>
                <a:spcPts val="1200"/>
              </a:spcAft>
              <a:buFont typeface="Wingdings" pitchFamily="2" charset="2"/>
              <a:buChar char="Ø"/>
            </a:pPr>
            <a:endParaRPr lang="pt-BR" sz="2400" dirty="0" smtClean="0">
              <a:latin typeface="+mj-lt"/>
              <a:ea typeface="MS PGothic" pitchFamily="34" charset="-128"/>
              <a:sym typeface="Helvetica" pitchFamily="34" charset="0"/>
            </a:endParaRPr>
          </a:p>
        </p:txBody>
      </p:sp>
      <p:sp>
        <p:nvSpPr>
          <p:cNvPr id="489" name="CaixaDeTexto 488"/>
          <p:cNvSpPr txBox="1"/>
          <p:nvPr/>
        </p:nvSpPr>
        <p:spPr>
          <a:xfrm>
            <a:off x="714348" y="272457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bg2">
                    <a:lumMod val="25000"/>
                  </a:schemeClr>
                </a:solidFill>
                <a:latin typeface="Calibri" pitchFamily="34" charset="0"/>
                <a:ea typeface="ＭＳ Ｐゴシック" pitchFamily="34" charset="-128"/>
              </a:rPr>
              <a:t>Novo modelo de concessão - Rodovias</a:t>
            </a:r>
          </a:p>
        </p:txBody>
      </p:sp>
    </p:spTree>
    <p:extLst>
      <p:ext uri="{BB962C8B-B14F-4D97-AF65-F5344CB8AC3E}">
        <p14:creationId xmlns:p14="http://schemas.microsoft.com/office/powerpoint/2010/main" val="157622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 cstate="print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937833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6" name="Retângulo 4"/>
          <p:cNvSpPr>
            <a:spLocks noChangeArrowheads="1"/>
          </p:cNvSpPr>
          <p:nvPr/>
        </p:nvSpPr>
        <p:spPr bwMode="auto">
          <a:xfrm>
            <a:off x="785786" y="1142984"/>
            <a:ext cx="8143933" cy="4539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800" b="1" dirty="0" smtClean="0">
                <a:latin typeface="+mj-lt"/>
                <a:ea typeface="MS PGothic" pitchFamily="34" charset="-128"/>
                <a:sym typeface="Helvetica" pitchFamily="34" charset="0"/>
              </a:rPr>
              <a:t>Interação com a sociedade: consultas públicas, consultas ao mercado e aprimoramentos do TCU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800" b="1" dirty="0" smtClean="0">
                <a:latin typeface="+mj-lt"/>
                <a:ea typeface="MS PGothic" pitchFamily="34" charset="-128"/>
                <a:sym typeface="Helvetica" pitchFamily="34" charset="0"/>
              </a:rPr>
              <a:t>Alterações feitas para aprimorar o modelo</a:t>
            </a: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: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Discussão extensa de valores de CAPEX e OPEX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Elevação da taxa de retorno de 5,5 para 7,2% </a:t>
            </a:r>
            <a:r>
              <a:rPr lang="pt-BR" sz="2400" dirty="0" err="1" smtClean="0">
                <a:latin typeface="+mj-lt"/>
                <a:ea typeface="MS PGothic" pitchFamily="34" charset="-128"/>
                <a:sym typeface="Helvetica" pitchFamily="34" charset="0"/>
              </a:rPr>
              <a:t>a.a.</a:t>
            </a:r>
            <a:endParaRPr lang="pt-BR" sz="2400" dirty="0" smtClean="0">
              <a:latin typeface="+mj-lt"/>
              <a:ea typeface="MS PGothic" pitchFamily="34" charset="-128"/>
              <a:sym typeface="Helvetica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Previsão expressa de reequilíbrio econômico-financeiro em caso de atrasos do DNIT</a:t>
            </a:r>
          </a:p>
          <a:p>
            <a:pPr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pt-BR" sz="2400" dirty="0" smtClean="0">
                <a:latin typeface="+mj-lt"/>
                <a:ea typeface="MS PGothic" pitchFamily="34" charset="-128"/>
                <a:sym typeface="Helvetica" pitchFamily="34" charset="0"/>
              </a:rPr>
              <a:t>Previsão de garantias de propostas adequadas</a:t>
            </a:r>
          </a:p>
        </p:txBody>
      </p:sp>
      <p:sp>
        <p:nvSpPr>
          <p:cNvPr id="489" name="CaixaDeTexto 488"/>
          <p:cNvSpPr txBox="1"/>
          <p:nvPr/>
        </p:nvSpPr>
        <p:spPr>
          <a:xfrm>
            <a:off x="714348" y="272457"/>
            <a:ext cx="78900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bg2">
                    <a:lumMod val="25000"/>
                  </a:schemeClr>
                </a:solidFill>
                <a:latin typeface="Calibri" pitchFamily="34" charset="0"/>
                <a:ea typeface="ＭＳ Ｐゴシック" pitchFamily="34" charset="-128"/>
              </a:rPr>
              <a:t>Novo modelo de concessão - Rodovias</a:t>
            </a:r>
          </a:p>
        </p:txBody>
      </p:sp>
    </p:spTree>
    <p:extLst>
      <p:ext uri="{BB962C8B-B14F-4D97-AF65-F5344CB8AC3E}">
        <p14:creationId xmlns:p14="http://schemas.microsoft.com/office/powerpoint/2010/main" val="157622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0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5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6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8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19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6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7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8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9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07</TotalTime>
  <Words>1323</Words>
  <Application>Microsoft Office PowerPoint</Application>
  <PresentationFormat>Apresentação na tela (4:3)</PresentationFormat>
  <Paragraphs>340</Paragraphs>
  <Slides>28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8</vt:i4>
      </vt:variant>
    </vt:vector>
  </HeadingPairs>
  <TitlesOfParts>
    <vt:vector size="30" baseType="lpstr">
      <vt:lpstr>Tema do Offic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Novo Modelo de Concessão Ferrovia Aberta – “Open Access”</vt:lpstr>
      <vt:lpstr>Novo Modelo de Concessão Ferrovia Aberta – “Open Access”</vt:lpstr>
      <vt:lpstr>Concessões Ferroviária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Felipe Borim Villen</dc:creator>
  <cp:lastModifiedBy>Pamela Aparecida dos Santos</cp:lastModifiedBy>
  <cp:revision>65</cp:revision>
  <dcterms:created xsi:type="dcterms:W3CDTF">2013-08-12T22:28:18Z</dcterms:created>
  <dcterms:modified xsi:type="dcterms:W3CDTF">2013-10-23T20:28:20Z</dcterms:modified>
</cp:coreProperties>
</file>